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4.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5.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6.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7.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8.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9.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10.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11.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12.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13.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14.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15.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16.xml" ContentType="application/vnd.openxmlformats-officedocument.theme+xml"/>
  <Override PartName="/ppt/theme/theme17.xml" ContentType="application/vnd.openxmlformats-officedocument.theme+xml"/>
  <Override PartName="/ppt/theme/theme18.xml" ContentType="application/vnd.openxmlformats-officedocument.theme+xml"/>
  <Override PartName="/ppt/tags/tag3.xml" ContentType="application/vnd.openxmlformats-officedocument.presentationml.tags+xml"/>
  <Override PartName="/ppt/charts/chart1.xml" ContentType="application/vnd.openxmlformats-officedocument.drawingml.chart+xml"/>
  <Override PartName="/ppt/tags/tag4.xml" ContentType="application/vnd.openxmlformats-officedocument.presentationml.tags+xml"/>
  <Override PartName="/ppt/charts/chart2.xml" ContentType="application/vnd.openxmlformats-officedocument.drawingml.chart+xml"/>
  <Override PartName="/ppt/tags/tag5.xml" ContentType="application/vnd.openxmlformats-officedocument.presentationml.tags+xml"/>
  <Override PartName="/ppt/charts/chart3.xml" ContentType="application/vnd.openxmlformats-officedocument.drawingml.chart+xml"/>
  <Override PartName="/ppt/tags/tag6.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54" r:id="rId1"/>
    <p:sldMasterId id="2147483939" r:id="rId2"/>
    <p:sldMasterId id="2147484079" r:id="rId3"/>
    <p:sldMasterId id="2147484068" r:id="rId4"/>
    <p:sldMasterId id="2147484072" r:id="rId5"/>
    <p:sldMasterId id="2147483973" r:id="rId6"/>
    <p:sldMasterId id="2147484016" r:id="rId7"/>
    <p:sldMasterId id="2147484083" r:id="rId8"/>
    <p:sldMasterId id="2147484086" r:id="rId9"/>
    <p:sldMasterId id="2147484003" r:id="rId10"/>
    <p:sldMasterId id="2147484010" r:id="rId11"/>
    <p:sldMasterId id="2147484051" r:id="rId12"/>
    <p:sldMasterId id="2147484044" r:id="rId13"/>
    <p:sldMasterId id="2147484061" r:id="rId14"/>
    <p:sldMasterId id="2147484058" r:id="rId15"/>
    <p:sldMasterId id="2147484076" r:id="rId16"/>
  </p:sldMasterIdLst>
  <p:notesMasterIdLst>
    <p:notesMasterId r:id="rId24"/>
  </p:notesMasterIdLst>
  <p:handoutMasterIdLst>
    <p:handoutMasterId r:id="rId25"/>
  </p:handoutMasterIdLst>
  <p:sldIdLst>
    <p:sldId id="674" r:id="rId17"/>
    <p:sldId id="675" r:id="rId18"/>
    <p:sldId id="676" r:id="rId19"/>
    <p:sldId id="677" r:id="rId20"/>
    <p:sldId id="678" r:id="rId21"/>
    <p:sldId id="679" r:id="rId22"/>
    <p:sldId id="680" r:id="rId23"/>
  </p:sldIdLst>
  <p:sldSz cx="9144000" cy="5148263"/>
  <p:notesSz cx="6858000" cy="9296400"/>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mplate Resources" id="{348BEC1F-B251-4595-BC29-1C605FEA19EB}">
          <p14:sldIdLst/>
        </p14:section>
        <p14:section name="Basic Charts" id="{96D9C311-7508-4EC4-9122-85E63479712A}">
          <p14:sldIdLst>
            <p14:sldId id="674"/>
            <p14:sldId id="675"/>
            <p14:sldId id="676"/>
            <p14:sldId id="677"/>
            <p14:sldId id="678"/>
            <p14:sldId id="679"/>
            <p14:sldId id="680"/>
          </p14:sldIdLst>
        </p14:section>
        <p14:section name="Client Logo Layouts" id="{72ED018F-238F-4690-B57C-95C947055759}">
          <p14:sldIdLst/>
        </p14:section>
        <p14:section name="Colour Palette" id="{261B5A75-BD5D-4146-864F-BCDB7DD60295}">
          <p14:sldIdLst/>
        </p14:section>
        <p14:section name="Handy Layout Grid" id="{040199CF-B3E4-4462-8641-76458C25F357}">
          <p14:sldIdLst/>
        </p14:section>
      </p14:sectionLst>
    </p:ext>
    <p:ext uri="{EFAFB233-063F-42B5-8137-9DF3F51BA10A}">
      <p15:sldGuideLst xmlns:p15="http://schemas.microsoft.com/office/powerpoint/2012/main">
        <p15:guide id="1" orient="horz">
          <p15:clr>
            <a:srgbClr val="A4A3A4"/>
          </p15:clr>
        </p15:guide>
        <p15:guide id="2">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E02AE"/>
    <a:srgbClr val="C3C5C8"/>
    <a:srgbClr val="4B4E53"/>
    <a:srgbClr val="3E5559"/>
    <a:srgbClr val="29393C"/>
    <a:srgbClr val="73888E"/>
    <a:srgbClr val="DDDDDD"/>
    <a:srgbClr val="FAFAFA"/>
    <a:srgbClr val="F0F0F0"/>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2838BEF-8BB2-4498-84A7-C5851F593DF1}" styleName="Estilo medio 4 - Énfasis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453" autoAdjust="0"/>
    <p:restoredTop sz="77807" autoAdjust="0"/>
  </p:normalViewPr>
  <p:slideViewPr>
    <p:cSldViewPr snapToGrid="0" snapToObjects="1" showGuides="1">
      <p:cViewPr varScale="1">
        <p:scale>
          <a:sx n="117" d="100"/>
          <a:sy n="117" d="100"/>
        </p:scale>
        <p:origin x="450" y="96"/>
      </p:cViewPr>
      <p:guideLst>
        <p:guide orient="horz"/>
        <p:guide/>
      </p:guideLst>
    </p:cSldViewPr>
  </p:slideViewPr>
  <p:outlineViewPr>
    <p:cViewPr>
      <p:scale>
        <a:sx n="33" d="100"/>
        <a:sy n="33" d="100"/>
      </p:scale>
      <p:origin x="0" y="31692"/>
    </p:cViewPr>
  </p:outlineViewPr>
  <p:notesTextViewPr>
    <p:cViewPr>
      <p:scale>
        <a:sx n="75" d="100"/>
        <a:sy n="75" d="100"/>
      </p:scale>
      <p:origin x="0" y="0"/>
    </p:cViewPr>
  </p:notesTextViewPr>
  <p:sorterViewPr>
    <p:cViewPr>
      <p:scale>
        <a:sx n="110" d="100"/>
        <a:sy n="110" d="100"/>
      </p:scale>
      <p:origin x="0" y="336"/>
    </p:cViewPr>
  </p:sorterViewPr>
  <p:notesViewPr>
    <p:cSldViewPr snapToGrid="0" snapToObjects="1" showGuides="1">
      <p:cViewPr varScale="1">
        <p:scale>
          <a:sx n="107" d="100"/>
          <a:sy n="107" d="100"/>
        </p:scale>
        <p:origin x="-3132" y="-96"/>
      </p:cViewPr>
      <p:guideLst>
        <p:guide orient="horz" pos="2928"/>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 Target="slides/slide2.xml"/><Relationship Id="rId26" Type="http://schemas.openxmlformats.org/officeDocument/2006/relationships/tags" Target="tags/tag1.xml"/><Relationship Id="rId3" Type="http://schemas.openxmlformats.org/officeDocument/2006/relationships/slideMaster" Target="slideMasters/slideMaster3.xml"/><Relationship Id="rId21" Type="http://schemas.openxmlformats.org/officeDocument/2006/relationships/slide" Target="slides/slide5.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1.xml"/><Relationship Id="rId25"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 Target="slides/slide4.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7.xml"/><Relationship Id="rId28" Type="http://schemas.openxmlformats.org/officeDocument/2006/relationships/viewProps" Target="viewProps.xml"/><Relationship Id="rId10" Type="http://schemas.openxmlformats.org/officeDocument/2006/relationships/slideMaster" Target="slideMasters/slideMaster10.xml"/><Relationship Id="rId19" Type="http://schemas.openxmlformats.org/officeDocument/2006/relationships/slide" Target="slides/slide3.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6.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oleObject" Target="file:///C:\Users\estudios\Documents\Jos&#233;%20Antonio%20Cornejo\Solidario\Estudio%20base%20tarjeta%20de%20cr&#233;dito\Atributos%20solidario%20para%20mapa%20perceptual.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Users\estudios\Documents\Jos&#233;%20Antonio%20Cornejo\Solidario\Estudio%20base%20tarjeta%20de%20cr&#233;dito\Atributos%20solidario%20para%20mapa%20perceptual.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C:\Users\estudios\Documents\Jos&#233;%20Antonio%20Cornejo\Solidario\Estudio%20base%20tarjeta%20de%20cr&#233;dito\Atributos%20solidario%20para%20mapa%20perceptual.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C:\Users\estudios\Documents\Jos&#233;%20Antonio%20Cornejo\Solidario\Estudio%20base%20tarjeta%20de%20cr&#233;dito\Atributos%20solidario%20para%20mapa%20perceptual.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C:\Users\estudios\Documents\Jos&#233;%20Antonio%20Cornejo\Solidario\Estudio%20base%20tarjeta%20de%20cr&#233;dito\Atributos%20solidario%20para%20mapa%20perceptual.xlsx"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file:///C:\Users\estudios\Documents\Jos&#233;%20Antonio%20Cornejo\Solidario\Estudio%20base%20tarjeta%20de%20cr&#233;dito\Atributos%20solidario%20para%20mapa%20perceptual.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scatterChart>
        <c:scatterStyle val="lineMarker"/>
        <c:varyColors val="0"/>
        <c:ser>
          <c:idx val="0"/>
          <c:order val="0"/>
          <c:tx>
            <c:strRef>
              <c:f>Hoja1!$C$30</c:f>
              <c:strCache>
                <c:ptCount val="1"/>
                <c:pt idx="0">
                  <c:v>Permite pagar la totalidad de mis consumos a fin de mes</c:v>
                </c:pt>
              </c:strCache>
            </c:strRef>
          </c:tx>
          <c:spPr>
            <a:ln w="28575">
              <a:noFill/>
            </a:ln>
          </c:spPr>
          <c:marker>
            <c:symbol val="circle"/>
            <c:size val="7"/>
            <c:spPr>
              <a:solidFill>
                <a:schemeClr val="tx1"/>
              </a:solidFill>
            </c:spPr>
          </c:marker>
          <c:dLbls>
            <c:dLbl>
              <c:idx val="0"/>
              <c:layout>
                <c:manualLayout>
                  <c:x val="0"/>
                  <c:y val="-4.6040969016803934E-2"/>
                </c:manualLayout>
              </c:layou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Hoja1!$E$30</c:f>
              <c:numCache>
                <c:formatCode>0</c:formatCode>
                <c:ptCount val="1"/>
                <c:pt idx="0">
                  <c:v>1.8889535575581125</c:v>
                </c:pt>
              </c:numCache>
            </c:numRef>
          </c:xVal>
          <c:yVal>
            <c:numRef>
              <c:f>Hoja1!$D$30</c:f>
              <c:numCache>
                <c:formatCode>General</c:formatCode>
                <c:ptCount val="1"/>
                <c:pt idx="0">
                  <c:v>0.751</c:v>
                </c:pt>
              </c:numCache>
            </c:numRef>
          </c:yVal>
          <c:smooth val="0"/>
        </c:ser>
        <c:ser>
          <c:idx val="1"/>
          <c:order val="1"/>
          <c:tx>
            <c:strRef>
              <c:f>Hoja1!$C$31</c:f>
              <c:strCache>
                <c:ptCount val="1"/>
                <c:pt idx="0">
                  <c:v>Es confiable</c:v>
                </c:pt>
              </c:strCache>
            </c:strRef>
          </c:tx>
          <c:spPr>
            <a:ln w="28575">
              <a:noFill/>
            </a:ln>
          </c:spPr>
          <c:marker>
            <c:symbol val="circle"/>
            <c:size val="7"/>
            <c:spPr>
              <a:solidFill>
                <a:schemeClr val="tx1"/>
              </a:solidFill>
            </c:spPr>
          </c:marker>
          <c:dLbls>
            <c:dLbl>
              <c:idx val="0"/>
              <c:layout>
                <c:manualLayout>
                  <c:x val="-5.4519357284850148E-2"/>
                  <c:y val="-4.1409649687406055E-2"/>
                </c:manualLayout>
              </c:layou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Hoja1!$E$31</c:f>
              <c:numCache>
                <c:formatCode>0</c:formatCode>
                <c:ptCount val="1"/>
                <c:pt idx="0">
                  <c:v>1.1091693598185888</c:v>
                </c:pt>
              </c:numCache>
            </c:numRef>
          </c:xVal>
          <c:yVal>
            <c:numRef>
              <c:f>Hoja1!$D$31</c:f>
              <c:numCache>
                <c:formatCode>General</c:formatCode>
                <c:ptCount val="1"/>
                <c:pt idx="0">
                  <c:v>0.68700000000000006</c:v>
                </c:pt>
              </c:numCache>
            </c:numRef>
          </c:yVal>
          <c:smooth val="0"/>
        </c:ser>
        <c:ser>
          <c:idx val="2"/>
          <c:order val="2"/>
          <c:tx>
            <c:strRef>
              <c:f>Hoja1!$C$32</c:f>
              <c:strCache>
                <c:ptCount val="1"/>
                <c:pt idx="0">
                  <c:v>Rapidez para obtener efectivo</c:v>
                </c:pt>
              </c:strCache>
            </c:strRef>
          </c:tx>
          <c:spPr>
            <a:ln w="28575">
              <a:noFill/>
            </a:ln>
          </c:spPr>
          <c:marker>
            <c:symbol val="circle"/>
            <c:size val="7"/>
            <c:spPr>
              <a:solidFill>
                <a:schemeClr val="tx1"/>
              </a:solidFill>
            </c:spPr>
          </c:marker>
          <c:dLbls>
            <c:dLbl>
              <c:idx val="0"/>
              <c:layout>
                <c:manualLayout>
                  <c:x val="-5.8413597090910879E-3"/>
                  <c:y val="-3.3127719749924865E-2"/>
                </c:manualLayout>
              </c:layou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Hoja1!$E$32</c:f>
              <c:numCache>
                <c:formatCode>0</c:formatCode>
                <c:ptCount val="1"/>
                <c:pt idx="0">
                  <c:v>2.5087997869455148</c:v>
                </c:pt>
              </c:numCache>
            </c:numRef>
          </c:xVal>
          <c:yVal>
            <c:numRef>
              <c:f>Hoja1!$D$32</c:f>
              <c:numCache>
                <c:formatCode>General</c:formatCode>
                <c:ptCount val="1"/>
                <c:pt idx="0">
                  <c:v>0.65400000000000003</c:v>
                </c:pt>
              </c:numCache>
            </c:numRef>
          </c:yVal>
          <c:smooth val="0"/>
        </c:ser>
        <c:ser>
          <c:idx val="3"/>
          <c:order val="3"/>
          <c:tx>
            <c:strRef>
              <c:f>Hoja1!$C$33</c:f>
              <c:strCache>
                <c:ptCount val="1"/>
                <c:pt idx="0">
                  <c:v>Claridad y transparencia en lo que me ofrece y cobra</c:v>
                </c:pt>
              </c:strCache>
            </c:strRef>
          </c:tx>
          <c:spPr>
            <a:ln w="28575">
              <a:noFill/>
            </a:ln>
          </c:spPr>
          <c:marker>
            <c:symbol val="circle"/>
            <c:size val="7"/>
            <c:spPr>
              <a:solidFill>
                <a:schemeClr val="tx1"/>
              </a:solidFill>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layout/>
                <c15:showLeaderLines val="0"/>
              </c:ext>
            </c:extLst>
          </c:dLbls>
          <c:xVal>
            <c:numRef>
              <c:f>Hoja1!$E$33</c:f>
              <c:numCache>
                <c:formatCode>0</c:formatCode>
                <c:ptCount val="1"/>
                <c:pt idx="0">
                  <c:v>1.1080258089969677</c:v>
                </c:pt>
              </c:numCache>
            </c:numRef>
          </c:xVal>
          <c:yVal>
            <c:numRef>
              <c:f>Hoja1!$D$33</c:f>
              <c:numCache>
                <c:formatCode>General</c:formatCode>
                <c:ptCount val="1"/>
                <c:pt idx="0">
                  <c:v>0.59</c:v>
                </c:pt>
              </c:numCache>
            </c:numRef>
          </c:yVal>
          <c:smooth val="0"/>
        </c:ser>
        <c:ser>
          <c:idx val="4"/>
          <c:order val="4"/>
          <c:tx>
            <c:strRef>
              <c:f>Hoja1!$C$34</c:f>
              <c:strCache>
                <c:ptCount val="1"/>
                <c:pt idx="0">
                  <c:v>Cobra bajas tasas de interés</c:v>
                </c:pt>
              </c:strCache>
            </c:strRef>
          </c:tx>
          <c:spPr>
            <a:ln w="28575">
              <a:noFill/>
            </a:ln>
          </c:spPr>
          <c:marker>
            <c:symbol val="circle"/>
            <c:size val="7"/>
            <c:spPr>
              <a:solidFill>
                <a:schemeClr val="tx1"/>
              </a:solidFill>
            </c:spPr>
          </c:marker>
          <c:xVal>
            <c:numRef>
              <c:f>Hoja1!$E$34</c:f>
              <c:numCache>
                <c:formatCode>0</c:formatCode>
                <c:ptCount val="1"/>
                <c:pt idx="0">
                  <c:v>-0.26608547423336759</c:v>
                </c:pt>
              </c:numCache>
            </c:numRef>
          </c:xVal>
          <c:yVal>
            <c:numRef>
              <c:f>Hoja1!$D$34</c:f>
              <c:numCache>
                <c:formatCode>General</c:formatCode>
                <c:ptCount val="1"/>
                <c:pt idx="0">
                  <c:v>0.58599999999999997</c:v>
                </c:pt>
              </c:numCache>
            </c:numRef>
          </c:yVal>
          <c:smooth val="0"/>
        </c:ser>
        <c:ser>
          <c:idx val="5"/>
          <c:order val="5"/>
          <c:tx>
            <c:strRef>
              <c:f>Hoja1!$C$35</c:f>
              <c:strCache>
                <c:ptCount val="1"/>
                <c:pt idx="0">
                  <c:v>Permite pagar servicios con débitos automáticos</c:v>
                </c:pt>
              </c:strCache>
            </c:strRef>
          </c:tx>
          <c:spPr>
            <a:ln w="28575">
              <a:noFill/>
            </a:ln>
          </c:spPr>
          <c:marker>
            <c:spPr>
              <a:solidFill>
                <a:schemeClr val="tx1"/>
              </a:solidFill>
            </c:spPr>
          </c:marker>
          <c:dLbls>
            <c:dLbl>
              <c:idx val="0"/>
              <c:layout>
                <c:manualLayout>
                  <c:x val="-0.10511756569847856"/>
                  <c:y val="-0.10185185185185185"/>
                </c:manualLayout>
              </c:layou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Hoja1!$E$35</c:f>
              <c:numCache>
                <c:formatCode>0</c:formatCode>
                <c:ptCount val="1"/>
                <c:pt idx="0">
                  <c:v>-1.3311782154560534</c:v>
                </c:pt>
              </c:numCache>
            </c:numRef>
          </c:xVal>
          <c:yVal>
            <c:numRef>
              <c:f>Hoja1!$D$35</c:f>
              <c:numCache>
                <c:formatCode>General</c:formatCode>
                <c:ptCount val="1"/>
                <c:pt idx="0">
                  <c:v>0.46300000000000002</c:v>
                </c:pt>
              </c:numCache>
            </c:numRef>
          </c:yVal>
          <c:smooth val="0"/>
        </c:ser>
        <c:ser>
          <c:idx val="6"/>
          <c:order val="6"/>
          <c:tx>
            <c:strRef>
              <c:f>Hoja1!$C$36</c:f>
              <c:strCache>
                <c:ptCount val="1"/>
                <c:pt idx="0">
                  <c:v>Ofrece varias opciones de diferidos</c:v>
                </c:pt>
              </c:strCache>
            </c:strRef>
          </c:tx>
          <c:spPr>
            <a:ln w="28575">
              <a:noFill/>
            </a:ln>
          </c:spPr>
          <c:marker>
            <c:symbol val="circle"/>
            <c:size val="7"/>
            <c:spPr>
              <a:solidFill>
                <a:schemeClr val="tx1"/>
              </a:solidFill>
            </c:spPr>
          </c:marker>
          <c:dLbls>
            <c:dLbl>
              <c:idx val="0"/>
              <c:layout>
                <c:manualLayout>
                  <c:x val="0"/>
                  <c:y val="-2.6351593693402616E-2"/>
                </c:manualLayout>
              </c:layou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Hoja1!$E$36</c:f>
              <c:numCache>
                <c:formatCode>0</c:formatCode>
                <c:ptCount val="1"/>
                <c:pt idx="0">
                  <c:v>1.6796186920032961</c:v>
                </c:pt>
              </c:numCache>
            </c:numRef>
          </c:xVal>
          <c:yVal>
            <c:numRef>
              <c:f>Hoja1!$D$36</c:f>
              <c:numCache>
                <c:formatCode>General</c:formatCode>
                <c:ptCount val="1"/>
                <c:pt idx="0">
                  <c:v>0.45200000000000001</c:v>
                </c:pt>
              </c:numCache>
            </c:numRef>
          </c:yVal>
          <c:smooth val="0"/>
        </c:ser>
        <c:ser>
          <c:idx val="7"/>
          <c:order val="7"/>
          <c:tx>
            <c:strRef>
              <c:f>Hoja1!$C$37</c:f>
              <c:strCache>
                <c:ptCount val="1"/>
                <c:pt idx="0">
                  <c:v>Ayuda en casos de emergencia</c:v>
                </c:pt>
              </c:strCache>
            </c:strRef>
          </c:tx>
          <c:spPr>
            <a:ln w="28575">
              <a:noFill/>
            </a:ln>
          </c:spPr>
          <c:marker>
            <c:symbol val="circle"/>
            <c:size val="7"/>
            <c:spPr>
              <a:solidFill>
                <a:schemeClr val="tx1"/>
              </a:solidFill>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layout/>
                <c15:showLeaderLines val="0"/>
              </c:ext>
            </c:extLst>
          </c:dLbls>
          <c:xVal>
            <c:numRef>
              <c:f>Hoja1!$E$37</c:f>
              <c:numCache>
                <c:formatCode>0</c:formatCode>
                <c:ptCount val="1"/>
                <c:pt idx="0">
                  <c:v>1.044508212176388</c:v>
                </c:pt>
              </c:numCache>
            </c:numRef>
          </c:xVal>
          <c:yVal>
            <c:numRef>
              <c:f>Hoja1!$D$37</c:f>
              <c:numCache>
                <c:formatCode>General</c:formatCode>
                <c:ptCount val="1"/>
                <c:pt idx="0">
                  <c:v>0.39200000000000002</c:v>
                </c:pt>
              </c:numCache>
            </c:numRef>
          </c:yVal>
          <c:smooth val="0"/>
        </c:ser>
        <c:ser>
          <c:idx val="8"/>
          <c:order val="8"/>
          <c:tx>
            <c:strRef>
              <c:f>Hoja1!$C$38</c:f>
              <c:strCache>
                <c:ptCount val="1"/>
                <c:pt idx="0">
                  <c:v>Tiene el mejor servicio al cliente</c:v>
                </c:pt>
              </c:strCache>
            </c:strRef>
          </c:tx>
          <c:spPr>
            <a:ln w="28575">
              <a:noFill/>
            </a:ln>
          </c:spPr>
          <c:marker>
            <c:symbol val="circle"/>
            <c:size val="7"/>
            <c:spPr>
              <a:solidFill>
                <a:schemeClr val="tx1"/>
              </a:solidFill>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layout/>
                <c15:showLeaderLines val="0"/>
              </c:ext>
            </c:extLst>
          </c:dLbls>
          <c:xVal>
            <c:numRef>
              <c:f>Hoja1!$E$38</c:f>
              <c:numCache>
                <c:formatCode>0</c:formatCode>
                <c:ptCount val="1"/>
                <c:pt idx="0">
                  <c:v>1.3595635746223111</c:v>
                </c:pt>
              </c:numCache>
            </c:numRef>
          </c:xVal>
          <c:yVal>
            <c:numRef>
              <c:f>Hoja1!$D$38</c:f>
              <c:numCache>
                <c:formatCode>General</c:formatCode>
                <c:ptCount val="1"/>
                <c:pt idx="0">
                  <c:v>0.33</c:v>
                </c:pt>
              </c:numCache>
            </c:numRef>
          </c:yVal>
          <c:smooth val="0"/>
        </c:ser>
        <c:ser>
          <c:idx val="9"/>
          <c:order val="9"/>
          <c:tx>
            <c:strRef>
              <c:f>Hoja1!$C$39</c:f>
              <c:strCache>
                <c:ptCount val="1"/>
                <c:pt idx="0">
                  <c:v>Le tengo miedo / recelo</c:v>
                </c:pt>
              </c:strCache>
            </c:strRef>
          </c:tx>
          <c:spPr>
            <a:ln w="28575">
              <a:noFill/>
            </a:ln>
          </c:spPr>
          <c:marker>
            <c:symbol val="circle"/>
            <c:size val="7"/>
            <c:spPr>
              <a:solidFill>
                <a:schemeClr val="tx1"/>
              </a:solidFill>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layout/>
                <c15:showLeaderLines val="0"/>
              </c:ext>
            </c:extLst>
          </c:dLbls>
          <c:xVal>
            <c:numRef>
              <c:f>Hoja1!$E$39</c:f>
              <c:numCache>
                <c:formatCode>0</c:formatCode>
                <c:ptCount val="1"/>
                <c:pt idx="0">
                  <c:v>1.6782587795764732</c:v>
                </c:pt>
              </c:numCache>
            </c:numRef>
          </c:xVal>
          <c:yVal>
            <c:numRef>
              <c:f>Hoja1!$D$39</c:f>
              <c:numCache>
                <c:formatCode>General</c:formatCode>
                <c:ptCount val="1"/>
                <c:pt idx="0">
                  <c:v>0.27100000000000002</c:v>
                </c:pt>
              </c:numCache>
            </c:numRef>
          </c:yVal>
          <c:smooth val="0"/>
        </c:ser>
        <c:ser>
          <c:idx val="10"/>
          <c:order val="10"/>
          <c:tx>
            <c:strRef>
              <c:f>Hoja1!$C$40</c:f>
              <c:strCache>
                <c:ptCount val="1"/>
                <c:pt idx="0">
                  <c:v>Es aceptada internacionalmente</c:v>
                </c:pt>
              </c:strCache>
            </c:strRef>
          </c:tx>
          <c:spPr>
            <a:ln w="28575">
              <a:noFill/>
            </a:ln>
          </c:spPr>
          <c:marker>
            <c:symbol val="circle"/>
            <c:size val="7"/>
            <c:spPr>
              <a:solidFill>
                <a:schemeClr val="tx1"/>
              </a:solidFill>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layout/>
                <c15:showLeaderLines val="0"/>
              </c:ext>
            </c:extLst>
          </c:dLbls>
          <c:xVal>
            <c:numRef>
              <c:f>Hoja1!$E$40</c:f>
              <c:numCache>
                <c:formatCode>0</c:formatCode>
                <c:ptCount val="1"/>
                <c:pt idx="0">
                  <c:v>-1.6473737232115209</c:v>
                </c:pt>
              </c:numCache>
            </c:numRef>
          </c:xVal>
          <c:yVal>
            <c:numRef>
              <c:f>Hoja1!$D$40</c:f>
              <c:numCache>
                <c:formatCode>General</c:formatCode>
                <c:ptCount val="1"/>
                <c:pt idx="0">
                  <c:v>0.23</c:v>
                </c:pt>
              </c:numCache>
            </c:numRef>
          </c:yVal>
          <c:smooth val="0"/>
        </c:ser>
        <c:ser>
          <c:idx val="11"/>
          <c:order val="11"/>
          <c:tx>
            <c:strRef>
              <c:f>Hoja1!$C$41</c:f>
              <c:strCache>
                <c:ptCount val="1"/>
                <c:pt idx="0">
                  <c:v>Devuelve hasta el 1% de los consumos</c:v>
                </c:pt>
              </c:strCache>
            </c:strRef>
          </c:tx>
          <c:spPr>
            <a:ln w="28575">
              <a:noFill/>
            </a:ln>
          </c:spPr>
          <c:marker>
            <c:symbol val="circle"/>
            <c:size val="7"/>
            <c:spPr>
              <a:solidFill>
                <a:schemeClr val="tx1"/>
              </a:solidFill>
            </c:spPr>
          </c:marker>
          <c:dLbls>
            <c:dLbl>
              <c:idx val="0"/>
              <c:layout>
                <c:manualLayout>
                  <c:x val="-7.9356941421127689E-2"/>
                  <c:y val="-6.2974084141320566E-2"/>
                </c:manualLayout>
              </c:layou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Hoja1!$E$41</c:f>
              <c:numCache>
                <c:formatCode>0</c:formatCode>
                <c:ptCount val="1"/>
                <c:pt idx="0">
                  <c:v>-1.0490597570223557</c:v>
                </c:pt>
              </c:numCache>
            </c:numRef>
          </c:xVal>
          <c:yVal>
            <c:numRef>
              <c:f>Hoja1!$D$41</c:f>
              <c:numCache>
                <c:formatCode>General</c:formatCode>
                <c:ptCount val="1"/>
                <c:pt idx="0">
                  <c:v>0</c:v>
                </c:pt>
              </c:numCache>
            </c:numRef>
          </c:yVal>
          <c:smooth val="0"/>
        </c:ser>
        <c:ser>
          <c:idx val="12"/>
          <c:order val="12"/>
          <c:tx>
            <c:strRef>
              <c:f>Hoja1!$C$42</c:f>
              <c:strCache>
                <c:ptCount val="1"/>
                <c:pt idx="0">
                  <c:v>Es aceptada internacionalmente</c:v>
                </c:pt>
              </c:strCache>
            </c:strRef>
          </c:tx>
          <c:spPr>
            <a:ln w="28575">
              <a:noFill/>
            </a:ln>
          </c:spPr>
          <c:marker>
            <c:symbol val="circle"/>
            <c:size val="7"/>
            <c:spPr>
              <a:solidFill>
                <a:schemeClr val="tx1"/>
              </a:solidFill>
            </c:spPr>
          </c:marker>
          <c:dLbls>
            <c:spPr>
              <a:noFill/>
              <a:ln>
                <a:noFill/>
              </a:ln>
              <a:effectLst/>
            </c:spPr>
            <c:dLblPos val="t"/>
            <c:showLegendKey val="0"/>
            <c:showVal val="0"/>
            <c:showCatName val="0"/>
            <c:showSerName val="1"/>
            <c:showPercent val="0"/>
            <c:showBubbleSize val="0"/>
            <c:showLeaderLines val="0"/>
            <c:extLst>
              <c:ext xmlns:c15="http://schemas.microsoft.com/office/drawing/2012/chart" uri="{CE6537A1-D6FC-4f65-9D91-7224C49458BB}">
                <c15:layout/>
                <c15:showLeaderLines val="0"/>
              </c:ext>
            </c:extLst>
          </c:dLbls>
          <c:xVal>
            <c:numRef>
              <c:f>Hoja1!$E$42</c:f>
              <c:numCache>
                <c:formatCode>0</c:formatCode>
                <c:ptCount val="1"/>
                <c:pt idx="0">
                  <c:v>-4.5365795158072277</c:v>
                </c:pt>
              </c:numCache>
            </c:numRef>
          </c:xVal>
          <c:yVal>
            <c:numRef>
              <c:f>Hoja1!$D$42</c:f>
              <c:numCache>
                <c:formatCode>General</c:formatCode>
                <c:ptCount val="1"/>
                <c:pt idx="0">
                  <c:v>0</c:v>
                </c:pt>
              </c:numCache>
            </c:numRef>
          </c:yVal>
          <c:smooth val="0"/>
        </c:ser>
        <c:ser>
          <c:idx val="13"/>
          <c:order val="13"/>
          <c:tx>
            <c:strRef>
              <c:f>Hoja1!$C$43</c:f>
              <c:strCache>
                <c:ptCount val="1"/>
                <c:pt idx="0">
                  <c:v>Ofrece las mejores ofertas y descuentos</c:v>
                </c:pt>
              </c:strCache>
            </c:strRef>
          </c:tx>
          <c:spPr>
            <a:ln w="28575">
              <a:noFill/>
            </a:ln>
          </c:spPr>
          <c:marker>
            <c:symbol val="circle"/>
            <c:size val="7"/>
            <c:spPr>
              <a:solidFill>
                <a:schemeClr val="tx1"/>
              </a:solidFill>
            </c:spPr>
          </c:marker>
          <c:dLbls>
            <c:dLbl>
              <c:idx val="0"/>
              <c:layout>
                <c:manualLayout>
                  <c:x val="1.7866741566901045E-2"/>
                  <c:y val="-5.7270698154202909E-2"/>
                </c:manualLayout>
              </c:layou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Hoja1!$E$43</c:f>
              <c:numCache>
                <c:formatCode>0</c:formatCode>
                <c:ptCount val="1"/>
                <c:pt idx="0">
                  <c:v>1.2790096078472404</c:v>
                </c:pt>
              </c:numCache>
            </c:numRef>
          </c:xVal>
          <c:yVal>
            <c:numRef>
              <c:f>Hoja1!$D$43</c:f>
              <c:numCache>
                <c:formatCode>General</c:formatCode>
                <c:ptCount val="1"/>
                <c:pt idx="0">
                  <c:v>0</c:v>
                </c:pt>
              </c:numCache>
            </c:numRef>
          </c:yVal>
          <c:smooth val="0"/>
        </c:ser>
        <c:ser>
          <c:idx val="14"/>
          <c:order val="14"/>
          <c:tx>
            <c:strRef>
              <c:f>Hoja1!$C$44</c:f>
              <c:strCache>
                <c:ptCount val="1"/>
                <c:pt idx="0">
                  <c:v>Es prestigiosa</c:v>
                </c:pt>
              </c:strCache>
            </c:strRef>
          </c:tx>
          <c:spPr>
            <a:ln w="28575">
              <a:noFill/>
            </a:ln>
          </c:spPr>
          <c:marker>
            <c:spPr>
              <a:solidFill>
                <a:schemeClr val="tx1"/>
              </a:solidFill>
            </c:spPr>
          </c:marker>
          <c:dLbls>
            <c:dLbl>
              <c:idx val="0"/>
              <c:layout>
                <c:manualLayout>
                  <c:x val="-0.13646856383615949"/>
                  <c:y val="-6.0185549722951127E-2"/>
                </c:manualLayout>
              </c:layou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Hoja1!$E$44</c:f>
              <c:numCache>
                <c:formatCode>0</c:formatCode>
                <c:ptCount val="1"/>
                <c:pt idx="0">
                  <c:v>-1.5153862957290913</c:v>
                </c:pt>
              </c:numCache>
            </c:numRef>
          </c:xVal>
          <c:yVal>
            <c:numRef>
              <c:f>Hoja1!$D$44</c:f>
              <c:numCache>
                <c:formatCode>General</c:formatCode>
                <c:ptCount val="1"/>
                <c:pt idx="0">
                  <c:v>0</c:v>
                </c:pt>
              </c:numCache>
            </c:numRef>
          </c:yVal>
          <c:smooth val="0"/>
        </c:ser>
        <c:ser>
          <c:idx val="15"/>
          <c:order val="15"/>
          <c:tx>
            <c:strRef>
              <c:f>Hoja1!$C$45</c:f>
              <c:strCache>
                <c:ptCount val="1"/>
                <c:pt idx="0">
                  <c:v>Ayuda a salir adelante, a progresar</c:v>
                </c:pt>
              </c:strCache>
            </c:strRef>
          </c:tx>
          <c:spPr>
            <a:ln w="28575">
              <a:noFill/>
            </a:ln>
          </c:spPr>
          <c:marker>
            <c:symbol val="circle"/>
            <c:size val="7"/>
            <c:spPr>
              <a:solidFill>
                <a:schemeClr val="tx1"/>
              </a:solidFill>
            </c:spPr>
          </c:marker>
          <c:dLbls>
            <c:dLbl>
              <c:idx val="0"/>
              <c:layout>
                <c:manualLayout>
                  <c:x val="0"/>
                  <c:y val="-0.13668591426071741"/>
                </c:manualLayout>
              </c:layou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Hoja1!$E$45</c:f>
              <c:numCache>
                <c:formatCode>0</c:formatCode>
                <c:ptCount val="1"/>
                <c:pt idx="0">
                  <c:v>2.1879232183646522</c:v>
                </c:pt>
              </c:numCache>
            </c:numRef>
          </c:xVal>
          <c:yVal>
            <c:numRef>
              <c:f>Hoja1!$D$45</c:f>
              <c:numCache>
                <c:formatCode>General</c:formatCode>
                <c:ptCount val="1"/>
                <c:pt idx="0">
                  <c:v>0</c:v>
                </c:pt>
              </c:numCache>
            </c:numRef>
          </c:yVal>
          <c:smooth val="0"/>
        </c:ser>
        <c:ser>
          <c:idx val="16"/>
          <c:order val="16"/>
          <c:tx>
            <c:strRef>
              <c:f>Hoja1!$C$46</c:f>
              <c:strCache>
                <c:ptCount val="1"/>
                <c:pt idx="0">
                  <c:v>Tiene el mejor programa de millas</c:v>
                </c:pt>
              </c:strCache>
            </c:strRef>
          </c:tx>
          <c:spPr>
            <a:ln w="28575">
              <a:noFill/>
            </a:ln>
          </c:spPr>
          <c:marker>
            <c:symbol val="circle"/>
            <c:size val="7"/>
            <c:spPr>
              <a:solidFill>
                <a:schemeClr val="tx1"/>
              </a:solidFill>
            </c:spPr>
          </c:marker>
          <c:dLbls>
            <c:dLbl>
              <c:idx val="0"/>
              <c:layout>
                <c:manualLayout>
                  <c:x val="-4.0889517963637684E-2"/>
                  <c:y val="-5.9273004289173911E-2"/>
                </c:manualLayout>
              </c:layou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trendline>
            <c:trendlineType val="linear"/>
            <c:dispRSqr val="0"/>
            <c:dispEq val="0"/>
          </c:trendline>
          <c:xVal>
            <c:numRef>
              <c:f>Hoja1!$E$46</c:f>
              <c:numCache>
                <c:formatCode>0</c:formatCode>
                <c:ptCount val="1"/>
                <c:pt idx="0">
                  <c:v>0.14472431562227639</c:v>
                </c:pt>
              </c:numCache>
            </c:numRef>
          </c:xVal>
          <c:yVal>
            <c:numRef>
              <c:f>Hoja1!$D$46</c:f>
              <c:numCache>
                <c:formatCode>General</c:formatCode>
                <c:ptCount val="1"/>
                <c:pt idx="0">
                  <c:v>0</c:v>
                </c:pt>
              </c:numCache>
            </c:numRef>
          </c:yVal>
          <c:smooth val="0"/>
        </c:ser>
        <c:dLbls>
          <c:showLegendKey val="0"/>
          <c:showVal val="0"/>
          <c:showCatName val="0"/>
          <c:showSerName val="0"/>
          <c:showPercent val="0"/>
          <c:showBubbleSize val="0"/>
        </c:dLbls>
        <c:axId val="276543672"/>
        <c:axId val="277978592"/>
      </c:scatterChart>
      <c:valAx>
        <c:axId val="276543672"/>
        <c:scaling>
          <c:orientation val="minMax"/>
          <c:max val="5"/>
        </c:scaling>
        <c:delete val="0"/>
        <c:axPos val="b"/>
        <c:numFmt formatCode="0" sourceLinked="1"/>
        <c:majorTickMark val="out"/>
        <c:minorTickMark val="none"/>
        <c:tickLblPos val="nextTo"/>
        <c:crossAx val="277978592"/>
        <c:crosses val="autoZero"/>
        <c:crossBetween val="midCat"/>
      </c:valAx>
      <c:valAx>
        <c:axId val="277978592"/>
        <c:scaling>
          <c:orientation val="minMax"/>
        </c:scaling>
        <c:delete val="0"/>
        <c:axPos val="l"/>
        <c:numFmt formatCode="General" sourceLinked="1"/>
        <c:majorTickMark val="out"/>
        <c:minorTickMark val="none"/>
        <c:tickLblPos val="nextTo"/>
        <c:crossAx val="276543672"/>
        <c:crosses val="autoZero"/>
        <c:crossBetween val="midCat"/>
      </c:valAx>
    </c:plotArea>
    <c:plotVisOnly val="1"/>
    <c:dispBlanksAs val="gap"/>
    <c:showDLblsOverMax val="0"/>
  </c:chart>
  <c:txPr>
    <a:bodyPr/>
    <a:lstStyle/>
    <a:p>
      <a:pPr>
        <a:defRPr sz="700"/>
      </a:pPr>
      <a:endParaRPr lang="es-MX"/>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scatterChart>
        <c:scatterStyle val="lineMarker"/>
        <c:varyColors val="0"/>
        <c:ser>
          <c:idx val="0"/>
          <c:order val="0"/>
          <c:tx>
            <c:strRef>
              <c:f>Hoja1!$C$30</c:f>
              <c:strCache>
                <c:ptCount val="1"/>
                <c:pt idx="0">
                  <c:v>Permite pagar la totalidad de mis consumos a fin de mes</c:v>
                </c:pt>
              </c:strCache>
            </c:strRef>
          </c:tx>
          <c:spPr>
            <a:ln w="28575">
              <a:noFill/>
            </a:ln>
          </c:spPr>
          <c:marker>
            <c:symbol val="circle"/>
            <c:size val="7"/>
            <c:spPr>
              <a:solidFill>
                <a:schemeClr val="tx1"/>
              </a:solidFill>
            </c:spPr>
          </c:marker>
          <c:dLbls>
            <c:dLbl>
              <c:idx val="0"/>
              <c:layout>
                <c:manualLayout>
                  <c:x val="0"/>
                  <c:y val="-4.6040969016803934E-2"/>
                </c:manualLayout>
              </c:layou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Hoja1!$F$30</c:f>
              <c:numCache>
                <c:formatCode>0</c:formatCode>
                <c:ptCount val="1"/>
                <c:pt idx="0">
                  <c:v>-0.59500839955630092</c:v>
                </c:pt>
              </c:numCache>
            </c:numRef>
          </c:xVal>
          <c:yVal>
            <c:numRef>
              <c:f>Hoja1!$D$30</c:f>
              <c:numCache>
                <c:formatCode>General</c:formatCode>
                <c:ptCount val="1"/>
                <c:pt idx="0">
                  <c:v>0.751</c:v>
                </c:pt>
              </c:numCache>
            </c:numRef>
          </c:yVal>
          <c:smooth val="0"/>
        </c:ser>
        <c:ser>
          <c:idx val="1"/>
          <c:order val="1"/>
          <c:tx>
            <c:strRef>
              <c:f>Hoja1!$C$31</c:f>
              <c:strCache>
                <c:ptCount val="1"/>
                <c:pt idx="0">
                  <c:v>Es confiable</c:v>
                </c:pt>
              </c:strCache>
            </c:strRef>
          </c:tx>
          <c:spPr>
            <a:ln w="28575">
              <a:noFill/>
            </a:ln>
          </c:spPr>
          <c:marker>
            <c:symbol val="circle"/>
            <c:size val="7"/>
            <c:spPr>
              <a:solidFill>
                <a:schemeClr val="tx1"/>
              </a:solidFill>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layout/>
                <c15:showLeaderLines val="0"/>
              </c:ext>
            </c:extLst>
          </c:dLbls>
          <c:xVal>
            <c:numRef>
              <c:f>Hoja1!$F$31</c:f>
              <c:numCache>
                <c:formatCode>0</c:formatCode>
                <c:ptCount val="1"/>
                <c:pt idx="0">
                  <c:v>0.63880719255390161</c:v>
                </c:pt>
              </c:numCache>
            </c:numRef>
          </c:xVal>
          <c:yVal>
            <c:numRef>
              <c:f>Hoja1!$D$31</c:f>
              <c:numCache>
                <c:formatCode>General</c:formatCode>
                <c:ptCount val="1"/>
                <c:pt idx="0">
                  <c:v>0.68700000000000006</c:v>
                </c:pt>
              </c:numCache>
            </c:numRef>
          </c:yVal>
          <c:smooth val="0"/>
        </c:ser>
        <c:ser>
          <c:idx val="2"/>
          <c:order val="2"/>
          <c:tx>
            <c:strRef>
              <c:f>Hoja1!$C$32</c:f>
              <c:strCache>
                <c:ptCount val="1"/>
                <c:pt idx="0">
                  <c:v>Rapidez para obtener efectivo</c:v>
                </c:pt>
              </c:strCache>
            </c:strRef>
          </c:tx>
          <c:spPr>
            <a:ln w="28575">
              <a:noFill/>
            </a:ln>
          </c:spPr>
          <c:marker>
            <c:symbol val="circle"/>
            <c:size val="7"/>
            <c:spPr>
              <a:solidFill>
                <a:schemeClr val="tx1"/>
              </a:solidFill>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layout/>
                <c15:showLeaderLines val="0"/>
              </c:ext>
            </c:extLst>
          </c:dLbls>
          <c:xVal>
            <c:numRef>
              <c:f>Hoja1!$F$32</c:f>
              <c:numCache>
                <c:formatCode>0</c:formatCode>
                <c:ptCount val="1"/>
                <c:pt idx="0">
                  <c:v>-2.4616958403779332</c:v>
                </c:pt>
              </c:numCache>
            </c:numRef>
          </c:xVal>
          <c:yVal>
            <c:numRef>
              <c:f>Hoja1!$D$32</c:f>
              <c:numCache>
                <c:formatCode>General</c:formatCode>
                <c:ptCount val="1"/>
                <c:pt idx="0">
                  <c:v>0.65400000000000003</c:v>
                </c:pt>
              </c:numCache>
            </c:numRef>
          </c:yVal>
          <c:smooth val="0"/>
        </c:ser>
        <c:ser>
          <c:idx val="3"/>
          <c:order val="3"/>
          <c:tx>
            <c:strRef>
              <c:f>Hoja1!$C$33</c:f>
              <c:strCache>
                <c:ptCount val="1"/>
                <c:pt idx="0">
                  <c:v>Claridad y transparencia en lo que me ofrece y cobra</c:v>
                </c:pt>
              </c:strCache>
            </c:strRef>
          </c:tx>
          <c:spPr>
            <a:ln w="28575">
              <a:noFill/>
            </a:ln>
          </c:spPr>
          <c:marker>
            <c:symbol val="circle"/>
            <c:size val="7"/>
            <c:spPr>
              <a:solidFill>
                <a:schemeClr val="tx1"/>
              </a:solidFill>
            </c:spPr>
          </c:marker>
          <c:dLbls>
            <c:dLbl>
              <c:idx val="0"/>
              <c:layout>
                <c:manualLayout>
                  <c:x val="0"/>
                  <c:y val="-1.9753722410115897E-2"/>
                </c:manualLayout>
              </c:layou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Hoja1!$F$33</c:f>
              <c:numCache>
                <c:formatCode>0</c:formatCode>
                <c:ptCount val="1"/>
                <c:pt idx="0">
                  <c:v>-2.0905950933930892</c:v>
                </c:pt>
              </c:numCache>
            </c:numRef>
          </c:xVal>
          <c:yVal>
            <c:numRef>
              <c:f>Hoja1!$D$33</c:f>
              <c:numCache>
                <c:formatCode>General</c:formatCode>
                <c:ptCount val="1"/>
                <c:pt idx="0">
                  <c:v>0.59</c:v>
                </c:pt>
              </c:numCache>
            </c:numRef>
          </c:yVal>
          <c:smooth val="0"/>
        </c:ser>
        <c:ser>
          <c:idx val="4"/>
          <c:order val="4"/>
          <c:tx>
            <c:strRef>
              <c:f>Hoja1!$C$34</c:f>
              <c:strCache>
                <c:ptCount val="1"/>
                <c:pt idx="0">
                  <c:v>Cobra bajas tasas de interés</c:v>
                </c:pt>
              </c:strCache>
            </c:strRef>
          </c:tx>
          <c:spPr>
            <a:ln w="28575">
              <a:noFill/>
            </a:ln>
          </c:spPr>
          <c:marker>
            <c:symbol val="circle"/>
            <c:size val="7"/>
            <c:spPr>
              <a:solidFill>
                <a:schemeClr val="tx1"/>
              </a:solidFill>
            </c:spPr>
          </c:marker>
          <c:xVal>
            <c:numRef>
              <c:f>Hoja1!$F$34</c:f>
              <c:numCache>
                <c:formatCode>0</c:formatCode>
                <c:ptCount val="1"/>
                <c:pt idx="0">
                  <c:v>-1.7461399813409075</c:v>
                </c:pt>
              </c:numCache>
            </c:numRef>
          </c:xVal>
          <c:yVal>
            <c:numRef>
              <c:f>Hoja1!$D$34</c:f>
              <c:numCache>
                <c:formatCode>General</c:formatCode>
                <c:ptCount val="1"/>
                <c:pt idx="0">
                  <c:v>0.58599999999999997</c:v>
                </c:pt>
              </c:numCache>
            </c:numRef>
          </c:yVal>
          <c:smooth val="0"/>
        </c:ser>
        <c:ser>
          <c:idx val="5"/>
          <c:order val="5"/>
          <c:tx>
            <c:strRef>
              <c:f>Hoja1!$C$35</c:f>
              <c:strCache>
                <c:ptCount val="1"/>
                <c:pt idx="0">
                  <c:v>Permite pagar servicios con débitos automáticos</c:v>
                </c:pt>
              </c:strCache>
            </c:strRef>
          </c:tx>
          <c:spPr>
            <a:ln w="28575">
              <a:noFill/>
            </a:ln>
          </c:spPr>
          <c:marker>
            <c:spPr>
              <a:solidFill>
                <a:schemeClr val="tx1"/>
              </a:solidFill>
            </c:spPr>
          </c:marker>
          <c:dLbls>
            <c:dLbl>
              <c:idx val="0"/>
              <c:layout>
                <c:manualLayout>
                  <c:x val="-0.10704193083743786"/>
                  <c:y val="-8.2098025747655096E-2"/>
                </c:manualLayout>
              </c:layou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Hoja1!$F$35</c:f>
              <c:numCache>
                <c:formatCode>0</c:formatCode>
                <c:ptCount val="1"/>
                <c:pt idx="0">
                  <c:v>-1.782501358195379</c:v>
                </c:pt>
              </c:numCache>
            </c:numRef>
          </c:xVal>
          <c:yVal>
            <c:numRef>
              <c:f>Hoja1!$D$35</c:f>
              <c:numCache>
                <c:formatCode>General</c:formatCode>
                <c:ptCount val="1"/>
                <c:pt idx="0">
                  <c:v>0.46300000000000002</c:v>
                </c:pt>
              </c:numCache>
            </c:numRef>
          </c:yVal>
          <c:smooth val="0"/>
        </c:ser>
        <c:ser>
          <c:idx val="6"/>
          <c:order val="6"/>
          <c:tx>
            <c:strRef>
              <c:f>Hoja1!$C$36</c:f>
              <c:strCache>
                <c:ptCount val="1"/>
                <c:pt idx="0">
                  <c:v>Ofrece varias opciones de diferidos</c:v>
                </c:pt>
              </c:strCache>
            </c:strRef>
          </c:tx>
          <c:spPr>
            <a:ln w="28575">
              <a:noFill/>
            </a:ln>
          </c:spPr>
          <c:marker>
            <c:symbol val="circle"/>
            <c:size val="7"/>
            <c:spPr>
              <a:solidFill>
                <a:schemeClr val="tx1"/>
              </a:solidFill>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layout/>
                <c15:showLeaderLines val="0"/>
              </c:ext>
            </c:extLst>
          </c:dLbls>
          <c:xVal>
            <c:numRef>
              <c:f>Hoja1!$F$36</c:f>
              <c:numCache>
                <c:formatCode>0</c:formatCode>
                <c:ptCount val="1"/>
                <c:pt idx="0">
                  <c:v>-3.3150431245802245</c:v>
                </c:pt>
              </c:numCache>
            </c:numRef>
          </c:xVal>
          <c:yVal>
            <c:numRef>
              <c:f>Hoja1!$D$36</c:f>
              <c:numCache>
                <c:formatCode>General</c:formatCode>
                <c:ptCount val="1"/>
                <c:pt idx="0">
                  <c:v>0.45200000000000001</c:v>
                </c:pt>
              </c:numCache>
            </c:numRef>
          </c:yVal>
          <c:smooth val="0"/>
        </c:ser>
        <c:ser>
          <c:idx val="7"/>
          <c:order val="7"/>
          <c:tx>
            <c:strRef>
              <c:f>Hoja1!$C$37</c:f>
              <c:strCache>
                <c:ptCount val="1"/>
                <c:pt idx="0">
                  <c:v>Ayuda en casos de emergencia</c:v>
                </c:pt>
              </c:strCache>
            </c:strRef>
          </c:tx>
          <c:spPr>
            <a:ln w="28575">
              <a:noFill/>
            </a:ln>
          </c:spPr>
          <c:marker>
            <c:symbol val="circle"/>
            <c:size val="7"/>
            <c:spPr>
              <a:solidFill>
                <a:schemeClr val="tx1"/>
              </a:solidFill>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layout/>
                <c15:showLeaderLines val="0"/>
              </c:ext>
            </c:extLst>
          </c:dLbls>
          <c:xVal>
            <c:numRef>
              <c:f>Hoja1!$F$37</c:f>
              <c:numCache>
                <c:formatCode>0</c:formatCode>
                <c:ptCount val="1"/>
                <c:pt idx="0">
                  <c:v>-2.701270005074452</c:v>
                </c:pt>
              </c:numCache>
            </c:numRef>
          </c:xVal>
          <c:yVal>
            <c:numRef>
              <c:f>Hoja1!$D$37</c:f>
              <c:numCache>
                <c:formatCode>General</c:formatCode>
                <c:ptCount val="1"/>
                <c:pt idx="0">
                  <c:v>0.39200000000000002</c:v>
                </c:pt>
              </c:numCache>
            </c:numRef>
          </c:yVal>
          <c:smooth val="0"/>
        </c:ser>
        <c:ser>
          <c:idx val="8"/>
          <c:order val="8"/>
          <c:tx>
            <c:strRef>
              <c:f>Hoja1!$C$38</c:f>
              <c:strCache>
                <c:ptCount val="1"/>
                <c:pt idx="0">
                  <c:v>Tiene el mejor servicio al cliente</c:v>
                </c:pt>
              </c:strCache>
            </c:strRef>
          </c:tx>
          <c:spPr>
            <a:ln w="28575">
              <a:noFill/>
            </a:ln>
          </c:spPr>
          <c:marker>
            <c:symbol val="circle"/>
            <c:size val="7"/>
            <c:spPr>
              <a:solidFill>
                <a:schemeClr val="tx1"/>
              </a:solidFill>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layout/>
                <c15:showLeaderLines val="0"/>
              </c:ext>
            </c:extLst>
          </c:dLbls>
          <c:xVal>
            <c:numRef>
              <c:f>Hoja1!$F$38</c:f>
              <c:numCache>
                <c:formatCode>0</c:formatCode>
                <c:ptCount val="1"/>
                <c:pt idx="0">
                  <c:v>-0.50688940634900881</c:v>
                </c:pt>
              </c:numCache>
            </c:numRef>
          </c:xVal>
          <c:yVal>
            <c:numRef>
              <c:f>Hoja1!$D$38</c:f>
              <c:numCache>
                <c:formatCode>General</c:formatCode>
                <c:ptCount val="1"/>
                <c:pt idx="0">
                  <c:v>0.33</c:v>
                </c:pt>
              </c:numCache>
            </c:numRef>
          </c:yVal>
          <c:smooth val="0"/>
        </c:ser>
        <c:ser>
          <c:idx val="9"/>
          <c:order val="9"/>
          <c:tx>
            <c:strRef>
              <c:f>Hoja1!$C$39</c:f>
              <c:strCache>
                <c:ptCount val="1"/>
                <c:pt idx="0">
                  <c:v>Le tengo miedo / recelo</c:v>
                </c:pt>
              </c:strCache>
            </c:strRef>
          </c:tx>
          <c:spPr>
            <a:ln w="28575">
              <a:noFill/>
            </a:ln>
          </c:spPr>
          <c:marker>
            <c:symbol val="circle"/>
            <c:size val="7"/>
            <c:spPr>
              <a:solidFill>
                <a:schemeClr val="tx1"/>
              </a:solidFill>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layout/>
                <c15:showLeaderLines val="0"/>
              </c:ext>
            </c:extLst>
          </c:dLbls>
          <c:xVal>
            <c:numRef>
              <c:f>Hoja1!$F$39</c:f>
              <c:numCache>
                <c:formatCode>0</c:formatCode>
                <c:ptCount val="1"/>
                <c:pt idx="0">
                  <c:v>-2.3649466672955484</c:v>
                </c:pt>
              </c:numCache>
            </c:numRef>
          </c:xVal>
          <c:yVal>
            <c:numRef>
              <c:f>Hoja1!$D$39</c:f>
              <c:numCache>
                <c:formatCode>General</c:formatCode>
                <c:ptCount val="1"/>
                <c:pt idx="0">
                  <c:v>0.27100000000000002</c:v>
                </c:pt>
              </c:numCache>
            </c:numRef>
          </c:yVal>
          <c:smooth val="0"/>
        </c:ser>
        <c:ser>
          <c:idx val="10"/>
          <c:order val="10"/>
          <c:tx>
            <c:strRef>
              <c:f>Hoja1!$C$40</c:f>
              <c:strCache>
                <c:ptCount val="1"/>
                <c:pt idx="0">
                  <c:v>Es aceptada internacionalmente</c:v>
                </c:pt>
              </c:strCache>
            </c:strRef>
          </c:tx>
          <c:spPr>
            <a:ln w="28575">
              <a:noFill/>
            </a:ln>
          </c:spPr>
          <c:marker>
            <c:symbol val="circle"/>
            <c:size val="7"/>
            <c:spPr>
              <a:solidFill>
                <a:schemeClr val="tx1"/>
              </a:solidFill>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layout/>
                <c15:showLeaderLines val="0"/>
              </c:ext>
            </c:extLst>
          </c:dLbls>
          <c:xVal>
            <c:numRef>
              <c:f>Hoja1!$F$40</c:f>
              <c:numCache>
                <c:formatCode>0</c:formatCode>
                <c:ptCount val="1"/>
                <c:pt idx="0">
                  <c:v>4.9677004030583163</c:v>
                </c:pt>
              </c:numCache>
            </c:numRef>
          </c:xVal>
          <c:yVal>
            <c:numRef>
              <c:f>Hoja1!$D$40</c:f>
              <c:numCache>
                <c:formatCode>General</c:formatCode>
                <c:ptCount val="1"/>
                <c:pt idx="0">
                  <c:v>0.23</c:v>
                </c:pt>
              </c:numCache>
            </c:numRef>
          </c:yVal>
          <c:smooth val="0"/>
        </c:ser>
        <c:ser>
          <c:idx val="11"/>
          <c:order val="11"/>
          <c:tx>
            <c:strRef>
              <c:f>Hoja1!$C$41</c:f>
              <c:strCache>
                <c:ptCount val="1"/>
                <c:pt idx="0">
                  <c:v>Devuelve hasta el 1% de los consumos</c:v>
                </c:pt>
              </c:strCache>
            </c:strRef>
          </c:tx>
          <c:spPr>
            <a:ln w="28575">
              <a:noFill/>
            </a:ln>
          </c:spPr>
          <c:marker>
            <c:symbol val="circle"/>
            <c:size val="7"/>
            <c:spPr>
              <a:solidFill>
                <a:schemeClr val="tx1"/>
              </a:solidFill>
            </c:spPr>
          </c:marker>
          <c:dLbls>
            <c:dLbl>
              <c:idx val="0"/>
              <c:layout>
                <c:manualLayout>
                  <c:x val="-8.9092556998026859E-2"/>
                  <c:y val="-0.11567719552297331"/>
                </c:manualLayout>
              </c:layou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Hoja1!$F$41</c:f>
              <c:numCache>
                <c:formatCode>0</c:formatCode>
                <c:ptCount val="1"/>
                <c:pt idx="0">
                  <c:v>-1.6054359712047486</c:v>
                </c:pt>
              </c:numCache>
            </c:numRef>
          </c:xVal>
          <c:yVal>
            <c:numRef>
              <c:f>Hoja1!$D$41</c:f>
              <c:numCache>
                <c:formatCode>General</c:formatCode>
                <c:ptCount val="1"/>
                <c:pt idx="0">
                  <c:v>0</c:v>
                </c:pt>
              </c:numCache>
            </c:numRef>
          </c:yVal>
          <c:smooth val="0"/>
        </c:ser>
        <c:ser>
          <c:idx val="12"/>
          <c:order val="12"/>
          <c:tx>
            <c:strRef>
              <c:f>Hoja1!$C$42</c:f>
              <c:strCache>
                <c:ptCount val="1"/>
                <c:pt idx="0">
                  <c:v>Es aceptada internacionalmente</c:v>
                </c:pt>
              </c:strCache>
            </c:strRef>
          </c:tx>
          <c:spPr>
            <a:ln w="28575">
              <a:noFill/>
            </a:ln>
          </c:spPr>
          <c:marker>
            <c:symbol val="circle"/>
            <c:size val="7"/>
            <c:spPr>
              <a:solidFill>
                <a:schemeClr val="tx1"/>
              </a:solidFill>
            </c:spPr>
          </c:marker>
          <c:dLbls>
            <c:dLbl>
              <c:idx val="0"/>
              <c:layout>
                <c:manualLayout>
                  <c:x val="-9.5639238969983387E-2"/>
                  <c:y val="-3.7324580723353172E-2"/>
                </c:manualLayout>
              </c:layout>
              <c:dLblPos val="r"/>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dLblPos val="t"/>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Hoja1!$F$42</c:f>
              <c:numCache>
                <c:formatCode>0</c:formatCode>
                <c:ptCount val="1"/>
                <c:pt idx="0">
                  <c:v>9.2098785276700035</c:v>
                </c:pt>
              </c:numCache>
            </c:numRef>
          </c:xVal>
          <c:yVal>
            <c:numRef>
              <c:f>Hoja1!$D$42</c:f>
              <c:numCache>
                <c:formatCode>General</c:formatCode>
                <c:ptCount val="1"/>
                <c:pt idx="0">
                  <c:v>0</c:v>
                </c:pt>
              </c:numCache>
            </c:numRef>
          </c:yVal>
          <c:smooth val="0"/>
        </c:ser>
        <c:ser>
          <c:idx val="13"/>
          <c:order val="13"/>
          <c:tx>
            <c:strRef>
              <c:f>Hoja1!$C$43</c:f>
              <c:strCache>
                <c:ptCount val="1"/>
                <c:pt idx="0">
                  <c:v>Ofrece las mejores ofertas y descuentos</c:v>
                </c:pt>
              </c:strCache>
            </c:strRef>
          </c:tx>
          <c:spPr>
            <a:ln w="28575">
              <a:noFill/>
            </a:ln>
          </c:spPr>
          <c:marker>
            <c:symbol val="circle"/>
            <c:size val="7"/>
            <c:spPr>
              <a:solidFill>
                <a:schemeClr val="tx1"/>
              </a:solidFill>
            </c:spPr>
          </c:marker>
          <c:dLbls>
            <c:dLbl>
              <c:idx val="0"/>
              <c:layout>
                <c:manualLayout>
                  <c:x val="-1.6044927819303452E-3"/>
                  <c:y val="-4.5977011494252873E-2"/>
                </c:manualLayout>
              </c:layou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Hoja1!$F$43</c:f>
              <c:numCache>
                <c:formatCode>0</c:formatCode>
                <c:ptCount val="1"/>
                <c:pt idx="0">
                  <c:v>-0.3310008426972626</c:v>
                </c:pt>
              </c:numCache>
            </c:numRef>
          </c:xVal>
          <c:yVal>
            <c:numRef>
              <c:f>Hoja1!$D$43</c:f>
              <c:numCache>
                <c:formatCode>General</c:formatCode>
                <c:ptCount val="1"/>
                <c:pt idx="0">
                  <c:v>0</c:v>
                </c:pt>
              </c:numCache>
            </c:numRef>
          </c:yVal>
          <c:smooth val="0"/>
        </c:ser>
        <c:ser>
          <c:idx val="14"/>
          <c:order val="14"/>
          <c:tx>
            <c:strRef>
              <c:f>Hoja1!$C$44</c:f>
              <c:strCache>
                <c:ptCount val="1"/>
                <c:pt idx="0">
                  <c:v>Es prestigiosa</c:v>
                </c:pt>
              </c:strCache>
            </c:strRef>
          </c:tx>
          <c:spPr>
            <a:ln w="28575">
              <a:noFill/>
            </a:ln>
          </c:spPr>
          <c:marker>
            <c:spPr>
              <a:solidFill>
                <a:schemeClr val="tx1"/>
              </a:solidFill>
            </c:spPr>
          </c:marker>
          <c:dLbls>
            <c:dLbl>
              <c:idx val="0"/>
              <c:layout>
                <c:manualLayout>
                  <c:x val="-4.9872097960143538E-2"/>
                  <c:y val="-6.4136448137612823E-2"/>
                </c:manualLayout>
              </c:layou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Hoja1!$F$44</c:f>
              <c:numCache>
                <c:formatCode>0</c:formatCode>
                <c:ptCount val="1"/>
                <c:pt idx="0">
                  <c:v>10.483529994323032</c:v>
                </c:pt>
              </c:numCache>
            </c:numRef>
          </c:xVal>
          <c:yVal>
            <c:numRef>
              <c:f>Hoja1!$D$44</c:f>
              <c:numCache>
                <c:formatCode>General</c:formatCode>
                <c:ptCount val="1"/>
                <c:pt idx="0">
                  <c:v>0</c:v>
                </c:pt>
              </c:numCache>
            </c:numRef>
          </c:yVal>
          <c:smooth val="0"/>
        </c:ser>
        <c:ser>
          <c:idx val="15"/>
          <c:order val="15"/>
          <c:tx>
            <c:strRef>
              <c:f>Hoja1!$C$45</c:f>
              <c:strCache>
                <c:ptCount val="1"/>
                <c:pt idx="0">
                  <c:v>Ayuda a salir adelante, a progresar</c:v>
                </c:pt>
              </c:strCache>
            </c:strRef>
          </c:tx>
          <c:spPr>
            <a:ln w="28575">
              <a:noFill/>
            </a:ln>
          </c:spPr>
          <c:marker>
            <c:symbol val="circle"/>
            <c:size val="7"/>
            <c:spPr>
              <a:solidFill>
                <a:schemeClr val="tx1"/>
              </a:solidFill>
            </c:spPr>
          </c:marker>
          <c:dLbls>
            <c:dLbl>
              <c:idx val="0"/>
              <c:layout>
                <c:manualLayout>
                  <c:x val="0"/>
                  <c:y val="-0.13668591426071741"/>
                </c:manualLayout>
              </c:layou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Hoja1!$F$45</c:f>
              <c:numCache>
                <c:formatCode>0</c:formatCode>
                <c:ptCount val="1"/>
                <c:pt idx="0">
                  <c:v>-1.5495749792611164</c:v>
                </c:pt>
              </c:numCache>
            </c:numRef>
          </c:xVal>
          <c:yVal>
            <c:numRef>
              <c:f>Hoja1!$D$45</c:f>
              <c:numCache>
                <c:formatCode>General</c:formatCode>
                <c:ptCount val="1"/>
                <c:pt idx="0">
                  <c:v>0</c:v>
                </c:pt>
              </c:numCache>
            </c:numRef>
          </c:yVal>
          <c:smooth val="0"/>
        </c:ser>
        <c:ser>
          <c:idx val="16"/>
          <c:order val="16"/>
          <c:tx>
            <c:strRef>
              <c:f>Hoja1!$C$46</c:f>
              <c:strCache>
                <c:ptCount val="1"/>
                <c:pt idx="0">
                  <c:v>Tiene el mejor programa de millas</c:v>
                </c:pt>
              </c:strCache>
            </c:strRef>
          </c:tx>
          <c:spPr>
            <a:ln w="28575">
              <a:noFill/>
            </a:ln>
          </c:spPr>
          <c:marker>
            <c:symbol val="circle"/>
            <c:size val="7"/>
            <c:spPr>
              <a:solidFill>
                <a:schemeClr val="tx1"/>
              </a:solidFill>
            </c:spPr>
          </c:marker>
          <c:dLbls>
            <c:dLbl>
              <c:idx val="0"/>
              <c:layout>
                <c:manualLayout>
                  <c:x val="-1.3523741113913354E-16"/>
                  <c:y val="-0.11574074074074074"/>
                </c:manualLayout>
              </c:layou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trendline>
            <c:trendlineType val="linear"/>
            <c:dispRSqr val="0"/>
            <c:dispEq val="0"/>
          </c:trendline>
          <c:xVal>
            <c:numRef>
              <c:f>Hoja1!$F$46</c:f>
              <c:numCache>
                <c:formatCode>0</c:formatCode>
                <c:ptCount val="1"/>
                <c:pt idx="0">
                  <c:v>5.2990802699179476</c:v>
                </c:pt>
              </c:numCache>
            </c:numRef>
          </c:xVal>
          <c:yVal>
            <c:numRef>
              <c:f>Hoja1!$D$46</c:f>
              <c:numCache>
                <c:formatCode>General</c:formatCode>
                <c:ptCount val="1"/>
                <c:pt idx="0">
                  <c:v>0</c:v>
                </c:pt>
              </c:numCache>
            </c:numRef>
          </c:yVal>
          <c:smooth val="0"/>
        </c:ser>
        <c:dLbls>
          <c:showLegendKey val="0"/>
          <c:showVal val="0"/>
          <c:showCatName val="0"/>
          <c:showSerName val="0"/>
          <c:showPercent val="0"/>
          <c:showBubbleSize val="0"/>
        </c:dLbls>
        <c:axId val="277980160"/>
        <c:axId val="277979768"/>
      </c:scatterChart>
      <c:valAx>
        <c:axId val="277980160"/>
        <c:scaling>
          <c:orientation val="minMax"/>
        </c:scaling>
        <c:delete val="0"/>
        <c:axPos val="b"/>
        <c:numFmt formatCode="0" sourceLinked="1"/>
        <c:majorTickMark val="out"/>
        <c:minorTickMark val="none"/>
        <c:tickLblPos val="nextTo"/>
        <c:crossAx val="277979768"/>
        <c:crosses val="autoZero"/>
        <c:crossBetween val="midCat"/>
      </c:valAx>
      <c:valAx>
        <c:axId val="277979768"/>
        <c:scaling>
          <c:orientation val="minMax"/>
        </c:scaling>
        <c:delete val="0"/>
        <c:axPos val="l"/>
        <c:numFmt formatCode="General" sourceLinked="1"/>
        <c:majorTickMark val="out"/>
        <c:minorTickMark val="none"/>
        <c:tickLblPos val="nextTo"/>
        <c:crossAx val="277980160"/>
        <c:crosses val="autoZero"/>
        <c:crossBetween val="midCat"/>
      </c:valAx>
    </c:plotArea>
    <c:plotVisOnly val="1"/>
    <c:dispBlanksAs val="gap"/>
    <c:showDLblsOverMax val="0"/>
  </c:chart>
  <c:txPr>
    <a:bodyPr/>
    <a:lstStyle/>
    <a:p>
      <a:pPr>
        <a:defRPr sz="600"/>
      </a:pPr>
      <a:endParaRPr lang="es-MX"/>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scatterChart>
        <c:scatterStyle val="lineMarker"/>
        <c:varyColors val="0"/>
        <c:ser>
          <c:idx val="0"/>
          <c:order val="0"/>
          <c:tx>
            <c:strRef>
              <c:f>Hoja1!$C$30</c:f>
              <c:strCache>
                <c:ptCount val="1"/>
                <c:pt idx="0">
                  <c:v>Permite pagar la totalidad de mis consumos a fin de mes</c:v>
                </c:pt>
              </c:strCache>
            </c:strRef>
          </c:tx>
          <c:spPr>
            <a:ln w="28575">
              <a:noFill/>
            </a:ln>
          </c:spPr>
          <c:marker>
            <c:symbol val="circle"/>
            <c:size val="7"/>
            <c:spPr>
              <a:solidFill>
                <a:schemeClr val="tx1"/>
              </a:solidFill>
            </c:spPr>
          </c:marker>
          <c:dLbls>
            <c:dLbl>
              <c:idx val="0"/>
              <c:layout>
                <c:manualLayout>
                  <c:x val="0"/>
                  <c:y val="-4.6040969016803934E-2"/>
                </c:manualLayout>
              </c:layou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Hoja1!$G$30</c:f>
              <c:numCache>
                <c:formatCode>0</c:formatCode>
                <c:ptCount val="1"/>
                <c:pt idx="0">
                  <c:v>-0.81903912381596466</c:v>
                </c:pt>
              </c:numCache>
            </c:numRef>
          </c:xVal>
          <c:yVal>
            <c:numRef>
              <c:f>Hoja1!$D$30</c:f>
              <c:numCache>
                <c:formatCode>General</c:formatCode>
                <c:ptCount val="1"/>
                <c:pt idx="0">
                  <c:v>0.751</c:v>
                </c:pt>
              </c:numCache>
            </c:numRef>
          </c:yVal>
          <c:smooth val="0"/>
        </c:ser>
        <c:ser>
          <c:idx val="1"/>
          <c:order val="1"/>
          <c:tx>
            <c:strRef>
              <c:f>Hoja1!$C$31</c:f>
              <c:strCache>
                <c:ptCount val="1"/>
                <c:pt idx="0">
                  <c:v>Es confiable</c:v>
                </c:pt>
              </c:strCache>
            </c:strRef>
          </c:tx>
          <c:spPr>
            <a:ln w="28575">
              <a:noFill/>
            </a:ln>
          </c:spPr>
          <c:marker>
            <c:symbol val="circle"/>
            <c:size val="7"/>
            <c:spPr>
              <a:solidFill>
                <a:schemeClr val="tx1"/>
              </a:solidFill>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layout/>
                <c15:showLeaderLines val="0"/>
              </c:ext>
            </c:extLst>
          </c:dLbls>
          <c:xVal>
            <c:numRef>
              <c:f>Hoja1!$G$31</c:f>
              <c:numCache>
                <c:formatCode>0</c:formatCode>
                <c:ptCount val="1"/>
                <c:pt idx="0">
                  <c:v>-1.796348368062108</c:v>
                </c:pt>
              </c:numCache>
            </c:numRef>
          </c:xVal>
          <c:yVal>
            <c:numRef>
              <c:f>Hoja1!$D$31</c:f>
              <c:numCache>
                <c:formatCode>General</c:formatCode>
                <c:ptCount val="1"/>
                <c:pt idx="0">
                  <c:v>0.68700000000000006</c:v>
                </c:pt>
              </c:numCache>
            </c:numRef>
          </c:yVal>
          <c:smooth val="0"/>
        </c:ser>
        <c:ser>
          <c:idx val="2"/>
          <c:order val="2"/>
          <c:tx>
            <c:strRef>
              <c:f>Hoja1!$C$32</c:f>
              <c:strCache>
                <c:ptCount val="1"/>
                <c:pt idx="0">
                  <c:v>Rapidez para obtener efectivo</c:v>
                </c:pt>
              </c:strCache>
            </c:strRef>
          </c:tx>
          <c:spPr>
            <a:ln w="28575">
              <a:noFill/>
            </a:ln>
          </c:spPr>
          <c:marker>
            <c:symbol val="circle"/>
            <c:size val="7"/>
            <c:spPr>
              <a:solidFill>
                <a:schemeClr val="tx1"/>
              </a:solidFill>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layout/>
                <c15:showLeaderLines val="0"/>
              </c:ext>
            </c:extLst>
          </c:dLbls>
          <c:xVal>
            <c:numRef>
              <c:f>Hoja1!$G$32</c:f>
              <c:numCache>
                <c:formatCode>0</c:formatCode>
                <c:ptCount val="1"/>
                <c:pt idx="0">
                  <c:v>-1.2960547891010696</c:v>
                </c:pt>
              </c:numCache>
            </c:numRef>
          </c:xVal>
          <c:yVal>
            <c:numRef>
              <c:f>Hoja1!$D$32</c:f>
              <c:numCache>
                <c:formatCode>General</c:formatCode>
                <c:ptCount val="1"/>
                <c:pt idx="0">
                  <c:v>0.65400000000000003</c:v>
                </c:pt>
              </c:numCache>
            </c:numRef>
          </c:yVal>
          <c:smooth val="0"/>
        </c:ser>
        <c:ser>
          <c:idx val="3"/>
          <c:order val="3"/>
          <c:tx>
            <c:strRef>
              <c:f>Hoja1!$C$33</c:f>
              <c:strCache>
                <c:ptCount val="1"/>
                <c:pt idx="0">
                  <c:v>Claridad y transparencia en lo que me ofrece y cobra</c:v>
                </c:pt>
              </c:strCache>
            </c:strRef>
          </c:tx>
          <c:spPr>
            <a:ln w="28575">
              <a:noFill/>
            </a:ln>
          </c:spPr>
          <c:marker>
            <c:symbol val="circle"/>
            <c:size val="7"/>
            <c:spPr>
              <a:solidFill>
                <a:schemeClr val="tx1"/>
              </a:solidFill>
            </c:spPr>
          </c:marker>
          <c:dLbls>
            <c:dLbl>
              <c:idx val="0"/>
              <c:layout>
                <c:manualLayout>
                  <c:x val="4.4922347574126352E-2"/>
                  <c:y val="7.7397142470620142E-2"/>
                </c:manualLayout>
              </c:layou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Hoja1!$G$33</c:f>
              <c:numCache>
                <c:formatCode>0</c:formatCode>
                <c:ptCount val="1"/>
                <c:pt idx="0">
                  <c:v>-0.54365733259214366</c:v>
                </c:pt>
              </c:numCache>
            </c:numRef>
          </c:xVal>
          <c:yVal>
            <c:numRef>
              <c:f>Hoja1!$D$33</c:f>
              <c:numCache>
                <c:formatCode>General</c:formatCode>
                <c:ptCount val="1"/>
                <c:pt idx="0">
                  <c:v>0.59</c:v>
                </c:pt>
              </c:numCache>
            </c:numRef>
          </c:yVal>
          <c:smooth val="0"/>
        </c:ser>
        <c:ser>
          <c:idx val="4"/>
          <c:order val="4"/>
          <c:tx>
            <c:strRef>
              <c:f>Hoja1!$C$34</c:f>
              <c:strCache>
                <c:ptCount val="1"/>
                <c:pt idx="0">
                  <c:v>Cobra bajas tasas de interés</c:v>
                </c:pt>
              </c:strCache>
            </c:strRef>
          </c:tx>
          <c:spPr>
            <a:ln w="28575">
              <a:noFill/>
            </a:ln>
          </c:spPr>
          <c:marker>
            <c:symbol val="circle"/>
            <c:size val="7"/>
            <c:spPr>
              <a:solidFill>
                <a:schemeClr val="tx1"/>
              </a:solidFill>
            </c:spPr>
          </c:marker>
          <c:xVal>
            <c:numRef>
              <c:f>Hoja1!$G$34</c:f>
              <c:numCache>
                <c:formatCode>0</c:formatCode>
                <c:ptCount val="1"/>
                <c:pt idx="0">
                  <c:v>0.78537390215487068</c:v>
                </c:pt>
              </c:numCache>
            </c:numRef>
          </c:xVal>
          <c:yVal>
            <c:numRef>
              <c:f>Hoja1!$D$34</c:f>
              <c:numCache>
                <c:formatCode>General</c:formatCode>
                <c:ptCount val="1"/>
                <c:pt idx="0">
                  <c:v>0.58599999999999997</c:v>
                </c:pt>
              </c:numCache>
            </c:numRef>
          </c:yVal>
          <c:smooth val="0"/>
        </c:ser>
        <c:ser>
          <c:idx val="5"/>
          <c:order val="5"/>
          <c:tx>
            <c:strRef>
              <c:f>Hoja1!$C$35</c:f>
              <c:strCache>
                <c:ptCount val="1"/>
                <c:pt idx="0">
                  <c:v>Permite pagar servicios con débitos automáticos</c:v>
                </c:pt>
              </c:strCache>
            </c:strRef>
          </c:tx>
          <c:spPr>
            <a:ln w="28575">
              <a:noFill/>
            </a:ln>
          </c:spPr>
          <c:marker>
            <c:spPr>
              <a:solidFill>
                <a:schemeClr val="tx1"/>
              </a:solidFill>
            </c:spPr>
          </c:marker>
          <c:dLbls>
            <c:dLbl>
              <c:idx val="0"/>
              <c:layout>
                <c:manualLayout>
                  <c:x val="-0.10511756569847856"/>
                  <c:y val="-0.10185185185185185"/>
                </c:manualLayout>
              </c:layou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Hoja1!$G$35</c:f>
              <c:numCache>
                <c:formatCode>0</c:formatCode>
                <c:ptCount val="1"/>
                <c:pt idx="0">
                  <c:v>-0.83707602573859852</c:v>
                </c:pt>
              </c:numCache>
            </c:numRef>
          </c:xVal>
          <c:yVal>
            <c:numRef>
              <c:f>Hoja1!$D$35</c:f>
              <c:numCache>
                <c:formatCode>General</c:formatCode>
                <c:ptCount val="1"/>
                <c:pt idx="0">
                  <c:v>0.46300000000000002</c:v>
                </c:pt>
              </c:numCache>
            </c:numRef>
          </c:yVal>
          <c:smooth val="0"/>
        </c:ser>
        <c:ser>
          <c:idx val="6"/>
          <c:order val="6"/>
          <c:tx>
            <c:strRef>
              <c:f>Hoja1!$C$36</c:f>
              <c:strCache>
                <c:ptCount val="1"/>
                <c:pt idx="0">
                  <c:v>Ofrece varias opciones de diferidos</c:v>
                </c:pt>
              </c:strCache>
            </c:strRef>
          </c:tx>
          <c:spPr>
            <a:ln w="28575">
              <a:noFill/>
            </a:ln>
          </c:spPr>
          <c:marker>
            <c:symbol val="circle"/>
            <c:size val="7"/>
            <c:spPr>
              <a:solidFill>
                <a:schemeClr val="tx1"/>
              </a:solidFill>
            </c:spPr>
          </c:marker>
          <c:dLbls>
            <c:dLbl>
              <c:idx val="0"/>
              <c:layout>
                <c:manualLayout>
                  <c:x val="-0.17488983956840912"/>
                  <c:y val="-5.8237547892720308E-2"/>
                </c:manualLayout>
              </c:layou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Hoja1!$G$36</c:f>
              <c:numCache>
                <c:formatCode>0</c:formatCode>
                <c:ptCount val="1"/>
                <c:pt idx="0">
                  <c:v>-0.33277622474147961</c:v>
                </c:pt>
              </c:numCache>
            </c:numRef>
          </c:xVal>
          <c:yVal>
            <c:numRef>
              <c:f>Hoja1!$D$36</c:f>
              <c:numCache>
                <c:formatCode>General</c:formatCode>
                <c:ptCount val="1"/>
                <c:pt idx="0">
                  <c:v>0.45200000000000001</c:v>
                </c:pt>
              </c:numCache>
            </c:numRef>
          </c:yVal>
          <c:smooth val="0"/>
        </c:ser>
        <c:ser>
          <c:idx val="7"/>
          <c:order val="7"/>
          <c:tx>
            <c:strRef>
              <c:f>Hoja1!$C$37</c:f>
              <c:strCache>
                <c:ptCount val="1"/>
                <c:pt idx="0">
                  <c:v>Ayuda en casos de emergencia</c:v>
                </c:pt>
              </c:strCache>
            </c:strRef>
          </c:tx>
          <c:spPr>
            <a:ln w="28575">
              <a:noFill/>
            </a:ln>
          </c:spPr>
          <c:marker>
            <c:symbol val="circle"/>
            <c:size val="7"/>
            <c:spPr>
              <a:solidFill>
                <a:schemeClr val="tx1"/>
              </a:solidFill>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layout/>
                <c15:showLeaderLines val="0"/>
              </c:ext>
            </c:extLst>
          </c:dLbls>
          <c:xVal>
            <c:numRef>
              <c:f>Hoja1!$G$37</c:f>
              <c:numCache>
                <c:formatCode>0</c:formatCode>
                <c:ptCount val="1"/>
                <c:pt idx="0">
                  <c:v>-1.1234095850369901</c:v>
                </c:pt>
              </c:numCache>
            </c:numRef>
          </c:xVal>
          <c:yVal>
            <c:numRef>
              <c:f>Hoja1!$D$37</c:f>
              <c:numCache>
                <c:formatCode>General</c:formatCode>
                <c:ptCount val="1"/>
                <c:pt idx="0">
                  <c:v>0.39200000000000002</c:v>
                </c:pt>
              </c:numCache>
            </c:numRef>
          </c:yVal>
          <c:smooth val="0"/>
        </c:ser>
        <c:ser>
          <c:idx val="8"/>
          <c:order val="8"/>
          <c:tx>
            <c:strRef>
              <c:f>Hoja1!$C$38</c:f>
              <c:strCache>
                <c:ptCount val="1"/>
                <c:pt idx="0">
                  <c:v>Tiene el mejor servicio al cliente</c:v>
                </c:pt>
              </c:strCache>
            </c:strRef>
          </c:tx>
          <c:spPr>
            <a:ln w="28575">
              <a:noFill/>
            </a:ln>
          </c:spPr>
          <c:marker>
            <c:symbol val="circle"/>
            <c:size val="7"/>
            <c:spPr>
              <a:solidFill>
                <a:schemeClr val="tx1"/>
              </a:solidFill>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layout/>
                <c15:showLeaderLines val="0"/>
              </c:ext>
            </c:extLst>
          </c:dLbls>
          <c:xVal>
            <c:numRef>
              <c:f>Hoja1!$G$38</c:f>
              <c:numCache>
                <c:formatCode>0</c:formatCode>
                <c:ptCount val="1"/>
                <c:pt idx="0">
                  <c:v>-1.2270216236135836</c:v>
                </c:pt>
              </c:numCache>
            </c:numRef>
          </c:xVal>
          <c:yVal>
            <c:numRef>
              <c:f>Hoja1!$D$38</c:f>
              <c:numCache>
                <c:formatCode>General</c:formatCode>
                <c:ptCount val="1"/>
                <c:pt idx="0">
                  <c:v>0.33</c:v>
                </c:pt>
              </c:numCache>
            </c:numRef>
          </c:yVal>
          <c:smooth val="0"/>
        </c:ser>
        <c:ser>
          <c:idx val="9"/>
          <c:order val="9"/>
          <c:tx>
            <c:strRef>
              <c:f>Hoja1!$C$39</c:f>
              <c:strCache>
                <c:ptCount val="1"/>
                <c:pt idx="0">
                  <c:v>Le tengo miedo / recelo</c:v>
                </c:pt>
              </c:strCache>
            </c:strRef>
          </c:tx>
          <c:spPr>
            <a:ln w="28575">
              <a:noFill/>
            </a:ln>
          </c:spPr>
          <c:marker>
            <c:symbol val="circle"/>
            <c:size val="7"/>
            <c:spPr>
              <a:solidFill>
                <a:schemeClr val="tx1"/>
              </a:solidFill>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layout/>
                <c15:showLeaderLines val="0"/>
              </c:ext>
            </c:extLst>
          </c:dLbls>
          <c:xVal>
            <c:numRef>
              <c:f>Hoja1!$G$39</c:f>
              <c:numCache>
                <c:formatCode>0</c:formatCode>
                <c:ptCount val="1"/>
                <c:pt idx="0">
                  <c:v>-0.5592474331717705</c:v>
                </c:pt>
              </c:numCache>
            </c:numRef>
          </c:xVal>
          <c:yVal>
            <c:numRef>
              <c:f>Hoja1!$D$39</c:f>
              <c:numCache>
                <c:formatCode>General</c:formatCode>
                <c:ptCount val="1"/>
                <c:pt idx="0">
                  <c:v>0.27100000000000002</c:v>
                </c:pt>
              </c:numCache>
            </c:numRef>
          </c:yVal>
          <c:smooth val="0"/>
        </c:ser>
        <c:ser>
          <c:idx val="10"/>
          <c:order val="10"/>
          <c:tx>
            <c:strRef>
              <c:f>Hoja1!$C$40</c:f>
              <c:strCache>
                <c:ptCount val="1"/>
                <c:pt idx="0">
                  <c:v>Es aceptada internacionalmente</c:v>
                </c:pt>
              </c:strCache>
            </c:strRef>
          </c:tx>
          <c:spPr>
            <a:ln w="28575">
              <a:noFill/>
            </a:ln>
          </c:spPr>
          <c:marker>
            <c:symbol val="circle"/>
            <c:size val="7"/>
            <c:spPr>
              <a:solidFill>
                <a:schemeClr val="tx1"/>
              </a:solidFill>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layout/>
                <c15:showLeaderLines val="0"/>
              </c:ext>
            </c:extLst>
          </c:dLbls>
          <c:xVal>
            <c:numRef>
              <c:f>Hoja1!$G$40</c:f>
              <c:numCache>
                <c:formatCode>0</c:formatCode>
                <c:ptCount val="1"/>
                <c:pt idx="0">
                  <c:v>-0.74021267929466106</c:v>
                </c:pt>
              </c:numCache>
            </c:numRef>
          </c:xVal>
          <c:yVal>
            <c:numRef>
              <c:f>Hoja1!$D$40</c:f>
              <c:numCache>
                <c:formatCode>General</c:formatCode>
                <c:ptCount val="1"/>
                <c:pt idx="0">
                  <c:v>0.23</c:v>
                </c:pt>
              </c:numCache>
            </c:numRef>
          </c:yVal>
          <c:smooth val="0"/>
        </c:ser>
        <c:ser>
          <c:idx val="11"/>
          <c:order val="11"/>
          <c:tx>
            <c:strRef>
              <c:f>Hoja1!$C$41</c:f>
              <c:strCache>
                <c:ptCount val="1"/>
                <c:pt idx="0">
                  <c:v>Devuelve hasta el 1% de los consumos</c:v>
                </c:pt>
              </c:strCache>
            </c:strRef>
          </c:tx>
          <c:spPr>
            <a:ln w="28575">
              <a:noFill/>
            </a:ln>
          </c:spPr>
          <c:marker>
            <c:symbol val="circle"/>
            <c:size val="7"/>
            <c:spPr>
              <a:solidFill>
                <a:schemeClr val="tx1"/>
              </a:solidFill>
            </c:spPr>
          </c:marker>
          <c:dLbls>
            <c:dLbl>
              <c:idx val="0"/>
              <c:layout>
                <c:manualLayout>
                  <c:x val="-1.2964444720967819E-3"/>
                  <c:y val="-0.10272666522092913"/>
                </c:manualLayout>
              </c:layou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Hoja1!$G$41</c:f>
              <c:numCache>
                <c:formatCode>0</c:formatCode>
                <c:ptCount val="1"/>
                <c:pt idx="0">
                  <c:v>7.3461530194987414</c:v>
                </c:pt>
              </c:numCache>
            </c:numRef>
          </c:xVal>
          <c:yVal>
            <c:numRef>
              <c:f>Hoja1!$D$41</c:f>
              <c:numCache>
                <c:formatCode>General</c:formatCode>
                <c:ptCount val="1"/>
                <c:pt idx="0">
                  <c:v>0</c:v>
                </c:pt>
              </c:numCache>
            </c:numRef>
          </c:yVal>
          <c:smooth val="0"/>
        </c:ser>
        <c:ser>
          <c:idx val="12"/>
          <c:order val="12"/>
          <c:tx>
            <c:strRef>
              <c:f>Hoja1!$C$42</c:f>
              <c:strCache>
                <c:ptCount val="1"/>
                <c:pt idx="0">
                  <c:v>Es aceptada internacionalmente</c:v>
                </c:pt>
              </c:strCache>
            </c:strRef>
          </c:tx>
          <c:spPr>
            <a:ln w="28575">
              <a:noFill/>
            </a:ln>
          </c:spPr>
          <c:marker>
            <c:symbol val="circle"/>
            <c:size val="7"/>
            <c:spPr>
              <a:solidFill>
                <a:schemeClr val="tx1"/>
              </a:solidFill>
            </c:spPr>
          </c:marker>
          <c:dLbls>
            <c:dLbl>
              <c:idx val="0"/>
              <c:layout>
                <c:manualLayout>
                  <c:x val="-0.16608797719775395"/>
                  <c:y val="-5.3733503468070168E-2"/>
                </c:manualLayout>
              </c:layout>
              <c:dLblPos val="r"/>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dLblPos val="t"/>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Hoja1!$G$42</c:f>
              <c:numCache>
                <c:formatCode>0</c:formatCode>
                <c:ptCount val="1"/>
                <c:pt idx="0">
                  <c:v>0.39774975384028544</c:v>
                </c:pt>
              </c:numCache>
            </c:numRef>
          </c:xVal>
          <c:yVal>
            <c:numRef>
              <c:f>Hoja1!$D$42</c:f>
              <c:numCache>
                <c:formatCode>General</c:formatCode>
                <c:ptCount val="1"/>
                <c:pt idx="0">
                  <c:v>0</c:v>
                </c:pt>
              </c:numCache>
            </c:numRef>
          </c:yVal>
          <c:smooth val="0"/>
        </c:ser>
        <c:ser>
          <c:idx val="13"/>
          <c:order val="13"/>
          <c:tx>
            <c:strRef>
              <c:f>Hoja1!$C$43</c:f>
              <c:strCache>
                <c:ptCount val="1"/>
                <c:pt idx="0">
                  <c:v>Ofrece las mejores ofertas y descuentos</c:v>
                </c:pt>
              </c:strCache>
            </c:strRef>
          </c:tx>
          <c:spPr>
            <a:ln w="28575">
              <a:noFill/>
            </a:ln>
          </c:spPr>
          <c:marker>
            <c:symbol val="circle"/>
            <c:size val="7"/>
            <c:spPr>
              <a:solidFill>
                <a:schemeClr val="tx1"/>
              </a:solidFill>
            </c:spPr>
          </c:marker>
          <c:dLbls>
            <c:dLbl>
              <c:idx val="0"/>
              <c:layout>
                <c:manualLayout>
                  <c:x val="8.6191692755521659E-2"/>
                  <c:y val="-4.1660350063324657E-2"/>
                </c:manualLayout>
              </c:layou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Hoja1!$F$43</c:f>
              <c:numCache>
                <c:formatCode>0</c:formatCode>
                <c:ptCount val="1"/>
                <c:pt idx="0">
                  <c:v>-0.3310008426972626</c:v>
                </c:pt>
              </c:numCache>
            </c:numRef>
          </c:xVal>
          <c:yVal>
            <c:numRef>
              <c:f>Hoja1!$D$43</c:f>
              <c:numCache>
                <c:formatCode>General</c:formatCode>
                <c:ptCount val="1"/>
                <c:pt idx="0">
                  <c:v>0</c:v>
                </c:pt>
              </c:numCache>
            </c:numRef>
          </c:yVal>
          <c:smooth val="0"/>
        </c:ser>
        <c:ser>
          <c:idx val="14"/>
          <c:order val="14"/>
          <c:tx>
            <c:strRef>
              <c:f>Hoja1!$C$44</c:f>
              <c:strCache>
                <c:ptCount val="1"/>
                <c:pt idx="0">
                  <c:v>Es prestigiosa</c:v>
                </c:pt>
              </c:strCache>
            </c:strRef>
          </c:tx>
          <c:spPr>
            <a:ln w="28575">
              <a:noFill/>
            </a:ln>
          </c:spPr>
          <c:marker>
            <c:spPr>
              <a:solidFill>
                <a:schemeClr val="tx1"/>
              </a:solidFill>
            </c:spPr>
          </c:marker>
          <c:dLbls>
            <c:dLbl>
              <c:idx val="0"/>
              <c:layout>
                <c:manualLayout>
                  <c:x val="-0.19976354036091767"/>
                  <c:y val="-5.5868798653424798E-2"/>
                </c:manualLayout>
              </c:layou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Hoja1!$G$44</c:f>
              <c:numCache>
                <c:formatCode>0</c:formatCode>
                <c:ptCount val="1"/>
                <c:pt idx="0">
                  <c:v>-0.32636691843479682</c:v>
                </c:pt>
              </c:numCache>
            </c:numRef>
          </c:xVal>
          <c:yVal>
            <c:numRef>
              <c:f>Hoja1!$D$44</c:f>
              <c:numCache>
                <c:formatCode>General</c:formatCode>
                <c:ptCount val="1"/>
                <c:pt idx="0">
                  <c:v>0</c:v>
                </c:pt>
              </c:numCache>
            </c:numRef>
          </c:yVal>
          <c:smooth val="0"/>
        </c:ser>
        <c:ser>
          <c:idx val="15"/>
          <c:order val="15"/>
          <c:tx>
            <c:strRef>
              <c:f>Hoja1!$C$45</c:f>
              <c:strCache>
                <c:ptCount val="1"/>
                <c:pt idx="0">
                  <c:v>Ayuda a salir adelante, a progresar</c:v>
                </c:pt>
              </c:strCache>
            </c:strRef>
          </c:tx>
          <c:spPr>
            <a:ln w="28575">
              <a:noFill/>
            </a:ln>
          </c:spPr>
          <c:marker>
            <c:symbol val="circle"/>
            <c:size val="7"/>
            <c:spPr>
              <a:solidFill>
                <a:schemeClr val="tx1"/>
              </a:solidFill>
            </c:spPr>
          </c:marker>
          <c:dLbls>
            <c:dLbl>
              <c:idx val="0"/>
              <c:layout>
                <c:manualLayout>
                  <c:x val="-5.9211371412852772E-2"/>
                  <c:y val="-0.12805210908836287"/>
                </c:manualLayout>
              </c:layou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Hoja1!$G$45</c:f>
              <c:numCache>
                <c:formatCode>0</c:formatCode>
                <c:ptCount val="1"/>
                <c:pt idx="0">
                  <c:v>-2.1809175144573061</c:v>
                </c:pt>
              </c:numCache>
            </c:numRef>
          </c:xVal>
          <c:yVal>
            <c:numRef>
              <c:f>Hoja1!$D$45</c:f>
              <c:numCache>
                <c:formatCode>General</c:formatCode>
                <c:ptCount val="1"/>
                <c:pt idx="0">
                  <c:v>0</c:v>
                </c:pt>
              </c:numCache>
            </c:numRef>
          </c:yVal>
          <c:smooth val="0"/>
        </c:ser>
        <c:ser>
          <c:idx val="16"/>
          <c:order val="16"/>
          <c:tx>
            <c:strRef>
              <c:f>Hoja1!$C$46</c:f>
              <c:strCache>
                <c:ptCount val="1"/>
                <c:pt idx="0">
                  <c:v>Tiene el mejor programa de millas</c:v>
                </c:pt>
              </c:strCache>
            </c:strRef>
          </c:tx>
          <c:spPr>
            <a:ln w="28575">
              <a:noFill/>
            </a:ln>
          </c:spPr>
          <c:marker>
            <c:symbol val="circle"/>
            <c:size val="7"/>
            <c:spPr>
              <a:solidFill>
                <a:schemeClr val="tx1"/>
              </a:solidFill>
            </c:spPr>
          </c:marker>
          <c:dLbls>
            <c:dLbl>
              <c:idx val="0"/>
              <c:layout>
                <c:manualLayout>
                  <c:x val="4.2877039219213743E-2"/>
                  <c:y val="-0.11574068094230353"/>
                </c:manualLayout>
              </c:layou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trendline>
            <c:trendlineType val="linear"/>
            <c:dispRSqr val="0"/>
            <c:dispEq val="0"/>
          </c:trendline>
          <c:xVal>
            <c:numRef>
              <c:f>Hoja1!$G$46</c:f>
              <c:numCache>
                <c:formatCode>0</c:formatCode>
                <c:ptCount val="1"/>
                <c:pt idx="0">
                  <c:v>-0.68905835840876817</c:v>
                </c:pt>
              </c:numCache>
            </c:numRef>
          </c:xVal>
          <c:yVal>
            <c:numRef>
              <c:f>Hoja1!$D$46</c:f>
              <c:numCache>
                <c:formatCode>General</c:formatCode>
                <c:ptCount val="1"/>
                <c:pt idx="0">
                  <c:v>0</c:v>
                </c:pt>
              </c:numCache>
            </c:numRef>
          </c:yVal>
          <c:smooth val="0"/>
        </c:ser>
        <c:dLbls>
          <c:showLegendKey val="0"/>
          <c:showVal val="0"/>
          <c:showCatName val="0"/>
          <c:showSerName val="0"/>
          <c:showPercent val="0"/>
          <c:showBubbleSize val="0"/>
        </c:dLbls>
        <c:axId val="277975848"/>
        <c:axId val="277980944"/>
      </c:scatterChart>
      <c:valAx>
        <c:axId val="277975848"/>
        <c:scaling>
          <c:orientation val="minMax"/>
        </c:scaling>
        <c:delete val="0"/>
        <c:axPos val="b"/>
        <c:numFmt formatCode="0" sourceLinked="1"/>
        <c:majorTickMark val="out"/>
        <c:minorTickMark val="none"/>
        <c:tickLblPos val="nextTo"/>
        <c:crossAx val="277980944"/>
        <c:crosses val="autoZero"/>
        <c:crossBetween val="midCat"/>
      </c:valAx>
      <c:valAx>
        <c:axId val="277980944"/>
        <c:scaling>
          <c:orientation val="minMax"/>
        </c:scaling>
        <c:delete val="0"/>
        <c:axPos val="l"/>
        <c:numFmt formatCode="General" sourceLinked="1"/>
        <c:majorTickMark val="out"/>
        <c:minorTickMark val="none"/>
        <c:tickLblPos val="nextTo"/>
        <c:crossAx val="277975848"/>
        <c:crosses val="autoZero"/>
        <c:crossBetween val="midCat"/>
      </c:valAx>
    </c:plotArea>
    <c:plotVisOnly val="1"/>
    <c:dispBlanksAs val="gap"/>
    <c:showDLblsOverMax val="0"/>
  </c:chart>
  <c:txPr>
    <a:bodyPr/>
    <a:lstStyle/>
    <a:p>
      <a:pPr>
        <a:defRPr sz="600"/>
      </a:pPr>
      <a:endParaRPr lang="es-MX"/>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scatterChart>
        <c:scatterStyle val="lineMarker"/>
        <c:varyColors val="0"/>
        <c:ser>
          <c:idx val="0"/>
          <c:order val="0"/>
          <c:tx>
            <c:strRef>
              <c:f>Hoja1!$C$30</c:f>
              <c:strCache>
                <c:ptCount val="1"/>
                <c:pt idx="0">
                  <c:v>Permite pagar la totalidad de mis consumos a fin de mes</c:v>
                </c:pt>
              </c:strCache>
            </c:strRef>
          </c:tx>
          <c:spPr>
            <a:ln w="28575">
              <a:noFill/>
            </a:ln>
          </c:spPr>
          <c:marker>
            <c:symbol val="circle"/>
            <c:size val="7"/>
            <c:spPr>
              <a:solidFill>
                <a:schemeClr val="tx1"/>
              </a:solidFill>
            </c:spPr>
          </c:marker>
          <c:dLbls>
            <c:dLbl>
              <c:idx val="0"/>
              <c:layout>
                <c:manualLayout>
                  <c:x val="0"/>
                  <c:y val="-4.6040969016803934E-2"/>
                </c:manualLayout>
              </c:layou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Hoja1!$H$30</c:f>
              <c:numCache>
                <c:formatCode>0</c:formatCode>
                <c:ptCount val="1"/>
                <c:pt idx="0">
                  <c:v>-0.46998329918605464</c:v>
                </c:pt>
              </c:numCache>
            </c:numRef>
          </c:xVal>
          <c:yVal>
            <c:numRef>
              <c:f>Hoja1!$D$30</c:f>
              <c:numCache>
                <c:formatCode>General</c:formatCode>
                <c:ptCount val="1"/>
                <c:pt idx="0">
                  <c:v>0.751</c:v>
                </c:pt>
              </c:numCache>
            </c:numRef>
          </c:yVal>
          <c:smooth val="0"/>
        </c:ser>
        <c:ser>
          <c:idx val="1"/>
          <c:order val="1"/>
          <c:tx>
            <c:strRef>
              <c:f>Hoja1!$C$31</c:f>
              <c:strCache>
                <c:ptCount val="1"/>
                <c:pt idx="0">
                  <c:v>Es confiable</c:v>
                </c:pt>
              </c:strCache>
            </c:strRef>
          </c:tx>
          <c:spPr>
            <a:ln w="28575">
              <a:noFill/>
            </a:ln>
          </c:spPr>
          <c:marker>
            <c:symbol val="circle"/>
            <c:size val="7"/>
            <c:spPr>
              <a:solidFill>
                <a:schemeClr val="tx1"/>
              </a:solidFill>
            </c:spPr>
          </c:marker>
          <c:dLbls>
            <c:dLbl>
              <c:idx val="0"/>
              <c:layout>
                <c:manualLayout>
                  <c:x val="-3.6821705426356592E-2"/>
                  <c:y val="-4.8192771084337352E-2"/>
                </c:manualLayout>
              </c:layou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Hoja1!$H$31</c:f>
              <c:numCache>
                <c:formatCode>0</c:formatCode>
                <c:ptCount val="1"/>
                <c:pt idx="0">
                  <c:v>-0.29201148961490553</c:v>
                </c:pt>
              </c:numCache>
            </c:numRef>
          </c:xVal>
          <c:yVal>
            <c:numRef>
              <c:f>Hoja1!$D$31</c:f>
              <c:numCache>
                <c:formatCode>General</c:formatCode>
                <c:ptCount val="1"/>
                <c:pt idx="0">
                  <c:v>0.68700000000000006</c:v>
                </c:pt>
              </c:numCache>
            </c:numRef>
          </c:yVal>
          <c:smooth val="0"/>
        </c:ser>
        <c:ser>
          <c:idx val="2"/>
          <c:order val="2"/>
          <c:tx>
            <c:strRef>
              <c:f>Hoja1!$C$32</c:f>
              <c:strCache>
                <c:ptCount val="1"/>
                <c:pt idx="0">
                  <c:v>Rapidez para obtener efectivo</c:v>
                </c:pt>
              </c:strCache>
            </c:strRef>
          </c:tx>
          <c:spPr>
            <a:ln w="28575">
              <a:noFill/>
            </a:ln>
          </c:spPr>
          <c:marker>
            <c:symbol val="circle"/>
            <c:size val="7"/>
            <c:spPr>
              <a:solidFill>
                <a:schemeClr val="tx1"/>
              </a:solidFill>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layout/>
                <c15:showLeaderLines val="0"/>
              </c:ext>
            </c:extLst>
          </c:dLbls>
          <c:xVal>
            <c:numRef>
              <c:f>Hoja1!$H$32</c:f>
              <c:numCache>
                <c:formatCode>0</c:formatCode>
                <c:ptCount val="1"/>
                <c:pt idx="0">
                  <c:v>-0.87083166713508309</c:v>
                </c:pt>
              </c:numCache>
            </c:numRef>
          </c:xVal>
          <c:yVal>
            <c:numRef>
              <c:f>Hoja1!$D$32</c:f>
              <c:numCache>
                <c:formatCode>General</c:formatCode>
                <c:ptCount val="1"/>
                <c:pt idx="0">
                  <c:v>0.65400000000000003</c:v>
                </c:pt>
              </c:numCache>
            </c:numRef>
          </c:yVal>
          <c:smooth val="0"/>
        </c:ser>
        <c:ser>
          <c:idx val="3"/>
          <c:order val="3"/>
          <c:tx>
            <c:strRef>
              <c:f>Hoja1!$C$33</c:f>
              <c:strCache>
                <c:ptCount val="1"/>
                <c:pt idx="0">
                  <c:v>Claridad y transparencia en lo que me ofrece y cobra</c:v>
                </c:pt>
              </c:strCache>
            </c:strRef>
          </c:tx>
          <c:spPr>
            <a:ln w="28575">
              <a:noFill/>
            </a:ln>
          </c:spPr>
          <c:marker>
            <c:symbol val="circle"/>
            <c:size val="7"/>
            <c:spPr>
              <a:solidFill>
                <a:schemeClr val="tx1"/>
              </a:solidFill>
            </c:spPr>
          </c:marker>
          <c:dLbls>
            <c:dLbl>
              <c:idx val="0"/>
              <c:layout>
                <c:manualLayout>
                  <c:x val="0.12905206616614784"/>
                  <c:y val="-5.2107326945577605E-2"/>
                </c:manualLayout>
              </c:layou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Hoja1!$H$33</c:f>
              <c:numCache>
                <c:formatCode>0</c:formatCode>
                <c:ptCount val="1"/>
                <c:pt idx="0">
                  <c:v>-0.23889870995670659</c:v>
                </c:pt>
              </c:numCache>
            </c:numRef>
          </c:xVal>
          <c:yVal>
            <c:numRef>
              <c:f>Hoja1!$D$33</c:f>
              <c:numCache>
                <c:formatCode>General</c:formatCode>
                <c:ptCount val="1"/>
                <c:pt idx="0">
                  <c:v>0.59</c:v>
                </c:pt>
              </c:numCache>
            </c:numRef>
          </c:yVal>
          <c:smooth val="0"/>
        </c:ser>
        <c:ser>
          <c:idx val="4"/>
          <c:order val="4"/>
          <c:tx>
            <c:strRef>
              <c:f>Hoja1!$C$34</c:f>
              <c:strCache>
                <c:ptCount val="1"/>
                <c:pt idx="0">
                  <c:v>Cobra bajas tasas de interés</c:v>
                </c:pt>
              </c:strCache>
            </c:strRef>
          </c:tx>
          <c:spPr>
            <a:ln w="28575">
              <a:noFill/>
            </a:ln>
          </c:spPr>
          <c:marker>
            <c:symbol val="circle"/>
            <c:size val="7"/>
            <c:spPr>
              <a:solidFill>
                <a:schemeClr val="tx1"/>
              </a:solidFill>
            </c:spPr>
          </c:marker>
          <c:xVal>
            <c:numRef>
              <c:f>Hoja1!$H$34</c:f>
              <c:numCache>
                <c:formatCode>0</c:formatCode>
                <c:ptCount val="1"/>
                <c:pt idx="0">
                  <c:v>0.53591328356338552</c:v>
                </c:pt>
              </c:numCache>
            </c:numRef>
          </c:xVal>
          <c:yVal>
            <c:numRef>
              <c:f>Hoja1!$D$34</c:f>
              <c:numCache>
                <c:formatCode>General</c:formatCode>
                <c:ptCount val="1"/>
                <c:pt idx="0">
                  <c:v>0.58599999999999997</c:v>
                </c:pt>
              </c:numCache>
            </c:numRef>
          </c:yVal>
          <c:smooth val="0"/>
        </c:ser>
        <c:ser>
          <c:idx val="5"/>
          <c:order val="5"/>
          <c:tx>
            <c:strRef>
              <c:f>Hoja1!$C$35</c:f>
              <c:strCache>
                <c:ptCount val="1"/>
                <c:pt idx="0">
                  <c:v>Permite pagar servicios con débitos automáticos</c:v>
                </c:pt>
              </c:strCache>
            </c:strRef>
          </c:tx>
          <c:spPr>
            <a:ln w="28575">
              <a:noFill/>
            </a:ln>
          </c:spPr>
          <c:marker>
            <c:spPr>
              <a:solidFill>
                <a:schemeClr val="tx1"/>
              </a:solidFill>
            </c:spPr>
          </c:marker>
          <c:dLbls>
            <c:dLbl>
              <c:idx val="0"/>
              <c:layout>
                <c:manualLayout>
                  <c:x val="5.9589208325703472E-4"/>
                  <c:y val="-2.4297188755020082E-2"/>
                </c:manualLayout>
              </c:layout>
              <c:dLblPos val="r"/>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dLblPos val="t"/>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Hoja1!$H$35</c:f>
              <c:numCache>
                <c:formatCode>0</c:formatCode>
                <c:ptCount val="1"/>
                <c:pt idx="0">
                  <c:v>0.35293600261677405</c:v>
                </c:pt>
              </c:numCache>
            </c:numRef>
          </c:xVal>
          <c:yVal>
            <c:numRef>
              <c:f>Hoja1!$D$35</c:f>
              <c:numCache>
                <c:formatCode>General</c:formatCode>
                <c:ptCount val="1"/>
                <c:pt idx="0">
                  <c:v>0.46300000000000002</c:v>
                </c:pt>
              </c:numCache>
            </c:numRef>
          </c:yVal>
          <c:smooth val="0"/>
        </c:ser>
        <c:ser>
          <c:idx val="6"/>
          <c:order val="6"/>
          <c:tx>
            <c:strRef>
              <c:f>Hoja1!$C$36</c:f>
              <c:strCache>
                <c:ptCount val="1"/>
                <c:pt idx="0">
                  <c:v>Ofrece varias opciones de diferidos</c:v>
                </c:pt>
              </c:strCache>
            </c:strRef>
          </c:tx>
          <c:spPr>
            <a:ln w="28575">
              <a:noFill/>
            </a:ln>
          </c:spPr>
          <c:marker>
            <c:symbol val="circle"/>
            <c:size val="7"/>
            <c:spPr>
              <a:solidFill>
                <a:schemeClr val="tx1"/>
              </a:solidFill>
            </c:spPr>
          </c:marker>
          <c:dLbls>
            <c:dLbl>
              <c:idx val="0"/>
              <c:layout>
                <c:manualLayout>
                  <c:x val="1.6085271317829457E-3"/>
                  <c:y val="5.602409638554217E-2"/>
                </c:manualLayout>
              </c:layout>
              <c:dLblPos val="r"/>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dLblPos val="t"/>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Hoja1!$H$36</c:f>
              <c:numCache>
                <c:formatCode>0</c:formatCode>
                <c:ptCount val="1"/>
                <c:pt idx="0">
                  <c:v>0.2555097051693469</c:v>
                </c:pt>
              </c:numCache>
            </c:numRef>
          </c:xVal>
          <c:yVal>
            <c:numRef>
              <c:f>Hoja1!$D$36</c:f>
              <c:numCache>
                <c:formatCode>General</c:formatCode>
                <c:ptCount val="1"/>
                <c:pt idx="0">
                  <c:v>0.45200000000000001</c:v>
                </c:pt>
              </c:numCache>
            </c:numRef>
          </c:yVal>
          <c:smooth val="0"/>
        </c:ser>
        <c:ser>
          <c:idx val="7"/>
          <c:order val="7"/>
          <c:tx>
            <c:strRef>
              <c:f>Hoja1!$C$37</c:f>
              <c:strCache>
                <c:ptCount val="1"/>
                <c:pt idx="0">
                  <c:v>Ayuda en casos de emergencia</c:v>
                </c:pt>
              </c:strCache>
            </c:strRef>
          </c:tx>
          <c:spPr>
            <a:ln w="28575">
              <a:noFill/>
            </a:ln>
          </c:spPr>
          <c:marker>
            <c:symbol val="circle"/>
            <c:size val="7"/>
            <c:spPr>
              <a:solidFill>
                <a:schemeClr val="tx1"/>
              </a:solidFill>
            </c:spPr>
          </c:marker>
          <c:dLbls>
            <c:dLbl>
              <c:idx val="0"/>
              <c:layout>
                <c:manualLayout>
                  <c:x val="-8.7209302325581398E-2"/>
                  <c:y val="-6.0240963855421686E-2"/>
                </c:manualLayout>
              </c:layou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Hoja1!$H$37</c:f>
              <c:numCache>
                <c:formatCode>0</c:formatCode>
                <c:ptCount val="1"/>
                <c:pt idx="0">
                  <c:v>-0.41305601016699178</c:v>
                </c:pt>
              </c:numCache>
            </c:numRef>
          </c:xVal>
          <c:yVal>
            <c:numRef>
              <c:f>Hoja1!$D$37</c:f>
              <c:numCache>
                <c:formatCode>General</c:formatCode>
                <c:ptCount val="1"/>
                <c:pt idx="0">
                  <c:v>0.39200000000000002</c:v>
                </c:pt>
              </c:numCache>
            </c:numRef>
          </c:yVal>
          <c:smooth val="0"/>
        </c:ser>
        <c:ser>
          <c:idx val="8"/>
          <c:order val="8"/>
          <c:tx>
            <c:strRef>
              <c:f>Hoja1!$C$38</c:f>
              <c:strCache>
                <c:ptCount val="1"/>
                <c:pt idx="0">
                  <c:v>Tiene el mejor servicio al cliente</c:v>
                </c:pt>
              </c:strCache>
            </c:strRef>
          </c:tx>
          <c:spPr>
            <a:ln w="28575">
              <a:noFill/>
            </a:ln>
          </c:spPr>
          <c:marker>
            <c:symbol val="circle"/>
            <c:size val="7"/>
            <c:spPr>
              <a:solidFill>
                <a:schemeClr val="tx1"/>
              </a:solidFill>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layout/>
                <c15:showLeaderLines val="0"/>
              </c:ext>
            </c:extLst>
          </c:dLbls>
          <c:xVal>
            <c:numRef>
              <c:f>Hoja1!$H$38</c:f>
              <c:numCache>
                <c:formatCode>0</c:formatCode>
                <c:ptCount val="1"/>
                <c:pt idx="0">
                  <c:v>-0.97349029427868228</c:v>
                </c:pt>
              </c:numCache>
            </c:numRef>
          </c:xVal>
          <c:yVal>
            <c:numRef>
              <c:f>Hoja1!$D$38</c:f>
              <c:numCache>
                <c:formatCode>General</c:formatCode>
                <c:ptCount val="1"/>
                <c:pt idx="0">
                  <c:v>0.33</c:v>
                </c:pt>
              </c:numCache>
            </c:numRef>
          </c:yVal>
          <c:smooth val="0"/>
        </c:ser>
        <c:ser>
          <c:idx val="9"/>
          <c:order val="9"/>
          <c:tx>
            <c:strRef>
              <c:f>Hoja1!$C$39</c:f>
              <c:strCache>
                <c:ptCount val="1"/>
                <c:pt idx="0">
                  <c:v>Le tengo miedo / recelo</c:v>
                </c:pt>
              </c:strCache>
            </c:strRef>
          </c:tx>
          <c:spPr>
            <a:ln w="28575">
              <a:noFill/>
            </a:ln>
          </c:spPr>
          <c:marker>
            <c:symbol val="circle"/>
            <c:size val="7"/>
            <c:spPr>
              <a:solidFill>
                <a:schemeClr val="tx1"/>
              </a:solidFill>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layout/>
                <c15:showLeaderLines val="0"/>
              </c:ext>
            </c:extLst>
          </c:dLbls>
          <c:xVal>
            <c:numRef>
              <c:f>Hoja1!$H$39</c:f>
              <c:numCache>
                <c:formatCode>0</c:formatCode>
                <c:ptCount val="1"/>
                <c:pt idx="0">
                  <c:v>0.41929060172293564</c:v>
                </c:pt>
              </c:numCache>
            </c:numRef>
          </c:xVal>
          <c:yVal>
            <c:numRef>
              <c:f>Hoja1!$D$39</c:f>
              <c:numCache>
                <c:formatCode>General</c:formatCode>
                <c:ptCount val="1"/>
                <c:pt idx="0">
                  <c:v>0.27100000000000002</c:v>
                </c:pt>
              </c:numCache>
            </c:numRef>
          </c:yVal>
          <c:smooth val="0"/>
        </c:ser>
        <c:ser>
          <c:idx val="10"/>
          <c:order val="10"/>
          <c:tx>
            <c:strRef>
              <c:f>Hoja1!$C$40</c:f>
              <c:strCache>
                <c:ptCount val="1"/>
                <c:pt idx="0">
                  <c:v>Es aceptada internacionalmente</c:v>
                </c:pt>
              </c:strCache>
            </c:strRef>
          </c:tx>
          <c:spPr>
            <a:ln w="28575">
              <a:noFill/>
            </a:ln>
          </c:spPr>
          <c:marker>
            <c:symbol val="circle"/>
            <c:size val="7"/>
            <c:spPr>
              <a:solidFill>
                <a:schemeClr val="tx1"/>
              </a:solidFill>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layout/>
                <c15:showLeaderLines val="0"/>
              </c:ext>
            </c:extLst>
          </c:dLbls>
          <c:xVal>
            <c:numRef>
              <c:f>Hoja1!$H$40</c:f>
              <c:numCache>
                <c:formatCode>0</c:formatCode>
                <c:ptCount val="1"/>
                <c:pt idx="0">
                  <c:v>0.91122627144811119</c:v>
                </c:pt>
              </c:numCache>
            </c:numRef>
          </c:xVal>
          <c:yVal>
            <c:numRef>
              <c:f>Hoja1!$D$40</c:f>
              <c:numCache>
                <c:formatCode>General</c:formatCode>
                <c:ptCount val="1"/>
                <c:pt idx="0">
                  <c:v>0.23</c:v>
                </c:pt>
              </c:numCache>
            </c:numRef>
          </c:yVal>
          <c:smooth val="0"/>
        </c:ser>
        <c:ser>
          <c:idx val="11"/>
          <c:order val="11"/>
          <c:tx>
            <c:strRef>
              <c:f>Hoja1!$C$41</c:f>
              <c:strCache>
                <c:ptCount val="1"/>
                <c:pt idx="0">
                  <c:v>Devuelve hasta el 1% de los consumos</c:v>
                </c:pt>
              </c:strCache>
            </c:strRef>
          </c:tx>
          <c:spPr>
            <a:ln w="28575">
              <a:noFill/>
            </a:ln>
          </c:spPr>
          <c:marker>
            <c:symbol val="circle"/>
            <c:size val="7"/>
            <c:spPr>
              <a:solidFill>
                <a:schemeClr val="tx1"/>
              </a:solidFill>
            </c:spPr>
          </c:marker>
          <c:dLbls>
            <c:dLbl>
              <c:idx val="0"/>
              <c:layout>
                <c:manualLayout>
                  <c:x val="-8.9092504425318922E-2"/>
                  <c:y val="-8.354868292065902E-2"/>
                </c:manualLayout>
              </c:layou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Hoja1!$H$41</c:f>
              <c:numCache>
                <c:formatCode>0</c:formatCode>
                <c:ptCount val="1"/>
                <c:pt idx="0">
                  <c:v>-0.17493960444564438</c:v>
                </c:pt>
              </c:numCache>
            </c:numRef>
          </c:xVal>
          <c:yVal>
            <c:numRef>
              <c:f>Hoja1!$D$41</c:f>
              <c:numCache>
                <c:formatCode>General</c:formatCode>
                <c:ptCount val="1"/>
                <c:pt idx="0">
                  <c:v>0</c:v>
                </c:pt>
              </c:numCache>
            </c:numRef>
          </c:yVal>
          <c:smooth val="0"/>
        </c:ser>
        <c:ser>
          <c:idx val="12"/>
          <c:order val="12"/>
          <c:tx>
            <c:strRef>
              <c:f>Hoja1!$C$42</c:f>
              <c:strCache>
                <c:ptCount val="1"/>
                <c:pt idx="0">
                  <c:v>Es aceptada internacionalmente</c:v>
                </c:pt>
              </c:strCache>
            </c:strRef>
          </c:tx>
          <c:spPr>
            <a:ln w="28575">
              <a:noFill/>
            </a:ln>
          </c:spPr>
          <c:marker>
            <c:symbol val="circle"/>
            <c:size val="7"/>
            <c:spPr>
              <a:solidFill>
                <a:schemeClr val="tx1"/>
              </a:solidFill>
            </c:spPr>
          </c:marker>
          <c:dLbls>
            <c:spPr>
              <a:noFill/>
              <a:ln>
                <a:noFill/>
              </a:ln>
              <a:effectLst/>
            </c:spPr>
            <c:dLblPos val="t"/>
            <c:showLegendKey val="0"/>
            <c:showVal val="0"/>
            <c:showCatName val="0"/>
            <c:showSerName val="1"/>
            <c:showPercent val="0"/>
            <c:showBubbleSize val="0"/>
            <c:showLeaderLines val="0"/>
            <c:extLst>
              <c:ext xmlns:c15="http://schemas.microsoft.com/office/drawing/2012/chart" uri="{CE6537A1-D6FC-4f65-9D91-7224C49458BB}">
                <c15:layout/>
                <c15:showLeaderLines val="0"/>
              </c:ext>
            </c:extLst>
          </c:dLbls>
          <c:xVal>
            <c:numRef>
              <c:f>Hoja1!$H$42</c:f>
              <c:numCache>
                <c:formatCode>0</c:formatCode>
                <c:ptCount val="1"/>
                <c:pt idx="0">
                  <c:v>1.027863397852494</c:v>
                </c:pt>
              </c:numCache>
            </c:numRef>
          </c:xVal>
          <c:yVal>
            <c:numRef>
              <c:f>Hoja1!$D$42</c:f>
              <c:numCache>
                <c:formatCode>General</c:formatCode>
                <c:ptCount val="1"/>
                <c:pt idx="0">
                  <c:v>0</c:v>
                </c:pt>
              </c:numCache>
            </c:numRef>
          </c:yVal>
          <c:smooth val="0"/>
        </c:ser>
        <c:ser>
          <c:idx val="13"/>
          <c:order val="13"/>
          <c:tx>
            <c:strRef>
              <c:f>Hoja1!$C$43</c:f>
              <c:strCache>
                <c:ptCount val="1"/>
                <c:pt idx="0">
                  <c:v>Ofrece las mejores ofertas y descuentos</c:v>
                </c:pt>
              </c:strCache>
            </c:strRef>
          </c:tx>
          <c:spPr>
            <a:ln w="28575">
              <a:noFill/>
            </a:ln>
          </c:spPr>
          <c:marker>
            <c:symbol val="circle"/>
            <c:size val="7"/>
            <c:spPr>
              <a:solidFill>
                <a:schemeClr val="tx1"/>
              </a:solidFill>
            </c:spPr>
          </c:marker>
          <c:dLbls>
            <c:dLbl>
              <c:idx val="0"/>
              <c:layout>
                <c:manualLayout>
                  <c:x val="-4.2302234023072698E-2"/>
                  <c:y val="-6.2041235809379251E-2"/>
                </c:manualLayout>
              </c:layou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Hoja1!$G$43</c:f>
              <c:numCache>
                <c:formatCode>0</c:formatCode>
                <c:ptCount val="1"/>
                <c:pt idx="0">
                  <c:v>2.9344281962016998</c:v>
                </c:pt>
              </c:numCache>
            </c:numRef>
          </c:xVal>
          <c:yVal>
            <c:numRef>
              <c:f>Hoja1!$D$43</c:f>
              <c:numCache>
                <c:formatCode>General</c:formatCode>
                <c:ptCount val="1"/>
                <c:pt idx="0">
                  <c:v>0</c:v>
                </c:pt>
              </c:numCache>
            </c:numRef>
          </c:yVal>
          <c:smooth val="0"/>
        </c:ser>
        <c:ser>
          <c:idx val="14"/>
          <c:order val="14"/>
          <c:tx>
            <c:strRef>
              <c:f>Hoja1!$C$44</c:f>
              <c:strCache>
                <c:ptCount val="1"/>
                <c:pt idx="0">
                  <c:v>Es prestigiosa</c:v>
                </c:pt>
              </c:strCache>
            </c:strRef>
          </c:tx>
          <c:spPr>
            <a:ln w="28575">
              <a:noFill/>
            </a:ln>
          </c:spPr>
          <c:marker>
            <c:spPr>
              <a:solidFill>
                <a:schemeClr val="tx1"/>
              </a:solidFill>
            </c:spPr>
          </c:marker>
          <c:dLbls>
            <c:dLbl>
              <c:idx val="0"/>
              <c:layout>
                <c:manualLayout>
                  <c:x val="-0.17716626991393516"/>
                  <c:y val="-3.2073174588116246E-2"/>
                </c:manualLayout>
              </c:layou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Hoja1!$H$44</c:f>
              <c:numCache>
                <c:formatCode>0</c:formatCode>
                <c:ptCount val="1"/>
                <c:pt idx="0">
                  <c:v>0.10367207109009158</c:v>
                </c:pt>
              </c:numCache>
            </c:numRef>
          </c:xVal>
          <c:yVal>
            <c:numRef>
              <c:f>Hoja1!$D$44</c:f>
              <c:numCache>
                <c:formatCode>General</c:formatCode>
                <c:ptCount val="1"/>
                <c:pt idx="0">
                  <c:v>0</c:v>
                </c:pt>
              </c:numCache>
            </c:numRef>
          </c:yVal>
          <c:smooth val="0"/>
        </c:ser>
        <c:ser>
          <c:idx val="15"/>
          <c:order val="15"/>
          <c:tx>
            <c:strRef>
              <c:f>Hoja1!$C$45</c:f>
              <c:strCache>
                <c:ptCount val="1"/>
                <c:pt idx="0">
                  <c:v>Ayuda a salir adelante, a progresar</c:v>
                </c:pt>
              </c:strCache>
            </c:strRef>
          </c:tx>
          <c:spPr>
            <a:ln w="28575">
              <a:noFill/>
            </a:ln>
          </c:spPr>
          <c:marker>
            <c:symbol val="circle"/>
            <c:size val="7"/>
            <c:spPr>
              <a:solidFill>
                <a:schemeClr val="tx1"/>
              </a:solidFill>
            </c:spPr>
          </c:marker>
          <c:dLbls>
            <c:dLbl>
              <c:idx val="0"/>
              <c:layout>
                <c:manualLayout>
                  <c:x val="4.2635658914728682E-2"/>
                  <c:y val="-0.13668595642412168"/>
                </c:manualLayout>
              </c:layou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Hoja1!$H$45</c:f>
              <c:numCache>
                <c:formatCode>0</c:formatCode>
                <c:ptCount val="1"/>
                <c:pt idx="0">
                  <c:v>-9.8861120984575557E-2</c:v>
                </c:pt>
              </c:numCache>
            </c:numRef>
          </c:xVal>
          <c:yVal>
            <c:numRef>
              <c:f>Hoja1!$D$45</c:f>
              <c:numCache>
                <c:formatCode>General</c:formatCode>
                <c:ptCount val="1"/>
                <c:pt idx="0">
                  <c:v>0</c:v>
                </c:pt>
              </c:numCache>
            </c:numRef>
          </c:yVal>
          <c:smooth val="0"/>
        </c:ser>
        <c:ser>
          <c:idx val="16"/>
          <c:order val="16"/>
          <c:tx>
            <c:strRef>
              <c:f>Hoja1!$C$46</c:f>
              <c:strCache>
                <c:ptCount val="1"/>
                <c:pt idx="0">
                  <c:v>Tiene el mejor programa de millas</c:v>
                </c:pt>
              </c:strCache>
            </c:strRef>
          </c:tx>
          <c:spPr>
            <a:ln w="28575">
              <a:noFill/>
            </a:ln>
          </c:spPr>
          <c:marker>
            <c:symbol val="circle"/>
            <c:size val="7"/>
            <c:spPr>
              <a:solidFill>
                <a:schemeClr val="tx1"/>
              </a:solidFill>
            </c:spPr>
          </c:marker>
          <c:dLbls>
            <c:dLbl>
              <c:idx val="0"/>
              <c:layout>
                <c:manualLayout>
                  <c:x val="-1.3523741113913354E-16"/>
                  <c:y val="-0.11574074074074074"/>
                </c:manualLayout>
              </c:layou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trendline>
            <c:trendlineType val="linear"/>
            <c:dispRSqr val="0"/>
            <c:dispEq val="0"/>
          </c:trendline>
          <c:xVal>
            <c:numRef>
              <c:f>Hoja1!$H$46</c:f>
              <c:numCache>
                <c:formatCode>0</c:formatCode>
                <c:ptCount val="1"/>
                <c:pt idx="0">
                  <c:v>0.97084789191011955</c:v>
                </c:pt>
              </c:numCache>
            </c:numRef>
          </c:xVal>
          <c:yVal>
            <c:numRef>
              <c:f>Hoja1!$D$46</c:f>
              <c:numCache>
                <c:formatCode>General</c:formatCode>
                <c:ptCount val="1"/>
                <c:pt idx="0">
                  <c:v>0</c:v>
                </c:pt>
              </c:numCache>
            </c:numRef>
          </c:yVal>
          <c:smooth val="0"/>
        </c:ser>
        <c:dLbls>
          <c:showLegendKey val="0"/>
          <c:showVal val="0"/>
          <c:showCatName val="0"/>
          <c:showSerName val="0"/>
          <c:showPercent val="0"/>
          <c:showBubbleSize val="0"/>
        </c:dLbls>
        <c:axId val="277977808"/>
        <c:axId val="277982120"/>
      </c:scatterChart>
      <c:valAx>
        <c:axId val="277977808"/>
        <c:scaling>
          <c:orientation val="minMax"/>
        </c:scaling>
        <c:delete val="0"/>
        <c:axPos val="b"/>
        <c:numFmt formatCode="0" sourceLinked="1"/>
        <c:majorTickMark val="out"/>
        <c:minorTickMark val="none"/>
        <c:tickLblPos val="nextTo"/>
        <c:crossAx val="277982120"/>
        <c:crosses val="autoZero"/>
        <c:crossBetween val="midCat"/>
      </c:valAx>
      <c:valAx>
        <c:axId val="277982120"/>
        <c:scaling>
          <c:orientation val="minMax"/>
        </c:scaling>
        <c:delete val="0"/>
        <c:axPos val="l"/>
        <c:numFmt formatCode="General" sourceLinked="1"/>
        <c:majorTickMark val="out"/>
        <c:minorTickMark val="none"/>
        <c:tickLblPos val="nextTo"/>
        <c:crossAx val="277977808"/>
        <c:crosses val="autoZero"/>
        <c:crossBetween val="midCat"/>
      </c:valAx>
    </c:plotArea>
    <c:plotVisOnly val="1"/>
    <c:dispBlanksAs val="gap"/>
    <c:showDLblsOverMax val="0"/>
  </c:chart>
  <c:txPr>
    <a:bodyPr/>
    <a:lstStyle/>
    <a:p>
      <a:pPr>
        <a:defRPr sz="700"/>
      </a:pPr>
      <a:endParaRPr lang="es-MX"/>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scatterChart>
        <c:scatterStyle val="lineMarker"/>
        <c:varyColors val="0"/>
        <c:ser>
          <c:idx val="0"/>
          <c:order val="0"/>
          <c:tx>
            <c:strRef>
              <c:f>'Hoja1 (2)'!$C$30</c:f>
              <c:strCache>
                <c:ptCount val="1"/>
                <c:pt idx="0">
                  <c:v>Permite pagar la totalidad de mis consumos a fin de mes</c:v>
                </c:pt>
              </c:strCache>
            </c:strRef>
          </c:tx>
          <c:spPr>
            <a:ln w="28575">
              <a:noFill/>
            </a:ln>
          </c:spPr>
          <c:marker>
            <c:symbol val="circle"/>
            <c:size val="7"/>
            <c:spPr>
              <a:solidFill>
                <a:schemeClr val="tx1"/>
              </a:solidFill>
            </c:spPr>
          </c:marker>
          <c:dLbls>
            <c:dLbl>
              <c:idx val="0"/>
              <c:layout>
                <c:manualLayout>
                  <c:x val="0"/>
                  <c:y val="-4.6040969016803934E-2"/>
                </c:manualLayout>
              </c:layou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Hoja1 (2)'!$I$30</c:f>
              <c:numCache>
                <c:formatCode>0</c:formatCode>
                <c:ptCount val="1"/>
                <c:pt idx="0">
                  <c:v>-0.20813038575107079</c:v>
                </c:pt>
              </c:numCache>
            </c:numRef>
          </c:xVal>
          <c:yVal>
            <c:numRef>
              <c:f>'Hoja1 (2)'!$D$30</c:f>
              <c:numCache>
                <c:formatCode>General</c:formatCode>
                <c:ptCount val="1"/>
                <c:pt idx="0">
                  <c:v>0.751</c:v>
                </c:pt>
              </c:numCache>
            </c:numRef>
          </c:yVal>
          <c:smooth val="0"/>
        </c:ser>
        <c:ser>
          <c:idx val="1"/>
          <c:order val="1"/>
          <c:tx>
            <c:strRef>
              <c:f>'Hoja1 (2)'!$C$31</c:f>
              <c:strCache>
                <c:ptCount val="1"/>
                <c:pt idx="0">
                  <c:v>Es confiable</c:v>
                </c:pt>
              </c:strCache>
            </c:strRef>
          </c:tx>
          <c:spPr>
            <a:ln w="28575">
              <a:noFill/>
            </a:ln>
          </c:spPr>
          <c:marker>
            <c:symbol val="circle"/>
            <c:size val="7"/>
            <c:spPr>
              <a:solidFill>
                <a:schemeClr val="tx1"/>
              </a:solidFill>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layout/>
                <c15:showLeaderLines val="0"/>
              </c:ext>
            </c:extLst>
          </c:dLbls>
          <c:xVal>
            <c:numRef>
              <c:f>'Hoja1 (2)'!$I$31</c:f>
              <c:numCache>
                <c:formatCode>0</c:formatCode>
                <c:ptCount val="1"/>
                <c:pt idx="0">
                  <c:v>0.24259842902066708</c:v>
                </c:pt>
              </c:numCache>
            </c:numRef>
          </c:xVal>
          <c:yVal>
            <c:numRef>
              <c:f>'Hoja1 (2)'!$D$31</c:f>
              <c:numCache>
                <c:formatCode>General</c:formatCode>
                <c:ptCount val="1"/>
                <c:pt idx="0">
                  <c:v>0.68700000000000006</c:v>
                </c:pt>
              </c:numCache>
            </c:numRef>
          </c:yVal>
          <c:smooth val="0"/>
        </c:ser>
        <c:ser>
          <c:idx val="2"/>
          <c:order val="2"/>
          <c:tx>
            <c:strRef>
              <c:f>'Hoja1 (2)'!$C$32</c:f>
              <c:strCache>
                <c:ptCount val="1"/>
                <c:pt idx="0">
                  <c:v>Rapidez para obtener efectivo</c:v>
                </c:pt>
              </c:strCache>
            </c:strRef>
          </c:tx>
          <c:spPr>
            <a:ln w="28575">
              <a:noFill/>
            </a:ln>
          </c:spPr>
          <c:marker>
            <c:symbol val="circle"/>
            <c:size val="7"/>
            <c:spPr>
              <a:solidFill>
                <a:schemeClr val="tx1"/>
              </a:solidFill>
            </c:spPr>
          </c:marker>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xVal>
            <c:numRef>
              <c:f>'Hoja1 (2)'!$I$32</c:f>
              <c:numCache>
                <c:formatCode>0</c:formatCode>
                <c:ptCount val="1"/>
                <c:pt idx="0">
                  <c:v>0.52444894941925568</c:v>
                </c:pt>
              </c:numCache>
            </c:numRef>
          </c:xVal>
          <c:yVal>
            <c:numRef>
              <c:f>'Hoja1 (2)'!$D$32</c:f>
              <c:numCache>
                <c:formatCode>General</c:formatCode>
                <c:ptCount val="1"/>
                <c:pt idx="0">
                  <c:v>0.65400000000000003</c:v>
                </c:pt>
              </c:numCache>
            </c:numRef>
          </c:yVal>
          <c:smooth val="0"/>
        </c:ser>
        <c:ser>
          <c:idx val="3"/>
          <c:order val="3"/>
          <c:tx>
            <c:strRef>
              <c:f>'Hoja1 (2)'!$C$33</c:f>
              <c:strCache>
                <c:ptCount val="1"/>
                <c:pt idx="0">
                  <c:v>Claridad y transparencia en lo que me ofrece y cobra</c:v>
                </c:pt>
              </c:strCache>
            </c:strRef>
          </c:tx>
          <c:spPr>
            <a:ln w="28575">
              <a:noFill/>
            </a:ln>
          </c:spPr>
          <c:marker>
            <c:symbol val="circle"/>
            <c:size val="7"/>
            <c:spPr>
              <a:solidFill>
                <a:schemeClr val="tx1"/>
              </a:solidFill>
            </c:spPr>
          </c:marker>
          <c:dLbls>
            <c:dLbl>
              <c:idx val="0"/>
              <c:layout>
                <c:manualLayout>
                  <c:x val="0.12905206616614784"/>
                  <c:y val="-5.2107326945577605E-2"/>
                </c:manualLayout>
              </c:layou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Hoja1 (2)'!$I$33</c:f>
              <c:numCache>
                <c:formatCode>0</c:formatCode>
                <c:ptCount val="1"/>
                <c:pt idx="0">
                  <c:v>-5.4329195791464002E-2</c:v>
                </c:pt>
              </c:numCache>
            </c:numRef>
          </c:xVal>
          <c:yVal>
            <c:numRef>
              <c:f>'Hoja1 (2)'!$D$33</c:f>
              <c:numCache>
                <c:formatCode>General</c:formatCode>
                <c:ptCount val="1"/>
                <c:pt idx="0">
                  <c:v>0.59</c:v>
                </c:pt>
              </c:numCache>
            </c:numRef>
          </c:yVal>
          <c:smooth val="0"/>
        </c:ser>
        <c:ser>
          <c:idx val="4"/>
          <c:order val="4"/>
          <c:tx>
            <c:strRef>
              <c:f>'Hoja1 (2)'!$C$34</c:f>
              <c:strCache>
                <c:ptCount val="1"/>
                <c:pt idx="0">
                  <c:v>Cobra bajas tasas de interés</c:v>
                </c:pt>
              </c:strCache>
            </c:strRef>
          </c:tx>
          <c:spPr>
            <a:ln w="28575">
              <a:noFill/>
            </a:ln>
          </c:spPr>
          <c:marker>
            <c:symbol val="circle"/>
            <c:size val="7"/>
            <c:spPr>
              <a:solidFill>
                <a:schemeClr val="tx1"/>
              </a:solidFill>
            </c:spPr>
          </c:marker>
          <c:xVal>
            <c:numRef>
              <c:f>'Hoja1 (2)'!$I$34</c:f>
              <c:numCache>
                <c:formatCode>0</c:formatCode>
                <c:ptCount val="1"/>
                <c:pt idx="0">
                  <c:v>0.77196213802600067</c:v>
                </c:pt>
              </c:numCache>
            </c:numRef>
          </c:xVal>
          <c:yVal>
            <c:numRef>
              <c:f>'Hoja1 (2)'!$D$34</c:f>
              <c:numCache>
                <c:formatCode>General</c:formatCode>
                <c:ptCount val="1"/>
                <c:pt idx="0">
                  <c:v>0.58599999999999997</c:v>
                </c:pt>
              </c:numCache>
            </c:numRef>
          </c:yVal>
          <c:smooth val="0"/>
        </c:ser>
        <c:ser>
          <c:idx val="5"/>
          <c:order val="5"/>
          <c:tx>
            <c:strRef>
              <c:f>'Hoja1 (2)'!$C$35</c:f>
              <c:strCache>
                <c:ptCount val="1"/>
                <c:pt idx="0">
                  <c:v>Permite pagar servicios con débitos automáticos</c:v>
                </c:pt>
              </c:strCache>
            </c:strRef>
          </c:tx>
          <c:spPr>
            <a:ln w="28575">
              <a:noFill/>
            </a:ln>
          </c:spPr>
          <c:marker>
            <c:spPr>
              <a:solidFill>
                <a:schemeClr val="tx1"/>
              </a:solidFill>
            </c:spPr>
          </c:marker>
          <c:dLbls>
            <c:dLbl>
              <c:idx val="0"/>
              <c:layout>
                <c:manualLayout>
                  <c:x val="-0.25046633705670512"/>
                  <c:y val="-0.17012490908515954"/>
                </c:manualLayout>
              </c:layou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Hoja1 (2)'!$I$35</c:f>
              <c:numCache>
                <c:formatCode>0</c:formatCode>
                <c:ptCount val="1"/>
                <c:pt idx="0">
                  <c:v>0.33836579757774832</c:v>
                </c:pt>
              </c:numCache>
            </c:numRef>
          </c:xVal>
          <c:yVal>
            <c:numRef>
              <c:f>'Hoja1 (2)'!$D$35</c:f>
              <c:numCache>
                <c:formatCode>General</c:formatCode>
                <c:ptCount val="1"/>
                <c:pt idx="0">
                  <c:v>0.46300000000000002</c:v>
                </c:pt>
              </c:numCache>
            </c:numRef>
          </c:yVal>
          <c:smooth val="0"/>
        </c:ser>
        <c:ser>
          <c:idx val="6"/>
          <c:order val="6"/>
          <c:tx>
            <c:strRef>
              <c:f>'Hoja1 (2)'!$C$36</c:f>
              <c:strCache>
                <c:ptCount val="1"/>
                <c:pt idx="0">
                  <c:v>Ofrece varias opciones de diferidos</c:v>
                </c:pt>
              </c:strCache>
            </c:strRef>
          </c:tx>
          <c:spPr>
            <a:ln w="28575">
              <a:noFill/>
            </a:ln>
          </c:spPr>
          <c:marker>
            <c:symbol val="circle"/>
            <c:size val="7"/>
            <c:spPr>
              <a:solidFill>
                <a:schemeClr val="tx1"/>
              </a:solidFill>
            </c:spPr>
          </c:marker>
          <c:dLbls>
            <c:dLbl>
              <c:idx val="0"/>
              <c:layout>
                <c:manualLayout>
                  <c:x val="-0.17488982481840934"/>
                  <c:y val="-7.0285867880972713E-2"/>
                </c:manualLayout>
              </c:layou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Hoja1 (2)'!$I$36</c:f>
              <c:numCache>
                <c:formatCode>0</c:formatCode>
                <c:ptCount val="1"/>
                <c:pt idx="0">
                  <c:v>0.9388093365374246</c:v>
                </c:pt>
              </c:numCache>
            </c:numRef>
          </c:xVal>
          <c:yVal>
            <c:numRef>
              <c:f>'Hoja1 (2)'!$D$36</c:f>
              <c:numCache>
                <c:formatCode>General</c:formatCode>
                <c:ptCount val="1"/>
                <c:pt idx="0">
                  <c:v>0.45200000000000001</c:v>
                </c:pt>
              </c:numCache>
            </c:numRef>
          </c:yVal>
          <c:smooth val="0"/>
        </c:ser>
        <c:ser>
          <c:idx val="7"/>
          <c:order val="7"/>
          <c:tx>
            <c:strRef>
              <c:f>'Hoja1 (2)'!$C$37</c:f>
              <c:strCache>
                <c:ptCount val="1"/>
                <c:pt idx="0">
                  <c:v>Ayuda en casos de emergencia</c:v>
                </c:pt>
              </c:strCache>
            </c:strRef>
          </c:tx>
          <c:spPr>
            <a:ln w="28575">
              <a:noFill/>
            </a:ln>
          </c:spPr>
          <c:marker>
            <c:symbol val="circle"/>
            <c:size val="7"/>
            <c:spPr>
              <a:solidFill>
                <a:schemeClr val="tx1"/>
              </a:solidFill>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layout/>
                <c15:showLeaderLines val="0"/>
              </c:ext>
            </c:extLst>
          </c:dLbls>
          <c:xVal>
            <c:numRef>
              <c:f>'Hoja1 (2)'!$I$37</c:f>
              <c:numCache>
                <c:formatCode>0</c:formatCode>
                <c:ptCount val="1"/>
                <c:pt idx="0">
                  <c:v>0.48804736849961472</c:v>
                </c:pt>
              </c:numCache>
            </c:numRef>
          </c:xVal>
          <c:yVal>
            <c:numRef>
              <c:f>'Hoja1 (2)'!$D$37</c:f>
              <c:numCache>
                <c:formatCode>General</c:formatCode>
                <c:ptCount val="1"/>
                <c:pt idx="0">
                  <c:v>0.39200000000000002</c:v>
                </c:pt>
              </c:numCache>
            </c:numRef>
          </c:yVal>
          <c:smooth val="0"/>
        </c:ser>
        <c:ser>
          <c:idx val="8"/>
          <c:order val="8"/>
          <c:tx>
            <c:strRef>
              <c:f>'Hoja1 (2)'!$C$38</c:f>
              <c:strCache>
                <c:ptCount val="1"/>
                <c:pt idx="0">
                  <c:v>Tiene el mejor servicio al cliente</c:v>
                </c:pt>
              </c:strCache>
            </c:strRef>
          </c:tx>
          <c:spPr>
            <a:ln w="28575">
              <a:noFill/>
            </a:ln>
          </c:spPr>
          <c:marker>
            <c:symbol val="circle"/>
            <c:size val="7"/>
            <c:spPr>
              <a:solidFill>
                <a:schemeClr val="tx1"/>
              </a:solidFill>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layout/>
                <c15:showLeaderLines val="0"/>
              </c:ext>
            </c:extLst>
          </c:dLbls>
          <c:xVal>
            <c:numRef>
              <c:f>'Hoja1 (2)'!$I$38</c:f>
              <c:numCache>
                <c:formatCode>0</c:formatCode>
                <c:ptCount val="1"/>
                <c:pt idx="0">
                  <c:v>0.12198943273603868</c:v>
                </c:pt>
              </c:numCache>
            </c:numRef>
          </c:xVal>
          <c:yVal>
            <c:numRef>
              <c:f>'Hoja1 (2)'!$D$38</c:f>
              <c:numCache>
                <c:formatCode>General</c:formatCode>
                <c:ptCount val="1"/>
                <c:pt idx="0">
                  <c:v>0.33</c:v>
                </c:pt>
              </c:numCache>
            </c:numRef>
          </c:yVal>
          <c:smooth val="0"/>
        </c:ser>
        <c:ser>
          <c:idx val="9"/>
          <c:order val="9"/>
          <c:tx>
            <c:strRef>
              <c:f>'Hoja1 (2)'!$C$39</c:f>
              <c:strCache>
                <c:ptCount val="1"/>
                <c:pt idx="0">
                  <c:v>Le tengo miedo / recelo</c:v>
                </c:pt>
              </c:strCache>
            </c:strRef>
          </c:tx>
          <c:spPr>
            <a:ln w="28575">
              <a:noFill/>
            </a:ln>
          </c:spPr>
          <c:marker>
            <c:symbol val="circle"/>
            <c:size val="7"/>
            <c:spPr>
              <a:solidFill>
                <a:schemeClr val="tx1"/>
              </a:solidFill>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layout/>
                <c15:showLeaderLines val="0"/>
              </c:ext>
            </c:extLst>
          </c:dLbls>
          <c:xVal>
            <c:numRef>
              <c:f>'Hoja1 (2)'!$I$39</c:f>
              <c:numCache>
                <c:formatCode>0</c:formatCode>
                <c:ptCount val="1"/>
                <c:pt idx="0">
                  <c:v>1.0415603219470246</c:v>
                </c:pt>
              </c:numCache>
            </c:numRef>
          </c:xVal>
          <c:yVal>
            <c:numRef>
              <c:f>'Hoja1 (2)'!$D$39</c:f>
              <c:numCache>
                <c:formatCode>General</c:formatCode>
                <c:ptCount val="1"/>
                <c:pt idx="0">
                  <c:v>0.27100000000000002</c:v>
                </c:pt>
              </c:numCache>
            </c:numRef>
          </c:yVal>
          <c:smooth val="0"/>
        </c:ser>
        <c:ser>
          <c:idx val="10"/>
          <c:order val="10"/>
          <c:tx>
            <c:strRef>
              <c:f>'Hoja1 (2)'!$C$40</c:f>
              <c:strCache>
                <c:ptCount val="1"/>
                <c:pt idx="0">
                  <c:v>Es aceptada internacionalmente</c:v>
                </c:pt>
              </c:strCache>
            </c:strRef>
          </c:tx>
          <c:spPr>
            <a:ln w="28575">
              <a:noFill/>
            </a:ln>
          </c:spPr>
          <c:marker>
            <c:symbol val="circle"/>
            <c:size val="7"/>
            <c:spPr>
              <a:solidFill>
                <a:schemeClr val="tx1"/>
              </a:solidFill>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layout/>
                <c15:showLeaderLines val="0"/>
              </c:ext>
            </c:extLst>
          </c:dLbls>
          <c:xVal>
            <c:numRef>
              <c:f>'Hoja1 (2)'!$I$40</c:f>
              <c:numCache>
                <c:formatCode>0</c:formatCode>
                <c:ptCount val="1"/>
                <c:pt idx="0">
                  <c:v>-0.29303119319799453</c:v>
                </c:pt>
              </c:numCache>
            </c:numRef>
          </c:xVal>
          <c:yVal>
            <c:numRef>
              <c:f>'Hoja1 (2)'!$D$40</c:f>
              <c:numCache>
                <c:formatCode>General</c:formatCode>
                <c:ptCount val="1"/>
                <c:pt idx="0">
                  <c:v>0.23</c:v>
                </c:pt>
              </c:numCache>
            </c:numRef>
          </c:yVal>
          <c:smooth val="0"/>
        </c:ser>
        <c:ser>
          <c:idx val="11"/>
          <c:order val="11"/>
          <c:tx>
            <c:strRef>
              <c:f>'Hoja1 (2)'!$C$41</c:f>
              <c:strCache>
                <c:ptCount val="1"/>
                <c:pt idx="0">
                  <c:v>Devuelve hasta el 1% de los consumos</c:v>
                </c:pt>
              </c:strCache>
            </c:strRef>
          </c:tx>
          <c:spPr>
            <a:ln w="28575">
              <a:noFill/>
            </a:ln>
          </c:spPr>
          <c:marker>
            <c:symbol val="circle"/>
            <c:size val="7"/>
            <c:spPr>
              <a:solidFill>
                <a:schemeClr val="tx1"/>
              </a:solidFill>
            </c:spPr>
          </c:marker>
          <c:dLbls>
            <c:dLbl>
              <c:idx val="0"/>
              <c:layout>
                <c:manualLayout>
                  <c:x val="-8.9092556998026859E-2"/>
                  <c:y val="-0.11567719552297331"/>
                </c:manualLayout>
              </c:layou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Hoja1 (2)'!$I$41</c:f>
              <c:numCache>
                <c:formatCode>0</c:formatCode>
                <c:ptCount val="1"/>
                <c:pt idx="0">
                  <c:v>-0.39224775526072397</c:v>
                </c:pt>
              </c:numCache>
            </c:numRef>
          </c:xVal>
          <c:yVal>
            <c:numRef>
              <c:f>'Hoja1 (2)'!$D$41</c:f>
              <c:numCache>
                <c:formatCode>General</c:formatCode>
                <c:ptCount val="1"/>
                <c:pt idx="0">
                  <c:v>0</c:v>
                </c:pt>
              </c:numCache>
            </c:numRef>
          </c:yVal>
          <c:smooth val="0"/>
        </c:ser>
        <c:ser>
          <c:idx val="12"/>
          <c:order val="12"/>
          <c:tx>
            <c:strRef>
              <c:f>'Hoja1 (2)'!$C$42</c:f>
              <c:strCache>
                <c:ptCount val="1"/>
                <c:pt idx="0">
                  <c:v>Es aceptada internacionalmente</c:v>
                </c:pt>
              </c:strCache>
            </c:strRef>
          </c:tx>
          <c:spPr>
            <a:ln w="28575">
              <a:noFill/>
            </a:ln>
          </c:spPr>
          <c:marker>
            <c:symbol val="circle"/>
            <c:size val="7"/>
            <c:spPr>
              <a:solidFill>
                <a:schemeClr val="tx1"/>
              </a:solidFill>
            </c:spPr>
          </c:marker>
          <c:dLbls>
            <c:spPr>
              <a:noFill/>
              <a:ln>
                <a:noFill/>
              </a:ln>
              <a:effectLst/>
            </c:spPr>
            <c:dLblPos val="t"/>
            <c:showLegendKey val="0"/>
            <c:showVal val="0"/>
            <c:showCatName val="0"/>
            <c:showSerName val="1"/>
            <c:showPercent val="0"/>
            <c:showBubbleSize val="0"/>
            <c:showLeaderLines val="0"/>
            <c:extLst>
              <c:ext xmlns:c15="http://schemas.microsoft.com/office/drawing/2012/chart" uri="{CE6537A1-D6FC-4f65-9D91-7224C49458BB}">
                <c15:layout/>
                <c15:showLeaderLines val="0"/>
              </c:ext>
            </c:extLst>
          </c:dLbls>
          <c:xVal>
            <c:numRef>
              <c:f>'Hoja1 (2)'!$I$42</c:f>
              <c:numCache>
                <c:formatCode>0</c:formatCode>
                <c:ptCount val="1"/>
                <c:pt idx="0">
                  <c:v>-0.21442052129874334</c:v>
                </c:pt>
              </c:numCache>
            </c:numRef>
          </c:xVal>
          <c:yVal>
            <c:numRef>
              <c:f>'Hoja1 (2)'!$D$42</c:f>
              <c:numCache>
                <c:formatCode>General</c:formatCode>
                <c:ptCount val="1"/>
                <c:pt idx="0">
                  <c:v>0</c:v>
                </c:pt>
              </c:numCache>
            </c:numRef>
          </c:yVal>
          <c:smooth val="0"/>
        </c:ser>
        <c:ser>
          <c:idx val="13"/>
          <c:order val="13"/>
          <c:tx>
            <c:strRef>
              <c:f>'Hoja1 (2)'!$C$43</c:f>
              <c:strCache>
                <c:ptCount val="1"/>
                <c:pt idx="0">
                  <c:v>Ofrece las mejores ofertas y descuentos</c:v>
                </c:pt>
              </c:strCache>
            </c:strRef>
          </c:tx>
          <c:spPr>
            <a:ln w="28575">
              <a:noFill/>
            </a:ln>
          </c:spPr>
          <c:marker>
            <c:symbol val="circle"/>
            <c:size val="7"/>
            <c:spPr>
              <a:solidFill>
                <a:schemeClr val="tx1"/>
              </a:solidFill>
            </c:spPr>
          </c:marker>
          <c:dLbls>
            <c:dLbl>
              <c:idx val="0"/>
              <c:layout>
                <c:manualLayout>
                  <c:x val="-1.6044927819303452E-3"/>
                  <c:y val="-4.5977011494252873E-2"/>
                </c:manualLayout>
              </c:layou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Hoja1 (2)'!$I$43</c:f>
              <c:numCache>
                <c:formatCode>0</c:formatCode>
                <c:ptCount val="1"/>
                <c:pt idx="0">
                  <c:v>-0.23600457571682121</c:v>
                </c:pt>
              </c:numCache>
            </c:numRef>
          </c:xVal>
          <c:yVal>
            <c:numRef>
              <c:f>'Hoja1 (2)'!$D$43</c:f>
              <c:numCache>
                <c:formatCode>General</c:formatCode>
                <c:ptCount val="1"/>
                <c:pt idx="0">
                  <c:v>0</c:v>
                </c:pt>
              </c:numCache>
            </c:numRef>
          </c:yVal>
          <c:smooth val="0"/>
        </c:ser>
        <c:ser>
          <c:idx val="14"/>
          <c:order val="14"/>
          <c:tx>
            <c:strRef>
              <c:f>'Hoja1 (2)'!$C$44</c:f>
              <c:strCache>
                <c:ptCount val="1"/>
                <c:pt idx="0">
                  <c:v>Es prestigiosa</c:v>
                </c:pt>
              </c:strCache>
            </c:strRef>
          </c:tx>
          <c:spPr>
            <a:ln w="28575">
              <a:noFill/>
            </a:ln>
          </c:spPr>
          <c:marker>
            <c:spPr>
              <a:solidFill>
                <a:schemeClr val="tx1"/>
              </a:solidFill>
            </c:spPr>
          </c:marker>
          <c:dLbls>
            <c:dLbl>
              <c:idx val="0"/>
              <c:layout>
                <c:manualLayout>
                  <c:x val="-0.13646856383615949"/>
                  <c:y val="-6.0185549722951127E-2"/>
                </c:manualLayout>
              </c:layou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Hoja1 (2)'!$I$44</c:f>
              <c:numCache>
                <c:formatCode>0</c:formatCode>
                <c:ptCount val="1"/>
                <c:pt idx="0">
                  <c:v>-0.49258769206725184</c:v>
                </c:pt>
              </c:numCache>
            </c:numRef>
          </c:xVal>
          <c:yVal>
            <c:numRef>
              <c:f>'Hoja1 (2)'!$D$44</c:f>
              <c:numCache>
                <c:formatCode>General</c:formatCode>
                <c:ptCount val="1"/>
                <c:pt idx="0">
                  <c:v>0</c:v>
                </c:pt>
              </c:numCache>
            </c:numRef>
          </c:yVal>
          <c:smooth val="0"/>
        </c:ser>
        <c:ser>
          <c:idx val="15"/>
          <c:order val="15"/>
          <c:tx>
            <c:strRef>
              <c:f>'Hoja1 (2)'!$C$45</c:f>
              <c:strCache>
                <c:ptCount val="1"/>
                <c:pt idx="0">
                  <c:v>Ayuda a salir adelante, a progresar</c:v>
                </c:pt>
              </c:strCache>
            </c:strRef>
          </c:tx>
          <c:spPr>
            <a:ln w="28575">
              <a:noFill/>
            </a:ln>
          </c:spPr>
          <c:marker>
            <c:symbol val="circle"/>
            <c:size val="7"/>
            <c:spPr>
              <a:solidFill>
                <a:schemeClr val="tx1"/>
              </a:solidFill>
            </c:spPr>
          </c:marker>
          <c:dLbls>
            <c:dLbl>
              <c:idx val="0"/>
              <c:layout>
                <c:manualLayout>
                  <c:x val="0"/>
                  <c:y val="-0.13668591426071741"/>
                </c:manualLayout>
              </c:layou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Hoja1 (2)'!$I$45</c:f>
              <c:numCache>
                <c:formatCode>0</c:formatCode>
                <c:ptCount val="1"/>
                <c:pt idx="0">
                  <c:v>0.70056805896059027</c:v>
                </c:pt>
              </c:numCache>
            </c:numRef>
          </c:xVal>
          <c:yVal>
            <c:numRef>
              <c:f>'Hoja1 (2)'!$D$45</c:f>
              <c:numCache>
                <c:formatCode>General</c:formatCode>
                <c:ptCount val="1"/>
                <c:pt idx="0">
                  <c:v>0</c:v>
                </c:pt>
              </c:numCache>
            </c:numRef>
          </c:yVal>
          <c:smooth val="0"/>
        </c:ser>
        <c:ser>
          <c:idx val="16"/>
          <c:order val="16"/>
          <c:tx>
            <c:strRef>
              <c:f>'Hoja1 (2)'!$C$46</c:f>
              <c:strCache>
                <c:ptCount val="1"/>
                <c:pt idx="0">
                  <c:v>Tiene el mejor programa de millas</c:v>
                </c:pt>
              </c:strCache>
            </c:strRef>
          </c:tx>
          <c:spPr>
            <a:ln w="28575">
              <a:noFill/>
            </a:ln>
          </c:spPr>
          <c:marker>
            <c:symbol val="circle"/>
            <c:size val="7"/>
            <c:spPr>
              <a:solidFill>
                <a:schemeClr val="tx1"/>
              </a:solidFill>
            </c:spPr>
          </c:marker>
          <c:dLbls>
            <c:dLbl>
              <c:idx val="0"/>
              <c:layout>
                <c:manualLayout>
                  <c:x val="-1.3523741113913354E-16"/>
                  <c:y val="-0.11574074074074074"/>
                </c:manualLayout>
              </c:layou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trendline>
            <c:trendlineType val="linear"/>
            <c:dispRSqr val="0"/>
            <c:dispEq val="0"/>
          </c:trendline>
          <c:xVal>
            <c:numRef>
              <c:f>'Hoja1 (2)'!$I$46</c:f>
              <c:numCache>
                <c:formatCode>0</c:formatCode>
                <c:ptCount val="1"/>
                <c:pt idx="0">
                  <c:v>-0.945168714369232</c:v>
                </c:pt>
              </c:numCache>
            </c:numRef>
          </c:xVal>
          <c:yVal>
            <c:numRef>
              <c:f>'Hoja1 (2)'!$D$46</c:f>
              <c:numCache>
                <c:formatCode>General</c:formatCode>
                <c:ptCount val="1"/>
                <c:pt idx="0">
                  <c:v>0</c:v>
                </c:pt>
              </c:numCache>
            </c:numRef>
          </c:yVal>
          <c:smooth val="0"/>
        </c:ser>
        <c:dLbls>
          <c:showLegendKey val="0"/>
          <c:showVal val="0"/>
          <c:showCatName val="0"/>
          <c:showSerName val="0"/>
          <c:showPercent val="0"/>
          <c:showBubbleSize val="0"/>
        </c:dLbls>
        <c:axId val="277981336"/>
        <c:axId val="277977024"/>
      </c:scatterChart>
      <c:valAx>
        <c:axId val="277981336"/>
        <c:scaling>
          <c:orientation val="minMax"/>
          <c:max val="4"/>
        </c:scaling>
        <c:delete val="0"/>
        <c:axPos val="b"/>
        <c:numFmt formatCode="0" sourceLinked="1"/>
        <c:majorTickMark val="out"/>
        <c:minorTickMark val="none"/>
        <c:tickLblPos val="nextTo"/>
        <c:crossAx val="277977024"/>
        <c:crosses val="autoZero"/>
        <c:crossBetween val="midCat"/>
      </c:valAx>
      <c:valAx>
        <c:axId val="277977024"/>
        <c:scaling>
          <c:orientation val="minMax"/>
        </c:scaling>
        <c:delete val="0"/>
        <c:axPos val="l"/>
        <c:numFmt formatCode="General" sourceLinked="1"/>
        <c:majorTickMark val="out"/>
        <c:minorTickMark val="none"/>
        <c:tickLblPos val="low"/>
        <c:crossAx val="277981336"/>
        <c:crosses val="autoZero"/>
        <c:crossBetween val="midCat"/>
      </c:valAx>
    </c:plotArea>
    <c:plotVisOnly val="1"/>
    <c:dispBlanksAs val="gap"/>
    <c:showDLblsOverMax val="0"/>
  </c:chart>
  <c:txPr>
    <a:bodyPr/>
    <a:lstStyle/>
    <a:p>
      <a:pPr>
        <a:defRPr sz="700"/>
      </a:pPr>
      <a:endParaRPr lang="es-MX"/>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scatterChart>
        <c:scatterStyle val="lineMarker"/>
        <c:varyColors val="0"/>
        <c:ser>
          <c:idx val="0"/>
          <c:order val="0"/>
          <c:tx>
            <c:strRef>
              <c:f>'Hoja1 (2)'!$C$30</c:f>
              <c:strCache>
                <c:ptCount val="1"/>
                <c:pt idx="0">
                  <c:v>Permite pagar la totalidad de mis consumos a fin de mes</c:v>
                </c:pt>
              </c:strCache>
            </c:strRef>
          </c:tx>
          <c:spPr>
            <a:ln w="28575">
              <a:noFill/>
            </a:ln>
          </c:spPr>
          <c:marker>
            <c:symbol val="circle"/>
            <c:size val="7"/>
            <c:spPr>
              <a:solidFill>
                <a:schemeClr val="tx1"/>
              </a:solidFill>
            </c:spPr>
          </c:marker>
          <c:dLbls>
            <c:dLbl>
              <c:idx val="0"/>
              <c:layout>
                <c:manualLayout>
                  <c:x val="0"/>
                  <c:y val="-4.6040969016803934E-2"/>
                </c:manualLayout>
              </c:layou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Hoja1 (2)'!$J$30</c:f>
              <c:numCache>
                <c:formatCode>0</c:formatCode>
                <c:ptCount val="1"/>
                <c:pt idx="0">
                  <c:v>0.60379531139074771</c:v>
                </c:pt>
              </c:numCache>
            </c:numRef>
          </c:xVal>
          <c:yVal>
            <c:numRef>
              <c:f>'Hoja1 (2)'!$D$30</c:f>
              <c:numCache>
                <c:formatCode>General</c:formatCode>
                <c:ptCount val="1"/>
                <c:pt idx="0">
                  <c:v>0.751</c:v>
                </c:pt>
              </c:numCache>
            </c:numRef>
          </c:yVal>
          <c:smooth val="0"/>
        </c:ser>
        <c:ser>
          <c:idx val="1"/>
          <c:order val="1"/>
          <c:tx>
            <c:strRef>
              <c:f>'Hoja1 (2)'!$C$31</c:f>
              <c:strCache>
                <c:ptCount val="1"/>
                <c:pt idx="0">
                  <c:v>Es confiable</c:v>
                </c:pt>
              </c:strCache>
            </c:strRef>
          </c:tx>
          <c:spPr>
            <a:ln w="28575">
              <a:noFill/>
            </a:ln>
          </c:spPr>
          <c:marker>
            <c:symbol val="circle"/>
            <c:size val="7"/>
            <c:spPr>
              <a:solidFill>
                <a:schemeClr val="tx1"/>
              </a:solidFill>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layout/>
                <c15:showLeaderLines val="0"/>
              </c:ext>
            </c:extLst>
          </c:dLbls>
          <c:xVal>
            <c:numRef>
              <c:f>'Hoja1 (2)'!$J$31</c:f>
              <c:numCache>
                <c:formatCode>0</c:formatCode>
                <c:ptCount val="1"/>
                <c:pt idx="0">
                  <c:v>1.2412575360592353</c:v>
                </c:pt>
              </c:numCache>
            </c:numRef>
          </c:xVal>
          <c:yVal>
            <c:numRef>
              <c:f>'Hoja1 (2)'!$D$31</c:f>
              <c:numCache>
                <c:formatCode>General</c:formatCode>
                <c:ptCount val="1"/>
                <c:pt idx="0">
                  <c:v>0.68700000000000006</c:v>
                </c:pt>
              </c:numCache>
            </c:numRef>
          </c:yVal>
          <c:smooth val="0"/>
        </c:ser>
        <c:ser>
          <c:idx val="2"/>
          <c:order val="2"/>
          <c:tx>
            <c:strRef>
              <c:f>'Hoja1 (2)'!$C$32</c:f>
              <c:strCache>
                <c:ptCount val="1"/>
                <c:pt idx="0">
                  <c:v>Rapidez para obtener efectivo</c:v>
                </c:pt>
              </c:strCache>
            </c:strRef>
          </c:tx>
          <c:spPr>
            <a:ln w="28575">
              <a:noFill/>
            </a:ln>
          </c:spPr>
          <c:marker>
            <c:symbol val="circle"/>
            <c:size val="7"/>
            <c:spPr>
              <a:solidFill>
                <a:schemeClr val="tx1"/>
              </a:solidFill>
            </c:spPr>
          </c:marker>
          <c:dLbls>
            <c:dLbl>
              <c:idx val="0"/>
              <c:layout>
                <c:manualLayout>
                  <c:x val="-0.22674418604651156"/>
                  <c:y val="0"/>
                </c:manualLayout>
              </c:layou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Hoja1 (2)'!$I$32</c:f>
              <c:numCache>
                <c:formatCode>0</c:formatCode>
                <c:ptCount val="1"/>
                <c:pt idx="0">
                  <c:v>0.52444894941925568</c:v>
                </c:pt>
              </c:numCache>
            </c:numRef>
          </c:xVal>
          <c:yVal>
            <c:numRef>
              <c:f>'Hoja1 (2)'!$D$32</c:f>
              <c:numCache>
                <c:formatCode>General</c:formatCode>
                <c:ptCount val="1"/>
                <c:pt idx="0">
                  <c:v>0.65400000000000003</c:v>
                </c:pt>
              </c:numCache>
            </c:numRef>
          </c:yVal>
          <c:smooth val="0"/>
        </c:ser>
        <c:ser>
          <c:idx val="3"/>
          <c:order val="3"/>
          <c:tx>
            <c:strRef>
              <c:f>'Hoja1 (2)'!$C$33</c:f>
              <c:strCache>
                <c:ptCount val="1"/>
                <c:pt idx="0">
                  <c:v>Claridad y transparencia en lo que me ofrece y cobra</c:v>
                </c:pt>
              </c:strCache>
            </c:strRef>
          </c:tx>
          <c:spPr>
            <a:ln w="28575">
              <a:noFill/>
            </a:ln>
          </c:spPr>
          <c:marker>
            <c:symbol val="circle"/>
            <c:size val="7"/>
            <c:spPr>
              <a:solidFill>
                <a:schemeClr val="tx1"/>
              </a:solidFill>
            </c:spPr>
          </c:marker>
          <c:dLbls>
            <c:dLbl>
              <c:idx val="0"/>
              <c:layout>
                <c:manualLayout>
                  <c:x val="0.12905206616614784"/>
                  <c:y val="-5.2107326945577605E-2"/>
                </c:manualLayout>
              </c:layou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Hoja1 (2)'!$J$33</c:f>
              <c:numCache>
                <c:formatCode>0</c:formatCode>
                <c:ptCount val="1"/>
                <c:pt idx="0">
                  <c:v>0.99011526009297768</c:v>
                </c:pt>
              </c:numCache>
            </c:numRef>
          </c:xVal>
          <c:yVal>
            <c:numRef>
              <c:f>'Hoja1 (2)'!$D$33</c:f>
              <c:numCache>
                <c:formatCode>General</c:formatCode>
                <c:ptCount val="1"/>
                <c:pt idx="0">
                  <c:v>0.59</c:v>
                </c:pt>
              </c:numCache>
            </c:numRef>
          </c:yVal>
          <c:smooth val="0"/>
        </c:ser>
        <c:ser>
          <c:idx val="4"/>
          <c:order val="4"/>
          <c:tx>
            <c:strRef>
              <c:f>'Hoja1 (2)'!$C$34</c:f>
              <c:strCache>
                <c:ptCount val="1"/>
                <c:pt idx="0">
                  <c:v>Cobra bajas tasas de interés</c:v>
                </c:pt>
              </c:strCache>
            </c:strRef>
          </c:tx>
          <c:spPr>
            <a:ln w="28575">
              <a:noFill/>
            </a:ln>
          </c:spPr>
          <c:marker>
            <c:symbol val="circle"/>
            <c:size val="7"/>
            <c:spPr>
              <a:solidFill>
                <a:schemeClr val="tx1"/>
              </a:solidFill>
            </c:spPr>
          </c:marker>
          <c:xVal>
            <c:numRef>
              <c:f>'Hoja1 (2)'!$J$34</c:f>
              <c:numCache>
                <c:formatCode>0</c:formatCode>
                <c:ptCount val="1"/>
                <c:pt idx="0">
                  <c:v>1.7453184573373788</c:v>
                </c:pt>
              </c:numCache>
            </c:numRef>
          </c:xVal>
          <c:yVal>
            <c:numRef>
              <c:f>'Hoja1 (2)'!$D$34</c:f>
              <c:numCache>
                <c:formatCode>General</c:formatCode>
                <c:ptCount val="1"/>
                <c:pt idx="0">
                  <c:v>0.58599999999999997</c:v>
                </c:pt>
              </c:numCache>
            </c:numRef>
          </c:yVal>
          <c:smooth val="0"/>
        </c:ser>
        <c:ser>
          <c:idx val="5"/>
          <c:order val="5"/>
          <c:tx>
            <c:strRef>
              <c:f>'Hoja1 (2)'!$C$35</c:f>
              <c:strCache>
                <c:ptCount val="1"/>
                <c:pt idx="0">
                  <c:v>Permite pagar servicios con débitos automáticos</c:v>
                </c:pt>
              </c:strCache>
            </c:strRef>
          </c:tx>
          <c:spPr>
            <a:ln w="28575">
              <a:noFill/>
            </a:ln>
          </c:spPr>
          <c:marker>
            <c:spPr>
              <a:solidFill>
                <a:schemeClr val="tx1"/>
              </a:solidFill>
            </c:spPr>
          </c:marker>
          <c:dLbls>
            <c:spPr>
              <a:noFill/>
              <a:ln>
                <a:noFill/>
              </a:ln>
              <a:effectLst/>
            </c:spPr>
            <c:dLblPos val="t"/>
            <c:showLegendKey val="0"/>
            <c:showVal val="0"/>
            <c:showCatName val="0"/>
            <c:showSerName val="1"/>
            <c:showPercent val="0"/>
            <c:showBubbleSize val="0"/>
            <c:showLeaderLines val="0"/>
            <c:extLst>
              <c:ext xmlns:c15="http://schemas.microsoft.com/office/drawing/2012/chart" uri="{CE6537A1-D6FC-4f65-9D91-7224C49458BB}">
                <c15:layout/>
                <c15:showLeaderLines val="0"/>
              </c:ext>
            </c:extLst>
          </c:dLbls>
          <c:xVal>
            <c:numRef>
              <c:f>'Hoja1 (2)'!$J$35</c:f>
              <c:numCache>
                <c:formatCode>0</c:formatCode>
                <c:ptCount val="1"/>
                <c:pt idx="0">
                  <c:v>1.9861987909851226</c:v>
                </c:pt>
              </c:numCache>
            </c:numRef>
          </c:xVal>
          <c:yVal>
            <c:numRef>
              <c:f>'Hoja1 (2)'!$D$35</c:f>
              <c:numCache>
                <c:formatCode>General</c:formatCode>
                <c:ptCount val="1"/>
                <c:pt idx="0">
                  <c:v>0.46300000000000002</c:v>
                </c:pt>
              </c:numCache>
            </c:numRef>
          </c:yVal>
          <c:smooth val="0"/>
        </c:ser>
        <c:ser>
          <c:idx val="6"/>
          <c:order val="6"/>
          <c:tx>
            <c:strRef>
              <c:f>'Hoja1 (2)'!$C$36</c:f>
              <c:strCache>
                <c:ptCount val="1"/>
                <c:pt idx="0">
                  <c:v>Ofrece varias opciones de diferidos</c:v>
                </c:pt>
              </c:strCache>
            </c:strRef>
          </c:tx>
          <c:spPr>
            <a:ln w="28575">
              <a:noFill/>
            </a:ln>
          </c:spPr>
          <c:marker>
            <c:symbol val="circle"/>
            <c:size val="7"/>
            <c:spPr>
              <a:solidFill>
                <a:schemeClr val="tx1"/>
              </a:solidFill>
            </c:spPr>
          </c:marker>
          <c:dLbls>
            <c:dLbl>
              <c:idx val="0"/>
              <c:layout>
                <c:manualLayout>
                  <c:x val="-0.17488982481840934"/>
                  <c:y val="-7.0285867880972713E-2"/>
                </c:manualLayout>
              </c:layou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Hoja1 (2)'!$J$36</c:f>
              <c:numCache>
                <c:formatCode>0</c:formatCode>
                <c:ptCount val="1"/>
                <c:pt idx="0">
                  <c:v>0.49896114858910856</c:v>
                </c:pt>
              </c:numCache>
            </c:numRef>
          </c:xVal>
          <c:yVal>
            <c:numRef>
              <c:f>'Hoja1 (2)'!$D$36</c:f>
              <c:numCache>
                <c:formatCode>General</c:formatCode>
                <c:ptCount val="1"/>
                <c:pt idx="0">
                  <c:v>0.45200000000000001</c:v>
                </c:pt>
              </c:numCache>
            </c:numRef>
          </c:yVal>
          <c:smooth val="0"/>
        </c:ser>
        <c:ser>
          <c:idx val="7"/>
          <c:order val="7"/>
          <c:tx>
            <c:strRef>
              <c:f>'Hoja1 (2)'!$C$37</c:f>
              <c:strCache>
                <c:ptCount val="1"/>
                <c:pt idx="0">
                  <c:v>Ayuda en casos de emergencia</c:v>
                </c:pt>
              </c:strCache>
            </c:strRef>
          </c:tx>
          <c:spPr>
            <a:ln w="28575">
              <a:noFill/>
            </a:ln>
          </c:spPr>
          <c:marker>
            <c:symbol val="circle"/>
            <c:size val="7"/>
            <c:spPr>
              <a:solidFill>
                <a:schemeClr val="tx1"/>
              </a:solidFill>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layout/>
                <c15:showLeaderLines val="0"/>
              </c:ext>
            </c:extLst>
          </c:dLbls>
          <c:xVal>
            <c:numRef>
              <c:f>'Hoja1 (2)'!$J$37</c:f>
              <c:numCache>
                <c:formatCode>0</c:formatCode>
                <c:ptCount val="1"/>
                <c:pt idx="0">
                  <c:v>0.41202532871806596</c:v>
                </c:pt>
              </c:numCache>
            </c:numRef>
          </c:xVal>
          <c:yVal>
            <c:numRef>
              <c:f>'Hoja1 (2)'!$D$37</c:f>
              <c:numCache>
                <c:formatCode>General</c:formatCode>
                <c:ptCount val="1"/>
                <c:pt idx="0">
                  <c:v>0.39200000000000002</c:v>
                </c:pt>
              </c:numCache>
            </c:numRef>
          </c:yVal>
          <c:smooth val="0"/>
        </c:ser>
        <c:ser>
          <c:idx val="8"/>
          <c:order val="8"/>
          <c:tx>
            <c:strRef>
              <c:f>'Hoja1 (2)'!$C$38</c:f>
              <c:strCache>
                <c:ptCount val="1"/>
                <c:pt idx="0">
                  <c:v>Tiene el mejor servicio al cliente</c:v>
                </c:pt>
              </c:strCache>
            </c:strRef>
          </c:tx>
          <c:spPr>
            <a:ln w="28575">
              <a:noFill/>
            </a:ln>
          </c:spPr>
          <c:marker>
            <c:symbol val="circle"/>
            <c:size val="7"/>
            <c:spPr>
              <a:solidFill>
                <a:schemeClr val="tx1"/>
              </a:solidFill>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layout/>
                <c15:showLeaderLines val="0"/>
              </c:ext>
            </c:extLst>
          </c:dLbls>
          <c:xVal>
            <c:numRef>
              <c:f>'Hoja1 (2)'!$J$38</c:f>
              <c:numCache>
                <c:formatCode>0</c:formatCode>
                <c:ptCount val="1"/>
                <c:pt idx="0">
                  <c:v>0.43561732461010472</c:v>
                </c:pt>
              </c:numCache>
            </c:numRef>
          </c:xVal>
          <c:yVal>
            <c:numRef>
              <c:f>'Hoja1 (2)'!$D$38</c:f>
              <c:numCache>
                <c:formatCode>General</c:formatCode>
                <c:ptCount val="1"/>
                <c:pt idx="0">
                  <c:v>0.33</c:v>
                </c:pt>
              </c:numCache>
            </c:numRef>
          </c:yVal>
          <c:smooth val="0"/>
        </c:ser>
        <c:ser>
          <c:idx val="9"/>
          <c:order val="9"/>
          <c:tx>
            <c:strRef>
              <c:f>'Hoja1 (2)'!$C$39</c:f>
              <c:strCache>
                <c:ptCount val="1"/>
                <c:pt idx="0">
                  <c:v>Le tengo miedo / recelo</c:v>
                </c:pt>
              </c:strCache>
            </c:strRef>
          </c:tx>
          <c:spPr>
            <a:ln w="28575">
              <a:noFill/>
            </a:ln>
          </c:spPr>
          <c:marker>
            <c:symbol val="circle"/>
            <c:size val="7"/>
            <c:spPr>
              <a:solidFill>
                <a:schemeClr val="tx1"/>
              </a:solidFill>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layout/>
                <c15:showLeaderLines val="0"/>
              </c:ext>
            </c:extLst>
          </c:dLbls>
          <c:xVal>
            <c:numRef>
              <c:f>'Hoja1 (2)'!$J$39</c:f>
              <c:numCache>
                <c:formatCode>0</c:formatCode>
                <c:ptCount val="1"/>
                <c:pt idx="0">
                  <c:v>-4.1944751642820624</c:v>
                </c:pt>
              </c:numCache>
            </c:numRef>
          </c:xVal>
          <c:yVal>
            <c:numRef>
              <c:f>'Hoja1 (2)'!$D$39</c:f>
              <c:numCache>
                <c:formatCode>General</c:formatCode>
                <c:ptCount val="1"/>
                <c:pt idx="0">
                  <c:v>0.27100000000000002</c:v>
                </c:pt>
              </c:numCache>
            </c:numRef>
          </c:yVal>
          <c:smooth val="0"/>
        </c:ser>
        <c:ser>
          <c:idx val="10"/>
          <c:order val="10"/>
          <c:tx>
            <c:strRef>
              <c:f>'Hoja1 (2)'!$C$40</c:f>
              <c:strCache>
                <c:ptCount val="1"/>
                <c:pt idx="0">
                  <c:v>Es aceptada internacionalmente</c:v>
                </c:pt>
              </c:strCache>
            </c:strRef>
          </c:tx>
          <c:spPr>
            <a:ln w="28575">
              <a:noFill/>
            </a:ln>
          </c:spPr>
          <c:marker>
            <c:symbol val="circle"/>
            <c:size val="7"/>
            <c:spPr>
              <a:solidFill>
                <a:schemeClr val="tx1"/>
              </a:solidFill>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layout/>
                <c15:showLeaderLines val="0"/>
              </c:ext>
            </c:extLst>
          </c:dLbls>
          <c:xVal>
            <c:numRef>
              <c:f>'Hoja1 (2)'!$J$40</c:f>
              <c:numCache>
                <c:formatCode>0</c:formatCode>
                <c:ptCount val="1"/>
                <c:pt idx="0">
                  <c:v>-6.2223812039503557E-2</c:v>
                </c:pt>
              </c:numCache>
            </c:numRef>
          </c:xVal>
          <c:yVal>
            <c:numRef>
              <c:f>'Hoja1 (2)'!$D$40</c:f>
              <c:numCache>
                <c:formatCode>General</c:formatCode>
                <c:ptCount val="1"/>
                <c:pt idx="0">
                  <c:v>0.23</c:v>
                </c:pt>
              </c:numCache>
            </c:numRef>
          </c:yVal>
          <c:smooth val="0"/>
        </c:ser>
        <c:ser>
          <c:idx val="11"/>
          <c:order val="11"/>
          <c:tx>
            <c:strRef>
              <c:f>'Hoja1 (2)'!$C$41</c:f>
              <c:strCache>
                <c:ptCount val="1"/>
                <c:pt idx="0">
                  <c:v>Devuelve hasta el 1% de los consumos</c:v>
                </c:pt>
              </c:strCache>
            </c:strRef>
          </c:tx>
          <c:spPr>
            <a:ln w="28575">
              <a:noFill/>
            </a:ln>
          </c:spPr>
          <c:marker>
            <c:symbol val="circle"/>
            <c:size val="7"/>
            <c:spPr>
              <a:solidFill>
                <a:schemeClr val="tx1"/>
              </a:solidFill>
            </c:spPr>
          </c:marker>
          <c:dLbls>
            <c:dLbl>
              <c:idx val="0"/>
              <c:layout>
                <c:manualLayout>
                  <c:x val="-8.9092556998026859E-2"/>
                  <c:y val="-0.11567719552297331"/>
                </c:manualLayout>
              </c:layou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Hoja1 (2)'!$K$41</c:f>
              <c:numCache>
                <c:formatCode>0</c:formatCode>
                <c:ptCount val="1"/>
                <c:pt idx="0">
                  <c:v>0.55067862431346959</c:v>
                </c:pt>
              </c:numCache>
            </c:numRef>
          </c:xVal>
          <c:yVal>
            <c:numRef>
              <c:f>'Hoja1 (2)'!$D$41</c:f>
              <c:numCache>
                <c:formatCode>General</c:formatCode>
                <c:ptCount val="1"/>
                <c:pt idx="0">
                  <c:v>0</c:v>
                </c:pt>
              </c:numCache>
            </c:numRef>
          </c:yVal>
          <c:smooth val="0"/>
        </c:ser>
        <c:ser>
          <c:idx val="12"/>
          <c:order val="12"/>
          <c:tx>
            <c:strRef>
              <c:f>'Hoja1 (2)'!$C$42</c:f>
              <c:strCache>
                <c:ptCount val="1"/>
                <c:pt idx="0">
                  <c:v>Es aceptada internacionalmente</c:v>
                </c:pt>
              </c:strCache>
            </c:strRef>
          </c:tx>
          <c:spPr>
            <a:ln w="28575">
              <a:noFill/>
            </a:ln>
          </c:spPr>
          <c:marker>
            <c:symbol val="circle"/>
            <c:size val="7"/>
            <c:spPr>
              <a:solidFill>
                <a:schemeClr val="tx1"/>
              </a:solidFill>
            </c:spPr>
          </c:marker>
          <c:dLbls>
            <c:spPr>
              <a:noFill/>
              <a:ln>
                <a:noFill/>
              </a:ln>
              <a:effectLst/>
            </c:spPr>
            <c:dLblPos val="t"/>
            <c:showLegendKey val="0"/>
            <c:showVal val="0"/>
            <c:showCatName val="0"/>
            <c:showSerName val="1"/>
            <c:showPercent val="0"/>
            <c:showBubbleSize val="0"/>
            <c:showLeaderLines val="0"/>
            <c:extLst>
              <c:ext xmlns:c15="http://schemas.microsoft.com/office/drawing/2012/chart" uri="{CE6537A1-D6FC-4f65-9D91-7224C49458BB}">
                <c15:layout/>
                <c15:showLeaderLines val="0"/>
              </c:ext>
            </c:extLst>
          </c:dLbls>
          <c:xVal>
            <c:numRef>
              <c:f>'Hoja1 (2)'!$I$42</c:f>
              <c:numCache>
                <c:formatCode>0</c:formatCode>
                <c:ptCount val="1"/>
                <c:pt idx="0">
                  <c:v>-0.21442052129874334</c:v>
                </c:pt>
              </c:numCache>
            </c:numRef>
          </c:xVal>
          <c:yVal>
            <c:numRef>
              <c:f>'Hoja1 (2)'!$D$42</c:f>
              <c:numCache>
                <c:formatCode>General</c:formatCode>
                <c:ptCount val="1"/>
                <c:pt idx="0">
                  <c:v>0</c:v>
                </c:pt>
              </c:numCache>
            </c:numRef>
          </c:yVal>
          <c:smooth val="0"/>
        </c:ser>
        <c:ser>
          <c:idx val="13"/>
          <c:order val="13"/>
          <c:tx>
            <c:strRef>
              <c:f>'Hoja1 (2)'!$C$43</c:f>
              <c:strCache>
                <c:ptCount val="1"/>
                <c:pt idx="0">
                  <c:v>Ofrece las mejores ofertas y descuentos</c:v>
                </c:pt>
              </c:strCache>
            </c:strRef>
          </c:tx>
          <c:spPr>
            <a:ln w="28575">
              <a:noFill/>
            </a:ln>
          </c:spPr>
          <c:marker>
            <c:symbol val="circle"/>
            <c:size val="7"/>
            <c:spPr>
              <a:solidFill>
                <a:schemeClr val="tx1"/>
              </a:solidFill>
            </c:spPr>
          </c:marker>
          <c:dLbls>
            <c:dLbl>
              <c:idx val="0"/>
              <c:layout>
                <c:manualLayout>
                  <c:x val="-1.6044927819303452E-3"/>
                  <c:y val="-4.5977011494252873E-2"/>
                </c:manualLayout>
              </c:layou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Hoja1 (2)'!$I$43</c:f>
              <c:numCache>
                <c:formatCode>0</c:formatCode>
                <c:ptCount val="1"/>
                <c:pt idx="0">
                  <c:v>-0.23600457571682121</c:v>
                </c:pt>
              </c:numCache>
            </c:numRef>
          </c:xVal>
          <c:yVal>
            <c:numRef>
              <c:f>'Hoja1 (2)'!$D$43</c:f>
              <c:numCache>
                <c:formatCode>General</c:formatCode>
                <c:ptCount val="1"/>
                <c:pt idx="0">
                  <c:v>0</c:v>
                </c:pt>
              </c:numCache>
            </c:numRef>
          </c:yVal>
          <c:smooth val="0"/>
        </c:ser>
        <c:ser>
          <c:idx val="14"/>
          <c:order val="14"/>
          <c:tx>
            <c:strRef>
              <c:f>'Hoja1 (2)'!$C$44</c:f>
              <c:strCache>
                <c:ptCount val="1"/>
                <c:pt idx="0">
                  <c:v>Es prestigiosa</c:v>
                </c:pt>
              </c:strCache>
            </c:strRef>
          </c:tx>
          <c:spPr>
            <a:ln w="28575">
              <a:noFill/>
            </a:ln>
          </c:spPr>
          <c:marker>
            <c:spPr>
              <a:solidFill>
                <a:schemeClr val="tx1"/>
              </a:solidFill>
            </c:spPr>
          </c:marker>
          <c:dLbls>
            <c:dLbl>
              <c:idx val="0"/>
              <c:layout>
                <c:manualLayout>
                  <c:x val="-0.13646856383615949"/>
                  <c:y val="-6.0185549722951127E-2"/>
                </c:manualLayout>
              </c:layou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Hoja1 (2)'!$J$44</c:f>
              <c:numCache>
                <c:formatCode>0</c:formatCode>
                <c:ptCount val="1"/>
                <c:pt idx="0">
                  <c:v>-0.105152854650715</c:v>
                </c:pt>
              </c:numCache>
            </c:numRef>
          </c:xVal>
          <c:yVal>
            <c:numRef>
              <c:f>'Hoja1 (2)'!$D$44</c:f>
              <c:numCache>
                <c:formatCode>General</c:formatCode>
                <c:ptCount val="1"/>
                <c:pt idx="0">
                  <c:v>0</c:v>
                </c:pt>
              </c:numCache>
            </c:numRef>
          </c:yVal>
          <c:smooth val="0"/>
        </c:ser>
        <c:ser>
          <c:idx val="15"/>
          <c:order val="15"/>
          <c:tx>
            <c:strRef>
              <c:f>'Hoja1 (2)'!$C$45</c:f>
              <c:strCache>
                <c:ptCount val="1"/>
                <c:pt idx="0">
                  <c:v>Ayuda a salir adelante, a progresar</c:v>
                </c:pt>
              </c:strCache>
            </c:strRef>
          </c:tx>
          <c:spPr>
            <a:ln w="28575">
              <a:noFill/>
            </a:ln>
          </c:spPr>
          <c:marker>
            <c:symbol val="circle"/>
            <c:size val="7"/>
            <c:spPr>
              <a:solidFill>
                <a:schemeClr val="tx1"/>
              </a:solidFill>
            </c:spPr>
          </c:marker>
          <c:dLbls>
            <c:dLbl>
              <c:idx val="0"/>
              <c:layout>
                <c:manualLayout>
                  <c:x val="0"/>
                  <c:y val="-0.13668591426071741"/>
                </c:manualLayout>
              </c:layou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Hoja1 (2)'!$J$45</c:f>
              <c:numCache>
                <c:formatCode>0</c:formatCode>
                <c:ptCount val="1"/>
                <c:pt idx="0">
                  <c:v>-8.2492503095854985E-2</c:v>
                </c:pt>
              </c:numCache>
            </c:numRef>
          </c:xVal>
          <c:yVal>
            <c:numRef>
              <c:f>'Hoja1 (2)'!$D$45</c:f>
              <c:numCache>
                <c:formatCode>General</c:formatCode>
                <c:ptCount val="1"/>
                <c:pt idx="0">
                  <c:v>0</c:v>
                </c:pt>
              </c:numCache>
            </c:numRef>
          </c:yVal>
          <c:smooth val="0"/>
        </c:ser>
        <c:ser>
          <c:idx val="16"/>
          <c:order val="16"/>
          <c:tx>
            <c:strRef>
              <c:f>'Hoja1 (2)'!$C$46</c:f>
              <c:strCache>
                <c:ptCount val="1"/>
                <c:pt idx="0">
                  <c:v>Tiene el mejor programa de millas</c:v>
                </c:pt>
              </c:strCache>
            </c:strRef>
          </c:tx>
          <c:spPr>
            <a:ln w="28575">
              <a:noFill/>
            </a:ln>
          </c:spPr>
          <c:marker>
            <c:symbol val="circle"/>
            <c:size val="7"/>
            <c:spPr>
              <a:solidFill>
                <a:schemeClr val="tx1"/>
              </a:solidFill>
            </c:spPr>
          </c:marker>
          <c:dLbls>
            <c:dLbl>
              <c:idx val="0"/>
              <c:layout>
                <c:manualLayout>
                  <c:x val="-1.3523741113913354E-16"/>
                  <c:y val="-0.11574074074074074"/>
                </c:manualLayout>
              </c:layou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trendline>
            <c:trendlineType val="linear"/>
            <c:dispRSqr val="0"/>
            <c:dispEq val="0"/>
          </c:trendline>
          <c:xVal>
            <c:numRef>
              <c:f>'Hoja1 (2)'!$J$46</c:f>
              <c:numCache>
                <c:formatCode>0</c:formatCode>
                <c:ptCount val="1"/>
                <c:pt idx="0">
                  <c:v>1.5107039366552621</c:v>
                </c:pt>
              </c:numCache>
            </c:numRef>
          </c:xVal>
          <c:yVal>
            <c:numRef>
              <c:f>'Hoja1 (2)'!$D$46</c:f>
              <c:numCache>
                <c:formatCode>General</c:formatCode>
                <c:ptCount val="1"/>
                <c:pt idx="0">
                  <c:v>0</c:v>
                </c:pt>
              </c:numCache>
            </c:numRef>
          </c:yVal>
          <c:smooth val="0"/>
        </c:ser>
        <c:dLbls>
          <c:showLegendKey val="0"/>
          <c:showVal val="0"/>
          <c:showCatName val="0"/>
          <c:showSerName val="0"/>
          <c:showPercent val="0"/>
          <c:showBubbleSize val="0"/>
        </c:dLbls>
        <c:axId val="277982512"/>
        <c:axId val="277981728"/>
      </c:scatterChart>
      <c:valAx>
        <c:axId val="277982512"/>
        <c:scaling>
          <c:orientation val="minMax"/>
          <c:max val="4"/>
        </c:scaling>
        <c:delete val="0"/>
        <c:axPos val="b"/>
        <c:numFmt formatCode="0" sourceLinked="1"/>
        <c:majorTickMark val="out"/>
        <c:minorTickMark val="none"/>
        <c:tickLblPos val="nextTo"/>
        <c:crossAx val="277981728"/>
        <c:crosses val="autoZero"/>
        <c:crossBetween val="midCat"/>
      </c:valAx>
      <c:valAx>
        <c:axId val="277981728"/>
        <c:scaling>
          <c:orientation val="minMax"/>
        </c:scaling>
        <c:delete val="0"/>
        <c:axPos val="l"/>
        <c:numFmt formatCode="General" sourceLinked="1"/>
        <c:majorTickMark val="out"/>
        <c:minorTickMark val="none"/>
        <c:tickLblPos val="low"/>
        <c:crossAx val="277982512"/>
        <c:crosses val="autoZero"/>
        <c:crossBetween val="midCat"/>
      </c:valAx>
    </c:plotArea>
    <c:plotVisOnly val="1"/>
    <c:dispBlanksAs val="gap"/>
    <c:showDLblsOverMax val="0"/>
  </c:chart>
  <c:txPr>
    <a:bodyPr/>
    <a:lstStyle/>
    <a:p>
      <a:pPr>
        <a:defRPr sz="700"/>
      </a:pPr>
      <a:endParaRPr lang="es-MX"/>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2" name="Slide Number Placeholder 1"/>
          <p:cNvSpPr txBox="1">
            <a:spLocks/>
          </p:cNvSpPr>
          <p:nvPr/>
        </p:nvSpPr>
        <p:spPr>
          <a:xfrm>
            <a:off x="3323630" y="8829967"/>
            <a:ext cx="208119" cy="466433"/>
          </a:xfrm>
          <a:prstGeom prst="rect">
            <a:avLst/>
          </a:prstGeom>
        </p:spPr>
        <p:txBody>
          <a:bodyPr lIns="0" rIns="0" bIns="0" anchor="ctr"/>
          <a:lstStyle>
            <a:defPPr>
              <a:defRPr lang="en-US"/>
            </a:defPPr>
            <a:lvl1pPr marL="0" algn="l" defTabSz="914400" rtl="0" eaLnBrk="1" latinLnBrk="0" hangingPunct="1">
              <a:defRPr sz="7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9AB4E72-7858-48F1-A40D-12FF09E4BFB8}" type="slidenum">
              <a:rPr lang="en-GB" smtClean="0"/>
              <a:pPr algn="ctr"/>
              <a:t>‹Nº›</a:t>
            </a:fld>
            <a:endParaRPr lang="en-GB" dirty="0"/>
          </a:p>
        </p:txBody>
      </p:sp>
    </p:spTree>
    <p:extLst>
      <p:ext uri="{BB962C8B-B14F-4D97-AF65-F5344CB8AC3E}">
        <p14:creationId xmlns:p14="http://schemas.microsoft.com/office/powerpoint/2010/main" val="93494314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Notes Placeholder 4"/>
          <p:cNvSpPr>
            <a:spLocks noGrp="1"/>
          </p:cNvSpPr>
          <p:nvPr>
            <p:ph type="body" sz="quarter" idx="3"/>
          </p:nvPr>
        </p:nvSpPr>
        <p:spPr>
          <a:xfrm>
            <a:off x="1143000" y="4387064"/>
            <a:ext cx="4572002" cy="3188457"/>
          </a:xfrm>
          <a:prstGeom prst="rect">
            <a:avLst/>
          </a:prstGeom>
        </p:spPr>
        <p:txBody>
          <a:bodyPr vert="horz" lIns="0" tIns="45720" rIns="18288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9" name="Group 8"/>
          <p:cNvGrpSpPr>
            <a:grpSpLocks noChangeAspect="1"/>
          </p:cNvGrpSpPr>
          <p:nvPr/>
        </p:nvGrpSpPr>
        <p:grpSpPr>
          <a:xfrm>
            <a:off x="733165" y="68177"/>
            <a:ext cx="1737360" cy="244981"/>
            <a:chOff x="7881993" y="6590900"/>
            <a:chExt cx="1124815" cy="156007"/>
          </a:xfrm>
        </p:grpSpPr>
        <p:sp>
          <p:nvSpPr>
            <p:cNvPr id="10" name="Freeform 9"/>
            <p:cNvSpPr>
              <a:spLocks/>
            </p:cNvSpPr>
            <p:nvPr/>
          </p:nvSpPr>
          <p:spPr bwMode="auto">
            <a:xfrm>
              <a:off x="7881993" y="6590900"/>
              <a:ext cx="100255" cy="156007"/>
            </a:xfrm>
            <a:custGeom>
              <a:avLst/>
              <a:gdLst>
                <a:gd name="T0" fmla="*/ 87 w 87"/>
                <a:gd name="T1" fmla="*/ 15 h 135"/>
                <a:gd name="T2" fmla="*/ 87 w 87"/>
                <a:gd name="T3" fmla="*/ 44 h 135"/>
                <a:gd name="T4" fmla="*/ 72 w 87"/>
                <a:gd name="T5" fmla="*/ 29 h 135"/>
                <a:gd name="T6" fmla="*/ 56 w 87"/>
                <a:gd name="T7" fmla="*/ 28 h 135"/>
                <a:gd name="T8" fmla="*/ 57 w 87"/>
                <a:gd name="T9" fmla="*/ 44 h 135"/>
                <a:gd name="T10" fmla="*/ 87 w 87"/>
                <a:gd name="T11" fmla="*/ 73 h 135"/>
                <a:gd name="T12" fmla="*/ 87 w 87"/>
                <a:gd name="T13" fmla="*/ 102 h 135"/>
                <a:gd name="T14" fmla="*/ 43 w 87"/>
                <a:gd name="T15" fmla="*/ 58 h 135"/>
                <a:gd name="T16" fmla="*/ 27 w 87"/>
                <a:gd name="T17" fmla="*/ 57 h 135"/>
                <a:gd name="T18" fmla="*/ 28 w 87"/>
                <a:gd name="T19" fmla="*/ 73 h 135"/>
                <a:gd name="T20" fmla="*/ 76 w 87"/>
                <a:gd name="T21" fmla="*/ 120 h 135"/>
                <a:gd name="T22" fmla="*/ 62 w 87"/>
                <a:gd name="T23" fmla="*/ 135 h 135"/>
                <a:gd name="T24" fmla="*/ 14 w 87"/>
                <a:gd name="T25" fmla="*/ 87 h 135"/>
                <a:gd name="T26" fmla="*/ 13 w 87"/>
                <a:gd name="T27" fmla="*/ 43 h 135"/>
                <a:gd name="T28" fmla="*/ 34 w 87"/>
                <a:gd name="T29" fmla="*/ 35 h 135"/>
                <a:gd name="T30" fmla="*/ 42 w 87"/>
                <a:gd name="T31" fmla="*/ 13 h 135"/>
                <a:gd name="T32" fmla="*/ 86 w 87"/>
                <a:gd name="T33" fmla="*/ 15 h 135"/>
                <a:gd name="T34" fmla="*/ 87 w 87"/>
                <a:gd name="T35" fmla="*/ 1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7" h="135">
                  <a:moveTo>
                    <a:pt x="87" y="15"/>
                  </a:moveTo>
                  <a:cubicBezTo>
                    <a:pt x="87" y="44"/>
                    <a:pt x="87" y="44"/>
                    <a:pt x="87" y="44"/>
                  </a:cubicBezTo>
                  <a:cubicBezTo>
                    <a:pt x="72" y="29"/>
                    <a:pt x="72" y="29"/>
                    <a:pt x="72" y="29"/>
                  </a:cubicBezTo>
                  <a:cubicBezTo>
                    <a:pt x="66" y="24"/>
                    <a:pt x="60" y="24"/>
                    <a:pt x="56" y="28"/>
                  </a:cubicBezTo>
                  <a:cubicBezTo>
                    <a:pt x="52" y="32"/>
                    <a:pt x="52" y="38"/>
                    <a:pt x="57" y="44"/>
                  </a:cubicBezTo>
                  <a:cubicBezTo>
                    <a:pt x="87" y="73"/>
                    <a:pt x="87" y="73"/>
                    <a:pt x="87" y="73"/>
                  </a:cubicBezTo>
                  <a:cubicBezTo>
                    <a:pt x="87" y="102"/>
                    <a:pt x="87" y="102"/>
                    <a:pt x="87" y="102"/>
                  </a:cubicBezTo>
                  <a:cubicBezTo>
                    <a:pt x="43" y="58"/>
                    <a:pt x="43" y="58"/>
                    <a:pt x="43" y="58"/>
                  </a:cubicBezTo>
                  <a:cubicBezTo>
                    <a:pt x="37" y="53"/>
                    <a:pt x="31" y="53"/>
                    <a:pt x="27" y="57"/>
                  </a:cubicBezTo>
                  <a:cubicBezTo>
                    <a:pt x="23" y="60"/>
                    <a:pt x="23" y="67"/>
                    <a:pt x="28" y="73"/>
                  </a:cubicBezTo>
                  <a:cubicBezTo>
                    <a:pt x="76" y="120"/>
                    <a:pt x="76" y="120"/>
                    <a:pt x="76" y="120"/>
                  </a:cubicBezTo>
                  <a:cubicBezTo>
                    <a:pt x="62" y="135"/>
                    <a:pt x="62" y="135"/>
                    <a:pt x="62" y="135"/>
                  </a:cubicBezTo>
                  <a:cubicBezTo>
                    <a:pt x="14" y="87"/>
                    <a:pt x="14" y="87"/>
                    <a:pt x="14" y="87"/>
                  </a:cubicBezTo>
                  <a:cubicBezTo>
                    <a:pt x="0" y="73"/>
                    <a:pt x="1" y="54"/>
                    <a:pt x="13" y="43"/>
                  </a:cubicBezTo>
                  <a:cubicBezTo>
                    <a:pt x="21" y="35"/>
                    <a:pt x="30" y="34"/>
                    <a:pt x="34" y="35"/>
                  </a:cubicBezTo>
                  <a:cubicBezTo>
                    <a:pt x="33" y="31"/>
                    <a:pt x="34" y="22"/>
                    <a:pt x="42" y="13"/>
                  </a:cubicBezTo>
                  <a:cubicBezTo>
                    <a:pt x="54" y="2"/>
                    <a:pt x="73" y="0"/>
                    <a:pt x="86" y="15"/>
                  </a:cubicBezTo>
                  <a:lnTo>
                    <a:pt x="87" y="15"/>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solidFill>
                  <a:schemeClr val="bg2"/>
                </a:solidFill>
              </a:endParaRPr>
            </a:p>
          </p:txBody>
        </p:sp>
        <p:sp>
          <p:nvSpPr>
            <p:cNvPr id="11" name="Freeform 10"/>
            <p:cNvSpPr>
              <a:spLocks/>
            </p:cNvSpPr>
            <p:nvPr/>
          </p:nvSpPr>
          <p:spPr bwMode="auto">
            <a:xfrm>
              <a:off x="7982248" y="6590900"/>
              <a:ext cx="100744" cy="156007"/>
            </a:xfrm>
            <a:custGeom>
              <a:avLst/>
              <a:gdLst>
                <a:gd name="T0" fmla="*/ 0 w 87"/>
                <a:gd name="T1" fmla="*/ 44 h 135"/>
                <a:gd name="T2" fmla="*/ 0 w 87"/>
                <a:gd name="T3" fmla="*/ 15 h 135"/>
                <a:gd name="T4" fmla="*/ 1 w 87"/>
                <a:gd name="T5" fmla="*/ 15 h 135"/>
                <a:gd name="T6" fmla="*/ 44 w 87"/>
                <a:gd name="T7" fmla="*/ 13 h 135"/>
                <a:gd name="T8" fmla="*/ 53 w 87"/>
                <a:gd name="T9" fmla="*/ 35 h 135"/>
                <a:gd name="T10" fmla="*/ 74 w 87"/>
                <a:gd name="T11" fmla="*/ 43 h 135"/>
                <a:gd name="T12" fmla="*/ 73 w 87"/>
                <a:gd name="T13" fmla="*/ 87 h 135"/>
                <a:gd name="T14" fmla="*/ 25 w 87"/>
                <a:gd name="T15" fmla="*/ 135 h 135"/>
                <a:gd name="T16" fmla="*/ 11 w 87"/>
                <a:gd name="T17" fmla="*/ 120 h 135"/>
                <a:gd name="T18" fmla="*/ 58 w 87"/>
                <a:gd name="T19" fmla="*/ 73 h 135"/>
                <a:gd name="T20" fmla="*/ 60 w 87"/>
                <a:gd name="T21" fmla="*/ 57 h 135"/>
                <a:gd name="T22" fmla="*/ 44 w 87"/>
                <a:gd name="T23" fmla="*/ 58 h 135"/>
                <a:gd name="T24" fmla="*/ 0 w 87"/>
                <a:gd name="T25" fmla="*/ 102 h 135"/>
                <a:gd name="T26" fmla="*/ 0 w 87"/>
                <a:gd name="T27" fmla="*/ 73 h 135"/>
                <a:gd name="T28" fmla="*/ 29 w 87"/>
                <a:gd name="T29" fmla="*/ 44 h 135"/>
                <a:gd name="T30" fmla="*/ 31 w 87"/>
                <a:gd name="T31" fmla="*/ 28 h 135"/>
                <a:gd name="T32" fmla="*/ 15 w 87"/>
                <a:gd name="T33" fmla="*/ 29 h 135"/>
                <a:gd name="T34" fmla="*/ 0 w 87"/>
                <a:gd name="T35" fmla="*/ 44 h 135"/>
                <a:gd name="T36" fmla="*/ 0 w 87"/>
                <a:gd name="T37" fmla="*/ 15 h 135"/>
                <a:gd name="T38" fmla="*/ 0 w 87"/>
                <a:gd name="T39" fmla="*/ 44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7" h="135">
                  <a:moveTo>
                    <a:pt x="0" y="44"/>
                  </a:moveTo>
                  <a:cubicBezTo>
                    <a:pt x="0" y="15"/>
                    <a:pt x="0" y="15"/>
                    <a:pt x="0" y="15"/>
                  </a:cubicBezTo>
                  <a:cubicBezTo>
                    <a:pt x="1" y="15"/>
                    <a:pt x="1" y="15"/>
                    <a:pt x="1" y="15"/>
                  </a:cubicBezTo>
                  <a:cubicBezTo>
                    <a:pt x="15" y="0"/>
                    <a:pt x="33" y="2"/>
                    <a:pt x="44" y="13"/>
                  </a:cubicBezTo>
                  <a:cubicBezTo>
                    <a:pt x="53" y="22"/>
                    <a:pt x="53" y="31"/>
                    <a:pt x="53" y="35"/>
                  </a:cubicBezTo>
                  <a:cubicBezTo>
                    <a:pt x="57" y="34"/>
                    <a:pt x="66" y="35"/>
                    <a:pt x="74" y="43"/>
                  </a:cubicBezTo>
                  <a:cubicBezTo>
                    <a:pt x="85" y="54"/>
                    <a:pt x="87" y="73"/>
                    <a:pt x="73" y="87"/>
                  </a:cubicBezTo>
                  <a:cubicBezTo>
                    <a:pt x="25" y="135"/>
                    <a:pt x="25" y="135"/>
                    <a:pt x="25" y="135"/>
                  </a:cubicBezTo>
                  <a:cubicBezTo>
                    <a:pt x="11" y="120"/>
                    <a:pt x="11" y="120"/>
                    <a:pt x="11" y="120"/>
                  </a:cubicBezTo>
                  <a:cubicBezTo>
                    <a:pt x="58" y="73"/>
                    <a:pt x="58" y="73"/>
                    <a:pt x="58" y="73"/>
                  </a:cubicBezTo>
                  <a:cubicBezTo>
                    <a:pt x="64" y="67"/>
                    <a:pt x="63" y="60"/>
                    <a:pt x="60" y="57"/>
                  </a:cubicBezTo>
                  <a:cubicBezTo>
                    <a:pt x="56" y="53"/>
                    <a:pt x="49" y="53"/>
                    <a:pt x="44" y="58"/>
                  </a:cubicBezTo>
                  <a:cubicBezTo>
                    <a:pt x="0" y="102"/>
                    <a:pt x="0" y="102"/>
                    <a:pt x="0" y="102"/>
                  </a:cubicBezTo>
                  <a:cubicBezTo>
                    <a:pt x="0" y="73"/>
                    <a:pt x="0" y="73"/>
                    <a:pt x="0" y="73"/>
                  </a:cubicBezTo>
                  <a:cubicBezTo>
                    <a:pt x="29" y="44"/>
                    <a:pt x="29" y="44"/>
                    <a:pt x="29" y="44"/>
                  </a:cubicBezTo>
                  <a:cubicBezTo>
                    <a:pt x="35" y="38"/>
                    <a:pt x="34" y="32"/>
                    <a:pt x="31" y="28"/>
                  </a:cubicBezTo>
                  <a:cubicBezTo>
                    <a:pt x="27" y="24"/>
                    <a:pt x="20" y="24"/>
                    <a:pt x="15" y="29"/>
                  </a:cubicBezTo>
                  <a:cubicBezTo>
                    <a:pt x="0" y="44"/>
                    <a:pt x="0" y="44"/>
                    <a:pt x="0" y="44"/>
                  </a:cubicBezTo>
                  <a:cubicBezTo>
                    <a:pt x="0" y="15"/>
                    <a:pt x="0" y="15"/>
                    <a:pt x="0" y="15"/>
                  </a:cubicBezTo>
                  <a:lnTo>
                    <a:pt x="0" y="44"/>
                  </a:lnTo>
                  <a:close/>
                </a:path>
              </a:pathLst>
            </a:custGeom>
            <a:solidFill>
              <a:srgbClr val="B2BB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2"/>
                </a:solidFill>
              </a:endParaRPr>
            </a:p>
          </p:txBody>
        </p:sp>
        <p:sp>
          <p:nvSpPr>
            <p:cNvPr id="12" name="Freeform 11"/>
            <p:cNvSpPr>
              <a:spLocks/>
            </p:cNvSpPr>
            <p:nvPr/>
          </p:nvSpPr>
          <p:spPr bwMode="auto">
            <a:xfrm>
              <a:off x="8124562" y="6620732"/>
              <a:ext cx="97811" cy="99278"/>
            </a:xfrm>
            <a:custGeom>
              <a:avLst/>
              <a:gdLst>
                <a:gd name="T0" fmla="*/ 70 w 85"/>
                <a:gd name="T1" fmla="*/ 86 h 86"/>
                <a:gd name="T2" fmla="*/ 70 w 85"/>
                <a:gd name="T3" fmla="*/ 35 h 86"/>
                <a:gd name="T4" fmla="*/ 70 w 85"/>
                <a:gd name="T5" fmla="*/ 26 h 86"/>
                <a:gd name="T6" fmla="*/ 70 w 85"/>
                <a:gd name="T7" fmla="*/ 26 h 86"/>
                <a:gd name="T8" fmla="*/ 65 w 85"/>
                <a:gd name="T9" fmla="*/ 35 h 86"/>
                <a:gd name="T10" fmla="*/ 47 w 85"/>
                <a:gd name="T11" fmla="*/ 62 h 86"/>
                <a:gd name="T12" fmla="*/ 39 w 85"/>
                <a:gd name="T13" fmla="*/ 62 h 86"/>
                <a:gd name="T14" fmla="*/ 20 w 85"/>
                <a:gd name="T15" fmla="*/ 34 h 86"/>
                <a:gd name="T16" fmla="*/ 15 w 85"/>
                <a:gd name="T17" fmla="*/ 26 h 86"/>
                <a:gd name="T18" fmla="*/ 15 w 85"/>
                <a:gd name="T19" fmla="*/ 26 h 86"/>
                <a:gd name="T20" fmla="*/ 15 w 85"/>
                <a:gd name="T21" fmla="*/ 35 h 86"/>
                <a:gd name="T22" fmla="*/ 15 w 85"/>
                <a:gd name="T23" fmla="*/ 86 h 86"/>
                <a:gd name="T24" fmla="*/ 0 w 85"/>
                <a:gd name="T25" fmla="*/ 86 h 86"/>
                <a:gd name="T26" fmla="*/ 0 w 85"/>
                <a:gd name="T27" fmla="*/ 0 h 86"/>
                <a:gd name="T28" fmla="*/ 14 w 85"/>
                <a:gd name="T29" fmla="*/ 0 h 86"/>
                <a:gd name="T30" fmla="*/ 38 w 85"/>
                <a:gd name="T31" fmla="*/ 35 h 86"/>
                <a:gd name="T32" fmla="*/ 43 w 85"/>
                <a:gd name="T33" fmla="*/ 44 h 86"/>
                <a:gd name="T34" fmla="*/ 44 w 85"/>
                <a:gd name="T35" fmla="*/ 44 h 86"/>
                <a:gd name="T36" fmla="*/ 49 w 85"/>
                <a:gd name="T37" fmla="*/ 34 h 86"/>
                <a:gd name="T38" fmla="*/ 70 w 85"/>
                <a:gd name="T39" fmla="*/ 0 h 86"/>
                <a:gd name="T40" fmla="*/ 85 w 85"/>
                <a:gd name="T41" fmla="*/ 0 h 86"/>
                <a:gd name="T42" fmla="*/ 85 w 85"/>
                <a:gd name="T43" fmla="*/ 86 h 86"/>
                <a:gd name="T44" fmla="*/ 70 w 85"/>
                <a:gd name="T4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5" h="86">
                  <a:moveTo>
                    <a:pt x="70" y="86"/>
                  </a:moveTo>
                  <a:cubicBezTo>
                    <a:pt x="70" y="35"/>
                    <a:pt x="70" y="35"/>
                    <a:pt x="70" y="35"/>
                  </a:cubicBezTo>
                  <a:cubicBezTo>
                    <a:pt x="70" y="32"/>
                    <a:pt x="70" y="29"/>
                    <a:pt x="70" y="26"/>
                  </a:cubicBezTo>
                  <a:cubicBezTo>
                    <a:pt x="70" y="26"/>
                    <a:pt x="70" y="26"/>
                    <a:pt x="70" y="26"/>
                  </a:cubicBezTo>
                  <a:cubicBezTo>
                    <a:pt x="69" y="29"/>
                    <a:pt x="66" y="32"/>
                    <a:pt x="65" y="35"/>
                  </a:cubicBezTo>
                  <a:cubicBezTo>
                    <a:pt x="47" y="62"/>
                    <a:pt x="47" y="62"/>
                    <a:pt x="47" y="62"/>
                  </a:cubicBezTo>
                  <a:cubicBezTo>
                    <a:pt x="39" y="62"/>
                    <a:pt x="39" y="62"/>
                    <a:pt x="39" y="62"/>
                  </a:cubicBezTo>
                  <a:cubicBezTo>
                    <a:pt x="20" y="34"/>
                    <a:pt x="20" y="34"/>
                    <a:pt x="20" y="34"/>
                  </a:cubicBezTo>
                  <a:cubicBezTo>
                    <a:pt x="19" y="32"/>
                    <a:pt x="17" y="29"/>
                    <a:pt x="15" y="26"/>
                  </a:cubicBezTo>
                  <a:cubicBezTo>
                    <a:pt x="15" y="26"/>
                    <a:pt x="15" y="26"/>
                    <a:pt x="15" y="26"/>
                  </a:cubicBezTo>
                  <a:cubicBezTo>
                    <a:pt x="15" y="29"/>
                    <a:pt x="15" y="32"/>
                    <a:pt x="15" y="35"/>
                  </a:cubicBezTo>
                  <a:cubicBezTo>
                    <a:pt x="15" y="86"/>
                    <a:pt x="15" y="86"/>
                    <a:pt x="15" y="86"/>
                  </a:cubicBezTo>
                  <a:cubicBezTo>
                    <a:pt x="0" y="86"/>
                    <a:pt x="0" y="86"/>
                    <a:pt x="0" y="86"/>
                  </a:cubicBezTo>
                  <a:cubicBezTo>
                    <a:pt x="0" y="0"/>
                    <a:pt x="0" y="0"/>
                    <a:pt x="0" y="0"/>
                  </a:cubicBezTo>
                  <a:cubicBezTo>
                    <a:pt x="14" y="0"/>
                    <a:pt x="14" y="0"/>
                    <a:pt x="14" y="0"/>
                  </a:cubicBezTo>
                  <a:cubicBezTo>
                    <a:pt x="38" y="35"/>
                    <a:pt x="38" y="35"/>
                    <a:pt x="38" y="35"/>
                  </a:cubicBezTo>
                  <a:cubicBezTo>
                    <a:pt x="40" y="38"/>
                    <a:pt x="42" y="41"/>
                    <a:pt x="43" y="44"/>
                  </a:cubicBezTo>
                  <a:cubicBezTo>
                    <a:pt x="44" y="44"/>
                    <a:pt x="44" y="44"/>
                    <a:pt x="44" y="44"/>
                  </a:cubicBezTo>
                  <a:cubicBezTo>
                    <a:pt x="45" y="41"/>
                    <a:pt x="46" y="38"/>
                    <a:pt x="49" y="34"/>
                  </a:cubicBezTo>
                  <a:cubicBezTo>
                    <a:pt x="70" y="0"/>
                    <a:pt x="70" y="0"/>
                    <a:pt x="70" y="0"/>
                  </a:cubicBezTo>
                  <a:cubicBezTo>
                    <a:pt x="85" y="0"/>
                    <a:pt x="85" y="0"/>
                    <a:pt x="85" y="0"/>
                  </a:cubicBezTo>
                  <a:cubicBezTo>
                    <a:pt x="85" y="86"/>
                    <a:pt x="85" y="86"/>
                    <a:pt x="85" y="86"/>
                  </a:cubicBezTo>
                  <a:lnTo>
                    <a:pt x="70" y="86"/>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solidFill>
                  <a:schemeClr val="bg2"/>
                </a:solidFill>
              </a:endParaRPr>
            </a:p>
          </p:txBody>
        </p:sp>
        <p:sp>
          <p:nvSpPr>
            <p:cNvPr id="13" name="Freeform 12"/>
            <p:cNvSpPr>
              <a:spLocks noEditPoints="1"/>
            </p:cNvSpPr>
            <p:nvPr/>
          </p:nvSpPr>
          <p:spPr bwMode="auto">
            <a:xfrm>
              <a:off x="8239978" y="6623178"/>
              <a:ext cx="20540" cy="98300"/>
            </a:xfrm>
            <a:custGeom>
              <a:avLst/>
              <a:gdLst>
                <a:gd name="T0" fmla="*/ 1 w 18"/>
                <a:gd name="T1" fmla="*/ 27 h 85"/>
                <a:gd name="T2" fmla="*/ 16 w 18"/>
                <a:gd name="T3" fmla="*/ 27 h 85"/>
                <a:gd name="T4" fmla="*/ 16 w 18"/>
                <a:gd name="T5" fmla="*/ 74 h 85"/>
                <a:gd name="T6" fmla="*/ 1 w 18"/>
                <a:gd name="T7" fmla="*/ 85 h 85"/>
                <a:gd name="T8" fmla="*/ 1 w 18"/>
                <a:gd name="T9" fmla="*/ 27 h 85"/>
                <a:gd name="T10" fmla="*/ 9 w 18"/>
                <a:gd name="T11" fmla="*/ 18 h 85"/>
                <a:gd name="T12" fmla="*/ 0 w 18"/>
                <a:gd name="T13" fmla="*/ 9 h 85"/>
                <a:gd name="T14" fmla="*/ 9 w 18"/>
                <a:gd name="T15" fmla="*/ 0 h 85"/>
                <a:gd name="T16" fmla="*/ 18 w 18"/>
                <a:gd name="T17" fmla="*/ 9 h 85"/>
                <a:gd name="T18" fmla="*/ 9 w 18"/>
                <a:gd name="T19" fmla="*/ 1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85">
                  <a:moveTo>
                    <a:pt x="1" y="27"/>
                  </a:moveTo>
                  <a:cubicBezTo>
                    <a:pt x="16" y="27"/>
                    <a:pt x="16" y="27"/>
                    <a:pt x="16" y="27"/>
                  </a:cubicBezTo>
                  <a:cubicBezTo>
                    <a:pt x="16" y="74"/>
                    <a:pt x="16" y="74"/>
                    <a:pt x="16" y="74"/>
                  </a:cubicBezTo>
                  <a:cubicBezTo>
                    <a:pt x="16" y="85"/>
                    <a:pt x="1" y="85"/>
                    <a:pt x="1" y="85"/>
                  </a:cubicBezTo>
                  <a:lnTo>
                    <a:pt x="1" y="27"/>
                  </a:lnTo>
                  <a:close/>
                  <a:moveTo>
                    <a:pt x="9" y="18"/>
                  </a:moveTo>
                  <a:cubicBezTo>
                    <a:pt x="4" y="18"/>
                    <a:pt x="0" y="14"/>
                    <a:pt x="0" y="9"/>
                  </a:cubicBezTo>
                  <a:cubicBezTo>
                    <a:pt x="0" y="4"/>
                    <a:pt x="4" y="0"/>
                    <a:pt x="9" y="0"/>
                  </a:cubicBezTo>
                  <a:cubicBezTo>
                    <a:pt x="14" y="0"/>
                    <a:pt x="18" y="4"/>
                    <a:pt x="18" y="9"/>
                  </a:cubicBezTo>
                  <a:cubicBezTo>
                    <a:pt x="18" y="14"/>
                    <a:pt x="14" y="18"/>
                    <a:pt x="9" y="18"/>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solidFill>
                  <a:schemeClr val="bg2"/>
                </a:solidFill>
              </a:endParaRPr>
            </a:p>
          </p:txBody>
        </p:sp>
        <p:sp>
          <p:nvSpPr>
            <p:cNvPr id="14" name="Freeform 13"/>
            <p:cNvSpPr>
              <a:spLocks/>
            </p:cNvSpPr>
            <p:nvPr/>
          </p:nvSpPr>
          <p:spPr bwMode="auto">
            <a:xfrm>
              <a:off x="8276656" y="6620732"/>
              <a:ext cx="16627" cy="100745"/>
            </a:xfrm>
            <a:custGeom>
              <a:avLst/>
              <a:gdLst>
                <a:gd name="T0" fmla="*/ 0 w 14"/>
                <a:gd name="T1" fmla="*/ 0 h 87"/>
                <a:gd name="T2" fmla="*/ 14 w 14"/>
                <a:gd name="T3" fmla="*/ 0 h 87"/>
                <a:gd name="T4" fmla="*/ 14 w 14"/>
                <a:gd name="T5" fmla="*/ 76 h 87"/>
                <a:gd name="T6" fmla="*/ 0 w 14"/>
                <a:gd name="T7" fmla="*/ 87 h 87"/>
                <a:gd name="T8" fmla="*/ 0 w 14"/>
                <a:gd name="T9" fmla="*/ 0 h 87"/>
              </a:gdLst>
              <a:ahLst/>
              <a:cxnLst>
                <a:cxn ang="0">
                  <a:pos x="T0" y="T1"/>
                </a:cxn>
                <a:cxn ang="0">
                  <a:pos x="T2" y="T3"/>
                </a:cxn>
                <a:cxn ang="0">
                  <a:pos x="T4" y="T5"/>
                </a:cxn>
                <a:cxn ang="0">
                  <a:pos x="T6" y="T7"/>
                </a:cxn>
                <a:cxn ang="0">
                  <a:pos x="T8" y="T9"/>
                </a:cxn>
              </a:cxnLst>
              <a:rect l="0" t="0" r="r" b="b"/>
              <a:pathLst>
                <a:path w="14" h="87">
                  <a:moveTo>
                    <a:pt x="0" y="0"/>
                  </a:moveTo>
                  <a:cubicBezTo>
                    <a:pt x="14" y="0"/>
                    <a:pt x="14" y="0"/>
                    <a:pt x="14" y="0"/>
                  </a:cubicBezTo>
                  <a:cubicBezTo>
                    <a:pt x="14" y="76"/>
                    <a:pt x="14" y="76"/>
                    <a:pt x="14" y="76"/>
                  </a:cubicBezTo>
                  <a:cubicBezTo>
                    <a:pt x="14" y="87"/>
                    <a:pt x="0" y="87"/>
                    <a:pt x="0" y="87"/>
                  </a:cubicBezTo>
                  <a:lnTo>
                    <a:pt x="0" y="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solidFill>
                  <a:schemeClr val="bg2"/>
                </a:solidFill>
              </a:endParaRPr>
            </a:p>
          </p:txBody>
        </p:sp>
        <p:sp>
          <p:nvSpPr>
            <p:cNvPr id="15" name="Freeform 14"/>
            <p:cNvSpPr>
              <a:spLocks/>
            </p:cNvSpPr>
            <p:nvPr/>
          </p:nvSpPr>
          <p:spPr bwMode="auto">
            <a:xfrm>
              <a:off x="8310401" y="6620732"/>
              <a:ext cx="16138" cy="100745"/>
            </a:xfrm>
            <a:custGeom>
              <a:avLst/>
              <a:gdLst>
                <a:gd name="T0" fmla="*/ 0 w 14"/>
                <a:gd name="T1" fmla="*/ 0 h 87"/>
                <a:gd name="T2" fmla="*/ 14 w 14"/>
                <a:gd name="T3" fmla="*/ 0 h 87"/>
                <a:gd name="T4" fmla="*/ 14 w 14"/>
                <a:gd name="T5" fmla="*/ 76 h 87"/>
                <a:gd name="T6" fmla="*/ 0 w 14"/>
                <a:gd name="T7" fmla="*/ 87 h 87"/>
                <a:gd name="T8" fmla="*/ 0 w 14"/>
                <a:gd name="T9" fmla="*/ 0 h 87"/>
              </a:gdLst>
              <a:ahLst/>
              <a:cxnLst>
                <a:cxn ang="0">
                  <a:pos x="T0" y="T1"/>
                </a:cxn>
                <a:cxn ang="0">
                  <a:pos x="T2" y="T3"/>
                </a:cxn>
                <a:cxn ang="0">
                  <a:pos x="T4" y="T5"/>
                </a:cxn>
                <a:cxn ang="0">
                  <a:pos x="T6" y="T7"/>
                </a:cxn>
                <a:cxn ang="0">
                  <a:pos x="T8" y="T9"/>
                </a:cxn>
              </a:cxnLst>
              <a:rect l="0" t="0" r="r" b="b"/>
              <a:pathLst>
                <a:path w="14" h="87">
                  <a:moveTo>
                    <a:pt x="0" y="0"/>
                  </a:moveTo>
                  <a:cubicBezTo>
                    <a:pt x="14" y="0"/>
                    <a:pt x="14" y="0"/>
                    <a:pt x="14" y="0"/>
                  </a:cubicBezTo>
                  <a:cubicBezTo>
                    <a:pt x="14" y="76"/>
                    <a:pt x="14" y="76"/>
                    <a:pt x="14" y="76"/>
                  </a:cubicBezTo>
                  <a:cubicBezTo>
                    <a:pt x="14" y="87"/>
                    <a:pt x="0" y="87"/>
                    <a:pt x="0" y="87"/>
                  </a:cubicBezTo>
                  <a:lnTo>
                    <a:pt x="0" y="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solidFill>
                  <a:schemeClr val="bg2"/>
                </a:solidFill>
              </a:endParaRPr>
            </a:p>
          </p:txBody>
        </p:sp>
        <p:sp>
          <p:nvSpPr>
            <p:cNvPr id="16" name="Freeform 15"/>
            <p:cNvSpPr>
              <a:spLocks/>
            </p:cNvSpPr>
            <p:nvPr/>
          </p:nvSpPr>
          <p:spPr bwMode="auto">
            <a:xfrm>
              <a:off x="8335832" y="6654476"/>
              <a:ext cx="104167" cy="70423"/>
            </a:xfrm>
            <a:custGeom>
              <a:avLst/>
              <a:gdLst>
                <a:gd name="T0" fmla="*/ 15 w 90"/>
                <a:gd name="T1" fmla="*/ 0 h 61"/>
                <a:gd name="T2" fmla="*/ 27 w 90"/>
                <a:gd name="T3" fmla="*/ 39 h 61"/>
                <a:gd name="T4" fmla="*/ 27 w 90"/>
                <a:gd name="T5" fmla="*/ 39 h 61"/>
                <a:gd name="T6" fmla="*/ 40 w 90"/>
                <a:gd name="T7" fmla="*/ 0 h 61"/>
                <a:gd name="T8" fmla="*/ 51 w 90"/>
                <a:gd name="T9" fmla="*/ 0 h 61"/>
                <a:gd name="T10" fmla="*/ 64 w 90"/>
                <a:gd name="T11" fmla="*/ 39 h 61"/>
                <a:gd name="T12" fmla="*/ 64 w 90"/>
                <a:gd name="T13" fmla="*/ 39 h 61"/>
                <a:gd name="T14" fmla="*/ 76 w 90"/>
                <a:gd name="T15" fmla="*/ 0 h 61"/>
                <a:gd name="T16" fmla="*/ 90 w 90"/>
                <a:gd name="T17" fmla="*/ 0 h 61"/>
                <a:gd name="T18" fmla="*/ 73 w 90"/>
                <a:gd name="T19" fmla="*/ 47 h 61"/>
                <a:gd name="T20" fmla="*/ 58 w 90"/>
                <a:gd name="T21" fmla="*/ 58 h 61"/>
                <a:gd name="T22" fmla="*/ 45 w 90"/>
                <a:gd name="T23" fmla="*/ 19 h 61"/>
                <a:gd name="T24" fmla="*/ 45 w 90"/>
                <a:gd name="T25" fmla="*/ 19 h 61"/>
                <a:gd name="T26" fmla="*/ 36 w 90"/>
                <a:gd name="T27" fmla="*/ 47 h 61"/>
                <a:gd name="T28" fmla="*/ 21 w 90"/>
                <a:gd name="T29" fmla="*/ 58 h 61"/>
                <a:gd name="T30" fmla="*/ 0 w 90"/>
                <a:gd name="T31" fmla="*/ 0 h 61"/>
                <a:gd name="T32" fmla="*/ 15 w 90"/>
                <a:gd name="T33"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61">
                  <a:moveTo>
                    <a:pt x="15" y="0"/>
                  </a:moveTo>
                  <a:cubicBezTo>
                    <a:pt x="27" y="39"/>
                    <a:pt x="27" y="39"/>
                    <a:pt x="27" y="39"/>
                  </a:cubicBezTo>
                  <a:cubicBezTo>
                    <a:pt x="27" y="39"/>
                    <a:pt x="27" y="39"/>
                    <a:pt x="27" y="39"/>
                  </a:cubicBezTo>
                  <a:cubicBezTo>
                    <a:pt x="40" y="0"/>
                    <a:pt x="40" y="0"/>
                    <a:pt x="40" y="0"/>
                  </a:cubicBezTo>
                  <a:cubicBezTo>
                    <a:pt x="51" y="0"/>
                    <a:pt x="51" y="0"/>
                    <a:pt x="51" y="0"/>
                  </a:cubicBezTo>
                  <a:cubicBezTo>
                    <a:pt x="64" y="39"/>
                    <a:pt x="64" y="39"/>
                    <a:pt x="64" y="39"/>
                  </a:cubicBezTo>
                  <a:cubicBezTo>
                    <a:pt x="64" y="39"/>
                    <a:pt x="64" y="39"/>
                    <a:pt x="64" y="39"/>
                  </a:cubicBezTo>
                  <a:cubicBezTo>
                    <a:pt x="76" y="0"/>
                    <a:pt x="76" y="0"/>
                    <a:pt x="76" y="0"/>
                  </a:cubicBezTo>
                  <a:cubicBezTo>
                    <a:pt x="90" y="0"/>
                    <a:pt x="90" y="0"/>
                    <a:pt x="90" y="0"/>
                  </a:cubicBezTo>
                  <a:cubicBezTo>
                    <a:pt x="73" y="47"/>
                    <a:pt x="73" y="47"/>
                    <a:pt x="73" y="47"/>
                  </a:cubicBezTo>
                  <a:cubicBezTo>
                    <a:pt x="73" y="47"/>
                    <a:pt x="69" y="61"/>
                    <a:pt x="58" y="58"/>
                  </a:cubicBezTo>
                  <a:cubicBezTo>
                    <a:pt x="45" y="19"/>
                    <a:pt x="45" y="19"/>
                    <a:pt x="45" y="19"/>
                  </a:cubicBezTo>
                  <a:cubicBezTo>
                    <a:pt x="45" y="19"/>
                    <a:pt x="45" y="19"/>
                    <a:pt x="45" y="19"/>
                  </a:cubicBezTo>
                  <a:cubicBezTo>
                    <a:pt x="36" y="47"/>
                    <a:pt x="36" y="47"/>
                    <a:pt x="36" y="47"/>
                  </a:cubicBezTo>
                  <a:cubicBezTo>
                    <a:pt x="36" y="47"/>
                    <a:pt x="32" y="61"/>
                    <a:pt x="21" y="58"/>
                  </a:cubicBezTo>
                  <a:cubicBezTo>
                    <a:pt x="0" y="0"/>
                    <a:pt x="0" y="0"/>
                    <a:pt x="0" y="0"/>
                  </a:cubicBezTo>
                  <a:lnTo>
                    <a:pt x="15" y="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solidFill>
                  <a:schemeClr val="bg2"/>
                </a:solidFill>
              </a:endParaRPr>
            </a:p>
          </p:txBody>
        </p:sp>
        <p:sp>
          <p:nvSpPr>
            <p:cNvPr id="17" name="Freeform 16"/>
            <p:cNvSpPr>
              <a:spLocks noEditPoints="1"/>
            </p:cNvSpPr>
            <p:nvPr/>
          </p:nvSpPr>
          <p:spPr bwMode="auto">
            <a:xfrm>
              <a:off x="8441956" y="6653009"/>
              <a:ext cx="59175" cy="68467"/>
            </a:xfrm>
            <a:custGeom>
              <a:avLst/>
              <a:gdLst>
                <a:gd name="T0" fmla="*/ 35 w 51"/>
                <a:gd name="T1" fmla="*/ 32 h 59"/>
                <a:gd name="T2" fmla="*/ 26 w 51"/>
                <a:gd name="T3" fmla="*/ 32 h 59"/>
                <a:gd name="T4" fmla="*/ 15 w 51"/>
                <a:gd name="T5" fmla="*/ 40 h 59"/>
                <a:gd name="T6" fmla="*/ 24 w 51"/>
                <a:gd name="T7" fmla="*/ 48 h 59"/>
                <a:gd name="T8" fmla="*/ 35 w 51"/>
                <a:gd name="T9" fmla="*/ 44 h 59"/>
                <a:gd name="T10" fmla="*/ 35 w 51"/>
                <a:gd name="T11" fmla="*/ 32 h 59"/>
                <a:gd name="T12" fmla="*/ 38 w 51"/>
                <a:gd name="T13" fmla="*/ 59 h 59"/>
                <a:gd name="T14" fmla="*/ 36 w 51"/>
                <a:gd name="T15" fmla="*/ 53 h 59"/>
                <a:gd name="T16" fmla="*/ 19 w 51"/>
                <a:gd name="T17" fmla="*/ 59 h 59"/>
                <a:gd name="T18" fmla="*/ 0 w 51"/>
                <a:gd name="T19" fmla="*/ 41 h 59"/>
                <a:gd name="T20" fmla="*/ 24 w 51"/>
                <a:gd name="T21" fmla="*/ 22 h 59"/>
                <a:gd name="T22" fmla="*/ 35 w 51"/>
                <a:gd name="T23" fmla="*/ 22 h 59"/>
                <a:gd name="T24" fmla="*/ 35 w 51"/>
                <a:gd name="T25" fmla="*/ 20 h 59"/>
                <a:gd name="T26" fmla="*/ 23 w 51"/>
                <a:gd name="T27" fmla="*/ 11 h 59"/>
                <a:gd name="T28" fmla="*/ 9 w 51"/>
                <a:gd name="T29" fmla="*/ 15 h 59"/>
                <a:gd name="T30" fmla="*/ 4 w 51"/>
                <a:gd name="T31" fmla="*/ 6 h 59"/>
                <a:gd name="T32" fmla="*/ 27 w 51"/>
                <a:gd name="T33" fmla="*/ 0 h 59"/>
                <a:gd name="T34" fmla="*/ 49 w 51"/>
                <a:gd name="T35" fmla="*/ 20 h 59"/>
                <a:gd name="T36" fmla="*/ 49 w 51"/>
                <a:gd name="T37" fmla="*/ 43 h 59"/>
                <a:gd name="T38" fmla="*/ 51 w 51"/>
                <a:gd name="T39" fmla="*/ 59 h 59"/>
                <a:gd name="T40" fmla="*/ 38 w 51"/>
                <a:gd name="T41"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59">
                  <a:moveTo>
                    <a:pt x="35" y="32"/>
                  </a:moveTo>
                  <a:cubicBezTo>
                    <a:pt x="26" y="32"/>
                    <a:pt x="26" y="32"/>
                    <a:pt x="26" y="32"/>
                  </a:cubicBezTo>
                  <a:cubicBezTo>
                    <a:pt x="18" y="32"/>
                    <a:pt x="15" y="35"/>
                    <a:pt x="15" y="40"/>
                  </a:cubicBezTo>
                  <a:cubicBezTo>
                    <a:pt x="15" y="45"/>
                    <a:pt x="18" y="48"/>
                    <a:pt x="24" y="48"/>
                  </a:cubicBezTo>
                  <a:cubicBezTo>
                    <a:pt x="29" y="48"/>
                    <a:pt x="33" y="46"/>
                    <a:pt x="35" y="44"/>
                  </a:cubicBezTo>
                  <a:lnTo>
                    <a:pt x="35" y="32"/>
                  </a:lnTo>
                  <a:close/>
                  <a:moveTo>
                    <a:pt x="38" y="59"/>
                  </a:moveTo>
                  <a:cubicBezTo>
                    <a:pt x="36" y="53"/>
                    <a:pt x="36" y="53"/>
                    <a:pt x="36" y="53"/>
                  </a:cubicBezTo>
                  <a:cubicBezTo>
                    <a:pt x="32" y="57"/>
                    <a:pt x="27" y="59"/>
                    <a:pt x="19" y="59"/>
                  </a:cubicBezTo>
                  <a:cubicBezTo>
                    <a:pt x="9" y="59"/>
                    <a:pt x="0" y="52"/>
                    <a:pt x="0" y="41"/>
                  </a:cubicBezTo>
                  <a:cubicBezTo>
                    <a:pt x="0" y="29"/>
                    <a:pt x="10" y="23"/>
                    <a:pt x="24" y="22"/>
                  </a:cubicBezTo>
                  <a:cubicBezTo>
                    <a:pt x="35" y="22"/>
                    <a:pt x="35" y="22"/>
                    <a:pt x="35" y="22"/>
                  </a:cubicBezTo>
                  <a:cubicBezTo>
                    <a:pt x="35" y="20"/>
                    <a:pt x="35" y="20"/>
                    <a:pt x="35" y="20"/>
                  </a:cubicBezTo>
                  <a:cubicBezTo>
                    <a:pt x="35" y="13"/>
                    <a:pt x="30" y="11"/>
                    <a:pt x="23" y="11"/>
                  </a:cubicBezTo>
                  <a:cubicBezTo>
                    <a:pt x="17" y="11"/>
                    <a:pt x="13" y="13"/>
                    <a:pt x="9" y="15"/>
                  </a:cubicBezTo>
                  <a:cubicBezTo>
                    <a:pt x="4" y="6"/>
                    <a:pt x="4" y="6"/>
                    <a:pt x="4" y="6"/>
                  </a:cubicBezTo>
                  <a:cubicBezTo>
                    <a:pt x="12" y="1"/>
                    <a:pt x="19" y="0"/>
                    <a:pt x="27" y="0"/>
                  </a:cubicBezTo>
                  <a:cubicBezTo>
                    <a:pt x="41" y="0"/>
                    <a:pt x="49" y="5"/>
                    <a:pt x="49" y="20"/>
                  </a:cubicBezTo>
                  <a:cubicBezTo>
                    <a:pt x="49" y="43"/>
                    <a:pt x="49" y="43"/>
                    <a:pt x="49" y="43"/>
                  </a:cubicBezTo>
                  <a:cubicBezTo>
                    <a:pt x="49" y="51"/>
                    <a:pt x="50" y="57"/>
                    <a:pt x="51" y="59"/>
                  </a:cubicBezTo>
                  <a:lnTo>
                    <a:pt x="38" y="59"/>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solidFill>
                  <a:schemeClr val="bg2"/>
                </a:solidFill>
              </a:endParaRPr>
            </a:p>
          </p:txBody>
        </p:sp>
        <p:sp>
          <p:nvSpPr>
            <p:cNvPr id="18" name="Freeform 17"/>
            <p:cNvSpPr>
              <a:spLocks/>
            </p:cNvSpPr>
            <p:nvPr/>
          </p:nvSpPr>
          <p:spPr bwMode="auto">
            <a:xfrm>
              <a:off x="8513845" y="6653009"/>
              <a:ext cx="43525" cy="68467"/>
            </a:xfrm>
            <a:custGeom>
              <a:avLst/>
              <a:gdLst>
                <a:gd name="T0" fmla="*/ 0 w 38"/>
                <a:gd name="T1" fmla="*/ 1 h 59"/>
                <a:gd name="T2" fmla="*/ 13 w 38"/>
                <a:gd name="T3" fmla="*/ 1 h 59"/>
                <a:gd name="T4" fmla="*/ 14 w 38"/>
                <a:gd name="T5" fmla="*/ 7 h 59"/>
                <a:gd name="T6" fmla="*/ 30 w 38"/>
                <a:gd name="T7" fmla="*/ 0 h 59"/>
                <a:gd name="T8" fmla="*/ 38 w 38"/>
                <a:gd name="T9" fmla="*/ 2 h 59"/>
                <a:gd name="T10" fmla="*/ 33 w 38"/>
                <a:gd name="T11" fmla="*/ 14 h 59"/>
                <a:gd name="T12" fmla="*/ 26 w 38"/>
                <a:gd name="T13" fmla="*/ 12 h 59"/>
                <a:gd name="T14" fmla="*/ 15 w 38"/>
                <a:gd name="T15" fmla="*/ 18 h 59"/>
                <a:gd name="T16" fmla="*/ 15 w 38"/>
                <a:gd name="T17" fmla="*/ 48 h 59"/>
                <a:gd name="T18" fmla="*/ 0 w 38"/>
                <a:gd name="T19" fmla="*/ 59 h 59"/>
                <a:gd name="T20" fmla="*/ 0 w 38"/>
                <a:gd name="T21" fmla="*/ 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59">
                  <a:moveTo>
                    <a:pt x="0" y="1"/>
                  </a:moveTo>
                  <a:cubicBezTo>
                    <a:pt x="13" y="1"/>
                    <a:pt x="13" y="1"/>
                    <a:pt x="13" y="1"/>
                  </a:cubicBezTo>
                  <a:cubicBezTo>
                    <a:pt x="14" y="7"/>
                    <a:pt x="14" y="7"/>
                    <a:pt x="14" y="7"/>
                  </a:cubicBezTo>
                  <a:cubicBezTo>
                    <a:pt x="20" y="2"/>
                    <a:pt x="25" y="0"/>
                    <a:pt x="30" y="0"/>
                  </a:cubicBezTo>
                  <a:cubicBezTo>
                    <a:pt x="33" y="0"/>
                    <a:pt x="36" y="0"/>
                    <a:pt x="38" y="2"/>
                  </a:cubicBezTo>
                  <a:cubicBezTo>
                    <a:pt x="33" y="14"/>
                    <a:pt x="33" y="14"/>
                    <a:pt x="33" y="14"/>
                  </a:cubicBezTo>
                  <a:cubicBezTo>
                    <a:pt x="30" y="13"/>
                    <a:pt x="28" y="12"/>
                    <a:pt x="26" y="12"/>
                  </a:cubicBezTo>
                  <a:cubicBezTo>
                    <a:pt x="23" y="12"/>
                    <a:pt x="19" y="14"/>
                    <a:pt x="15" y="18"/>
                  </a:cubicBezTo>
                  <a:cubicBezTo>
                    <a:pt x="15" y="48"/>
                    <a:pt x="15" y="48"/>
                    <a:pt x="15" y="48"/>
                  </a:cubicBezTo>
                  <a:cubicBezTo>
                    <a:pt x="15" y="59"/>
                    <a:pt x="0" y="59"/>
                    <a:pt x="0" y="59"/>
                  </a:cubicBezTo>
                  <a:lnTo>
                    <a:pt x="0" y="1"/>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solidFill>
                  <a:schemeClr val="bg2"/>
                </a:solidFill>
              </a:endParaRPr>
            </a:p>
          </p:txBody>
        </p:sp>
        <p:sp>
          <p:nvSpPr>
            <p:cNvPr id="19" name="Freeform 18"/>
            <p:cNvSpPr>
              <a:spLocks noEditPoints="1"/>
            </p:cNvSpPr>
            <p:nvPr/>
          </p:nvSpPr>
          <p:spPr bwMode="auto">
            <a:xfrm>
              <a:off x="8559816" y="6620732"/>
              <a:ext cx="62598" cy="100745"/>
            </a:xfrm>
            <a:custGeom>
              <a:avLst/>
              <a:gdLst>
                <a:gd name="T0" fmla="*/ 39 w 54"/>
                <a:gd name="T1" fmla="*/ 40 h 87"/>
                <a:gd name="T2" fmla="*/ 32 w 54"/>
                <a:gd name="T3" fmla="*/ 39 h 87"/>
                <a:gd name="T4" fmla="*/ 15 w 54"/>
                <a:gd name="T5" fmla="*/ 57 h 87"/>
                <a:gd name="T6" fmla="*/ 32 w 54"/>
                <a:gd name="T7" fmla="*/ 75 h 87"/>
                <a:gd name="T8" fmla="*/ 39 w 54"/>
                <a:gd name="T9" fmla="*/ 75 h 87"/>
                <a:gd name="T10" fmla="*/ 39 w 54"/>
                <a:gd name="T11" fmla="*/ 40 h 87"/>
                <a:gd name="T12" fmla="*/ 31 w 54"/>
                <a:gd name="T13" fmla="*/ 87 h 87"/>
                <a:gd name="T14" fmla="*/ 0 w 54"/>
                <a:gd name="T15" fmla="*/ 58 h 87"/>
                <a:gd name="T16" fmla="*/ 32 w 54"/>
                <a:gd name="T17" fmla="*/ 28 h 87"/>
                <a:gd name="T18" fmla="*/ 39 w 54"/>
                <a:gd name="T19" fmla="*/ 28 h 87"/>
                <a:gd name="T20" fmla="*/ 39 w 54"/>
                <a:gd name="T21" fmla="*/ 0 h 87"/>
                <a:gd name="T22" fmla="*/ 54 w 54"/>
                <a:gd name="T23" fmla="*/ 0 h 87"/>
                <a:gd name="T24" fmla="*/ 54 w 54"/>
                <a:gd name="T25" fmla="*/ 83 h 87"/>
                <a:gd name="T26" fmla="*/ 31 w 54"/>
                <a:gd name="T2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87">
                  <a:moveTo>
                    <a:pt x="39" y="40"/>
                  </a:moveTo>
                  <a:cubicBezTo>
                    <a:pt x="37" y="39"/>
                    <a:pt x="35" y="39"/>
                    <a:pt x="32" y="39"/>
                  </a:cubicBezTo>
                  <a:cubicBezTo>
                    <a:pt x="22" y="39"/>
                    <a:pt x="15" y="46"/>
                    <a:pt x="15" y="57"/>
                  </a:cubicBezTo>
                  <a:cubicBezTo>
                    <a:pt x="15" y="68"/>
                    <a:pt x="21" y="75"/>
                    <a:pt x="32" y="75"/>
                  </a:cubicBezTo>
                  <a:cubicBezTo>
                    <a:pt x="35" y="75"/>
                    <a:pt x="37" y="75"/>
                    <a:pt x="39" y="75"/>
                  </a:cubicBezTo>
                  <a:lnTo>
                    <a:pt x="39" y="40"/>
                  </a:lnTo>
                  <a:close/>
                  <a:moveTo>
                    <a:pt x="31" y="87"/>
                  </a:moveTo>
                  <a:cubicBezTo>
                    <a:pt x="14" y="87"/>
                    <a:pt x="0" y="77"/>
                    <a:pt x="0" y="58"/>
                  </a:cubicBezTo>
                  <a:cubicBezTo>
                    <a:pt x="0" y="40"/>
                    <a:pt x="13" y="28"/>
                    <a:pt x="32" y="28"/>
                  </a:cubicBezTo>
                  <a:cubicBezTo>
                    <a:pt x="35" y="28"/>
                    <a:pt x="37" y="28"/>
                    <a:pt x="39" y="28"/>
                  </a:cubicBezTo>
                  <a:cubicBezTo>
                    <a:pt x="39" y="0"/>
                    <a:pt x="39" y="0"/>
                    <a:pt x="39" y="0"/>
                  </a:cubicBezTo>
                  <a:cubicBezTo>
                    <a:pt x="54" y="0"/>
                    <a:pt x="54" y="0"/>
                    <a:pt x="54" y="0"/>
                  </a:cubicBezTo>
                  <a:cubicBezTo>
                    <a:pt x="54" y="83"/>
                    <a:pt x="54" y="83"/>
                    <a:pt x="54" y="83"/>
                  </a:cubicBezTo>
                  <a:cubicBezTo>
                    <a:pt x="48" y="86"/>
                    <a:pt x="41" y="87"/>
                    <a:pt x="31" y="87"/>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solidFill>
                  <a:schemeClr val="bg2"/>
                </a:solidFill>
              </a:endParaRPr>
            </a:p>
          </p:txBody>
        </p:sp>
        <p:sp>
          <p:nvSpPr>
            <p:cNvPr id="20" name="Freeform 19"/>
            <p:cNvSpPr>
              <a:spLocks noEditPoints="1"/>
            </p:cNvSpPr>
            <p:nvPr/>
          </p:nvSpPr>
          <p:spPr bwMode="auto">
            <a:xfrm>
              <a:off x="8640999" y="6620732"/>
              <a:ext cx="65533" cy="99278"/>
            </a:xfrm>
            <a:custGeom>
              <a:avLst/>
              <a:gdLst>
                <a:gd name="T0" fmla="*/ 28 w 57"/>
                <a:gd name="T1" fmla="*/ 49 h 86"/>
                <a:gd name="T2" fmla="*/ 16 w 57"/>
                <a:gd name="T3" fmla="*/ 49 h 86"/>
                <a:gd name="T4" fmla="*/ 16 w 57"/>
                <a:gd name="T5" fmla="*/ 73 h 86"/>
                <a:gd name="T6" fmla="*/ 26 w 57"/>
                <a:gd name="T7" fmla="*/ 73 h 86"/>
                <a:gd name="T8" fmla="*/ 41 w 57"/>
                <a:gd name="T9" fmla="*/ 60 h 86"/>
                <a:gd name="T10" fmla="*/ 28 w 57"/>
                <a:gd name="T11" fmla="*/ 49 h 86"/>
                <a:gd name="T12" fmla="*/ 25 w 57"/>
                <a:gd name="T13" fmla="*/ 13 h 86"/>
                <a:gd name="T14" fmla="*/ 16 w 57"/>
                <a:gd name="T15" fmla="*/ 13 h 86"/>
                <a:gd name="T16" fmla="*/ 16 w 57"/>
                <a:gd name="T17" fmla="*/ 36 h 86"/>
                <a:gd name="T18" fmla="*/ 24 w 57"/>
                <a:gd name="T19" fmla="*/ 36 h 86"/>
                <a:gd name="T20" fmla="*/ 36 w 57"/>
                <a:gd name="T21" fmla="*/ 24 h 86"/>
                <a:gd name="T22" fmla="*/ 25 w 57"/>
                <a:gd name="T23" fmla="*/ 13 h 86"/>
                <a:gd name="T24" fmla="*/ 27 w 57"/>
                <a:gd name="T25" fmla="*/ 86 h 86"/>
                <a:gd name="T26" fmla="*/ 0 w 57"/>
                <a:gd name="T27" fmla="*/ 86 h 86"/>
                <a:gd name="T28" fmla="*/ 0 w 57"/>
                <a:gd name="T29" fmla="*/ 0 h 86"/>
                <a:gd name="T30" fmla="*/ 27 w 57"/>
                <a:gd name="T31" fmla="*/ 0 h 86"/>
                <a:gd name="T32" fmla="*/ 52 w 57"/>
                <a:gd name="T33" fmla="*/ 22 h 86"/>
                <a:gd name="T34" fmla="*/ 42 w 57"/>
                <a:gd name="T35" fmla="*/ 40 h 86"/>
                <a:gd name="T36" fmla="*/ 42 w 57"/>
                <a:gd name="T37" fmla="*/ 41 h 86"/>
                <a:gd name="T38" fmla="*/ 57 w 57"/>
                <a:gd name="T39" fmla="*/ 60 h 86"/>
                <a:gd name="T40" fmla="*/ 27 w 57"/>
                <a:gd name="T4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7" h="86">
                  <a:moveTo>
                    <a:pt x="28" y="49"/>
                  </a:moveTo>
                  <a:cubicBezTo>
                    <a:pt x="16" y="49"/>
                    <a:pt x="16" y="49"/>
                    <a:pt x="16" y="49"/>
                  </a:cubicBezTo>
                  <a:cubicBezTo>
                    <a:pt x="16" y="73"/>
                    <a:pt x="16" y="73"/>
                    <a:pt x="16" y="73"/>
                  </a:cubicBezTo>
                  <a:cubicBezTo>
                    <a:pt x="26" y="73"/>
                    <a:pt x="26" y="73"/>
                    <a:pt x="26" y="73"/>
                  </a:cubicBezTo>
                  <a:cubicBezTo>
                    <a:pt x="36" y="73"/>
                    <a:pt x="41" y="68"/>
                    <a:pt x="41" y="60"/>
                  </a:cubicBezTo>
                  <a:cubicBezTo>
                    <a:pt x="41" y="54"/>
                    <a:pt x="36" y="49"/>
                    <a:pt x="28" y="49"/>
                  </a:cubicBezTo>
                  <a:moveTo>
                    <a:pt x="25" y="13"/>
                  </a:moveTo>
                  <a:cubicBezTo>
                    <a:pt x="16" y="13"/>
                    <a:pt x="16" y="13"/>
                    <a:pt x="16" y="13"/>
                  </a:cubicBezTo>
                  <a:cubicBezTo>
                    <a:pt x="16" y="36"/>
                    <a:pt x="16" y="36"/>
                    <a:pt x="16" y="36"/>
                  </a:cubicBezTo>
                  <a:cubicBezTo>
                    <a:pt x="24" y="36"/>
                    <a:pt x="24" y="36"/>
                    <a:pt x="24" y="36"/>
                  </a:cubicBezTo>
                  <a:cubicBezTo>
                    <a:pt x="31" y="36"/>
                    <a:pt x="36" y="31"/>
                    <a:pt x="36" y="24"/>
                  </a:cubicBezTo>
                  <a:cubicBezTo>
                    <a:pt x="36" y="18"/>
                    <a:pt x="32" y="13"/>
                    <a:pt x="25" y="13"/>
                  </a:cubicBezTo>
                  <a:moveTo>
                    <a:pt x="27" y="86"/>
                  </a:moveTo>
                  <a:cubicBezTo>
                    <a:pt x="0" y="86"/>
                    <a:pt x="0" y="86"/>
                    <a:pt x="0" y="86"/>
                  </a:cubicBezTo>
                  <a:cubicBezTo>
                    <a:pt x="0" y="0"/>
                    <a:pt x="0" y="0"/>
                    <a:pt x="0" y="0"/>
                  </a:cubicBezTo>
                  <a:cubicBezTo>
                    <a:pt x="27" y="0"/>
                    <a:pt x="27" y="0"/>
                    <a:pt x="27" y="0"/>
                  </a:cubicBezTo>
                  <a:cubicBezTo>
                    <a:pt x="47" y="0"/>
                    <a:pt x="52" y="12"/>
                    <a:pt x="52" y="22"/>
                  </a:cubicBezTo>
                  <a:cubicBezTo>
                    <a:pt x="52" y="31"/>
                    <a:pt x="49" y="36"/>
                    <a:pt x="42" y="40"/>
                  </a:cubicBezTo>
                  <a:cubicBezTo>
                    <a:pt x="42" y="41"/>
                    <a:pt x="42" y="41"/>
                    <a:pt x="42" y="41"/>
                  </a:cubicBezTo>
                  <a:cubicBezTo>
                    <a:pt x="53" y="42"/>
                    <a:pt x="57" y="50"/>
                    <a:pt x="57" y="60"/>
                  </a:cubicBezTo>
                  <a:cubicBezTo>
                    <a:pt x="57" y="73"/>
                    <a:pt x="49" y="86"/>
                    <a:pt x="27" y="86"/>
                  </a:cubicBezTo>
                </a:path>
              </a:pathLst>
            </a:custGeom>
            <a:solidFill>
              <a:srgbClr val="B2BB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2"/>
                </a:solidFill>
              </a:endParaRPr>
            </a:p>
          </p:txBody>
        </p:sp>
        <p:sp>
          <p:nvSpPr>
            <p:cNvPr id="21" name="Freeform 20"/>
            <p:cNvSpPr>
              <a:spLocks/>
            </p:cNvSpPr>
            <p:nvPr/>
          </p:nvSpPr>
          <p:spPr bwMode="auto">
            <a:xfrm>
              <a:off x="8719247" y="6653009"/>
              <a:ext cx="44014" cy="68467"/>
            </a:xfrm>
            <a:custGeom>
              <a:avLst/>
              <a:gdLst>
                <a:gd name="T0" fmla="*/ 0 w 38"/>
                <a:gd name="T1" fmla="*/ 1 h 59"/>
                <a:gd name="T2" fmla="*/ 12 w 38"/>
                <a:gd name="T3" fmla="*/ 1 h 59"/>
                <a:gd name="T4" fmla="*/ 14 w 38"/>
                <a:gd name="T5" fmla="*/ 7 h 59"/>
                <a:gd name="T6" fmla="*/ 30 w 38"/>
                <a:gd name="T7" fmla="*/ 0 h 59"/>
                <a:gd name="T8" fmla="*/ 38 w 38"/>
                <a:gd name="T9" fmla="*/ 2 h 59"/>
                <a:gd name="T10" fmla="*/ 33 w 38"/>
                <a:gd name="T11" fmla="*/ 14 h 59"/>
                <a:gd name="T12" fmla="*/ 26 w 38"/>
                <a:gd name="T13" fmla="*/ 12 h 59"/>
                <a:gd name="T14" fmla="*/ 15 w 38"/>
                <a:gd name="T15" fmla="*/ 18 h 59"/>
                <a:gd name="T16" fmla="*/ 15 w 38"/>
                <a:gd name="T17" fmla="*/ 48 h 59"/>
                <a:gd name="T18" fmla="*/ 0 w 38"/>
                <a:gd name="T19" fmla="*/ 59 h 59"/>
                <a:gd name="T20" fmla="*/ 0 w 38"/>
                <a:gd name="T21" fmla="*/ 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59">
                  <a:moveTo>
                    <a:pt x="0" y="1"/>
                  </a:moveTo>
                  <a:cubicBezTo>
                    <a:pt x="12" y="1"/>
                    <a:pt x="12" y="1"/>
                    <a:pt x="12" y="1"/>
                  </a:cubicBezTo>
                  <a:cubicBezTo>
                    <a:pt x="14" y="7"/>
                    <a:pt x="14" y="7"/>
                    <a:pt x="14" y="7"/>
                  </a:cubicBezTo>
                  <a:cubicBezTo>
                    <a:pt x="20" y="2"/>
                    <a:pt x="24" y="0"/>
                    <a:pt x="30" y="0"/>
                  </a:cubicBezTo>
                  <a:cubicBezTo>
                    <a:pt x="33" y="0"/>
                    <a:pt x="36" y="0"/>
                    <a:pt x="38" y="2"/>
                  </a:cubicBezTo>
                  <a:cubicBezTo>
                    <a:pt x="33" y="14"/>
                    <a:pt x="33" y="14"/>
                    <a:pt x="33" y="14"/>
                  </a:cubicBezTo>
                  <a:cubicBezTo>
                    <a:pt x="30" y="13"/>
                    <a:pt x="28" y="12"/>
                    <a:pt x="26" y="12"/>
                  </a:cubicBezTo>
                  <a:cubicBezTo>
                    <a:pt x="22" y="12"/>
                    <a:pt x="19" y="14"/>
                    <a:pt x="15" y="18"/>
                  </a:cubicBezTo>
                  <a:cubicBezTo>
                    <a:pt x="15" y="48"/>
                    <a:pt x="15" y="48"/>
                    <a:pt x="15" y="48"/>
                  </a:cubicBezTo>
                  <a:cubicBezTo>
                    <a:pt x="15" y="59"/>
                    <a:pt x="0" y="59"/>
                    <a:pt x="0" y="59"/>
                  </a:cubicBezTo>
                  <a:lnTo>
                    <a:pt x="0" y="1"/>
                  </a:lnTo>
                  <a:close/>
                </a:path>
              </a:pathLst>
            </a:custGeom>
            <a:solidFill>
              <a:srgbClr val="B2BB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2"/>
                </a:solidFill>
              </a:endParaRPr>
            </a:p>
          </p:txBody>
        </p:sp>
        <p:sp>
          <p:nvSpPr>
            <p:cNvPr id="22" name="Freeform 21"/>
            <p:cNvSpPr>
              <a:spLocks noEditPoints="1"/>
            </p:cNvSpPr>
            <p:nvPr/>
          </p:nvSpPr>
          <p:spPr bwMode="auto">
            <a:xfrm>
              <a:off x="8764239" y="6653009"/>
              <a:ext cx="67000" cy="68467"/>
            </a:xfrm>
            <a:custGeom>
              <a:avLst/>
              <a:gdLst>
                <a:gd name="T0" fmla="*/ 29 w 58"/>
                <a:gd name="T1" fmla="*/ 11 h 59"/>
                <a:gd name="T2" fmla="*/ 15 w 58"/>
                <a:gd name="T3" fmla="*/ 29 h 59"/>
                <a:gd name="T4" fmla="*/ 29 w 58"/>
                <a:gd name="T5" fmla="*/ 48 h 59"/>
                <a:gd name="T6" fmla="*/ 43 w 58"/>
                <a:gd name="T7" fmla="*/ 29 h 59"/>
                <a:gd name="T8" fmla="*/ 29 w 58"/>
                <a:gd name="T9" fmla="*/ 11 h 59"/>
                <a:gd name="T10" fmla="*/ 50 w 58"/>
                <a:gd name="T11" fmla="*/ 51 h 59"/>
                <a:gd name="T12" fmla="*/ 29 w 58"/>
                <a:gd name="T13" fmla="*/ 59 h 59"/>
                <a:gd name="T14" fmla="*/ 9 w 58"/>
                <a:gd name="T15" fmla="*/ 52 h 59"/>
                <a:gd name="T16" fmla="*/ 0 w 58"/>
                <a:gd name="T17" fmla="*/ 30 h 59"/>
                <a:gd name="T18" fmla="*/ 9 w 58"/>
                <a:gd name="T19" fmla="*/ 8 h 59"/>
                <a:gd name="T20" fmla="*/ 29 w 58"/>
                <a:gd name="T21" fmla="*/ 0 h 59"/>
                <a:gd name="T22" fmla="*/ 50 w 58"/>
                <a:gd name="T23" fmla="*/ 8 h 59"/>
                <a:gd name="T24" fmla="*/ 58 w 58"/>
                <a:gd name="T25" fmla="*/ 29 h 59"/>
                <a:gd name="T26" fmla="*/ 50 w 58"/>
                <a:gd name="T27" fmla="*/ 5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59">
                  <a:moveTo>
                    <a:pt x="29" y="11"/>
                  </a:moveTo>
                  <a:cubicBezTo>
                    <a:pt x="20" y="11"/>
                    <a:pt x="15" y="19"/>
                    <a:pt x="15" y="29"/>
                  </a:cubicBezTo>
                  <a:cubicBezTo>
                    <a:pt x="15" y="41"/>
                    <a:pt x="20" y="48"/>
                    <a:pt x="29" y="48"/>
                  </a:cubicBezTo>
                  <a:cubicBezTo>
                    <a:pt x="38" y="48"/>
                    <a:pt x="43" y="40"/>
                    <a:pt x="43" y="29"/>
                  </a:cubicBezTo>
                  <a:cubicBezTo>
                    <a:pt x="43" y="18"/>
                    <a:pt x="38" y="11"/>
                    <a:pt x="29" y="11"/>
                  </a:cubicBezTo>
                  <a:moveTo>
                    <a:pt x="50" y="51"/>
                  </a:moveTo>
                  <a:cubicBezTo>
                    <a:pt x="45" y="56"/>
                    <a:pt x="38" y="59"/>
                    <a:pt x="29" y="59"/>
                  </a:cubicBezTo>
                  <a:cubicBezTo>
                    <a:pt x="21" y="59"/>
                    <a:pt x="14" y="57"/>
                    <a:pt x="9" y="52"/>
                  </a:cubicBezTo>
                  <a:cubicBezTo>
                    <a:pt x="3" y="47"/>
                    <a:pt x="0" y="39"/>
                    <a:pt x="0" y="30"/>
                  </a:cubicBezTo>
                  <a:cubicBezTo>
                    <a:pt x="0" y="21"/>
                    <a:pt x="3" y="13"/>
                    <a:pt x="9" y="8"/>
                  </a:cubicBezTo>
                  <a:cubicBezTo>
                    <a:pt x="14" y="3"/>
                    <a:pt x="21" y="0"/>
                    <a:pt x="29" y="0"/>
                  </a:cubicBezTo>
                  <a:cubicBezTo>
                    <a:pt x="38" y="0"/>
                    <a:pt x="45" y="3"/>
                    <a:pt x="50" y="8"/>
                  </a:cubicBezTo>
                  <a:cubicBezTo>
                    <a:pt x="55" y="13"/>
                    <a:pt x="58" y="21"/>
                    <a:pt x="58" y="29"/>
                  </a:cubicBezTo>
                  <a:cubicBezTo>
                    <a:pt x="58" y="38"/>
                    <a:pt x="55" y="46"/>
                    <a:pt x="50" y="51"/>
                  </a:cubicBezTo>
                </a:path>
              </a:pathLst>
            </a:custGeom>
            <a:solidFill>
              <a:srgbClr val="B2BB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2"/>
                </a:solidFill>
              </a:endParaRPr>
            </a:p>
          </p:txBody>
        </p:sp>
        <p:sp>
          <p:nvSpPr>
            <p:cNvPr id="23" name="Freeform 22"/>
            <p:cNvSpPr>
              <a:spLocks/>
            </p:cNvSpPr>
            <p:nvPr/>
          </p:nvSpPr>
          <p:spPr bwMode="auto">
            <a:xfrm>
              <a:off x="8833684" y="6654476"/>
              <a:ext cx="104167" cy="70423"/>
            </a:xfrm>
            <a:custGeom>
              <a:avLst/>
              <a:gdLst>
                <a:gd name="T0" fmla="*/ 15 w 90"/>
                <a:gd name="T1" fmla="*/ 0 h 61"/>
                <a:gd name="T2" fmla="*/ 27 w 90"/>
                <a:gd name="T3" fmla="*/ 39 h 61"/>
                <a:gd name="T4" fmla="*/ 27 w 90"/>
                <a:gd name="T5" fmla="*/ 39 h 61"/>
                <a:gd name="T6" fmla="*/ 40 w 90"/>
                <a:gd name="T7" fmla="*/ 0 h 61"/>
                <a:gd name="T8" fmla="*/ 51 w 90"/>
                <a:gd name="T9" fmla="*/ 0 h 61"/>
                <a:gd name="T10" fmla="*/ 64 w 90"/>
                <a:gd name="T11" fmla="*/ 39 h 61"/>
                <a:gd name="T12" fmla="*/ 64 w 90"/>
                <a:gd name="T13" fmla="*/ 39 h 61"/>
                <a:gd name="T14" fmla="*/ 76 w 90"/>
                <a:gd name="T15" fmla="*/ 0 h 61"/>
                <a:gd name="T16" fmla="*/ 90 w 90"/>
                <a:gd name="T17" fmla="*/ 0 h 61"/>
                <a:gd name="T18" fmla="*/ 73 w 90"/>
                <a:gd name="T19" fmla="*/ 47 h 61"/>
                <a:gd name="T20" fmla="*/ 58 w 90"/>
                <a:gd name="T21" fmla="*/ 58 h 61"/>
                <a:gd name="T22" fmla="*/ 45 w 90"/>
                <a:gd name="T23" fmla="*/ 19 h 61"/>
                <a:gd name="T24" fmla="*/ 44 w 90"/>
                <a:gd name="T25" fmla="*/ 19 h 61"/>
                <a:gd name="T26" fmla="*/ 35 w 90"/>
                <a:gd name="T27" fmla="*/ 47 h 61"/>
                <a:gd name="T28" fmla="*/ 20 w 90"/>
                <a:gd name="T29" fmla="*/ 58 h 61"/>
                <a:gd name="T30" fmla="*/ 0 w 90"/>
                <a:gd name="T31" fmla="*/ 0 h 61"/>
                <a:gd name="T32" fmla="*/ 15 w 90"/>
                <a:gd name="T33"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61">
                  <a:moveTo>
                    <a:pt x="15" y="0"/>
                  </a:moveTo>
                  <a:cubicBezTo>
                    <a:pt x="27" y="39"/>
                    <a:pt x="27" y="39"/>
                    <a:pt x="27" y="39"/>
                  </a:cubicBezTo>
                  <a:cubicBezTo>
                    <a:pt x="27" y="39"/>
                    <a:pt x="27" y="39"/>
                    <a:pt x="27" y="39"/>
                  </a:cubicBezTo>
                  <a:cubicBezTo>
                    <a:pt x="40" y="0"/>
                    <a:pt x="40" y="0"/>
                    <a:pt x="40" y="0"/>
                  </a:cubicBezTo>
                  <a:cubicBezTo>
                    <a:pt x="51" y="0"/>
                    <a:pt x="51" y="0"/>
                    <a:pt x="51" y="0"/>
                  </a:cubicBezTo>
                  <a:cubicBezTo>
                    <a:pt x="64" y="39"/>
                    <a:pt x="64" y="39"/>
                    <a:pt x="64" y="39"/>
                  </a:cubicBezTo>
                  <a:cubicBezTo>
                    <a:pt x="64" y="39"/>
                    <a:pt x="64" y="39"/>
                    <a:pt x="64" y="39"/>
                  </a:cubicBezTo>
                  <a:cubicBezTo>
                    <a:pt x="76" y="0"/>
                    <a:pt x="76" y="0"/>
                    <a:pt x="76" y="0"/>
                  </a:cubicBezTo>
                  <a:cubicBezTo>
                    <a:pt x="90" y="0"/>
                    <a:pt x="90" y="0"/>
                    <a:pt x="90" y="0"/>
                  </a:cubicBezTo>
                  <a:cubicBezTo>
                    <a:pt x="73" y="47"/>
                    <a:pt x="73" y="47"/>
                    <a:pt x="73" y="47"/>
                  </a:cubicBezTo>
                  <a:cubicBezTo>
                    <a:pt x="73" y="47"/>
                    <a:pt x="69" y="61"/>
                    <a:pt x="58" y="58"/>
                  </a:cubicBezTo>
                  <a:cubicBezTo>
                    <a:pt x="45" y="19"/>
                    <a:pt x="45" y="19"/>
                    <a:pt x="45" y="19"/>
                  </a:cubicBezTo>
                  <a:cubicBezTo>
                    <a:pt x="44" y="19"/>
                    <a:pt x="44" y="19"/>
                    <a:pt x="44" y="19"/>
                  </a:cubicBezTo>
                  <a:cubicBezTo>
                    <a:pt x="35" y="47"/>
                    <a:pt x="35" y="47"/>
                    <a:pt x="35" y="47"/>
                  </a:cubicBezTo>
                  <a:cubicBezTo>
                    <a:pt x="35" y="47"/>
                    <a:pt x="31" y="61"/>
                    <a:pt x="20" y="58"/>
                  </a:cubicBezTo>
                  <a:cubicBezTo>
                    <a:pt x="0" y="0"/>
                    <a:pt x="0" y="0"/>
                    <a:pt x="0" y="0"/>
                  </a:cubicBezTo>
                  <a:lnTo>
                    <a:pt x="15" y="0"/>
                  </a:lnTo>
                  <a:close/>
                </a:path>
              </a:pathLst>
            </a:custGeom>
            <a:solidFill>
              <a:srgbClr val="B2BB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2"/>
                </a:solidFill>
              </a:endParaRPr>
            </a:p>
          </p:txBody>
        </p:sp>
        <p:sp>
          <p:nvSpPr>
            <p:cNvPr id="24" name="Freeform 23"/>
            <p:cNvSpPr>
              <a:spLocks/>
            </p:cNvSpPr>
            <p:nvPr/>
          </p:nvSpPr>
          <p:spPr bwMode="auto">
            <a:xfrm>
              <a:off x="8947144" y="6653009"/>
              <a:ext cx="59664" cy="68467"/>
            </a:xfrm>
            <a:custGeom>
              <a:avLst/>
              <a:gdLst>
                <a:gd name="T0" fmla="*/ 52 w 52"/>
                <a:gd name="T1" fmla="*/ 20 h 59"/>
                <a:gd name="T2" fmla="*/ 52 w 52"/>
                <a:gd name="T3" fmla="*/ 48 h 59"/>
                <a:gd name="T4" fmla="*/ 38 w 52"/>
                <a:gd name="T5" fmla="*/ 59 h 59"/>
                <a:gd name="T6" fmla="*/ 38 w 52"/>
                <a:gd name="T7" fmla="*/ 24 h 59"/>
                <a:gd name="T8" fmla="*/ 29 w 52"/>
                <a:gd name="T9" fmla="*/ 12 h 59"/>
                <a:gd name="T10" fmla="*/ 15 w 52"/>
                <a:gd name="T11" fmla="*/ 18 h 59"/>
                <a:gd name="T12" fmla="*/ 15 w 52"/>
                <a:gd name="T13" fmla="*/ 48 h 59"/>
                <a:gd name="T14" fmla="*/ 0 w 52"/>
                <a:gd name="T15" fmla="*/ 59 h 59"/>
                <a:gd name="T16" fmla="*/ 0 w 52"/>
                <a:gd name="T17" fmla="*/ 1 h 59"/>
                <a:gd name="T18" fmla="*/ 13 w 52"/>
                <a:gd name="T19" fmla="*/ 1 h 59"/>
                <a:gd name="T20" fmla="*/ 14 w 52"/>
                <a:gd name="T21" fmla="*/ 7 h 59"/>
                <a:gd name="T22" fmla="*/ 34 w 52"/>
                <a:gd name="T23" fmla="*/ 0 h 59"/>
                <a:gd name="T24" fmla="*/ 52 w 52"/>
                <a:gd name="T25"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 h="59">
                  <a:moveTo>
                    <a:pt x="52" y="20"/>
                  </a:moveTo>
                  <a:cubicBezTo>
                    <a:pt x="52" y="48"/>
                    <a:pt x="52" y="48"/>
                    <a:pt x="52" y="48"/>
                  </a:cubicBezTo>
                  <a:cubicBezTo>
                    <a:pt x="52" y="59"/>
                    <a:pt x="38" y="59"/>
                    <a:pt x="38" y="59"/>
                  </a:cubicBezTo>
                  <a:cubicBezTo>
                    <a:pt x="38" y="24"/>
                    <a:pt x="38" y="24"/>
                    <a:pt x="38" y="24"/>
                  </a:cubicBezTo>
                  <a:cubicBezTo>
                    <a:pt x="38" y="19"/>
                    <a:pt x="37" y="12"/>
                    <a:pt x="29" y="12"/>
                  </a:cubicBezTo>
                  <a:cubicBezTo>
                    <a:pt x="24" y="12"/>
                    <a:pt x="19" y="15"/>
                    <a:pt x="15" y="18"/>
                  </a:cubicBezTo>
                  <a:cubicBezTo>
                    <a:pt x="15" y="48"/>
                    <a:pt x="15" y="48"/>
                    <a:pt x="15" y="48"/>
                  </a:cubicBezTo>
                  <a:cubicBezTo>
                    <a:pt x="15" y="59"/>
                    <a:pt x="0" y="59"/>
                    <a:pt x="0" y="59"/>
                  </a:cubicBezTo>
                  <a:cubicBezTo>
                    <a:pt x="0" y="1"/>
                    <a:pt x="0" y="1"/>
                    <a:pt x="0" y="1"/>
                  </a:cubicBezTo>
                  <a:cubicBezTo>
                    <a:pt x="13" y="1"/>
                    <a:pt x="13" y="1"/>
                    <a:pt x="13" y="1"/>
                  </a:cubicBezTo>
                  <a:cubicBezTo>
                    <a:pt x="14" y="7"/>
                    <a:pt x="14" y="7"/>
                    <a:pt x="14" y="7"/>
                  </a:cubicBezTo>
                  <a:cubicBezTo>
                    <a:pt x="20" y="2"/>
                    <a:pt x="27" y="0"/>
                    <a:pt x="34" y="0"/>
                  </a:cubicBezTo>
                  <a:cubicBezTo>
                    <a:pt x="43" y="0"/>
                    <a:pt x="52" y="5"/>
                    <a:pt x="52" y="20"/>
                  </a:cubicBezTo>
                </a:path>
              </a:pathLst>
            </a:custGeom>
            <a:solidFill>
              <a:srgbClr val="B2BB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2"/>
                </a:solidFill>
              </a:endParaRPr>
            </a:p>
          </p:txBody>
        </p:sp>
      </p:grpSp>
      <p:sp>
        <p:nvSpPr>
          <p:cNvPr id="25" name="Date Placeholder 2"/>
          <p:cNvSpPr txBox="1">
            <a:spLocks/>
          </p:cNvSpPr>
          <p:nvPr/>
        </p:nvSpPr>
        <p:spPr>
          <a:xfrm>
            <a:off x="1009311" y="274356"/>
            <a:ext cx="3200720" cy="302803"/>
          </a:xfrm>
          <a:prstGeom prst="rect">
            <a:avLst/>
          </a:prstGeom>
        </p:spPr>
        <p:txBody>
          <a:bodyPr vert="horz" lIns="91440" tIns="45720" rIns="91440" bIns="45720" rtlCol="0"/>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i="1" smtClean="0">
                <a:solidFill>
                  <a:schemeClr val="accent6">
                    <a:lumMod val="75000"/>
                  </a:schemeClr>
                </a:solidFill>
                <a:latin typeface="+mj-lt"/>
              </a:rPr>
              <a:t>Presentation Notes</a:t>
            </a:r>
            <a:r>
              <a:rPr lang="en-US" i="1" smtClean="0">
                <a:solidFill>
                  <a:schemeClr val="accent6"/>
                </a:solidFill>
                <a:latin typeface="+mj-lt"/>
              </a:rPr>
              <a:t> • </a:t>
            </a:r>
            <a:fld id="{7E5ABFAF-66EA-405F-B1E0-3B6379803F67}" type="datetime1">
              <a:rPr lang="en-US" i="0" smtClean="0">
                <a:solidFill>
                  <a:schemeClr val="accent6">
                    <a:lumMod val="75000"/>
                  </a:schemeClr>
                </a:solidFill>
                <a:latin typeface="+mj-lt"/>
              </a:rPr>
              <a:pPr algn="l"/>
              <a:t>9/12/2016</a:t>
            </a:fld>
            <a:endParaRPr lang="en-US" i="0">
              <a:solidFill>
                <a:schemeClr val="accent6">
                  <a:lumMod val="75000"/>
                </a:schemeClr>
              </a:solidFill>
              <a:latin typeface="+mj-lt"/>
            </a:endParaRPr>
          </a:p>
        </p:txBody>
      </p:sp>
      <p:sp>
        <p:nvSpPr>
          <p:cNvPr id="27" name="Slide Image Placeholder 26"/>
          <p:cNvSpPr>
            <a:spLocks noGrp="1" noRot="1" noChangeAspect="1"/>
          </p:cNvSpPr>
          <p:nvPr>
            <p:ph type="sldImg" idx="2"/>
          </p:nvPr>
        </p:nvSpPr>
        <p:spPr>
          <a:xfrm>
            <a:off x="333375" y="696913"/>
            <a:ext cx="6191250" cy="3486150"/>
          </a:xfrm>
          <a:prstGeom prst="rect">
            <a:avLst/>
          </a:prstGeom>
          <a:noFill/>
          <a:ln w="12700">
            <a:solidFill>
              <a:prstClr val="black"/>
            </a:solidFill>
          </a:ln>
        </p:spPr>
        <p:txBody>
          <a:bodyPr vert="horz" lIns="91440" tIns="45720" rIns="91440" bIns="45720" rtlCol="0" anchor="ctr"/>
          <a:lstStyle/>
          <a:p>
            <a:endParaRPr lang="en-US"/>
          </a:p>
        </p:txBody>
      </p:sp>
      <p:sp>
        <p:nvSpPr>
          <p:cNvPr id="26" name="Slide Number Placeholder 1"/>
          <p:cNvSpPr txBox="1">
            <a:spLocks/>
          </p:cNvSpPr>
          <p:nvPr/>
        </p:nvSpPr>
        <p:spPr>
          <a:xfrm>
            <a:off x="3323630" y="8829967"/>
            <a:ext cx="208119" cy="466433"/>
          </a:xfrm>
          <a:prstGeom prst="rect">
            <a:avLst/>
          </a:prstGeom>
        </p:spPr>
        <p:txBody>
          <a:bodyPr lIns="0" rIns="0" bIns="0" anchor="ctr"/>
          <a:lstStyle>
            <a:defPPr>
              <a:defRPr lang="en-US"/>
            </a:defPPr>
            <a:lvl1pPr marL="0" algn="l" defTabSz="914400" rtl="0" eaLnBrk="1" latinLnBrk="0" hangingPunct="1">
              <a:defRPr sz="7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9AB4E72-7858-48F1-A40D-12FF09E4BFB8}" type="slidenum">
              <a:rPr lang="en-GB" smtClean="0"/>
              <a:pPr algn="ctr"/>
              <a:t>‹Nº›</a:t>
            </a:fld>
            <a:endParaRPr lang="en-GB" dirty="0"/>
          </a:p>
        </p:txBody>
      </p:sp>
    </p:spTree>
    <p:extLst>
      <p:ext uri="{BB962C8B-B14F-4D97-AF65-F5344CB8AC3E}">
        <p14:creationId xmlns:p14="http://schemas.microsoft.com/office/powerpoint/2010/main" val="157749638"/>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6.xml"/><Relationship Id="rId5" Type="http://schemas.openxmlformats.org/officeDocument/2006/relationships/image" Target="../media/image3.png"/><Relationship Id="rId4" Type="http://schemas.microsoft.com/office/2007/relationships/hdphoto" Target="../media/hdphoto1.wdp"/></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wo Titles Only">
    <p:bg>
      <p:bgPr>
        <a:solidFill>
          <a:schemeClr val="bg1"/>
        </a:solidFill>
        <a:effectLst/>
      </p:bgPr>
    </p:bg>
    <p:spTree>
      <p:nvGrpSpPr>
        <p:cNvPr id="1" name=""/>
        <p:cNvGrpSpPr/>
        <p:nvPr/>
      </p:nvGrpSpPr>
      <p:grpSpPr>
        <a:xfrm>
          <a:off x="0" y="0"/>
          <a:ext cx="0" cy="0"/>
          <a:chOff x="0" y="0"/>
          <a:chExt cx="0" cy="0"/>
        </a:xfrm>
      </p:grpSpPr>
      <p:cxnSp>
        <p:nvCxnSpPr>
          <p:cNvPr id="9" name="Straight Connector 8"/>
          <p:cNvCxnSpPr/>
          <p:nvPr userDrawn="1"/>
        </p:nvCxnSpPr>
        <p:spPr>
          <a:xfrm>
            <a:off x="343366" y="739913"/>
            <a:ext cx="8460000" cy="0"/>
          </a:xfrm>
          <a:prstGeom prst="line">
            <a:avLst/>
          </a:prstGeom>
          <a:ln w="12700">
            <a:solidFill>
              <a:schemeClr val="tx1">
                <a:lumMod val="75000"/>
                <a:lumOff val="25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351670" y="1270022"/>
            <a:ext cx="8460000" cy="0"/>
          </a:xfrm>
          <a:prstGeom prst="line">
            <a:avLst/>
          </a:prstGeom>
          <a:ln w="12700" cap="rnd">
            <a:solidFill>
              <a:schemeClr val="tx1">
                <a:lumMod val="75000"/>
                <a:lumOff val="25000"/>
              </a:schemeClr>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14" name="Title Placeholder 6"/>
          <p:cNvSpPr>
            <a:spLocks noGrp="1"/>
          </p:cNvSpPr>
          <p:nvPr>
            <p:ph type="title"/>
          </p:nvPr>
        </p:nvSpPr>
        <p:spPr>
          <a:xfrm>
            <a:off x="347474" y="323727"/>
            <a:ext cx="8460000" cy="416186"/>
          </a:xfrm>
          <a:prstGeom prst="rect">
            <a:avLst/>
          </a:prstGeom>
        </p:spPr>
        <p:txBody>
          <a:bodyPr vert="horz" lIns="0" tIns="45720" rIns="0" bIns="45720" rtlCol="0" anchor="b">
            <a:noAutofit/>
          </a:bodyPr>
          <a:lstStyle>
            <a:lvl1pPr>
              <a:defRPr sz="2000">
                <a:solidFill>
                  <a:schemeClr val="tx1">
                    <a:lumMod val="75000"/>
                    <a:lumOff val="25000"/>
                  </a:schemeClr>
                </a:solidFill>
              </a:defRPr>
            </a:lvl1pPr>
          </a:lstStyle>
          <a:p>
            <a:r>
              <a:rPr lang="en-US" dirty="0" smtClean="0"/>
              <a:t>Click to edit Master title style</a:t>
            </a:r>
            <a:endParaRPr lang="en-GB" dirty="0"/>
          </a:p>
        </p:txBody>
      </p:sp>
      <p:sp>
        <p:nvSpPr>
          <p:cNvPr id="15" name="Text Placeholder 7"/>
          <p:cNvSpPr>
            <a:spLocks noGrp="1"/>
          </p:cNvSpPr>
          <p:nvPr>
            <p:ph type="body" sz="quarter" idx="20"/>
          </p:nvPr>
        </p:nvSpPr>
        <p:spPr>
          <a:xfrm>
            <a:off x="347473" y="808579"/>
            <a:ext cx="8460000" cy="393270"/>
          </a:xfrm>
          <a:prstGeom prst="rect">
            <a:avLst/>
          </a:prstGeom>
        </p:spPr>
        <p:txBody>
          <a:bodyPr lIns="0" rIns="0"/>
          <a:lstStyle>
            <a:lvl1pPr marL="0" indent="0">
              <a:spcBef>
                <a:spcPts val="0"/>
              </a:spcBef>
              <a:buNone/>
              <a:defRPr lang="en-US" sz="1100" b="1" i="1" kern="1200" dirty="0" smtClean="0">
                <a:solidFill>
                  <a:schemeClr val="tx2"/>
                </a:solidFill>
                <a:latin typeface="+mj-lt"/>
                <a:ea typeface="+mn-ea"/>
                <a:cs typeface="Arial"/>
              </a:defRPr>
            </a:lvl1pPr>
            <a:lvl2pPr marL="0" indent="0">
              <a:spcBef>
                <a:spcPts val="0"/>
              </a:spcBef>
              <a:buNone/>
              <a:defRPr lang="en-US" sz="1100" b="0" i="0" kern="1200" dirty="0" smtClean="0">
                <a:solidFill>
                  <a:schemeClr val="tx1">
                    <a:lumMod val="75000"/>
                    <a:lumOff val="25000"/>
                  </a:schemeClr>
                </a:solidFill>
                <a:latin typeface="+mj-lt"/>
                <a:ea typeface="+mn-ea"/>
                <a:cs typeface="Arial"/>
              </a:defRPr>
            </a:lvl2pPr>
          </a:lstStyle>
          <a:p>
            <a:pPr lvl="0"/>
            <a:r>
              <a:rPr lang="en-US" dirty="0" smtClean="0"/>
              <a:t>Click to edit Master text styles</a:t>
            </a:r>
          </a:p>
          <a:p>
            <a:pPr lvl="1"/>
            <a:r>
              <a:rPr lang="en-US" dirty="0" smtClean="0"/>
              <a:t>Second level</a:t>
            </a:r>
          </a:p>
        </p:txBody>
      </p:sp>
      <p:sp>
        <p:nvSpPr>
          <p:cNvPr id="13" name="Text Placeholder 2"/>
          <p:cNvSpPr>
            <a:spLocks noGrp="1"/>
          </p:cNvSpPr>
          <p:nvPr>
            <p:ph type="body" sz="quarter" idx="25" hasCustomPrompt="1"/>
          </p:nvPr>
        </p:nvSpPr>
        <p:spPr>
          <a:xfrm>
            <a:off x="6202363" y="4807465"/>
            <a:ext cx="1160462" cy="341313"/>
          </a:xfrm>
          <a:prstGeom prst="rect">
            <a:avLst/>
          </a:prstGeom>
        </p:spPr>
        <p:txBody>
          <a:bodyPr anchor="ctr"/>
          <a:lstStyle>
            <a:lvl1pPr marL="0" indent="0" algn="ctr">
              <a:buNone/>
              <a:defRPr sz="800">
                <a:solidFill>
                  <a:schemeClr val="tx1">
                    <a:lumMod val="75000"/>
                    <a:lumOff val="25000"/>
                  </a:schemeClr>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sp>
        <p:nvSpPr>
          <p:cNvPr id="11"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chemeClr val="bg1">
                    <a:lumMod val="75000"/>
                  </a:schemeClr>
                </a:solidFill>
                <a:latin typeface="+mn-lt"/>
              </a:defRPr>
            </a:lvl1pPr>
          </a:lstStyle>
          <a:p>
            <a:fld id="{19AB4E72-7858-48F1-A40D-12FF09E4BFB8}" type="slidenum">
              <a:rPr lang="en-GB" smtClean="0"/>
              <a:pPr/>
              <a:t>‹Nº›</a:t>
            </a:fld>
            <a:endParaRPr lang="en-GB"/>
          </a:p>
        </p:txBody>
      </p:sp>
      <p:sp>
        <p:nvSpPr>
          <p:cNvPr id="16" name="Footer Placeholder 6"/>
          <p:cNvSpPr>
            <a:spLocks noGrp="1"/>
          </p:cNvSpPr>
          <p:nvPr>
            <p:ph type="ftr" sz="quarter" idx="11"/>
          </p:nvPr>
        </p:nvSpPr>
        <p:spPr>
          <a:xfrm>
            <a:off x="608553" y="4816190"/>
            <a:ext cx="5040000" cy="158419"/>
          </a:xfrm>
          <a:prstGeom prst="rect">
            <a:avLst/>
          </a:prstGeom>
        </p:spPr>
        <p:txBody>
          <a:bodyPr lIns="0" rIns="0" bIns="0"/>
          <a:lstStyle>
            <a:lvl1pPr>
              <a:defRPr sz="600">
                <a:solidFill>
                  <a:schemeClr val="bg1">
                    <a:lumMod val="75000"/>
                  </a:schemeClr>
                </a:solidFill>
                <a:latin typeface="+mj-lt"/>
              </a:defRPr>
            </a:lvl1pPr>
          </a:lstStyle>
          <a:p>
            <a:endParaRPr lang="pt-BR"/>
          </a:p>
        </p:txBody>
      </p:sp>
      <p:sp>
        <p:nvSpPr>
          <p:cNvPr id="17"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latin typeface="+mn-lt"/>
              </a:rPr>
              <a:t>Private and Confidental</a:t>
            </a:r>
            <a:endParaRPr lang="pt-BR" sz="500" dirty="0">
              <a:latin typeface="+mn-lt"/>
            </a:endParaRPr>
          </a:p>
        </p:txBody>
      </p:sp>
    </p:spTree>
    <p:extLst>
      <p:ext uri="{BB962C8B-B14F-4D97-AF65-F5344CB8AC3E}">
        <p14:creationId xmlns:p14="http://schemas.microsoft.com/office/powerpoint/2010/main" val="403964725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Titles - Team Bio - 8pl">
    <p:bg>
      <p:bgPr>
        <a:solidFill>
          <a:schemeClr val="bg1"/>
        </a:solidFill>
        <a:effectLst/>
      </p:bgPr>
    </p:bg>
    <p:spTree>
      <p:nvGrpSpPr>
        <p:cNvPr id="1" name=""/>
        <p:cNvGrpSpPr/>
        <p:nvPr/>
      </p:nvGrpSpPr>
      <p:grpSpPr>
        <a:xfrm>
          <a:off x="0" y="0"/>
          <a:ext cx="0" cy="0"/>
          <a:chOff x="0" y="0"/>
          <a:chExt cx="0" cy="0"/>
        </a:xfrm>
      </p:grpSpPr>
      <p:sp>
        <p:nvSpPr>
          <p:cNvPr id="9" name="Title Placeholder 6"/>
          <p:cNvSpPr>
            <a:spLocks noGrp="1"/>
          </p:cNvSpPr>
          <p:nvPr>
            <p:ph type="title"/>
          </p:nvPr>
        </p:nvSpPr>
        <p:spPr>
          <a:xfrm>
            <a:off x="347474" y="323727"/>
            <a:ext cx="8460000" cy="416186"/>
          </a:xfrm>
          <a:prstGeom prst="rect">
            <a:avLst/>
          </a:prstGeom>
        </p:spPr>
        <p:txBody>
          <a:bodyPr vert="horz" lIns="0" tIns="45720" rIns="0" bIns="45720" rtlCol="0" anchor="b">
            <a:noAutofit/>
          </a:bodyPr>
          <a:lstStyle>
            <a:lvl1pPr>
              <a:defRPr sz="2000">
                <a:solidFill>
                  <a:schemeClr val="tx1">
                    <a:lumMod val="75000"/>
                    <a:lumOff val="25000"/>
                  </a:schemeClr>
                </a:solidFill>
              </a:defRPr>
            </a:lvl1pPr>
          </a:lstStyle>
          <a:p>
            <a:r>
              <a:rPr lang="en-US" dirty="0" smtClean="0"/>
              <a:t>Click to edit Master title style</a:t>
            </a:r>
            <a:endParaRPr lang="en-GB" dirty="0"/>
          </a:p>
        </p:txBody>
      </p:sp>
      <p:sp>
        <p:nvSpPr>
          <p:cNvPr id="12" name="Text Placeholder 7"/>
          <p:cNvSpPr>
            <a:spLocks noGrp="1"/>
          </p:cNvSpPr>
          <p:nvPr>
            <p:ph type="body" sz="quarter" idx="20"/>
          </p:nvPr>
        </p:nvSpPr>
        <p:spPr>
          <a:xfrm>
            <a:off x="347473" y="808579"/>
            <a:ext cx="8460000" cy="393270"/>
          </a:xfrm>
          <a:prstGeom prst="rect">
            <a:avLst/>
          </a:prstGeom>
        </p:spPr>
        <p:txBody>
          <a:bodyPr lIns="0" rIns="0"/>
          <a:lstStyle>
            <a:lvl1pPr marL="0" indent="0">
              <a:spcBef>
                <a:spcPts val="0"/>
              </a:spcBef>
              <a:buNone/>
              <a:defRPr lang="en-US" sz="1100" b="1" i="1" kern="1200" dirty="0" smtClean="0">
                <a:solidFill>
                  <a:schemeClr val="tx2"/>
                </a:solidFill>
                <a:latin typeface="+mj-lt"/>
                <a:ea typeface="+mn-ea"/>
                <a:cs typeface="Arial"/>
              </a:defRPr>
            </a:lvl1pPr>
            <a:lvl2pPr marL="0" indent="0">
              <a:spcBef>
                <a:spcPts val="0"/>
              </a:spcBef>
              <a:buNone/>
              <a:defRPr lang="en-US" sz="1100" b="0" i="0" kern="1200" dirty="0" smtClean="0">
                <a:solidFill>
                  <a:schemeClr val="tx1">
                    <a:lumMod val="75000"/>
                    <a:lumOff val="25000"/>
                  </a:schemeClr>
                </a:solidFill>
                <a:latin typeface="+mj-lt"/>
                <a:ea typeface="+mn-ea"/>
                <a:cs typeface="Arial"/>
              </a:defRPr>
            </a:lvl2pPr>
          </a:lstStyle>
          <a:p>
            <a:pPr lvl="0"/>
            <a:r>
              <a:rPr lang="en-US" dirty="0" smtClean="0"/>
              <a:t>Click to edit Master text styles</a:t>
            </a:r>
          </a:p>
          <a:p>
            <a:pPr lvl="1"/>
            <a:r>
              <a:rPr lang="en-US" dirty="0" smtClean="0"/>
              <a:t>Second level</a:t>
            </a:r>
          </a:p>
        </p:txBody>
      </p:sp>
      <p:cxnSp>
        <p:nvCxnSpPr>
          <p:cNvPr id="13" name="Straight Connector 12"/>
          <p:cNvCxnSpPr/>
          <p:nvPr userDrawn="1"/>
        </p:nvCxnSpPr>
        <p:spPr>
          <a:xfrm>
            <a:off x="343366" y="739913"/>
            <a:ext cx="8460000" cy="0"/>
          </a:xfrm>
          <a:prstGeom prst="line">
            <a:avLst/>
          </a:prstGeom>
          <a:ln w="12700">
            <a:solidFill>
              <a:schemeClr val="tx1">
                <a:lumMod val="75000"/>
                <a:lumOff val="25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351670" y="1270022"/>
            <a:ext cx="8460000" cy="0"/>
          </a:xfrm>
          <a:prstGeom prst="line">
            <a:avLst/>
          </a:prstGeom>
          <a:ln w="12700" cap="rnd">
            <a:solidFill>
              <a:schemeClr val="tx1">
                <a:lumMod val="75000"/>
                <a:lumOff val="25000"/>
              </a:schemeClr>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149" name="Picture Placeholder 2"/>
          <p:cNvSpPr>
            <a:spLocks noGrp="1"/>
          </p:cNvSpPr>
          <p:nvPr>
            <p:ph type="pic" sz="quarter" idx="25" hasCustomPrompt="1"/>
          </p:nvPr>
        </p:nvSpPr>
        <p:spPr>
          <a:xfrm>
            <a:off x="347472" y="1528560"/>
            <a:ext cx="720000" cy="720000"/>
          </a:xfrm>
          <a:prstGeom prst="rect">
            <a:avLst/>
          </a:prstGeom>
          <a:noFill/>
          <a:ln w="6350" cmpd="sng">
            <a:noFill/>
          </a:ln>
        </p:spPr>
        <p:txBody>
          <a:bodyPr vert="horz"/>
          <a:lstStyle>
            <a:lvl1pPr marL="0" indent="0" algn="ctr">
              <a:lnSpc>
                <a:spcPct val="90000"/>
              </a:lnSpc>
              <a:buNone/>
              <a:defRPr sz="1000">
                <a:solidFill>
                  <a:schemeClr val="bg1">
                    <a:lumMod val="65000"/>
                  </a:schemeClr>
                </a:solidFill>
              </a:defRPr>
            </a:lvl1pPr>
          </a:lstStyle>
          <a:p>
            <a:r>
              <a:rPr lang="en-US" smtClean="0"/>
              <a:t>Click to add a picture</a:t>
            </a:r>
            <a:endParaRPr lang="en-US"/>
          </a:p>
        </p:txBody>
      </p:sp>
      <p:cxnSp>
        <p:nvCxnSpPr>
          <p:cNvPr id="150" name="Straight Connector 149"/>
          <p:cNvCxnSpPr/>
          <p:nvPr userDrawn="1"/>
        </p:nvCxnSpPr>
        <p:spPr>
          <a:xfrm>
            <a:off x="343366" y="2330380"/>
            <a:ext cx="1984107" cy="0"/>
          </a:xfrm>
          <a:prstGeom prst="line">
            <a:avLst/>
          </a:prstGeom>
          <a:ln w="12700" cmpd="sng">
            <a:solidFill>
              <a:schemeClr val="tx1">
                <a:lumMod val="75000"/>
                <a:lumOff val="25000"/>
              </a:schemeClr>
            </a:solidFill>
            <a:prstDash val="solid"/>
            <a:miter lim="800000"/>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p:nvPr userDrawn="1"/>
        </p:nvCxnSpPr>
        <p:spPr>
          <a:xfrm>
            <a:off x="343366" y="1455737"/>
            <a:ext cx="1984107" cy="0"/>
          </a:xfrm>
          <a:prstGeom prst="line">
            <a:avLst/>
          </a:prstGeom>
          <a:ln w="12700" cmpd="sng">
            <a:solidFill>
              <a:schemeClr val="tx1">
                <a:lumMod val="75000"/>
                <a:lumOff val="25000"/>
              </a:schemeClr>
            </a:solidFill>
            <a:prstDash val="solid"/>
            <a:miter lim="800000"/>
          </a:ln>
        </p:spPr>
        <p:style>
          <a:lnRef idx="1">
            <a:schemeClr val="accent1"/>
          </a:lnRef>
          <a:fillRef idx="0">
            <a:schemeClr val="accent1"/>
          </a:fillRef>
          <a:effectRef idx="0">
            <a:schemeClr val="accent1"/>
          </a:effectRef>
          <a:fontRef idx="minor">
            <a:schemeClr val="tx1"/>
          </a:fontRef>
        </p:style>
      </p:cxnSp>
      <p:sp>
        <p:nvSpPr>
          <p:cNvPr id="152" name="Text Placeholder 46"/>
          <p:cNvSpPr>
            <a:spLocks noGrp="1"/>
          </p:cNvSpPr>
          <p:nvPr>
            <p:ph idx="29" hasCustomPrompt="1"/>
          </p:nvPr>
        </p:nvSpPr>
        <p:spPr>
          <a:xfrm>
            <a:off x="347472" y="2737335"/>
            <a:ext cx="1980001" cy="328944"/>
          </a:xfrm>
          <a:prstGeom prst="rect">
            <a:avLst/>
          </a:prstGeom>
        </p:spPr>
        <p:txBody>
          <a:bodyPr vert="horz" lIns="0" tIns="45720" rIns="0" bIns="45720" rtlCol="0">
            <a:noAutofit/>
          </a:bodyPr>
          <a:lstStyle>
            <a:lvl1pPr marL="0" marR="0" indent="0" algn="l" defTabSz="914400" rtl="0" eaLnBrk="1" fontAlgn="auto" latinLnBrk="0" hangingPunct="1">
              <a:lnSpc>
                <a:spcPct val="100000"/>
              </a:lnSpc>
              <a:spcBef>
                <a:spcPts val="600"/>
              </a:spcBef>
              <a:spcAft>
                <a:spcPts val="0"/>
              </a:spcAft>
              <a:buClr>
                <a:schemeClr val="tx2"/>
              </a:buClr>
              <a:buSzPct val="99000"/>
              <a:buFont typeface="Arial" pitchFamily="34" charset="0"/>
              <a:buNone/>
              <a:tabLst/>
              <a:defRPr sz="800" b="0">
                <a:solidFill>
                  <a:schemeClr val="tx1">
                    <a:lumMod val="75000"/>
                    <a:lumOff val="25000"/>
                  </a:schemeClr>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marL="0" marR="0" lvl="0" indent="0" algn="l" defTabSz="914400" rtl="0" eaLnBrk="1" fontAlgn="auto" latinLnBrk="0" hangingPunct="1">
              <a:lnSpc>
                <a:spcPct val="100000"/>
              </a:lnSpc>
              <a:spcBef>
                <a:spcPts val="600"/>
              </a:spcBef>
              <a:spcAft>
                <a:spcPts val="0"/>
              </a:spcAft>
              <a:buClr>
                <a:schemeClr val="tx2"/>
              </a:buClr>
              <a:buSzPct val="99000"/>
              <a:buFont typeface="Arial" pitchFamily="34" charset="0"/>
              <a:buNone/>
              <a:tabLst/>
              <a:defRPr/>
            </a:pPr>
            <a:r>
              <a:rPr lang="en-US" dirty="0" smtClean="0"/>
              <a:t>Click to add a short bio</a:t>
            </a:r>
            <a:endParaRPr lang="en-GB" dirty="0" smtClean="0"/>
          </a:p>
        </p:txBody>
      </p:sp>
      <p:sp>
        <p:nvSpPr>
          <p:cNvPr id="153" name="Text Placeholder 46"/>
          <p:cNvSpPr>
            <a:spLocks noGrp="1"/>
          </p:cNvSpPr>
          <p:nvPr>
            <p:ph idx="30" hasCustomPrompt="1"/>
          </p:nvPr>
        </p:nvSpPr>
        <p:spPr>
          <a:xfrm>
            <a:off x="347472" y="2531238"/>
            <a:ext cx="1980001" cy="176217"/>
          </a:xfrm>
          <a:prstGeom prst="rect">
            <a:avLst/>
          </a:prstGeom>
        </p:spPr>
        <p:txBody>
          <a:bodyPr vert="horz" lIns="0" tIns="0" rIns="0" bIns="45720" rtlCol="0">
            <a:noAutofit/>
          </a:bodyPr>
          <a:lstStyle>
            <a:lvl1pPr marL="0" indent="0">
              <a:spcBef>
                <a:spcPts val="600"/>
              </a:spcBef>
              <a:buClr>
                <a:schemeClr val="tx2"/>
              </a:buClr>
              <a:buNone/>
              <a:defRPr sz="900" b="0" baseline="0">
                <a:solidFill>
                  <a:schemeClr val="tx1">
                    <a:lumMod val="75000"/>
                    <a:lumOff val="25000"/>
                  </a:schemeClr>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job title</a:t>
            </a:r>
            <a:endParaRPr lang="en-GB" dirty="0"/>
          </a:p>
        </p:txBody>
      </p:sp>
      <p:cxnSp>
        <p:nvCxnSpPr>
          <p:cNvPr id="154" name="Straight Connector 153"/>
          <p:cNvCxnSpPr/>
          <p:nvPr userDrawn="1"/>
        </p:nvCxnSpPr>
        <p:spPr>
          <a:xfrm>
            <a:off x="351670" y="2737334"/>
            <a:ext cx="1977994" cy="0"/>
          </a:xfrm>
          <a:prstGeom prst="line">
            <a:avLst/>
          </a:prstGeom>
          <a:ln w="12700" cap="rnd">
            <a:solidFill>
              <a:schemeClr val="tx1">
                <a:lumMod val="75000"/>
                <a:lumOff val="25000"/>
              </a:schemeClr>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155" name="Text Placeholder 46"/>
          <p:cNvSpPr>
            <a:spLocks noGrp="1"/>
          </p:cNvSpPr>
          <p:nvPr>
            <p:ph idx="1" hasCustomPrompt="1"/>
          </p:nvPr>
        </p:nvSpPr>
        <p:spPr>
          <a:xfrm>
            <a:off x="347472" y="2326178"/>
            <a:ext cx="1980001" cy="205060"/>
          </a:xfrm>
          <a:prstGeom prst="rect">
            <a:avLst/>
          </a:prstGeom>
        </p:spPr>
        <p:txBody>
          <a:bodyPr vert="horz" lIns="0" tIns="25200" rIns="0" bIns="45720" rtlCol="0">
            <a:noAutofit/>
          </a:bodyPr>
          <a:lstStyle>
            <a:lvl1pPr marL="0" indent="0">
              <a:spcBef>
                <a:spcPts val="600"/>
              </a:spcBef>
              <a:buClr>
                <a:schemeClr val="tx2"/>
              </a:buClr>
              <a:buNone/>
              <a:defRPr sz="1000" b="1" baseline="0">
                <a:solidFill>
                  <a:schemeClr val="tx2"/>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name</a:t>
            </a:r>
            <a:endParaRPr lang="en-GB" dirty="0"/>
          </a:p>
        </p:txBody>
      </p:sp>
      <p:sp>
        <p:nvSpPr>
          <p:cNvPr id="156" name="Picture Placeholder 2"/>
          <p:cNvSpPr>
            <a:spLocks noGrp="1"/>
          </p:cNvSpPr>
          <p:nvPr>
            <p:ph type="pic" sz="quarter" idx="80" hasCustomPrompt="1"/>
          </p:nvPr>
        </p:nvSpPr>
        <p:spPr>
          <a:xfrm>
            <a:off x="347472" y="3201703"/>
            <a:ext cx="720000" cy="720000"/>
          </a:xfrm>
          <a:prstGeom prst="rect">
            <a:avLst/>
          </a:prstGeom>
          <a:noFill/>
          <a:ln w="6350" cmpd="sng">
            <a:noFill/>
          </a:ln>
        </p:spPr>
        <p:txBody>
          <a:bodyPr vert="horz"/>
          <a:lstStyle>
            <a:lvl1pPr marL="0" indent="0" algn="ctr">
              <a:lnSpc>
                <a:spcPct val="90000"/>
              </a:lnSpc>
              <a:buNone/>
              <a:defRPr sz="1000">
                <a:solidFill>
                  <a:schemeClr val="bg1">
                    <a:lumMod val="65000"/>
                  </a:schemeClr>
                </a:solidFill>
              </a:defRPr>
            </a:lvl1pPr>
          </a:lstStyle>
          <a:p>
            <a:r>
              <a:rPr lang="en-US" smtClean="0"/>
              <a:t>Click to add a picture</a:t>
            </a:r>
            <a:endParaRPr lang="en-US"/>
          </a:p>
        </p:txBody>
      </p:sp>
      <p:cxnSp>
        <p:nvCxnSpPr>
          <p:cNvPr id="157" name="Straight Connector 156"/>
          <p:cNvCxnSpPr/>
          <p:nvPr userDrawn="1"/>
        </p:nvCxnSpPr>
        <p:spPr>
          <a:xfrm>
            <a:off x="343366" y="4003523"/>
            <a:ext cx="1984107" cy="0"/>
          </a:xfrm>
          <a:prstGeom prst="line">
            <a:avLst/>
          </a:prstGeom>
          <a:ln w="12700" cmpd="sng">
            <a:solidFill>
              <a:schemeClr val="tx1">
                <a:lumMod val="75000"/>
                <a:lumOff val="25000"/>
              </a:schemeClr>
            </a:solidFill>
            <a:prstDash val="solid"/>
            <a:miter lim="800000"/>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p:nvPr userDrawn="1"/>
        </p:nvCxnSpPr>
        <p:spPr>
          <a:xfrm>
            <a:off x="343366" y="3128880"/>
            <a:ext cx="1984107" cy="0"/>
          </a:xfrm>
          <a:prstGeom prst="line">
            <a:avLst/>
          </a:prstGeom>
          <a:ln w="12700" cmpd="sng">
            <a:solidFill>
              <a:schemeClr val="tx1">
                <a:lumMod val="75000"/>
                <a:lumOff val="25000"/>
              </a:schemeClr>
            </a:solidFill>
            <a:prstDash val="solid"/>
            <a:miter lim="800000"/>
          </a:ln>
        </p:spPr>
        <p:style>
          <a:lnRef idx="1">
            <a:schemeClr val="accent1"/>
          </a:lnRef>
          <a:fillRef idx="0">
            <a:schemeClr val="accent1"/>
          </a:fillRef>
          <a:effectRef idx="0">
            <a:schemeClr val="accent1"/>
          </a:effectRef>
          <a:fontRef idx="minor">
            <a:schemeClr val="tx1"/>
          </a:fontRef>
        </p:style>
      </p:cxnSp>
      <p:sp>
        <p:nvSpPr>
          <p:cNvPr id="159" name="Text Placeholder 46"/>
          <p:cNvSpPr>
            <a:spLocks noGrp="1"/>
          </p:cNvSpPr>
          <p:nvPr>
            <p:ph idx="81" hasCustomPrompt="1"/>
          </p:nvPr>
        </p:nvSpPr>
        <p:spPr>
          <a:xfrm>
            <a:off x="347472" y="4410478"/>
            <a:ext cx="1980001" cy="328944"/>
          </a:xfrm>
          <a:prstGeom prst="rect">
            <a:avLst/>
          </a:prstGeom>
        </p:spPr>
        <p:txBody>
          <a:bodyPr vert="horz" lIns="0" tIns="45720" rIns="0" bIns="45720" rtlCol="0">
            <a:noAutofit/>
          </a:bodyPr>
          <a:lstStyle>
            <a:lvl1pPr marL="0" marR="0" indent="0" algn="l" defTabSz="914400" rtl="0" eaLnBrk="1" fontAlgn="auto" latinLnBrk="0" hangingPunct="1">
              <a:lnSpc>
                <a:spcPct val="100000"/>
              </a:lnSpc>
              <a:spcBef>
                <a:spcPts val="600"/>
              </a:spcBef>
              <a:spcAft>
                <a:spcPts val="0"/>
              </a:spcAft>
              <a:buClr>
                <a:schemeClr val="tx2"/>
              </a:buClr>
              <a:buSzPct val="99000"/>
              <a:buFont typeface="Arial" pitchFamily="34" charset="0"/>
              <a:buNone/>
              <a:tabLst/>
              <a:defRPr sz="800" b="0">
                <a:solidFill>
                  <a:schemeClr val="tx1">
                    <a:lumMod val="75000"/>
                    <a:lumOff val="25000"/>
                  </a:schemeClr>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marL="0" marR="0" lvl="0" indent="0" algn="l" defTabSz="914400" rtl="0" eaLnBrk="1" fontAlgn="auto" latinLnBrk="0" hangingPunct="1">
              <a:lnSpc>
                <a:spcPct val="100000"/>
              </a:lnSpc>
              <a:spcBef>
                <a:spcPts val="600"/>
              </a:spcBef>
              <a:spcAft>
                <a:spcPts val="0"/>
              </a:spcAft>
              <a:buClr>
                <a:schemeClr val="tx2"/>
              </a:buClr>
              <a:buSzPct val="99000"/>
              <a:buFont typeface="Arial" pitchFamily="34" charset="0"/>
              <a:buNone/>
              <a:tabLst/>
              <a:defRPr/>
            </a:pPr>
            <a:r>
              <a:rPr lang="en-US" dirty="0" smtClean="0"/>
              <a:t>Click to add a short bio</a:t>
            </a:r>
            <a:endParaRPr lang="en-GB" dirty="0" smtClean="0"/>
          </a:p>
        </p:txBody>
      </p:sp>
      <p:sp>
        <p:nvSpPr>
          <p:cNvPr id="160" name="Text Placeholder 46"/>
          <p:cNvSpPr>
            <a:spLocks noGrp="1"/>
          </p:cNvSpPr>
          <p:nvPr>
            <p:ph idx="82" hasCustomPrompt="1"/>
          </p:nvPr>
        </p:nvSpPr>
        <p:spPr>
          <a:xfrm>
            <a:off x="347472" y="4204381"/>
            <a:ext cx="1980001" cy="176217"/>
          </a:xfrm>
          <a:prstGeom prst="rect">
            <a:avLst/>
          </a:prstGeom>
        </p:spPr>
        <p:txBody>
          <a:bodyPr vert="horz" lIns="0" tIns="0" rIns="0" bIns="45720" rtlCol="0">
            <a:noAutofit/>
          </a:bodyPr>
          <a:lstStyle>
            <a:lvl1pPr marL="0" indent="0">
              <a:spcBef>
                <a:spcPts val="600"/>
              </a:spcBef>
              <a:buClr>
                <a:schemeClr val="tx2"/>
              </a:buClr>
              <a:buNone/>
              <a:defRPr sz="900" b="0" baseline="0">
                <a:solidFill>
                  <a:schemeClr val="tx1">
                    <a:lumMod val="75000"/>
                    <a:lumOff val="25000"/>
                  </a:schemeClr>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job title</a:t>
            </a:r>
            <a:endParaRPr lang="en-GB" dirty="0"/>
          </a:p>
        </p:txBody>
      </p:sp>
      <p:cxnSp>
        <p:nvCxnSpPr>
          <p:cNvPr id="161" name="Straight Connector 160"/>
          <p:cNvCxnSpPr/>
          <p:nvPr userDrawn="1"/>
        </p:nvCxnSpPr>
        <p:spPr>
          <a:xfrm>
            <a:off x="351670" y="4410477"/>
            <a:ext cx="1977994" cy="0"/>
          </a:xfrm>
          <a:prstGeom prst="line">
            <a:avLst/>
          </a:prstGeom>
          <a:ln w="12700" cap="rnd">
            <a:solidFill>
              <a:schemeClr val="tx1">
                <a:lumMod val="75000"/>
                <a:lumOff val="25000"/>
              </a:schemeClr>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162" name="Text Placeholder 46"/>
          <p:cNvSpPr>
            <a:spLocks noGrp="1"/>
          </p:cNvSpPr>
          <p:nvPr>
            <p:ph idx="83" hasCustomPrompt="1"/>
          </p:nvPr>
        </p:nvSpPr>
        <p:spPr>
          <a:xfrm>
            <a:off x="347472" y="3999321"/>
            <a:ext cx="1980001" cy="205060"/>
          </a:xfrm>
          <a:prstGeom prst="rect">
            <a:avLst/>
          </a:prstGeom>
        </p:spPr>
        <p:txBody>
          <a:bodyPr vert="horz" lIns="0" tIns="25200" rIns="0" bIns="45720" rtlCol="0">
            <a:noAutofit/>
          </a:bodyPr>
          <a:lstStyle>
            <a:lvl1pPr marL="0" indent="0">
              <a:spcBef>
                <a:spcPts val="600"/>
              </a:spcBef>
              <a:buClr>
                <a:schemeClr val="tx2"/>
              </a:buClr>
              <a:buNone/>
              <a:defRPr sz="1000" b="1" baseline="0">
                <a:solidFill>
                  <a:schemeClr val="tx2"/>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name</a:t>
            </a:r>
            <a:endParaRPr lang="en-GB" dirty="0"/>
          </a:p>
        </p:txBody>
      </p:sp>
      <p:sp>
        <p:nvSpPr>
          <p:cNvPr id="163" name="Picture Placeholder 2"/>
          <p:cNvSpPr>
            <a:spLocks noGrp="1"/>
          </p:cNvSpPr>
          <p:nvPr>
            <p:ph type="pic" sz="quarter" idx="84" hasCustomPrompt="1"/>
          </p:nvPr>
        </p:nvSpPr>
        <p:spPr>
          <a:xfrm>
            <a:off x="6823366" y="1528560"/>
            <a:ext cx="720000" cy="720000"/>
          </a:xfrm>
          <a:prstGeom prst="rect">
            <a:avLst/>
          </a:prstGeom>
          <a:noFill/>
          <a:ln w="6350" cmpd="sng">
            <a:noFill/>
          </a:ln>
        </p:spPr>
        <p:txBody>
          <a:bodyPr vert="horz"/>
          <a:lstStyle>
            <a:lvl1pPr marL="0" indent="0" algn="ctr">
              <a:lnSpc>
                <a:spcPct val="90000"/>
              </a:lnSpc>
              <a:buNone/>
              <a:defRPr sz="1000">
                <a:solidFill>
                  <a:schemeClr val="bg1">
                    <a:lumMod val="65000"/>
                  </a:schemeClr>
                </a:solidFill>
              </a:defRPr>
            </a:lvl1pPr>
          </a:lstStyle>
          <a:p>
            <a:r>
              <a:rPr lang="en-US" smtClean="0"/>
              <a:t>Click to add a picture</a:t>
            </a:r>
            <a:endParaRPr lang="en-US"/>
          </a:p>
        </p:txBody>
      </p:sp>
      <p:cxnSp>
        <p:nvCxnSpPr>
          <p:cNvPr id="164" name="Straight Connector 163"/>
          <p:cNvCxnSpPr/>
          <p:nvPr userDrawn="1"/>
        </p:nvCxnSpPr>
        <p:spPr>
          <a:xfrm>
            <a:off x="6823366" y="2330380"/>
            <a:ext cx="1984107" cy="0"/>
          </a:xfrm>
          <a:prstGeom prst="line">
            <a:avLst/>
          </a:prstGeom>
          <a:ln w="12700" cmpd="sng">
            <a:solidFill>
              <a:schemeClr val="tx1">
                <a:lumMod val="75000"/>
                <a:lumOff val="25000"/>
              </a:schemeClr>
            </a:solidFill>
            <a:prstDash val="solid"/>
            <a:miter lim="800000"/>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p:nvPr userDrawn="1"/>
        </p:nvCxnSpPr>
        <p:spPr>
          <a:xfrm>
            <a:off x="6823366" y="1455737"/>
            <a:ext cx="1984107" cy="0"/>
          </a:xfrm>
          <a:prstGeom prst="line">
            <a:avLst/>
          </a:prstGeom>
          <a:ln w="12700" cmpd="sng">
            <a:solidFill>
              <a:schemeClr val="tx1">
                <a:lumMod val="75000"/>
                <a:lumOff val="25000"/>
              </a:schemeClr>
            </a:solidFill>
            <a:prstDash val="solid"/>
            <a:miter lim="800000"/>
          </a:ln>
        </p:spPr>
        <p:style>
          <a:lnRef idx="1">
            <a:schemeClr val="accent1"/>
          </a:lnRef>
          <a:fillRef idx="0">
            <a:schemeClr val="accent1"/>
          </a:fillRef>
          <a:effectRef idx="0">
            <a:schemeClr val="accent1"/>
          </a:effectRef>
          <a:fontRef idx="minor">
            <a:schemeClr val="tx1"/>
          </a:fontRef>
        </p:style>
      </p:cxnSp>
      <p:sp>
        <p:nvSpPr>
          <p:cNvPr id="166" name="Text Placeholder 46"/>
          <p:cNvSpPr>
            <a:spLocks noGrp="1"/>
          </p:cNvSpPr>
          <p:nvPr>
            <p:ph idx="85" hasCustomPrompt="1"/>
          </p:nvPr>
        </p:nvSpPr>
        <p:spPr>
          <a:xfrm>
            <a:off x="6823366" y="2737335"/>
            <a:ext cx="1980001" cy="328944"/>
          </a:xfrm>
          <a:prstGeom prst="rect">
            <a:avLst/>
          </a:prstGeom>
        </p:spPr>
        <p:txBody>
          <a:bodyPr vert="horz" lIns="0" tIns="45720" rIns="0" bIns="45720" rtlCol="0">
            <a:noAutofit/>
          </a:bodyPr>
          <a:lstStyle>
            <a:lvl1pPr marL="0" marR="0" indent="0" algn="l" defTabSz="914400" rtl="0" eaLnBrk="1" fontAlgn="auto" latinLnBrk="0" hangingPunct="1">
              <a:lnSpc>
                <a:spcPct val="100000"/>
              </a:lnSpc>
              <a:spcBef>
                <a:spcPts val="600"/>
              </a:spcBef>
              <a:spcAft>
                <a:spcPts val="0"/>
              </a:spcAft>
              <a:buClr>
                <a:schemeClr val="tx2"/>
              </a:buClr>
              <a:buSzPct val="99000"/>
              <a:buFont typeface="Arial" pitchFamily="34" charset="0"/>
              <a:buNone/>
              <a:tabLst/>
              <a:defRPr sz="800" b="0">
                <a:solidFill>
                  <a:schemeClr val="tx1">
                    <a:lumMod val="75000"/>
                    <a:lumOff val="25000"/>
                  </a:schemeClr>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marL="0" marR="0" lvl="0" indent="0" algn="l" defTabSz="914400" rtl="0" eaLnBrk="1" fontAlgn="auto" latinLnBrk="0" hangingPunct="1">
              <a:lnSpc>
                <a:spcPct val="100000"/>
              </a:lnSpc>
              <a:spcBef>
                <a:spcPts val="600"/>
              </a:spcBef>
              <a:spcAft>
                <a:spcPts val="0"/>
              </a:spcAft>
              <a:buClr>
                <a:schemeClr val="tx2"/>
              </a:buClr>
              <a:buSzPct val="99000"/>
              <a:buFont typeface="Arial" pitchFamily="34" charset="0"/>
              <a:buNone/>
              <a:tabLst/>
              <a:defRPr/>
            </a:pPr>
            <a:r>
              <a:rPr lang="en-US" dirty="0" smtClean="0"/>
              <a:t>Click to add a short bio</a:t>
            </a:r>
            <a:endParaRPr lang="en-GB" dirty="0" smtClean="0"/>
          </a:p>
        </p:txBody>
      </p:sp>
      <p:sp>
        <p:nvSpPr>
          <p:cNvPr id="167" name="Text Placeholder 46"/>
          <p:cNvSpPr>
            <a:spLocks noGrp="1"/>
          </p:cNvSpPr>
          <p:nvPr>
            <p:ph idx="86" hasCustomPrompt="1"/>
          </p:nvPr>
        </p:nvSpPr>
        <p:spPr>
          <a:xfrm>
            <a:off x="6823366" y="2531238"/>
            <a:ext cx="1980001" cy="176217"/>
          </a:xfrm>
          <a:prstGeom prst="rect">
            <a:avLst/>
          </a:prstGeom>
        </p:spPr>
        <p:txBody>
          <a:bodyPr vert="horz" lIns="0" tIns="0" rIns="0" bIns="45720" rtlCol="0">
            <a:noAutofit/>
          </a:bodyPr>
          <a:lstStyle>
            <a:lvl1pPr marL="0" indent="0">
              <a:spcBef>
                <a:spcPts val="600"/>
              </a:spcBef>
              <a:buClr>
                <a:schemeClr val="tx2"/>
              </a:buClr>
              <a:buNone/>
              <a:defRPr sz="900" b="0" baseline="0">
                <a:solidFill>
                  <a:schemeClr val="tx1">
                    <a:lumMod val="75000"/>
                    <a:lumOff val="25000"/>
                  </a:schemeClr>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job title</a:t>
            </a:r>
            <a:endParaRPr lang="en-GB" dirty="0"/>
          </a:p>
        </p:txBody>
      </p:sp>
      <p:cxnSp>
        <p:nvCxnSpPr>
          <p:cNvPr id="168" name="Straight Connector 167"/>
          <p:cNvCxnSpPr/>
          <p:nvPr userDrawn="1"/>
        </p:nvCxnSpPr>
        <p:spPr>
          <a:xfrm>
            <a:off x="6823366" y="2737334"/>
            <a:ext cx="1977994" cy="0"/>
          </a:xfrm>
          <a:prstGeom prst="line">
            <a:avLst/>
          </a:prstGeom>
          <a:ln w="12700" cap="rnd">
            <a:solidFill>
              <a:schemeClr val="tx1">
                <a:lumMod val="75000"/>
                <a:lumOff val="25000"/>
              </a:schemeClr>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169" name="Text Placeholder 46"/>
          <p:cNvSpPr>
            <a:spLocks noGrp="1"/>
          </p:cNvSpPr>
          <p:nvPr>
            <p:ph idx="87" hasCustomPrompt="1"/>
          </p:nvPr>
        </p:nvSpPr>
        <p:spPr>
          <a:xfrm>
            <a:off x="6823366" y="2326178"/>
            <a:ext cx="1980001" cy="205060"/>
          </a:xfrm>
          <a:prstGeom prst="rect">
            <a:avLst/>
          </a:prstGeom>
        </p:spPr>
        <p:txBody>
          <a:bodyPr vert="horz" lIns="0" tIns="25200" rIns="0" bIns="45720" rtlCol="0">
            <a:noAutofit/>
          </a:bodyPr>
          <a:lstStyle>
            <a:lvl1pPr marL="0" indent="0">
              <a:spcBef>
                <a:spcPts val="600"/>
              </a:spcBef>
              <a:buClr>
                <a:schemeClr val="tx2"/>
              </a:buClr>
              <a:buNone/>
              <a:defRPr sz="1000" b="1" baseline="0">
                <a:solidFill>
                  <a:schemeClr val="tx2"/>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name</a:t>
            </a:r>
            <a:endParaRPr lang="en-GB" dirty="0"/>
          </a:p>
        </p:txBody>
      </p:sp>
      <p:sp>
        <p:nvSpPr>
          <p:cNvPr id="170" name="Picture Placeholder 2"/>
          <p:cNvSpPr>
            <a:spLocks noGrp="1"/>
          </p:cNvSpPr>
          <p:nvPr>
            <p:ph type="pic" sz="quarter" idx="88" hasCustomPrompt="1"/>
          </p:nvPr>
        </p:nvSpPr>
        <p:spPr>
          <a:xfrm>
            <a:off x="6823366" y="3201703"/>
            <a:ext cx="720000" cy="720000"/>
          </a:xfrm>
          <a:prstGeom prst="rect">
            <a:avLst/>
          </a:prstGeom>
          <a:noFill/>
          <a:ln w="6350" cmpd="sng">
            <a:noFill/>
          </a:ln>
        </p:spPr>
        <p:txBody>
          <a:bodyPr vert="horz"/>
          <a:lstStyle>
            <a:lvl1pPr marL="0" indent="0" algn="ctr">
              <a:lnSpc>
                <a:spcPct val="90000"/>
              </a:lnSpc>
              <a:buNone/>
              <a:defRPr sz="1000">
                <a:solidFill>
                  <a:schemeClr val="bg1">
                    <a:lumMod val="65000"/>
                  </a:schemeClr>
                </a:solidFill>
              </a:defRPr>
            </a:lvl1pPr>
          </a:lstStyle>
          <a:p>
            <a:r>
              <a:rPr lang="en-US" smtClean="0"/>
              <a:t>Click to add a picture</a:t>
            </a:r>
            <a:endParaRPr lang="en-US"/>
          </a:p>
        </p:txBody>
      </p:sp>
      <p:cxnSp>
        <p:nvCxnSpPr>
          <p:cNvPr id="171" name="Straight Connector 170"/>
          <p:cNvCxnSpPr/>
          <p:nvPr userDrawn="1"/>
        </p:nvCxnSpPr>
        <p:spPr>
          <a:xfrm>
            <a:off x="6823366" y="4003523"/>
            <a:ext cx="1984107" cy="0"/>
          </a:xfrm>
          <a:prstGeom prst="line">
            <a:avLst/>
          </a:prstGeom>
          <a:ln w="12700" cmpd="sng">
            <a:solidFill>
              <a:schemeClr val="tx1">
                <a:lumMod val="75000"/>
                <a:lumOff val="25000"/>
              </a:schemeClr>
            </a:solidFill>
            <a:prstDash val="solid"/>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userDrawn="1"/>
        </p:nvCxnSpPr>
        <p:spPr>
          <a:xfrm>
            <a:off x="6823366" y="3128880"/>
            <a:ext cx="1984107" cy="0"/>
          </a:xfrm>
          <a:prstGeom prst="line">
            <a:avLst/>
          </a:prstGeom>
          <a:ln w="12700" cmpd="sng">
            <a:solidFill>
              <a:schemeClr val="tx1">
                <a:lumMod val="75000"/>
                <a:lumOff val="25000"/>
              </a:schemeClr>
            </a:solidFill>
            <a:prstDash val="solid"/>
            <a:miter lim="800000"/>
          </a:ln>
        </p:spPr>
        <p:style>
          <a:lnRef idx="1">
            <a:schemeClr val="accent1"/>
          </a:lnRef>
          <a:fillRef idx="0">
            <a:schemeClr val="accent1"/>
          </a:fillRef>
          <a:effectRef idx="0">
            <a:schemeClr val="accent1"/>
          </a:effectRef>
          <a:fontRef idx="minor">
            <a:schemeClr val="tx1"/>
          </a:fontRef>
        </p:style>
      </p:cxnSp>
      <p:sp>
        <p:nvSpPr>
          <p:cNvPr id="173" name="Text Placeholder 46"/>
          <p:cNvSpPr>
            <a:spLocks noGrp="1"/>
          </p:cNvSpPr>
          <p:nvPr>
            <p:ph idx="89" hasCustomPrompt="1"/>
          </p:nvPr>
        </p:nvSpPr>
        <p:spPr>
          <a:xfrm>
            <a:off x="6823366" y="4410478"/>
            <a:ext cx="1980001" cy="328944"/>
          </a:xfrm>
          <a:prstGeom prst="rect">
            <a:avLst/>
          </a:prstGeom>
        </p:spPr>
        <p:txBody>
          <a:bodyPr vert="horz" lIns="0" tIns="45720" rIns="0" bIns="45720" rtlCol="0">
            <a:noAutofit/>
          </a:bodyPr>
          <a:lstStyle>
            <a:lvl1pPr marL="0" marR="0" indent="0" algn="l" defTabSz="914400" rtl="0" eaLnBrk="1" fontAlgn="auto" latinLnBrk="0" hangingPunct="1">
              <a:lnSpc>
                <a:spcPct val="100000"/>
              </a:lnSpc>
              <a:spcBef>
                <a:spcPts val="600"/>
              </a:spcBef>
              <a:spcAft>
                <a:spcPts val="0"/>
              </a:spcAft>
              <a:buClr>
                <a:schemeClr val="tx2"/>
              </a:buClr>
              <a:buSzPct val="99000"/>
              <a:buFont typeface="Arial" pitchFamily="34" charset="0"/>
              <a:buNone/>
              <a:tabLst/>
              <a:defRPr sz="800" b="0">
                <a:solidFill>
                  <a:schemeClr val="tx1">
                    <a:lumMod val="75000"/>
                    <a:lumOff val="25000"/>
                  </a:schemeClr>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marL="0" marR="0" lvl="0" indent="0" algn="l" defTabSz="914400" rtl="0" eaLnBrk="1" fontAlgn="auto" latinLnBrk="0" hangingPunct="1">
              <a:lnSpc>
                <a:spcPct val="100000"/>
              </a:lnSpc>
              <a:spcBef>
                <a:spcPts val="600"/>
              </a:spcBef>
              <a:spcAft>
                <a:spcPts val="0"/>
              </a:spcAft>
              <a:buClr>
                <a:schemeClr val="tx2"/>
              </a:buClr>
              <a:buSzPct val="99000"/>
              <a:buFont typeface="Arial" pitchFamily="34" charset="0"/>
              <a:buNone/>
              <a:tabLst/>
              <a:defRPr/>
            </a:pPr>
            <a:r>
              <a:rPr lang="en-US" dirty="0" smtClean="0"/>
              <a:t>Click to add a short bio</a:t>
            </a:r>
            <a:endParaRPr lang="en-GB" dirty="0" smtClean="0"/>
          </a:p>
        </p:txBody>
      </p:sp>
      <p:sp>
        <p:nvSpPr>
          <p:cNvPr id="174" name="Text Placeholder 46"/>
          <p:cNvSpPr>
            <a:spLocks noGrp="1"/>
          </p:cNvSpPr>
          <p:nvPr>
            <p:ph idx="90" hasCustomPrompt="1"/>
          </p:nvPr>
        </p:nvSpPr>
        <p:spPr>
          <a:xfrm>
            <a:off x="6823366" y="4204381"/>
            <a:ext cx="1980001" cy="176217"/>
          </a:xfrm>
          <a:prstGeom prst="rect">
            <a:avLst/>
          </a:prstGeom>
        </p:spPr>
        <p:txBody>
          <a:bodyPr vert="horz" lIns="0" tIns="0" rIns="0" bIns="45720" rtlCol="0">
            <a:noAutofit/>
          </a:bodyPr>
          <a:lstStyle>
            <a:lvl1pPr marL="0" indent="0">
              <a:spcBef>
                <a:spcPts val="600"/>
              </a:spcBef>
              <a:buClr>
                <a:schemeClr val="tx2"/>
              </a:buClr>
              <a:buNone/>
              <a:defRPr sz="900" b="0" baseline="0">
                <a:solidFill>
                  <a:schemeClr val="tx1">
                    <a:lumMod val="75000"/>
                    <a:lumOff val="25000"/>
                  </a:schemeClr>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job title</a:t>
            </a:r>
            <a:endParaRPr lang="en-GB" dirty="0"/>
          </a:p>
        </p:txBody>
      </p:sp>
      <p:cxnSp>
        <p:nvCxnSpPr>
          <p:cNvPr id="175" name="Straight Connector 174"/>
          <p:cNvCxnSpPr/>
          <p:nvPr userDrawn="1"/>
        </p:nvCxnSpPr>
        <p:spPr>
          <a:xfrm>
            <a:off x="6823366" y="4410477"/>
            <a:ext cx="1977994" cy="0"/>
          </a:xfrm>
          <a:prstGeom prst="line">
            <a:avLst/>
          </a:prstGeom>
          <a:ln w="12700" cap="rnd">
            <a:solidFill>
              <a:schemeClr val="tx1">
                <a:lumMod val="75000"/>
                <a:lumOff val="25000"/>
              </a:schemeClr>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176" name="Text Placeholder 46"/>
          <p:cNvSpPr>
            <a:spLocks noGrp="1"/>
          </p:cNvSpPr>
          <p:nvPr>
            <p:ph idx="91" hasCustomPrompt="1"/>
          </p:nvPr>
        </p:nvSpPr>
        <p:spPr>
          <a:xfrm>
            <a:off x="6823366" y="3999321"/>
            <a:ext cx="1980001" cy="205060"/>
          </a:xfrm>
          <a:prstGeom prst="rect">
            <a:avLst/>
          </a:prstGeom>
        </p:spPr>
        <p:txBody>
          <a:bodyPr vert="horz" lIns="0" tIns="25200" rIns="0" bIns="45720" rtlCol="0">
            <a:noAutofit/>
          </a:bodyPr>
          <a:lstStyle>
            <a:lvl1pPr marL="0" indent="0">
              <a:spcBef>
                <a:spcPts val="600"/>
              </a:spcBef>
              <a:buClr>
                <a:schemeClr val="tx2"/>
              </a:buClr>
              <a:buNone/>
              <a:defRPr sz="1000" b="1" baseline="0">
                <a:solidFill>
                  <a:schemeClr val="tx2"/>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name</a:t>
            </a:r>
            <a:endParaRPr lang="en-GB" dirty="0"/>
          </a:p>
        </p:txBody>
      </p:sp>
      <p:sp>
        <p:nvSpPr>
          <p:cNvPr id="177" name="Picture Placeholder 2"/>
          <p:cNvSpPr>
            <a:spLocks noGrp="1"/>
          </p:cNvSpPr>
          <p:nvPr>
            <p:ph type="pic" sz="quarter" idx="92" hasCustomPrompt="1"/>
          </p:nvPr>
        </p:nvSpPr>
        <p:spPr>
          <a:xfrm>
            <a:off x="4666134" y="1528560"/>
            <a:ext cx="720000" cy="720000"/>
          </a:xfrm>
          <a:prstGeom prst="rect">
            <a:avLst/>
          </a:prstGeom>
          <a:noFill/>
          <a:ln w="6350" cmpd="sng">
            <a:noFill/>
          </a:ln>
        </p:spPr>
        <p:txBody>
          <a:bodyPr vert="horz"/>
          <a:lstStyle>
            <a:lvl1pPr marL="0" indent="0" algn="ctr">
              <a:lnSpc>
                <a:spcPct val="90000"/>
              </a:lnSpc>
              <a:buNone/>
              <a:defRPr sz="1000">
                <a:solidFill>
                  <a:schemeClr val="bg1">
                    <a:lumMod val="65000"/>
                  </a:schemeClr>
                </a:solidFill>
              </a:defRPr>
            </a:lvl1pPr>
          </a:lstStyle>
          <a:p>
            <a:r>
              <a:rPr lang="en-US" smtClean="0"/>
              <a:t>Click to add a picture</a:t>
            </a:r>
            <a:endParaRPr lang="en-US"/>
          </a:p>
        </p:txBody>
      </p:sp>
      <p:cxnSp>
        <p:nvCxnSpPr>
          <p:cNvPr id="178" name="Straight Connector 177"/>
          <p:cNvCxnSpPr/>
          <p:nvPr userDrawn="1"/>
        </p:nvCxnSpPr>
        <p:spPr>
          <a:xfrm>
            <a:off x="4666134" y="2330380"/>
            <a:ext cx="1984107" cy="0"/>
          </a:xfrm>
          <a:prstGeom prst="line">
            <a:avLst/>
          </a:prstGeom>
          <a:ln w="12700" cmpd="sng">
            <a:solidFill>
              <a:schemeClr val="tx1">
                <a:lumMod val="75000"/>
                <a:lumOff val="25000"/>
              </a:schemeClr>
            </a:solidFill>
            <a:prstDash val="solid"/>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userDrawn="1"/>
        </p:nvCxnSpPr>
        <p:spPr>
          <a:xfrm>
            <a:off x="4666134" y="1455737"/>
            <a:ext cx="1984107" cy="0"/>
          </a:xfrm>
          <a:prstGeom prst="line">
            <a:avLst/>
          </a:prstGeom>
          <a:ln w="12700" cmpd="sng">
            <a:solidFill>
              <a:schemeClr val="tx1">
                <a:lumMod val="75000"/>
                <a:lumOff val="25000"/>
              </a:schemeClr>
            </a:solidFill>
            <a:prstDash val="solid"/>
            <a:miter lim="800000"/>
          </a:ln>
        </p:spPr>
        <p:style>
          <a:lnRef idx="1">
            <a:schemeClr val="accent1"/>
          </a:lnRef>
          <a:fillRef idx="0">
            <a:schemeClr val="accent1"/>
          </a:fillRef>
          <a:effectRef idx="0">
            <a:schemeClr val="accent1"/>
          </a:effectRef>
          <a:fontRef idx="minor">
            <a:schemeClr val="tx1"/>
          </a:fontRef>
        </p:style>
      </p:cxnSp>
      <p:sp>
        <p:nvSpPr>
          <p:cNvPr id="180" name="Text Placeholder 46"/>
          <p:cNvSpPr>
            <a:spLocks noGrp="1"/>
          </p:cNvSpPr>
          <p:nvPr>
            <p:ph idx="93" hasCustomPrompt="1"/>
          </p:nvPr>
        </p:nvSpPr>
        <p:spPr>
          <a:xfrm>
            <a:off x="4666134" y="2737335"/>
            <a:ext cx="1980001" cy="328944"/>
          </a:xfrm>
          <a:prstGeom prst="rect">
            <a:avLst/>
          </a:prstGeom>
        </p:spPr>
        <p:txBody>
          <a:bodyPr vert="horz" lIns="0" tIns="45720" rIns="0" bIns="45720" rtlCol="0">
            <a:noAutofit/>
          </a:bodyPr>
          <a:lstStyle>
            <a:lvl1pPr marL="0" marR="0" indent="0" algn="l" defTabSz="914400" rtl="0" eaLnBrk="1" fontAlgn="auto" latinLnBrk="0" hangingPunct="1">
              <a:lnSpc>
                <a:spcPct val="100000"/>
              </a:lnSpc>
              <a:spcBef>
                <a:spcPts val="600"/>
              </a:spcBef>
              <a:spcAft>
                <a:spcPts val="0"/>
              </a:spcAft>
              <a:buClr>
                <a:schemeClr val="tx2"/>
              </a:buClr>
              <a:buSzPct val="99000"/>
              <a:buFont typeface="Arial" pitchFamily="34" charset="0"/>
              <a:buNone/>
              <a:tabLst/>
              <a:defRPr sz="800" b="0">
                <a:solidFill>
                  <a:schemeClr val="tx1">
                    <a:lumMod val="75000"/>
                    <a:lumOff val="25000"/>
                  </a:schemeClr>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marL="0" marR="0" lvl="0" indent="0" algn="l" defTabSz="914400" rtl="0" eaLnBrk="1" fontAlgn="auto" latinLnBrk="0" hangingPunct="1">
              <a:lnSpc>
                <a:spcPct val="100000"/>
              </a:lnSpc>
              <a:spcBef>
                <a:spcPts val="600"/>
              </a:spcBef>
              <a:spcAft>
                <a:spcPts val="0"/>
              </a:spcAft>
              <a:buClr>
                <a:schemeClr val="tx2"/>
              </a:buClr>
              <a:buSzPct val="99000"/>
              <a:buFont typeface="Arial" pitchFamily="34" charset="0"/>
              <a:buNone/>
              <a:tabLst/>
              <a:defRPr/>
            </a:pPr>
            <a:r>
              <a:rPr lang="en-US" dirty="0" smtClean="0"/>
              <a:t>Click to add a short bio</a:t>
            </a:r>
            <a:endParaRPr lang="en-GB" dirty="0" smtClean="0"/>
          </a:p>
        </p:txBody>
      </p:sp>
      <p:sp>
        <p:nvSpPr>
          <p:cNvPr id="181" name="Text Placeholder 46"/>
          <p:cNvSpPr>
            <a:spLocks noGrp="1"/>
          </p:cNvSpPr>
          <p:nvPr>
            <p:ph idx="94" hasCustomPrompt="1"/>
          </p:nvPr>
        </p:nvSpPr>
        <p:spPr>
          <a:xfrm>
            <a:off x="4666134" y="2531238"/>
            <a:ext cx="1980001" cy="176217"/>
          </a:xfrm>
          <a:prstGeom prst="rect">
            <a:avLst/>
          </a:prstGeom>
        </p:spPr>
        <p:txBody>
          <a:bodyPr vert="horz" lIns="0" tIns="0" rIns="0" bIns="45720" rtlCol="0">
            <a:noAutofit/>
          </a:bodyPr>
          <a:lstStyle>
            <a:lvl1pPr marL="0" indent="0">
              <a:spcBef>
                <a:spcPts val="600"/>
              </a:spcBef>
              <a:buClr>
                <a:schemeClr val="tx2"/>
              </a:buClr>
              <a:buNone/>
              <a:defRPr sz="900" b="0" baseline="0">
                <a:solidFill>
                  <a:schemeClr val="tx1">
                    <a:lumMod val="75000"/>
                    <a:lumOff val="25000"/>
                  </a:schemeClr>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job title</a:t>
            </a:r>
            <a:endParaRPr lang="en-GB" dirty="0"/>
          </a:p>
        </p:txBody>
      </p:sp>
      <p:cxnSp>
        <p:nvCxnSpPr>
          <p:cNvPr id="182" name="Straight Connector 181"/>
          <p:cNvCxnSpPr/>
          <p:nvPr userDrawn="1"/>
        </p:nvCxnSpPr>
        <p:spPr>
          <a:xfrm>
            <a:off x="4666134" y="2737334"/>
            <a:ext cx="1977994" cy="0"/>
          </a:xfrm>
          <a:prstGeom prst="line">
            <a:avLst/>
          </a:prstGeom>
          <a:ln w="12700" cap="rnd">
            <a:solidFill>
              <a:schemeClr val="tx1">
                <a:lumMod val="75000"/>
                <a:lumOff val="25000"/>
              </a:schemeClr>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183" name="Text Placeholder 46"/>
          <p:cNvSpPr>
            <a:spLocks noGrp="1"/>
          </p:cNvSpPr>
          <p:nvPr>
            <p:ph idx="95" hasCustomPrompt="1"/>
          </p:nvPr>
        </p:nvSpPr>
        <p:spPr>
          <a:xfrm>
            <a:off x="4666134" y="2326178"/>
            <a:ext cx="1980001" cy="205060"/>
          </a:xfrm>
          <a:prstGeom prst="rect">
            <a:avLst/>
          </a:prstGeom>
        </p:spPr>
        <p:txBody>
          <a:bodyPr vert="horz" lIns="0" tIns="25200" rIns="0" bIns="45720" rtlCol="0">
            <a:noAutofit/>
          </a:bodyPr>
          <a:lstStyle>
            <a:lvl1pPr marL="0" indent="0">
              <a:spcBef>
                <a:spcPts val="600"/>
              </a:spcBef>
              <a:buClr>
                <a:schemeClr val="tx2"/>
              </a:buClr>
              <a:buNone/>
              <a:defRPr sz="1000" b="1" baseline="0">
                <a:solidFill>
                  <a:schemeClr val="tx2"/>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name</a:t>
            </a:r>
            <a:endParaRPr lang="en-GB" dirty="0"/>
          </a:p>
        </p:txBody>
      </p:sp>
      <p:sp>
        <p:nvSpPr>
          <p:cNvPr id="184" name="Picture Placeholder 2"/>
          <p:cNvSpPr>
            <a:spLocks noGrp="1"/>
          </p:cNvSpPr>
          <p:nvPr>
            <p:ph type="pic" sz="quarter" idx="96" hasCustomPrompt="1"/>
          </p:nvPr>
        </p:nvSpPr>
        <p:spPr>
          <a:xfrm>
            <a:off x="4666134" y="3201703"/>
            <a:ext cx="720000" cy="720000"/>
          </a:xfrm>
          <a:prstGeom prst="rect">
            <a:avLst/>
          </a:prstGeom>
          <a:noFill/>
          <a:ln w="6350" cmpd="sng">
            <a:noFill/>
          </a:ln>
        </p:spPr>
        <p:txBody>
          <a:bodyPr vert="horz"/>
          <a:lstStyle>
            <a:lvl1pPr marL="0" indent="0" algn="ctr">
              <a:lnSpc>
                <a:spcPct val="90000"/>
              </a:lnSpc>
              <a:buNone/>
              <a:defRPr sz="1000">
                <a:solidFill>
                  <a:schemeClr val="bg1">
                    <a:lumMod val="65000"/>
                  </a:schemeClr>
                </a:solidFill>
              </a:defRPr>
            </a:lvl1pPr>
          </a:lstStyle>
          <a:p>
            <a:r>
              <a:rPr lang="en-US" smtClean="0"/>
              <a:t>Click to add a picture</a:t>
            </a:r>
            <a:endParaRPr lang="en-US"/>
          </a:p>
        </p:txBody>
      </p:sp>
      <p:cxnSp>
        <p:nvCxnSpPr>
          <p:cNvPr id="185" name="Straight Connector 184"/>
          <p:cNvCxnSpPr/>
          <p:nvPr userDrawn="1"/>
        </p:nvCxnSpPr>
        <p:spPr>
          <a:xfrm>
            <a:off x="4666134" y="4003523"/>
            <a:ext cx="1984107" cy="0"/>
          </a:xfrm>
          <a:prstGeom prst="line">
            <a:avLst/>
          </a:prstGeom>
          <a:ln w="12700" cmpd="sng">
            <a:solidFill>
              <a:schemeClr val="tx1">
                <a:lumMod val="75000"/>
                <a:lumOff val="25000"/>
              </a:schemeClr>
            </a:solidFill>
            <a:prstDash val="solid"/>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userDrawn="1"/>
        </p:nvCxnSpPr>
        <p:spPr>
          <a:xfrm>
            <a:off x="4666134" y="3128880"/>
            <a:ext cx="1984107" cy="0"/>
          </a:xfrm>
          <a:prstGeom prst="line">
            <a:avLst/>
          </a:prstGeom>
          <a:ln w="12700" cmpd="sng">
            <a:solidFill>
              <a:schemeClr val="tx1">
                <a:lumMod val="75000"/>
                <a:lumOff val="25000"/>
              </a:schemeClr>
            </a:solidFill>
            <a:prstDash val="solid"/>
            <a:miter lim="800000"/>
          </a:ln>
        </p:spPr>
        <p:style>
          <a:lnRef idx="1">
            <a:schemeClr val="accent1"/>
          </a:lnRef>
          <a:fillRef idx="0">
            <a:schemeClr val="accent1"/>
          </a:fillRef>
          <a:effectRef idx="0">
            <a:schemeClr val="accent1"/>
          </a:effectRef>
          <a:fontRef idx="minor">
            <a:schemeClr val="tx1"/>
          </a:fontRef>
        </p:style>
      </p:cxnSp>
      <p:sp>
        <p:nvSpPr>
          <p:cNvPr id="187" name="Text Placeholder 46"/>
          <p:cNvSpPr>
            <a:spLocks noGrp="1"/>
          </p:cNvSpPr>
          <p:nvPr>
            <p:ph idx="97" hasCustomPrompt="1"/>
          </p:nvPr>
        </p:nvSpPr>
        <p:spPr>
          <a:xfrm>
            <a:off x="4666134" y="4410478"/>
            <a:ext cx="1980001" cy="328944"/>
          </a:xfrm>
          <a:prstGeom prst="rect">
            <a:avLst/>
          </a:prstGeom>
        </p:spPr>
        <p:txBody>
          <a:bodyPr vert="horz" lIns="0" tIns="45720" rIns="0" bIns="45720" rtlCol="0">
            <a:noAutofit/>
          </a:bodyPr>
          <a:lstStyle>
            <a:lvl1pPr marL="0" marR="0" indent="0" algn="l" defTabSz="914400" rtl="0" eaLnBrk="1" fontAlgn="auto" latinLnBrk="0" hangingPunct="1">
              <a:lnSpc>
                <a:spcPct val="100000"/>
              </a:lnSpc>
              <a:spcBef>
                <a:spcPts val="600"/>
              </a:spcBef>
              <a:spcAft>
                <a:spcPts val="0"/>
              </a:spcAft>
              <a:buClr>
                <a:schemeClr val="tx2"/>
              </a:buClr>
              <a:buSzPct val="99000"/>
              <a:buFont typeface="Arial" pitchFamily="34" charset="0"/>
              <a:buNone/>
              <a:tabLst/>
              <a:defRPr sz="800" b="0">
                <a:solidFill>
                  <a:schemeClr val="tx1">
                    <a:lumMod val="75000"/>
                    <a:lumOff val="25000"/>
                  </a:schemeClr>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marL="0" marR="0" lvl="0" indent="0" algn="l" defTabSz="914400" rtl="0" eaLnBrk="1" fontAlgn="auto" latinLnBrk="0" hangingPunct="1">
              <a:lnSpc>
                <a:spcPct val="100000"/>
              </a:lnSpc>
              <a:spcBef>
                <a:spcPts val="600"/>
              </a:spcBef>
              <a:spcAft>
                <a:spcPts val="0"/>
              </a:spcAft>
              <a:buClr>
                <a:schemeClr val="tx2"/>
              </a:buClr>
              <a:buSzPct val="99000"/>
              <a:buFont typeface="Arial" pitchFamily="34" charset="0"/>
              <a:buNone/>
              <a:tabLst/>
              <a:defRPr/>
            </a:pPr>
            <a:r>
              <a:rPr lang="en-US" dirty="0" smtClean="0"/>
              <a:t>Click to add a short bio</a:t>
            </a:r>
            <a:endParaRPr lang="en-GB" dirty="0" smtClean="0"/>
          </a:p>
        </p:txBody>
      </p:sp>
      <p:sp>
        <p:nvSpPr>
          <p:cNvPr id="188" name="Text Placeholder 46"/>
          <p:cNvSpPr>
            <a:spLocks noGrp="1"/>
          </p:cNvSpPr>
          <p:nvPr>
            <p:ph idx="98" hasCustomPrompt="1"/>
          </p:nvPr>
        </p:nvSpPr>
        <p:spPr>
          <a:xfrm>
            <a:off x="4666134" y="4204381"/>
            <a:ext cx="1980001" cy="176217"/>
          </a:xfrm>
          <a:prstGeom prst="rect">
            <a:avLst/>
          </a:prstGeom>
        </p:spPr>
        <p:txBody>
          <a:bodyPr vert="horz" lIns="0" tIns="0" rIns="0" bIns="45720" rtlCol="0">
            <a:noAutofit/>
          </a:bodyPr>
          <a:lstStyle>
            <a:lvl1pPr marL="0" indent="0">
              <a:spcBef>
                <a:spcPts val="600"/>
              </a:spcBef>
              <a:buClr>
                <a:schemeClr val="tx2"/>
              </a:buClr>
              <a:buNone/>
              <a:defRPr sz="900" b="0" baseline="0">
                <a:solidFill>
                  <a:schemeClr val="tx1">
                    <a:lumMod val="75000"/>
                    <a:lumOff val="25000"/>
                  </a:schemeClr>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job title</a:t>
            </a:r>
            <a:endParaRPr lang="en-GB" dirty="0"/>
          </a:p>
        </p:txBody>
      </p:sp>
      <p:cxnSp>
        <p:nvCxnSpPr>
          <p:cNvPr id="189" name="Straight Connector 188"/>
          <p:cNvCxnSpPr/>
          <p:nvPr userDrawn="1"/>
        </p:nvCxnSpPr>
        <p:spPr>
          <a:xfrm>
            <a:off x="4666134" y="4410477"/>
            <a:ext cx="1977994" cy="0"/>
          </a:xfrm>
          <a:prstGeom prst="line">
            <a:avLst/>
          </a:prstGeom>
          <a:ln w="12700" cap="rnd">
            <a:solidFill>
              <a:schemeClr val="tx1">
                <a:lumMod val="75000"/>
                <a:lumOff val="25000"/>
              </a:schemeClr>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190" name="Text Placeholder 46"/>
          <p:cNvSpPr>
            <a:spLocks noGrp="1"/>
          </p:cNvSpPr>
          <p:nvPr>
            <p:ph idx="99" hasCustomPrompt="1"/>
          </p:nvPr>
        </p:nvSpPr>
        <p:spPr>
          <a:xfrm>
            <a:off x="4666134" y="3999321"/>
            <a:ext cx="1980001" cy="205060"/>
          </a:xfrm>
          <a:prstGeom prst="rect">
            <a:avLst/>
          </a:prstGeom>
        </p:spPr>
        <p:txBody>
          <a:bodyPr vert="horz" lIns="0" tIns="25200" rIns="0" bIns="45720" rtlCol="0">
            <a:noAutofit/>
          </a:bodyPr>
          <a:lstStyle>
            <a:lvl1pPr marL="0" indent="0">
              <a:spcBef>
                <a:spcPts val="600"/>
              </a:spcBef>
              <a:buClr>
                <a:schemeClr val="tx2"/>
              </a:buClr>
              <a:buNone/>
              <a:defRPr sz="1000" b="1" baseline="0">
                <a:solidFill>
                  <a:schemeClr val="tx2"/>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name</a:t>
            </a:r>
            <a:endParaRPr lang="en-GB" dirty="0"/>
          </a:p>
        </p:txBody>
      </p:sp>
      <p:sp>
        <p:nvSpPr>
          <p:cNvPr id="191" name="Picture Placeholder 2"/>
          <p:cNvSpPr>
            <a:spLocks noGrp="1"/>
          </p:cNvSpPr>
          <p:nvPr>
            <p:ph type="pic" sz="quarter" idx="100" hasCustomPrompt="1"/>
          </p:nvPr>
        </p:nvSpPr>
        <p:spPr>
          <a:xfrm>
            <a:off x="2504795" y="1528560"/>
            <a:ext cx="720000" cy="720000"/>
          </a:xfrm>
          <a:prstGeom prst="rect">
            <a:avLst/>
          </a:prstGeom>
          <a:noFill/>
          <a:ln w="6350" cmpd="sng">
            <a:noFill/>
          </a:ln>
        </p:spPr>
        <p:txBody>
          <a:bodyPr vert="horz"/>
          <a:lstStyle>
            <a:lvl1pPr marL="0" indent="0" algn="ctr">
              <a:lnSpc>
                <a:spcPct val="90000"/>
              </a:lnSpc>
              <a:buNone/>
              <a:defRPr sz="1000">
                <a:solidFill>
                  <a:schemeClr val="bg1">
                    <a:lumMod val="65000"/>
                  </a:schemeClr>
                </a:solidFill>
              </a:defRPr>
            </a:lvl1pPr>
          </a:lstStyle>
          <a:p>
            <a:r>
              <a:rPr lang="en-US" smtClean="0"/>
              <a:t>Click to add a picture</a:t>
            </a:r>
            <a:endParaRPr lang="en-US"/>
          </a:p>
        </p:txBody>
      </p:sp>
      <p:cxnSp>
        <p:nvCxnSpPr>
          <p:cNvPr id="192" name="Straight Connector 191"/>
          <p:cNvCxnSpPr/>
          <p:nvPr userDrawn="1"/>
        </p:nvCxnSpPr>
        <p:spPr>
          <a:xfrm>
            <a:off x="2504795" y="2330380"/>
            <a:ext cx="1984107" cy="0"/>
          </a:xfrm>
          <a:prstGeom prst="line">
            <a:avLst/>
          </a:prstGeom>
          <a:ln w="12700" cmpd="sng">
            <a:solidFill>
              <a:schemeClr val="tx1">
                <a:lumMod val="75000"/>
                <a:lumOff val="25000"/>
              </a:schemeClr>
            </a:solidFill>
            <a:prstDash val="solid"/>
            <a:miter lim="800000"/>
          </a:ln>
        </p:spPr>
        <p:style>
          <a:lnRef idx="1">
            <a:schemeClr val="accent1"/>
          </a:lnRef>
          <a:fillRef idx="0">
            <a:schemeClr val="accent1"/>
          </a:fillRef>
          <a:effectRef idx="0">
            <a:schemeClr val="accent1"/>
          </a:effectRef>
          <a:fontRef idx="minor">
            <a:schemeClr val="tx1"/>
          </a:fontRef>
        </p:style>
      </p:cxnSp>
      <p:cxnSp>
        <p:nvCxnSpPr>
          <p:cNvPr id="193" name="Straight Connector 192"/>
          <p:cNvCxnSpPr/>
          <p:nvPr userDrawn="1"/>
        </p:nvCxnSpPr>
        <p:spPr>
          <a:xfrm>
            <a:off x="2504795" y="1455737"/>
            <a:ext cx="1984107" cy="0"/>
          </a:xfrm>
          <a:prstGeom prst="line">
            <a:avLst/>
          </a:prstGeom>
          <a:ln w="12700" cmpd="sng">
            <a:solidFill>
              <a:schemeClr val="tx1">
                <a:lumMod val="75000"/>
                <a:lumOff val="25000"/>
              </a:schemeClr>
            </a:solidFill>
            <a:prstDash val="solid"/>
            <a:miter lim="800000"/>
          </a:ln>
        </p:spPr>
        <p:style>
          <a:lnRef idx="1">
            <a:schemeClr val="accent1"/>
          </a:lnRef>
          <a:fillRef idx="0">
            <a:schemeClr val="accent1"/>
          </a:fillRef>
          <a:effectRef idx="0">
            <a:schemeClr val="accent1"/>
          </a:effectRef>
          <a:fontRef idx="minor">
            <a:schemeClr val="tx1"/>
          </a:fontRef>
        </p:style>
      </p:cxnSp>
      <p:sp>
        <p:nvSpPr>
          <p:cNvPr id="194" name="Text Placeholder 46"/>
          <p:cNvSpPr>
            <a:spLocks noGrp="1"/>
          </p:cNvSpPr>
          <p:nvPr>
            <p:ph idx="101" hasCustomPrompt="1"/>
          </p:nvPr>
        </p:nvSpPr>
        <p:spPr>
          <a:xfrm>
            <a:off x="2504795" y="2737335"/>
            <a:ext cx="1980001" cy="328944"/>
          </a:xfrm>
          <a:prstGeom prst="rect">
            <a:avLst/>
          </a:prstGeom>
        </p:spPr>
        <p:txBody>
          <a:bodyPr vert="horz" lIns="0" tIns="45720" rIns="0" bIns="45720" rtlCol="0">
            <a:noAutofit/>
          </a:bodyPr>
          <a:lstStyle>
            <a:lvl1pPr marL="0" marR="0" indent="0" algn="l" defTabSz="914400" rtl="0" eaLnBrk="1" fontAlgn="auto" latinLnBrk="0" hangingPunct="1">
              <a:lnSpc>
                <a:spcPct val="100000"/>
              </a:lnSpc>
              <a:spcBef>
                <a:spcPts val="600"/>
              </a:spcBef>
              <a:spcAft>
                <a:spcPts val="0"/>
              </a:spcAft>
              <a:buClr>
                <a:schemeClr val="tx2"/>
              </a:buClr>
              <a:buSzPct val="99000"/>
              <a:buFont typeface="Arial" pitchFamily="34" charset="0"/>
              <a:buNone/>
              <a:tabLst/>
              <a:defRPr sz="800" b="0">
                <a:solidFill>
                  <a:schemeClr val="tx1">
                    <a:lumMod val="75000"/>
                    <a:lumOff val="25000"/>
                  </a:schemeClr>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marL="0" marR="0" lvl="0" indent="0" algn="l" defTabSz="914400" rtl="0" eaLnBrk="1" fontAlgn="auto" latinLnBrk="0" hangingPunct="1">
              <a:lnSpc>
                <a:spcPct val="100000"/>
              </a:lnSpc>
              <a:spcBef>
                <a:spcPts val="600"/>
              </a:spcBef>
              <a:spcAft>
                <a:spcPts val="0"/>
              </a:spcAft>
              <a:buClr>
                <a:schemeClr val="tx2"/>
              </a:buClr>
              <a:buSzPct val="99000"/>
              <a:buFont typeface="Arial" pitchFamily="34" charset="0"/>
              <a:buNone/>
              <a:tabLst/>
              <a:defRPr/>
            </a:pPr>
            <a:r>
              <a:rPr lang="en-US" dirty="0" smtClean="0"/>
              <a:t>Click to add a short bio</a:t>
            </a:r>
            <a:endParaRPr lang="en-GB" dirty="0" smtClean="0"/>
          </a:p>
        </p:txBody>
      </p:sp>
      <p:sp>
        <p:nvSpPr>
          <p:cNvPr id="195" name="Text Placeholder 46"/>
          <p:cNvSpPr>
            <a:spLocks noGrp="1"/>
          </p:cNvSpPr>
          <p:nvPr>
            <p:ph idx="102" hasCustomPrompt="1"/>
          </p:nvPr>
        </p:nvSpPr>
        <p:spPr>
          <a:xfrm>
            <a:off x="2504795" y="2531238"/>
            <a:ext cx="1980001" cy="176217"/>
          </a:xfrm>
          <a:prstGeom prst="rect">
            <a:avLst/>
          </a:prstGeom>
        </p:spPr>
        <p:txBody>
          <a:bodyPr vert="horz" lIns="0" tIns="0" rIns="0" bIns="45720" rtlCol="0">
            <a:noAutofit/>
          </a:bodyPr>
          <a:lstStyle>
            <a:lvl1pPr marL="0" indent="0">
              <a:spcBef>
                <a:spcPts val="600"/>
              </a:spcBef>
              <a:buClr>
                <a:schemeClr val="tx2"/>
              </a:buClr>
              <a:buNone/>
              <a:defRPr sz="900" b="0" baseline="0">
                <a:solidFill>
                  <a:schemeClr val="tx1">
                    <a:lumMod val="75000"/>
                    <a:lumOff val="25000"/>
                  </a:schemeClr>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job title</a:t>
            </a:r>
            <a:endParaRPr lang="en-GB" dirty="0"/>
          </a:p>
        </p:txBody>
      </p:sp>
      <p:cxnSp>
        <p:nvCxnSpPr>
          <p:cNvPr id="196" name="Straight Connector 195"/>
          <p:cNvCxnSpPr/>
          <p:nvPr userDrawn="1"/>
        </p:nvCxnSpPr>
        <p:spPr>
          <a:xfrm>
            <a:off x="2504795" y="2737334"/>
            <a:ext cx="1977994" cy="0"/>
          </a:xfrm>
          <a:prstGeom prst="line">
            <a:avLst/>
          </a:prstGeom>
          <a:ln w="12700" cap="rnd">
            <a:solidFill>
              <a:schemeClr val="tx1">
                <a:lumMod val="75000"/>
                <a:lumOff val="25000"/>
              </a:schemeClr>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197" name="Text Placeholder 46"/>
          <p:cNvSpPr>
            <a:spLocks noGrp="1"/>
          </p:cNvSpPr>
          <p:nvPr>
            <p:ph idx="103" hasCustomPrompt="1"/>
          </p:nvPr>
        </p:nvSpPr>
        <p:spPr>
          <a:xfrm>
            <a:off x="2504795" y="2326178"/>
            <a:ext cx="1980001" cy="205060"/>
          </a:xfrm>
          <a:prstGeom prst="rect">
            <a:avLst/>
          </a:prstGeom>
        </p:spPr>
        <p:txBody>
          <a:bodyPr vert="horz" lIns="0" tIns="25200" rIns="0" bIns="45720" rtlCol="0">
            <a:noAutofit/>
          </a:bodyPr>
          <a:lstStyle>
            <a:lvl1pPr marL="0" indent="0">
              <a:spcBef>
                <a:spcPts val="600"/>
              </a:spcBef>
              <a:buClr>
                <a:schemeClr val="tx2"/>
              </a:buClr>
              <a:buNone/>
              <a:defRPr sz="1000" b="1" baseline="0">
                <a:solidFill>
                  <a:schemeClr val="tx2"/>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name</a:t>
            </a:r>
            <a:endParaRPr lang="en-GB" dirty="0"/>
          </a:p>
        </p:txBody>
      </p:sp>
      <p:sp>
        <p:nvSpPr>
          <p:cNvPr id="198" name="Picture Placeholder 2"/>
          <p:cNvSpPr>
            <a:spLocks noGrp="1"/>
          </p:cNvSpPr>
          <p:nvPr>
            <p:ph type="pic" sz="quarter" idx="104" hasCustomPrompt="1"/>
          </p:nvPr>
        </p:nvSpPr>
        <p:spPr>
          <a:xfrm>
            <a:off x="2504795" y="3201703"/>
            <a:ext cx="720000" cy="720000"/>
          </a:xfrm>
          <a:prstGeom prst="rect">
            <a:avLst/>
          </a:prstGeom>
          <a:noFill/>
          <a:ln w="6350" cmpd="sng">
            <a:noFill/>
          </a:ln>
        </p:spPr>
        <p:txBody>
          <a:bodyPr vert="horz"/>
          <a:lstStyle>
            <a:lvl1pPr marL="0" indent="0" algn="ctr">
              <a:lnSpc>
                <a:spcPct val="90000"/>
              </a:lnSpc>
              <a:buNone/>
              <a:defRPr sz="1000">
                <a:solidFill>
                  <a:schemeClr val="bg1">
                    <a:lumMod val="65000"/>
                  </a:schemeClr>
                </a:solidFill>
              </a:defRPr>
            </a:lvl1pPr>
          </a:lstStyle>
          <a:p>
            <a:r>
              <a:rPr lang="en-US" smtClean="0"/>
              <a:t>Click to add a picture</a:t>
            </a:r>
            <a:endParaRPr lang="en-US"/>
          </a:p>
        </p:txBody>
      </p:sp>
      <p:cxnSp>
        <p:nvCxnSpPr>
          <p:cNvPr id="199" name="Straight Connector 198"/>
          <p:cNvCxnSpPr/>
          <p:nvPr userDrawn="1"/>
        </p:nvCxnSpPr>
        <p:spPr>
          <a:xfrm>
            <a:off x="2504795" y="4003523"/>
            <a:ext cx="1984107" cy="0"/>
          </a:xfrm>
          <a:prstGeom prst="line">
            <a:avLst/>
          </a:prstGeom>
          <a:ln w="12700" cmpd="sng">
            <a:solidFill>
              <a:schemeClr val="tx1">
                <a:lumMod val="75000"/>
                <a:lumOff val="25000"/>
              </a:schemeClr>
            </a:solidFill>
            <a:prstDash val="solid"/>
            <a:miter lim="800000"/>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userDrawn="1"/>
        </p:nvCxnSpPr>
        <p:spPr>
          <a:xfrm>
            <a:off x="2504795" y="3128880"/>
            <a:ext cx="1984107" cy="0"/>
          </a:xfrm>
          <a:prstGeom prst="line">
            <a:avLst/>
          </a:prstGeom>
          <a:ln w="12700" cmpd="sng">
            <a:solidFill>
              <a:schemeClr val="tx1">
                <a:lumMod val="75000"/>
                <a:lumOff val="25000"/>
              </a:schemeClr>
            </a:solidFill>
            <a:prstDash val="solid"/>
            <a:miter lim="800000"/>
          </a:ln>
        </p:spPr>
        <p:style>
          <a:lnRef idx="1">
            <a:schemeClr val="accent1"/>
          </a:lnRef>
          <a:fillRef idx="0">
            <a:schemeClr val="accent1"/>
          </a:fillRef>
          <a:effectRef idx="0">
            <a:schemeClr val="accent1"/>
          </a:effectRef>
          <a:fontRef idx="minor">
            <a:schemeClr val="tx1"/>
          </a:fontRef>
        </p:style>
      </p:cxnSp>
      <p:sp>
        <p:nvSpPr>
          <p:cNvPr id="201" name="Text Placeholder 46"/>
          <p:cNvSpPr>
            <a:spLocks noGrp="1"/>
          </p:cNvSpPr>
          <p:nvPr>
            <p:ph idx="105" hasCustomPrompt="1"/>
          </p:nvPr>
        </p:nvSpPr>
        <p:spPr>
          <a:xfrm>
            <a:off x="2504795" y="4410478"/>
            <a:ext cx="1980001" cy="328944"/>
          </a:xfrm>
          <a:prstGeom prst="rect">
            <a:avLst/>
          </a:prstGeom>
        </p:spPr>
        <p:txBody>
          <a:bodyPr vert="horz" lIns="0" tIns="45720" rIns="0" bIns="45720" rtlCol="0">
            <a:noAutofit/>
          </a:bodyPr>
          <a:lstStyle>
            <a:lvl1pPr marL="0" marR="0" indent="0" algn="l" defTabSz="914400" rtl="0" eaLnBrk="1" fontAlgn="auto" latinLnBrk="0" hangingPunct="1">
              <a:lnSpc>
                <a:spcPct val="100000"/>
              </a:lnSpc>
              <a:spcBef>
                <a:spcPts val="600"/>
              </a:spcBef>
              <a:spcAft>
                <a:spcPts val="0"/>
              </a:spcAft>
              <a:buClr>
                <a:schemeClr val="tx2"/>
              </a:buClr>
              <a:buSzPct val="99000"/>
              <a:buFont typeface="Arial" pitchFamily="34" charset="0"/>
              <a:buNone/>
              <a:tabLst/>
              <a:defRPr sz="800" b="0">
                <a:solidFill>
                  <a:schemeClr val="tx1">
                    <a:lumMod val="75000"/>
                    <a:lumOff val="25000"/>
                  </a:schemeClr>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marL="0" marR="0" lvl="0" indent="0" algn="l" defTabSz="914400" rtl="0" eaLnBrk="1" fontAlgn="auto" latinLnBrk="0" hangingPunct="1">
              <a:lnSpc>
                <a:spcPct val="100000"/>
              </a:lnSpc>
              <a:spcBef>
                <a:spcPts val="600"/>
              </a:spcBef>
              <a:spcAft>
                <a:spcPts val="0"/>
              </a:spcAft>
              <a:buClr>
                <a:schemeClr val="tx2"/>
              </a:buClr>
              <a:buSzPct val="99000"/>
              <a:buFont typeface="Arial" pitchFamily="34" charset="0"/>
              <a:buNone/>
              <a:tabLst/>
              <a:defRPr/>
            </a:pPr>
            <a:r>
              <a:rPr lang="en-US" dirty="0" smtClean="0"/>
              <a:t>Click to add a short bio</a:t>
            </a:r>
            <a:endParaRPr lang="en-GB" dirty="0" smtClean="0"/>
          </a:p>
        </p:txBody>
      </p:sp>
      <p:sp>
        <p:nvSpPr>
          <p:cNvPr id="202" name="Text Placeholder 46"/>
          <p:cNvSpPr>
            <a:spLocks noGrp="1"/>
          </p:cNvSpPr>
          <p:nvPr>
            <p:ph idx="106" hasCustomPrompt="1"/>
          </p:nvPr>
        </p:nvSpPr>
        <p:spPr>
          <a:xfrm>
            <a:off x="2504795" y="4204381"/>
            <a:ext cx="1980001" cy="176217"/>
          </a:xfrm>
          <a:prstGeom prst="rect">
            <a:avLst/>
          </a:prstGeom>
        </p:spPr>
        <p:txBody>
          <a:bodyPr vert="horz" lIns="0" tIns="0" rIns="0" bIns="45720" rtlCol="0">
            <a:noAutofit/>
          </a:bodyPr>
          <a:lstStyle>
            <a:lvl1pPr marL="0" indent="0">
              <a:spcBef>
                <a:spcPts val="600"/>
              </a:spcBef>
              <a:buClr>
                <a:schemeClr val="tx2"/>
              </a:buClr>
              <a:buNone/>
              <a:defRPr sz="900" b="0" baseline="0">
                <a:solidFill>
                  <a:schemeClr val="tx1">
                    <a:lumMod val="75000"/>
                    <a:lumOff val="25000"/>
                  </a:schemeClr>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job title</a:t>
            </a:r>
            <a:endParaRPr lang="en-GB" dirty="0"/>
          </a:p>
        </p:txBody>
      </p:sp>
      <p:cxnSp>
        <p:nvCxnSpPr>
          <p:cNvPr id="203" name="Straight Connector 202"/>
          <p:cNvCxnSpPr/>
          <p:nvPr userDrawn="1"/>
        </p:nvCxnSpPr>
        <p:spPr>
          <a:xfrm>
            <a:off x="2504795" y="4410477"/>
            <a:ext cx="1977994" cy="0"/>
          </a:xfrm>
          <a:prstGeom prst="line">
            <a:avLst/>
          </a:prstGeom>
          <a:ln w="12700" cap="rnd">
            <a:solidFill>
              <a:schemeClr val="tx1">
                <a:lumMod val="75000"/>
                <a:lumOff val="25000"/>
              </a:schemeClr>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204" name="Text Placeholder 46"/>
          <p:cNvSpPr>
            <a:spLocks noGrp="1"/>
          </p:cNvSpPr>
          <p:nvPr>
            <p:ph idx="107" hasCustomPrompt="1"/>
          </p:nvPr>
        </p:nvSpPr>
        <p:spPr>
          <a:xfrm>
            <a:off x="2504795" y="3999321"/>
            <a:ext cx="1980001" cy="205060"/>
          </a:xfrm>
          <a:prstGeom prst="rect">
            <a:avLst/>
          </a:prstGeom>
        </p:spPr>
        <p:txBody>
          <a:bodyPr vert="horz" lIns="0" tIns="25200" rIns="0" bIns="45720" rtlCol="0">
            <a:noAutofit/>
          </a:bodyPr>
          <a:lstStyle>
            <a:lvl1pPr marL="0" indent="0">
              <a:spcBef>
                <a:spcPts val="600"/>
              </a:spcBef>
              <a:buClr>
                <a:schemeClr val="tx2"/>
              </a:buClr>
              <a:buNone/>
              <a:defRPr sz="1000" b="1" baseline="0">
                <a:solidFill>
                  <a:schemeClr val="tx2"/>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name</a:t>
            </a:r>
            <a:endParaRPr lang="en-GB" dirty="0"/>
          </a:p>
        </p:txBody>
      </p:sp>
      <p:sp>
        <p:nvSpPr>
          <p:cNvPr id="65" name="Text Placeholder 2"/>
          <p:cNvSpPr>
            <a:spLocks noGrp="1"/>
          </p:cNvSpPr>
          <p:nvPr>
            <p:ph type="body" sz="quarter" idx="108" hasCustomPrompt="1"/>
          </p:nvPr>
        </p:nvSpPr>
        <p:spPr>
          <a:xfrm>
            <a:off x="6202363" y="4807465"/>
            <a:ext cx="1160462" cy="341313"/>
          </a:xfrm>
          <a:prstGeom prst="rect">
            <a:avLst/>
          </a:prstGeom>
        </p:spPr>
        <p:txBody>
          <a:bodyPr anchor="ctr"/>
          <a:lstStyle>
            <a:lvl1pPr marL="0" indent="0" algn="ctr">
              <a:buNone/>
              <a:defRPr sz="800">
                <a:solidFill>
                  <a:schemeClr val="tx1">
                    <a:lumMod val="75000"/>
                    <a:lumOff val="25000"/>
                  </a:schemeClr>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sp>
        <p:nvSpPr>
          <p:cNvPr id="66"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chemeClr val="bg1">
                    <a:lumMod val="75000"/>
                  </a:schemeClr>
                </a:solidFill>
                <a:latin typeface="+mn-lt"/>
              </a:defRPr>
            </a:lvl1pPr>
          </a:lstStyle>
          <a:p>
            <a:fld id="{19AB4E72-7858-48F1-A40D-12FF09E4BFB8}" type="slidenum">
              <a:rPr lang="en-GB" smtClean="0"/>
              <a:pPr/>
              <a:t>‹Nº›</a:t>
            </a:fld>
            <a:endParaRPr lang="en-GB"/>
          </a:p>
        </p:txBody>
      </p:sp>
      <p:sp>
        <p:nvSpPr>
          <p:cNvPr id="67" name="Footer Placeholder 6"/>
          <p:cNvSpPr>
            <a:spLocks noGrp="1"/>
          </p:cNvSpPr>
          <p:nvPr>
            <p:ph type="ftr" sz="quarter" idx="11"/>
          </p:nvPr>
        </p:nvSpPr>
        <p:spPr>
          <a:xfrm>
            <a:off x="608553" y="4816190"/>
            <a:ext cx="5040000" cy="158419"/>
          </a:xfrm>
          <a:prstGeom prst="rect">
            <a:avLst/>
          </a:prstGeom>
        </p:spPr>
        <p:txBody>
          <a:bodyPr lIns="0" rIns="0" bIns="0"/>
          <a:lstStyle>
            <a:lvl1pPr>
              <a:defRPr sz="600">
                <a:solidFill>
                  <a:schemeClr val="bg1">
                    <a:lumMod val="75000"/>
                  </a:schemeClr>
                </a:solidFill>
                <a:latin typeface="+mj-lt"/>
              </a:defRPr>
            </a:lvl1pPr>
          </a:lstStyle>
          <a:p>
            <a:endParaRPr lang="pt-BR"/>
          </a:p>
        </p:txBody>
      </p:sp>
      <p:sp>
        <p:nvSpPr>
          <p:cNvPr id="68"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latin typeface="+mn-lt"/>
              </a:rPr>
              <a:t>Private and Confidental</a:t>
            </a:r>
            <a:endParaRPr lang="pt-BR" sz="500" dirty="0">
              <a:latin typeface="+mn-lt"/>
            </a:endParaRPr>
          </a:p>
        </p:txBody>
      </p:sp>
    </p:spTree>
    <p:extLst>
      <p:ext uri="{BB962C8B-B14F-4D97-AF65-F5344CB8AC3E}">
        <p14:creationId xmlns:p14="http://schemas.microsoft.com/office/powerpoint/2010/main" val="3344684642"/>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 Title - Content">
    <p:bg>
      <p:bgPr>
        <a:solidFill>
          <a:schemeClr val="bg1"/>
        </a:solidFill>
        <a:effectLst/>
      </p:bgPr>
    </p:bg>
    <p:spTree>
      <p:nvGrpSpPr>
        <p:cNvPr id="1" name=""/>
        <p:cNvGrpSpPr/>
        <p:nvPr/>
      </p:nvGrpSpPr>
      <p:grpSpPr>
        <a:xfrm>
          <a:off x="0" y="0"/>
          <a:ext cx="0" cy="0"/>
          <a:chOff x="0" y="0"/>
          <a:chExt cx="0" cy="0"/>
        </a:xfrm>
      </p:grpSpPr>
      <p:sp>
        <p:nvSpPr>
          <p:cNvPr id="4" name="Title Placeholder 6"/>
          <p:cNvSpPr>
            <a:spLocks noGrp="1"/>
          </p:cNvSpPr>
          <p:nvPr>
            <p:ph type="title"/>
          </p:nvPr>
        </p:nvSpPr>
        <p:spPr>
          <a:xfrm>
            <a:off x="347474" y="323727"/>
            <a:ext cx="8460000" cy="416186"/>
          </a:xfrm>
          <a:prstGeom prst="rect">
            <a:avLst/>
          </a:prstGeom>
        </p:spPr>
        <p:txBody>
          <a:bodyPr vert="horz" lIns="0" tIns="45720" rIns="0" bIns="45720" rtlCol="0" anchor="b">
            <a:noAutofit/>
          </a:bodyPr>
          <a:lstStyle>
            <a:lvl1pPr>
              <a:defRPr sz="2000">
                <a:solidFill>
                  <a:schemeClr val="tx1">
                    <a:lumMod val="75000"/>
                    <a:lumOff val="25000"/>
                  </a:schemeClr>
                </a:solidFill>
              </a:defRPr>
            </a:lvl1pPr>
          </a:lstStyle>
          <a:p>
            <a:r>
              <a:rPr lang="en-US" dirty="0" smtClean="0"/>
              <a:t>Click to edit Master title style</a:t>
            </a:r>
            <a:endParaRPr lang="en-GB" dirty="0"/>
          </a:p>
        </p:txBody>
      </p:sp>
      <p:sp>
        <p:nvSpPr>
          <p:cNvPr id="5" name="Text Placeholder 46"/>
          <p:cNvSpPr>
            <a:spLocks noGrp="1"/>
          </p:cNvSpPr>
          <p:nvPr>
            <p:ph idx="1"/>
          </p:nvPr>
        </p:nvSpPr>
        <p:spPr>
          <a:xfrm>
            <a:off x="351670" y="1454341"/>
            <a:ext cx="8460000" cy="3240000"/>
          </a:xfrm>
          <a:prstGeom prst="rect">
            <a:avLst/>
          </a:prstGeom>
        </p:spPr>
        <p:txBody>
          <a:bodyPr vert="horz" lIns="0" tIns="45720" rIns="0" bIns="45720" rtlCol="0">
            <a:noAutofit/>
          </a:bodyPr>
          <a:lstStyle>
            <a:lvl1pPr marL="0" indent="0">
              <a:spcBef>
                <a:spcPts val="600"/>
              </a:spcBef>
              <a:buClr>
                <a:schemeClr val="tx2"/>
              </a:buClr>
              <a:buNone/>
              <a:defRPr sz="1050" b="1">
                <a:solidFill>
                  <a:schemeClr val="tx2"/>
                </a:solidFill>
                <a:latin typeface="Arial"/>
                <a:cs typeface="Arial"/>
              </a:defRPr>
            </a:lvl1pPr>
            <a:lvl2pPr marL="179388" indent="-179388">
              <a:spcBef>
                <a:spcPts val="600"/>
              </a:spcBef>
              <a:buClr>
                <a:schemeClr val="tx2"/>
              </a:buClr>
              <a:defRPr sz="1000">
                <a:latin typeface="Arial"/>
                <a:cs typeface="Arial"/>
              </a:defRPr>
            </a:lvl2pPr>
            <a:lvl3pPr marL="179388" indent="-179388">
              <a:spcBef>
                <a:spcPts val="600"/>
              </a:spcBef>
              <a:buClr>
                <a:schemeClr val="tx2"/>
              </a:buClr>
              <a:defRPr sz="1000">
                <a:latin typeface="Arial"/>
                <a:cs typeface="Arial"/>
              </a:defRPr>
            </a:lvl3pPr>
            <a:lvl4pPr marL="179388" indent="-179388">
              <a:spcBef>
                <a:spcPts val="600"/>
              </a:spcBef>
              <a:buClr>
                <a:schemeClr val="tx2"/>
              </a:buClr>
              <a:tabLst/>
              <a:defRPr sz="1000">
                <a:latin typeface="Arial"/>
                <a:cs typeface="Arial"/>
              </a:defRPr>
            </a:lvl4pPr>
            <a:lvl5pPr marL="179388" indent="-179388">
              <a:spcBef>
                <a:spcPts val="600"/>
              </a:spcBef>
              <a:buClr>
                <a:schemeClr val="tx2"/>
              </a:buClr>
              <a:defRPr sz="1000">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cxnSp>
        <p:nvCxnSpPr>
          <p:cNvPr id="9" name="Straight Connector 8"/>
          <p:cNvCxnSpPr/>
          <p:nvPr userDrawn="1"/>
        </p:nvCxnSpPr>
        <p:spPr>
          <a:xfrm>
            <a:off x="343366" y="739913"/>
            <a:ext cx="8460000" cy="0"/>
          </a:xfrm>
          <a:prstGeom prst="line">
            <a:avLst/>
          </a:prstGeom>
          <a:ln w="12700">
            <a:solidFill>
              <a:schemeClr val="tx1">
                <a:lumMod val="75000"/>
                <a:lumOff val="25000"/>
              </a:schemeClr>
            </a:solidFill>
            <a:miter lim="800000"/>
          </a:ln>
        </p:spPr>
        <p:style>
          <a:lnRef idx="1">
            <a:schemeClr val="accent1"/>
          </a:lnRef>
          <a:fillRef idx="0">
            <a:schemeClr val="accent1"/>
          </a:fillRef>
          <a:effectRef idx="0">
            <a:schemeClr val="accent1"/>
          </a:effectRef>
          <a:fontRef idx="minor">
            <a:schemeClr val="tx1"/>
          </a:fontRef>
        </p:style>
      </p:cxnSp>
      <p:sp>
        <p:nvSpPr>
          <p:cNvPr id="11" name="Text Placeholder 2"/>
          <p:cNvSpPr>
            <a:spLocks noGrp="1"/>
          </p:cNvSpPr>
          <p:nvPr>
            <p:ph type="body" sz="quarter" idx="25" hasCustomPrompt="1"/>
          </p:nvPr>
        </p:nvSpPr>
        <p:spPr>
          <a:xfrm>
            <a:off x="6202363" y="4807465"/>
            <a:ext cx="1160462" cy="341313"/>
          </a:xfrm>
          <a:prstGeom prst="rect">
            <a:avLst/>
          </a:prstGeom>
        </p:spPr>
        <p:txBody>
          <a:bodyPr anchor="ctr"/>
          <a:lstStyle>
            <a:lvl1pPr marL="0" indent="0" algn="ctr">
              <a:buNone/>
              <a:defRPr sz="800">
                <a:solidFill>
                  <a:schemeClr val="tx1">
                    <a:lumMod val="75000"/>
                    <a:lumOff val="25000"/>
                  </a:schemeClr>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sp>
        <p:nvSpPr>
          <p:cNvPr id="8"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chemeClr val="bg1">
                    <a:lumMod val="75000"/>
                  </a:schemeClr>
                </a:solidFill>
                <a:latin typeface="+mn-lt"/>
              </a:defRPr>
            </a:lvl1pPr>
          </a:lstStyle>
          <a:p>
            <a:fld id="{19AB4E72-7858-48F1-A40D-12FF09E4BFB8}" type="slidenum">
              <a:rPr lang="en-GB" smtClean="0"/>
              <a:pPr/>
              <a:t>‹Nº›</a:t>
            </a:fld>
            <a:endParaRPr lang="en-GB"/>
          </a:p>
        </p:txBody>
      </p:sp>
      <p:sp>
        <p:nvSpPr>
          <p:cNvPr id="12" name="Footer Placeholder 6"/>
          <p:cNvSpPr>
            <a:spLocks noGrp="1"/>
          </p:cNvSpPr>
          <p:nvPr>
            <p:ph type="ftr" sz="quarter" idx="11"/>
          </p:nvPr>
        </p:nvSpPr>
        <p:spPr>
          <a:xfrm>
            <a:off x="608553" y="4816190"/>
            <a:ext cx="5040000" cy="158419"/>
          </a:xfrm>
          <a:prstGeom prst="rect">
            <a:avLst/>
          </a:prstGeom>
        </p:spPr>
        <p:txBody>
          <a:bodyPr lIns="0" rIns="0" bIns="0"/>
          <a:lstStyle>
            <a:lvl1pPr>
              <a:defRPr sz="600">
                <a:solidFill>
                  <a:schemeClr val="bg1">
                    <a:lumMod val="75000"/>
                  </a:schemeClr>
                </a:solidFill>
                <a:latin typeface="+mj-lt"/>
              </a:defRPr>
            </a:lvl1pPr>
          </a:lstStyle>
          <a:p>
            <a:endParaRPr lang="pt-BR"/>
          </a:p>
        </p:txBody>
      </p:sp>
      <p:sp>
        <p:nvSpPr>
          <p:cNvPr id="13"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latin typeface="+mn-lt"/>
              </a:rPr>
              <a:t>Private and Confidental</a:t>
            </a:r>
            <a:endParaRPr lang="pt-BR" sz="500" dirty="0">
              <a:latin typeface="+mn-lt"/>
            </a:endParaRPr>
          </a:p>
        </p:txBody>
      </p:sp>
    </p:spTree>
    <p:extLst>
      <p:ext uri="{BB962C8B-B14F-4D97-AF65-F5344CB8AC3E}">
        <p14:creationId xmlns:p14="http://schemas.microsoft.com/office/powerpoint/2010/main" val="230518455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 Title - 3/4 Text">
    <p:bg>
      <p:bgPr>
        <a:solidFill>
          <a:schemeClr val="bg1"/>
        </a:solidFill>
        <a:effectLst/>
      </p:bgPr>
    </p:bg>
    <p:spTree>
      <p:nvGrpSpPr>
        <p:cNvPr id="1" name=""/>
        <p:cNvGrpSpPr/>
        <p:nvPr/>
      </p:nvGrpSpPr>
      <p:grpSpPr>
        <a:xfrm>
          <a:off x="0" y="0"/>
          <a:ext cx="0" cy="0"/>
          <a:chOff x="0" y="0"/>
          <a:chExt cx="0" cy="0"/>
        </a:xfrm>
      </p:grpSpPr>
      <p:sp>
        <p:nvSpPr>
          <p:cNvPr id="9" name="Title Placeholder 6"/>
          <p:cNvSpPr>
            <a:spLocks noGrp="1"/>
          </p:cNvSpPr>
          <p:nvPr>
            <p:ph type="title"/>
          </p:nvPr>
        </p:nvSpPr>
        <p:spPr>
          <a:xfrm>
            <a:off x="347474" y="323727"/>
            <a:ext cx="8460000" cy="416186"/>
          </a:xfrm>
          <a:prstGeom prst="rect">
            <a:avLst/>
          </a:prstGeom>
        </p:spPr>
        <p:txBody>
          <a:bodyPr vert="horz" lIns="0" tIns="45720" rIns="0" bIns="45720" rtlCol="0" anchor="b">
            <a:noAutofit/>
          </a:bodyPr>
          <a:lstStyle>
            <a:lvl1pPr>
              <a:defRPr sz="2000">
                <a:solidFill>
                  <a:schemeClr val="tx1">
                    <a:lumMod val="75000"/>
                    <a:lumOff val="25000"/>
                  </a:schemeClr>
                </a:solidFill>
              </a:defRPr>
            </a:lvl1pPr>
          </a:lstStyle>
          <a:p>
            <a:r>
              <a:rPr lang="en-US" dirty="0" smtClean="0"/>
              <a:t>Click to edit Master title style</a:t>
            </a:r>
            <a:endParaRPr lang="en-GB" dirty="0"/>
          </a:p>
        </p:txBody>
      </p:sp>
      <p:cxnSp>
        <p:nvCxnSpPr>
          <p:cNvPr id="13" name="Straight Connector 12"/>
          <p:cNvCxnSpPr/>
          <p:nvPr userDrawn="1"/>
        </p:nvCxnSpPr>
        <p:spPr>
          <a:xfrm>
            <a:off x="343366" y="739913"/>
            <a:ext cx="8460000" cy="0"/>
          </a:xfrm>
          <a:prstGeom prst="line">
            <a:avLst/>
          </a:prstGeom>
          <a:ln w="12700">
            <a:solidFill>
              <a:schemeClr val="tx1">
                <a:lumMod val="75000"/>
                <a:lumOff val="25000"/>
              </a:schemeClr>
            </a:solidFill>
            <a:miter lim="800000"/>
          </a:ln>
        </p:spPr>
        <p:style>
          <a:lnRef idx="1">
            <a:schemeClr val="accent1"/>
          </a:lnRef>
          <a:fillRef idx="0">
            <a:schemeClr val="accent1"/>
          </a:fillRef>
          <a:effectRef idx="0">
            <a:schemeClr val="accent1"/>
          </a:effectRef>
          <a:fontRef idx="minor">
            <a:schemeClr val="tx1"/>
          </a:fontRef>
        </p:style>
      </p:cxnSp>
      <p:sp>
        <p:nvSpPr>
          <p:cNvPr id="11" name="Text Placeholder 46"/>
          <p:cNvSpPr>
            <a:spLocks noGrp="1"/>
          </p:cNvSpPr>
          <p:nvPr>
            <p:ph idx="1"/>
          </p:nvPr>
        </p:nvSpPr>
        <p:spPr>
          <a:xfrm>
            <a:off x="351670" y="1454341"/>
            <a:ext cx="6300000" cy="3240000"/>
          </a:xfrm>
          <a:prstGeom prst="rect">
            <a:avLst/>
          </a:prstGeom>
        </p:spPr>
        <p:txBody>
          <a:bodyPr vert="horz" lIns="0" tIns="45720" rIns="0" bIns="45720" rtlCol="0">
            <a:noAutofit/>
          </a:bodyPr>
          <a:lstStyle>
            <a:lvl1pPr marL="0" indent="0">
              <a:spcBef>
                <a:spcPts val="600"/>
              </a:spcBef>
              <a:buClr>
                <a:schemeClr val="tx2"/>
              </a:buClr>
              <a:buNone/>
              <a:defRPr sz="1050" b="1">
                <a:solidFill>
                  <a:schemeClr val="tx2"/>
                </a:solidFill>
                <a:latin typeface="Arial"/>
                <a:cs typeface="Arial"/>
              </a:defRPr>
            </a:lvl1pPr>
            <a:lvl2pPr marL="179388" indent="-179388">
              <a:spcBef>
                <a:spcPts val="600"/>
              </a:spcBef>
              <a:buClr>
                <a:schemeClr val="tx2"/>
              </a:buClr>
              <a:defRPr sz="1000">
                <a:latin typeface="Arial"/>
                <a:cs typeface="Arial"/>
              </a:defRPr>
            </a:lvl2pPr>
            <a:lvl3pPr marL="179388" indent="-179388">
              <a:spcBef>
                <a:spcPts val="600"/>
              </a:spcBef>
              <a:buClr>
                <a:schemeClr val="tx2"/>
              </a:buClr>
              <a:defRPr sz="1000">
                <a:latin typeface="Arial"/>
                <a:cs typeface="Arial"/>
              </a:defRPr>
            </a:lvl3pPr>
            <a:lvl4pPr marL="179388" indent="-179388">
              <a:spcBef>
                <a:spcPts val="600"/>
              </a:spcBef>
              <a:buClr>
                <a:schemeClr val="tx2"/>
              </a:buClr>
              <a:tabLst/>
              <a:defRPr sz="1000">
                <a:latin typeface="Arial"/>
                <a:cs typeface="Arial"/>
              </a:defRPr>
            </a:lvl4pPr>
            <a:lvl5pPr marL="179388" indent="-179388">
              <a:spcBef>
                <a:spcPts val="600"/>
              </a:spcBef>
              <a:buClr>
                <a:schemeClr val="tx2"/>
              </a:buClr>
              <a:defRPr sz="1000">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2" name="Text Placeholder 2"/>
          <p:cNvSpPr>
            <a:spLocks noGrp="1"/>
          </p:cNvSpPr>
          <p:nvPr>
            <p:ph type="body" sz="quarter" idx="25" hasCustomPrompt="1"/>
          </p:nvPr>
        </p:nvSpPr>
        <p:spPr>
          <a:xfrm>
            <a:off x="6202363" y="4807465"/>
            <a:ext cx="1160462" cy="341313"/>
          </a:xfrm>
          <a:prstGeom prst="rect">
            <a:avLst/>
          </a:prstGeom>
        </p:spPr>
        <p:txBody>
          <a:bodyPr anchor="ctr"/>
          <a:lstStyle>
            <a:lvl1pPr marL="0" indent="0" algn="ctr">
              <a:buNone/>
              <a:defRPr sz="800">
                <a:solidFill>
                  <a:schemeClr val="tx1">
                    <a:lumMod val="75000"/>
                    <a:lumOff val="25000"/>
                  </a:schemeClr>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sp>
        <p:nvSpPr>
          <p:cNvPr id="8"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chemeClr val="bg1">
                    <a:lumMod val="75000"/>
                  </a:schemeClr>
                </a:solidFill>
                <a:latin typeface="+mn-lt"/>
              </a:defRPr>
            </a:lvl1pPr>
          </a:lstStyle>
          <a:p>
            <a:fld id="{19AB4E72-7858-48F1-A40D-12FF09E4BFB8}" type="slidenum">
              <a:rPr lang="en-GB" smtClean="0"/>
              <a:pPr/>
              <a:t>‹Nº›</a:t>
            </a:fld>
            <a:endParaRPr lang="en-GB"/>
          </a:p>
        </p:txBody>
      </p:sp>
      <p:sp>
        <p:nvSpPr>
          <p:cNvPr id="14" name="Footer Placeholder 6"/>
          <p:cNvSpPr>
            <a:spLocks noGrp="1"/>
          </p:cNvSpPr>
          <p:nvPr>
            <p:ph type="ftr" sz="quarter" idx="11"/>
          </p:nvPr>
        </p:nvSpPr>
        <p:spPr>
          <a:xfrm>
            <a:off x="608553" y="4816190"/>
            <a:ext cx="5040000" cy="158419"/>
          </a:xfrm>
          <a:prstGeom prst="rect">
            <a:avLst/>
          </a:prstGeom>
        </p:spPr>
        <p:txBody>
          <a:bodyPr lIns="0" rIns="0" bIns="0"/>
          <a:lstStyle>
            <a:lvl1pPr>
              <a:defRPr sz="600">
                <a:solidFill>
                  <a:schemeClr val="bg1">
                    <a:lumMod val="75000"/>
                  </a:schemeClr>
                </a:solidFill>
                <a:latin typeface="+mj-lt"/>
              </a:defRPr>
            </a:lvl1pPr>
          </a:lstStyle>
          <a:p>
            <a:endParaRPr lang="pt-BR"/>
          </a:p>
        </p:txBody>
      </p:sp>
      <p:sp>
        <p:nvSpPr>
          <p:cNvPr id="15"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latin typeface="+mn-lt"/>
              </a:rPr>
              <a:t>Private and Confidental</a:t>
            </a:r>
            <a:endParaRPr lang="pt-BR" sz="500" dirty="0">
              <a:latin typeface="+mn-lt"/>
            </a:endParaRPr>
          </a:p>
        </p:txBody>
      </p:sp>
    </p:spTree>
    <p:extLst>
      <p:ext uri="{BB962C8B-B14F-4D97-AF65-F5344CB8AC3E}">
        <p14:creationId xmlns:p14="http://schemas.microsoft.com/office/powerpoint/2010/main" val="405115201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 Title - Half Text">
    <p:bg>
      <p:bgPr>
        <a:solidFill>
          <a:schemeClr val="bg1"/>
        </a:solidFill>
        <a:effectLst/>
      </p:bgPr>
    </p:bg>
    <p:spTree>
      <p:nvGrpSpPr>
        <p:cNvPr id="1" name=""/>
        <p:cNvGrpSpPr/>
        <p:nvPr/>
      </p:nvGrpSpPr>
      <p:grpSpPr>
        <a:xfrm>
          <a:off x="0" y="0"/>
          <a:ext cx="0" cy="0"/>
          <a:chOff x="0" y="0"/>
          <a:chExt cx="0" cy="0"/>
        </a:xfrm>
      </p:grpSpPr>
      <p:sp>
        <p:nvSpPr>
          <p:cNvPr id="9" name="Title Placeholder 6"/>
          <p:cNvSpPr>
            <a:spLocks noGrp="1"/>
          </p:cNvSpPr>
          <p:nvPr>
            <p:ph type="title"/>
          </p:nvPr>
        </p:nvSpPr>
        <p:spPr>
          <a:xfrm>
            <a:off x="347474" y="323727"/>
            <a:ext cx="8460000" cy="416186"/>
          </a:xfrm>
          <a:prstGeom prst="rect">
            <a:avLst/>
          </a:prstGeom>
        </p:spPr>
        <p:txBody>
          <a:bodyPr vert="horz" lIns="0" tIns="45720" rIns="0" bIns="45720" rtlCol="0" anchor="b">
            <a:noAutofit/>
          </a:bodyPr>
          <a:lstStyle>
            <a:lvl1pPr>
              <a:defRPr sz="2000">
                <a:solidFill>
                  <a:schemeClr val="tx1">
                    <a:lumMod val="75000"/>
                    <a:lumOff val="25000"/>
                  </a:schemeClr>
                </a:solidFill>
              </a:defRPr>
            </a:lvl1pPr>
          </a:lstStyle>
          <a:p>
            <a:r>
              <a:rPr lang="en-US" dirty="0" smtClean="0"/>
              <a:t>Click to edit Master title style</a:t>
            </a:r>
            <a:endParaRPr lang="en-GB" dirty="0"/>
          </a:p>
        </p:txBody>
      </p:sp>
      <p:cxnSp>
        <p:nvCxnSpPr>
          <p:cNvPr id="13" name="Straight Connector 12"/>
          <p:cNvCxnSpPr/>
          <p:nvPr userDrawn="1"/>
        </p:nvCxnSpPr>
        <p:spPr>
          <a:xfrm>
            <a:off x="343366" y="739913"/>
            <a:ext cx="8460000" cy="0"/>
          </a:xfrm>
          <a:prstGeom prst="line">
            <a:avLst/>
          </a:prstGeom>
          <a:ln w="12700">
            <a:solidFill>
              <a:schemeClr val="tx1">
                <a:lumMod val="75000"/>
                <a:lumOff val="25000"/>
              </a:schemeClr>
            </a:solidFill>
            <a:miter lim="800000"/>
          </a:ln>
        </p:spPr>
        <p:style>
          <a:lnRef idx="1">
            <a:schemeClr val="accent1"/>
          </a:lnRef>
          <a:fillRef idx="0">
            <a:schemeClr val="accent1"/>
          </a:fillRef>
          <a:effectRef idx="0">
            <a:schemeClr val="accent1"/>
          </a:effectRef>
          <a:fontRef idx="minor">
            <a:schemeClr val="tx1"/>
          </a:fontRef>
        </p:style>
      </p:cxnSp>
      <p:sp>
        <p:nvSpPr>
          <p:cNvPr id="11" name="Text Placeholder 46"/>
          <p:cNvSpPr>
            <a:spLocks noGrp="1"/>
          </p:cNvSpPr>
          <p:nvPr>
            <p:ph idx="1"/>
          </p:nvPr>
        </p:nvSpPr>
        <p:spPr>
          <a:xfrm>
            <a:off x="351670" y="1454341"/>
            <a:ext cx="4140000" cy="3240000"/>
          </a:xfrm>
          <a:prstGeom prst="rect">
            <a:avLst/>
          </a:prstGeom>
        </p:spPr>
        <p:txBody>
          <a:bodyPr vert="horz" lIns="0" tIns="45720" rIns="0" bIns="45720" rtlCol="0">
            <a:noAutofit/>
          </a:bodyPr>
          <a:lstStyle>
            <a:lvl1pPr marL="0" indent="0">
              <a:spcBef>
                <a:spcPts val="600"/>
              </a:spcBef>
              <a:buClr>
                <a:schemeClr val="tx2"/>
              </a:buClr>
              <a:buNone/>
              <a:defRPr sz="1050" b="1">
                <a:solidFill>
                  <a:schemeClr val="tx2"/>
                </a:solidFill>
                <a:latin typeface="Arial"/>
                <a:cs typeface="Arial"/>
              </a:defRPr>
            </a:lvl1pPr>
            <a:lvl2pPr marL="179388" indent="-179388">
              <a:spcBef>
                <a:spcPts val="600"/>
              </a:spcBef>
              <a:buClr>
                <a:schemeClr val="tx2"/>
              </a:buClr>
              <a:defRPr sz="1000">
                <a:latin typeface="Arial"/>
                <a:cs typeface="Arial"/>
              </a:defRPr>
            </a:lvl2pPr>
            <a:lvl3pPr marL="179388" indent="-179388">
              <a:spcBef>
                <a:spcPts val="600"/>
              </a:spcBef>
              <a:buClr>
                <a:schemeClr val="tx2"/>
              </a:buClr>
              <a:defRPr sz="1000">
                <a:latin typeface="Arial"/>
                <a:cs typeface="Arial"/>
              </a:defRPr>
            </a:lvl3pPr>
            <a:lvl4pPr marL="179388" indent="-179388">
              <a:spcBef>
                <a:spcPts val="600"/>
              </a:spcBef>
              <a:buClr>
                <a:schemeClr val="tx2"/>
              </a:buClr>
              <a:tabLst/>
              <a:defRPr sz="1000">
                <a:latin typeface="Arial"/>
                <a:cs typeface="Arial"/>
              </a:defRPr>
            </a:lvl4pPr>
            <a:lvl5pPr marL="179388" indent="-179388">
              <a:spcBef>
                <a:spcPts val="600"/>
              </a:spcBef>
              <a:buClr>
                <a:schemeClr val="tx2"/>
              </a:buClr>
              <a:defRPr sz="1000">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2" name="Text Placeholder 2"/>
          <p:cNvSpPr>
            <a:spLocks noGrp="1"/>
          </p:cNvSpPr>
          <p:nvPr>
            <p:ph type="body" sz="quarter" idx="25" hasCustomPrompt="1"/>
          </p:nvPr>
        </p:nvSpPr>
        <p:spPr>
          <a:xfrm>
            <a:off x="6202363" y="4807465"/>
            <a:ext cx="1160462" cy="341313"/>
          </a:xfrm>
          <a:prstGeom prst="rect">
            <a:avLst/>
          </a:prstGeom>
        </p:spPr>
        <p:txBody>
          <a:bodyPr anchor="ctr"/>
          <a:lstStyle>
            <a:lvl1pPr marL="0" indent="0" algn="ctr">
              <a:buNone/>
              <a:defRPr sz="800">
                <a:solidFill>
                  <a:schemeClr val="tx1">
                    <a:lumMod val="75000"/>
                    <a:lumOff val="25000"/>
                  </a:schemeClr>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sp>
        <p:nvSpPr>
          <p:cNvPr id="8"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chemeClr val="bg1">
                    <a:lumMod val="75000"/>
                  </a:schemeClr>
                </a:solidFill>
                <a:latin typeface="+mn-lt"/>
              </a:defRPr>
            </a:lvl1pPr>
          </a:lstStyle>
          <a:p>
            <a:fld id="{19AB4E72-7858-48F1-A40D-12FF09E4BFB8}" type="slidenum">
              <a:rPr lang="en-GB" smtClean="0"/>
              <a:pPr/>
              <a:t>‹Nº›</a:t>
            </a:fld>
            <a:endParaRPr lang="en-GB"/>
          </a:p>
        </p:txBody>
      </p:sp>
      <p:sp>
        <p:nvSpPr>
          <p:cNvPr id="14" name="Footer Placeholder 6"/>
          <p:cNvSpPr>
            <a:spLocks noGrp="1"/>
          </p:cNvSpPr>
          <p:nvPr>
            <p:ph type="ftr" sz="quarter" idx="11"/>
          </p:nvPr>
        </p:nvSpPr>
        <p:spPr>
          <a:xfrm>
            <a:off x="608553" y="4816190"/>
            <a:ext cx="5040000" cy="158419"/>
          </a:xfrm>
          <a:prstGeom prst="rect">
            <a:avLst/>
          </a:prstGeom>
        </p:spPr>
        <p:txBody>
          <a:bodyPr lIns="0" rIns="0" bIns="0"/>
          <a:lstStyle>
            <a:lvl1pPr>
              <a:defRPr sz="600">
                <a:solidFill>
                  <a:schemeClr val="bg1">
                    <a:lumMod val="75000"/>
                  </a:schemeClr>
                </a:solidFill>
                <a:latin typeface="+mj-lt"/>
              </a:defRPr>
            </a:lvl1pPr>
          </a:lstStyle>
          <a:p>
            <a:endParaRPr lang="pt-BR"/>
          </a:p>
        </p:txBody>
      </p:sp>
      <p:sp>
        <p:nvSpPr>
          <p:cNvPr id="15"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latin typeface="+mn-lt"/>
              </a:rPr>
              <a:t>Private and Confidental</a:t>
            </a:r>
            <a:endParaRPr lang="pt-BR" sz="500" dirty="0">
              <a:latin typeface="+mn-lt"/>
            </a:endParaRPr>
          </a:p>
        </p:txBody>
      </p:sp>
    </p:spTree>
    <p:extLst>
      <p:ext uri="{BB962C8B-B14F-4D97-AF65-F5344CB8AC3E}">
        <p14:creationId xmlns:p14="http://schemas.microsoft.com/office/powerpoint/2010/main" val="1623562903"/>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 Title - 1/4 Text">
    <p:bg>
      <p:bgPr>
        <a:solidFill>
          <a:schemeClr val="bg1"/>
        </a:solidFill>
        <a:effectLst/>
      </p:bgPr>
    </p:bg>
    <p:spTree>
      <p:nvGrpSpPr>
        <p:cNvPr id="1" name=""/>
        <p:cNvGrpSpPr/>
        <p:nvPr/>
      </p:nvGrpSpPr>
      <p:grpSpPr>
        <a:xfrm>
          <a:off x="0" y="0"/>
          <a:ext cx="0" cy="0"/>
          <a:chOff x="0" y="0"/>
          <a:chExt cx="0" cy="0"/>
        </a:xfrm>
      </p:grpSpPr>
      <p:sp>
        <p:nvSpPr>
          <p:cNvPr id="9" name="Title Placeholder 6"/>
          <p:cNvSpPr>
            <a:spLocks noGrp="1"/>
          </p:cNvSpPr>
          <p:nvPr>
            <p:ph type="title"/>
          </p:nvPr>
        </p:nvSpPr>
        <p:spPr>
          <a:xfrm>
            <a:off x="347474" y="323727"/>
            <a:ext cx="8460000" cy="416186"/>
          </a:xfrm>
          <a:prstGeom prst="rect">
            <a:avLst/>
          </a:prstGeom>
        </p:spPr>
        <p:txBody>
          <a:bodyPr vert="horz" lIns="0" tIns="45720" rIns="0" bIns="45720" rtlCol="0" anchor="b">
            <a:noAutofit/>
          </a:bodyPr>
          <a:lstStyle>
            <a:lvl1pPr>
              <a:defRPr sz="2000">
                <a:solidFill>
                  <a:schemeClr val="tx1">
                    <a:lumMod val="75000"/>
                    <a:lumOff val="25000"/>
                  </a:schemeClr>
                </a:solidFill>
              </a:defRPr>
            </a:lvl1pPr>
          </a:lstStyle>
          <a:p>
            <a:r>
              <a:rPr lang="en-US" dirty="0" smtClean="0"/>
              <a:t>Click to edit Master title style</a:t>
            </a:r>
            <a:endParaRPr lang="en-GB" dirty="0"/>
          </a:p>
        </p:txBody>
      </p:sp>
      <p:cxnSp>
        <p:nvCxnSpPr>
          <p:cNvPr id="13" name="Straight Connector 12"/>
          <p:cNvCxnSpPr/>
          <p:nvPr userDrawn="1"/>
        </p:nvCxnSpPr>
        <p:spPr>
          <a:xfrm>
            <a:off x="343366" y="739913"/>
            <a:ext cx="8460000" cy="0"/>
          </a:xfrm>
          <a:prstGeom prst="line">
            <a:avLst/>
          </a:prstGeom>
          <a:ln w="12700">
            <a:solidFill>
              <a:schemeClr val="tx1">
                <a:lumMod val="75000"/>
                <a:lumOff val="25000"/>
              </a:schemeClr>
            </a:solidFill>
            <a:miter lim="800000"/>
          </a:ln>
        </p:spPr>
        <p:style>
          <a:lnRef idx="1">
            <a:schemeClr val="accent1"/>
          </a:lnRef>
          <a:fillRef idx="0">
            <a:schemeClr val="accent1"/>
          </a:fillRef>
          <a:effectRef idx="0">
            <a:schemeClr val="accent1"/>
          </a:effectRef>
          <a:fontRef idx="minor">
            <a:schemeClr val="tx1"/>
          </a:fontRef>
        </p:style>
      </p:cxnSp>
      <p:sp>
        <p:nvSpPr>
          <p:cNvPr id="15" name="Text Placeholder 46"/>
          <p:cNvSpPr>
            <a:spLocks noGrp="1"/>
          </p:cNvSpPr>
          <p:nvPr>
            <p:ph idx="1"/>
          </p:nvPr>
        </p:nvSpPr>
        <p:spPr>
          <a:xfrm>
            <a:off x="351670" y="1454341"/>
            <a:ext cx="1980000" cy="3240000"/>
          </a:xfrm>
          <a:prstGeom prst="rect">
            <a:avLst/>
          </a:prstGeom>
        </p:spPr>
        <p:txBody>
          <a:bodyPr vert="horz" lIns="0" tIns="45720" rIns="0" bIns="45720" rtlCol="0">
            <a:noAutofit/>
          </a:bodyPr>
          <a:lstStyle>
            <a:lvl1pPr marL="0" indent="0">
              <a:spcBef>
                <a:spcPts val="600"/>
              </a:spcBef>
              <a:buClr>
                <a:schemeClr val="tx2"/>
              </a:buClr>
              <a:buNone/>
              <a:defRPr sz="1050" b="1">
                <a:solidFill>
                  <a:schemeClr val="tx2"/>
                </a:solidFill>
                <a:latin typeface="Arial"/>
                <a:cs typeface="Arial"/>
              </a:defRPr>
            </a:lvl1pPr>
            <a:lvl2pPr marL="179388" indent="-179388">
              <a:spcBef>
                <a:spcPts val="600"/>
              </a:spcBef>
              <a:buClr>
                <a:schemeClr val="tx2"/>
              </a:buClr>
              <a:defRPr sz="1000">
                <a:latin typeface="Arial"/>
                <a:cs typeface="Arial"/>
              </a:defRPr>
            </a:lvl2pPr>
            <a:lvl3pPr marL="179388" indent="-179388">
              <a:spcBef>
                <a:spcPts val="600"/>
              </a:spcBef>
              <a:buClr>
                <a:schemeClr val="tx2"/>
              </a:buClr>
              <a:defRPr sz="1000">
                <a:latin typeface="Arial"/>
                <a:cs typeface="Arial"/>
              </a:defRPr>
            </a:lvl3pPr>
            <a:lvl4pPr marL="179388" indent="-179388">
              <a:spcBef>
                <a:spcPts val="600"/>
              </a:spcBef>
              <a:buClr>
                <a:schemeClr val="tx2"/>
              </a:buClr>
              <a:tabLst/>
              <a:defRPr sz="1000">
                <a:latin typeface="Arial"/>
                <a:cs typeface="Arial"/>
              </a:defRPr>
            </a:lvl4pPr>
            <a:lvl5pPr marL="179388" indent="-179388">
              <a:spcBef>
                <a:spcPts val="600"/>
              </a:spcBef>
              <a:buClr>
                <a:schemeClr val="tx2"/>
              </a:buClr>
              <a:defRPr sz="1000">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1" name="Text Placeholder 2"/>
          <p:cNvSpPr>
            <a:spLocks noGrp="1"/>
          </p:cNvSpPr>
          <p:nvPr>
            <p:ph type="body" sz="quarter" idx="25" hasCustomPrompt="1"/>
          </p:nvPr>
        </p:nvSpPr>
        <p:spPr>
          <a:xfrm>
            <a:off x="6202363" y="4807465"/>
            <a:ext cx="1160462" cy="341313"/>
          </a:xfrm>
          <a:prstGeom prst="rect">
            <a:avLst/>
          </a:prstGeom>
        </p:spPr>
        <p:txBody>
          <a:bodyPr anchor="ctr"/>
          <a:lstStyle>
            <a:lvl1pPr marL="0" indent="0" algn="ctr">
              <a:buNone/>
              <a:defRPr sz="800">
                <a:solidFill>
                  <a:schemeClr val="tx1">
                    <a:lumMod val="75000"/>
                    <a:lumOff val="25000"/>
                  </a:schemeClr>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sp>
        <p:nvSpPr>
          <p:cNvPr id="8"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chemeClr val="bg1">
                    <a:lumMod val="75000"/>
                  </a:schemeClr>
                </a:solidFill>
                <a:latin typeface="+mn-lt"/>
              </a:defRPr>
            </a:lvl1pPr>
          </a:lstStyle>
          <a:p>
            <a:fld id="{19AB4E72-7858-48F1-A40D-12FF09E4BFB8}" type="slidenum">
              <a:rPr lang="en-GB" smtClean="0"/>
              <a:pPr/>
              <a:t>‹Nº›</a:t>
            </a:fld>
            <a:endParaRPr lang="en-GB"/>
          </a:p>
        </p:txBody>
      </p:sp>
      <p:sp>
        <p:nvSpPr>
          <p:cNvPr id="12" name="Footer Placeholder 6"/>
          <p:cNvSpPr>
            <a:spLocks noGrp="1"/>
          </p:cNvSpPr>
          <p:nvPr>
            <p:ph type="ftr" sz="quarter" idx="11"/>
          </p:nvPr>
        </p:nvSpPr>
        <p:spPr>
          <a:xfrm>
            <a:off x="608553" y="4816190"/>
            <a:ext cx="5040000" cy="158419"/>
          </a:xfrm>
          <a:prstGeom prst="rect">
            <a:avLst/>
          </a:prstGeom>
        </p:spPr>
        <p:txBody>
          <a:bodyPr lIns="0" rIns="0" bIns="0"/>
          <a:lstStyle>
            <a:lvl1pPr>
              <a:defRPr sz="600">
                <a:solidFill>
                  <a:schemeClr val="bg1">
                    <a:lumMod val="75000"/>
                  </a:schemeClr>
                </a:solidFill>
                <a:latin typeface="+mj-lt"/>
              </a:defRPr>
            </a:lvl1pPr>
          </a:lstStyle>
          <a:p>
            <a:endParaRPr lang="pt-BR"/>
          </a:p>
        </p:txBody>
      </p:sp>
      <p:sp>
        <p:nvSpPr>
          <p:cNvPr id="14"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latin typeface="+mn-lt"/>
              </a:rPr>
              <a:t>Private and Confidental</a:t>
            </a:r>
            <a:endParaRPr lang="pt-BR" sz="500" dirty="0">
              <a:latin typeface="+mn-lt"/>
            </a:endParaRPr>
          </a:p>
        </p:txBody>
      </p:sp>
    </p:spTree>
    <p:extLst>
      <p:ext uri="{BB962C8B-B14F-4D97-AF65-F5344CB8AC3E}">
        <p14:creationId xmlns:p14="http://schemas.microsoft.com/office/powerpoint/2010/main" val="1572738144"/>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 Title - 4 Column Text">
    <p:bg>
      <p:bgPr>
        <a:solidFill>
          <a:schemeClr val="bg1"/>
        </a:solidFill>
        <a:effectLst/>
      </p:bgPr>
    </p:bg>
    <p:spTree>
      <p:nvGrpSpPr>
        <p:cNvPr id="1" name=""/>
        <p:cNvGrpSpPr/>
        <p:nvPr/>
      </p:nvGrpSpPr>
      <p:grpSpPr>
        <a:xfrm>
          <a:off x="0" y="0"/>
          <a:ext cx="0" cy="0"/>
          <a:chOff x="0" y="0"/>
          <a:chExt cx="0" cy="0"/>
        </a:xfrm>
      </p:grpSpPr>
      <p:sp>
        <p:nvSpPr>
          <p:cNvPr id="9" name="Title Placeholder 6"/>
          <p:cNvSpPr>
            <a:spLocks noGrp="1"/>
          </p:cNvSpPr>
          <p:nvPr>
            <p:ph type="title"/>
          </p:nvPr>
        </p:nvSpPr>
        <p:spPr>
          <a:xfrm>
            <a:off x="347474" y="323727"/>
            <a:ext cx="8460000" cy="416186"/>
          </a:xfrm>
          <a:prstGeom prst="rect">
            <a:avLst/>
          </a:prstGeom>
        </p:spPr>
        <p:txBody>
          <a:bodyPr vert="horz" lIns="0" tIns="45720" rIns="0" bIns="45720" rtlCol="0" anchor="b">
            <a:noAutofit/>
          </a:bodyPr>
          <a:lstStyle>
            <a:lvl1pPr>
              <a:defRPr sz="2000">
                <a:solidFill>
                  <a:schemeClr val="tx1">
                    <a:lumMod val="75000"/>
                    <a:lumOff val="25000"/>
                  </a:schemeClr>
                </a:solidFill>
              </a:defRPr>
            </a:lvl1pPr>
          </a:lstStyle>
          <a:p>
            <a:r>
              <a:rPr lang="en-US" dirty="0" smtClean="0"/>
              <a:t>Click to edit Master title style</a:t>
            </a:r>
            <a:endParaRPr lang="en-GB" dirty="0"/>
          </a:p>
        </p:txBody>
      </p:sp>
      <p:cxnSp>
        <p:nvCxnSpPr>
          <p:cNvPr id="13" name="Straight Connector 12"/>
          <p:cNvCxnSpPr/>
          <p:nvPr userDrawn="1"/>
        </p:nvCxnSpPr>
        <p:spPr>
          <a:xfrm>
            <a:off x="343366" y="739913"/>
            <a:ext cx="8460000" cy="0"/>
          </a:xfrm>
          <a:prstGeom prst="line">
            <a:avLst/>
          </a:prstGeom>
          <a:ln w="12700">
            <a:solidFill>
              <a:schemeClr val="tx1">
                <a:lumMod val="75000"/>
                <a:lumOff val="25000"/>
              </a:schemeClr>
            </a:solidFill>
            <a:miter lim="800000"/>
          </a:ln>
        </p:spPr>
        <p:style>
          <a:lnRef idx="1">
            <a:schemeClr val="accent1"/>
          </a:lnRef>
          <a:fillRef idx="0">
            <a:schemeClr val="accent1"/>
          </a:fillRef>
          <a:effectRef idx="0">
            <a:schemeClr val="accent1"/>
          </a:effectRef>
          <a:fontRef idx="minor">
            <a:schemeClr val="tx1"/>
          </a:fontRef>
        </p:style>
      </p:cxnSp>
      <p:sp>
        <p:nvSpPr>
          <p:cNvPr id="8" name="Text Placeholder 46"/>
          <p:cNvSpPr>
            <a:spLocks noGrp="1"/>
          </p:cNvSpPr>
          <p:nvPr>
            <p:ph idx="1"/>
          </p:nvPr>
        </p:nvSpPr>
        <p:spPr>
          <a:xfrm>
            <a:off x="351670" y="1454341"/>
            <a:ext cx="1980000" cy="3240000"/>
          </a:xfrm>
          <a:prstGeom prst="rect">
            <a:avLst/>
          </a:prstGeom>
        </p:spPr>
        <p:txBody>
          <a:bodyPr vert="horz" lIns="0" tIns="45720" rIns="0" bIns="45720" rtlCol="0">
            <a:noAutofit/>
          </a:bodyPr>
          <a:lstStyle>
            <a:lvl1pPr marL="0" indent="0">
              <a:spcBef>
                <a:spcPts val="600"/>
              </a:spcBef>
              <a:buClr>
                <a:schemeClr val="tx2"/>
              </a:buClr>
              <a:buNone/>
              <a:defRPr sz="1050" b="1">
                <a:solidFill>
                  <a:schemeClr val="tx2"/>
                </a:solidFill>
                <a:latin typeface="Arial"/>
                <a:cs typeface="Arial"/>
              </a:defRPr>
            </a:lvl1pPr>
            <a:lvl2pPr marL="179388" indent="-179388">
              <a:spcBef>
                <a:spcPts val="600"/>
              </a:spcBef>
              <a:buClr>
                <a:schemeClr val="tx2"/>
              </a:buClr>
              <a:defRPr sz="1000">
                <a:latin typeface="Arial"/>
                <a:cs typeface="Arial"/>
              </a:defRPr>
            </a:lvl2pPr>
            <a:lvl3pPr marL="179388" indent="-179388">
              <a:spcBef>
                <a:spcPts val="600"/>
              </a:spcBef>
              <a:buClr>
                <a:schemeClr val="tx2"/>
              </a:buClr>
              <a:defRPr sz="1000">
                <a:latin typeface="Arial"/>
                <a:cs typeface="Arial"/>
              </a:defRPr>
            </a:lvl3pPr>
            <a:lvl4pPr marL="179388" indent="-179388">
              <a:spcBef>
                <a:spcPts val="600"/>
              </a:spcBef>
              <a:buClr>
                <a:schemeClr val="tx2"/>
              </a:buClr>
              <a:tabLst/>
              <a:defRPr sz="1000">
                <a:latin typeface="Arial"/>
                <a:cs typeface="Arial"/>
              </a:defRPr>
            </a:lvl4pPr>
            <a:lvl5pPr marL="179388" indent="-179388">
              <a:spcBef>
                <a:spcPts val="600"/>
              </a:spcBef>
              <a:buClr>
                <a:schemeClr val="tx2"/>
              </a:buClr>
              <a:defRPr sz="1000">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1" name="Text Placeholder 46"/>
          <p:cNvSpPr>
            <a:spLocks noGrp="1"/>
          </p:cNvSpPr>
          <p:nvPr>
            <p:ph idx="21"/>
          </p:nvPr>
        </p:nvSpPr>
        <p:spPr>
          <a:xfrm>
            <a:off x="2508902" y="1454341"/>
            <a:ext cx="1980000" cy="3240000"/>
          </a:xfrm>
          <a:prstGeom prst="rect">
            <a:avLst/>
          </a:prstGeom>
        </p:spPr>
        <p:txBody>
          <a:bodyPr vert="horz" lIns="0" tIns="45720" rIns="0" bIns="45720" rtlCol="0">
            <a:noAutofit/>
          </a:bodyPr>
          <a:lstStyle>
            <a:lvl1pPr marL="0" indent="0">
              <a:spcBef>
                <a:spcPts val="600"/>
              </a:spcBef>
              <a:buClr>
                <a:schemeClr val="tx2"/>
              </a:buClr>
              <a:buNone/>
              <a:defRPr sz="1050" b="1">
                <a:solidFill>
                  <a:schemeClr val="tx2"/>
                </a:solidFill>
                <a:latin typeface="Arial"/>
                <a:cs typeface="Arial"/>
              </a:defRPr>
            </a:lvl1pPr>
            <a:lvl2pPr marL="179388" indent="-179388">
              <a:spcBef>
                <a:spcPts val="600"/>
              </a:spcBef>
              <a:buClr>
                <a:schemeClr val="tx2"/>
              </a:buClr>
              <a:defRPr sz="1000">
                <a:latin typeface="Arial"/>
                <a:cs typeface="Arial"/>
              </a:defRPr>
            </a:lvl2pPr>
            <a:lvl3pPr marL="179388" indent="-179388">
              <a:spcBef>
                <a:spcPts val="600"/>
              </a:spcBef>
              <a:buClr>
                <a:schemeClr val="tx2"/>
              </a:buClr>
              <a:defRPr sz="1000">
                <a:latin typeface="Arial"/>
                <a:cs typeface="Arial"/>
              </a:defRPr>
            </a:lvl3pPr>
            <a:lvl4pPr marL="179388" indent="-179388">
              <a:spcBef>
                <a:spcPts val="600"/>
              </a:spcBef>
              <a:buClr>
                <a:schemeClr val="tx2"/>
              </a:buClr>
              <a:tabLst/>
              <a:defRPr sz="1000">
                <a:latin typeface="Arial"/>
                <a:cs typeface="Arial"/>
              </a:defRPr>
            </a:lvl4pPr>
            <a:lvl5pPr marL="179388" indent="-179388">
              <a:spcBef>
                <a:spcPts val="600"/>
              </a:spcBef>
              <a:buClr>
                <a:schemeClr val="tx2"/>
              </a:buClr>
              <a:defRPr sz="1000">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2" name="Text Placeholder 46"/>
          <p:cNvSpPr>
            <a:spLocks noGrp="1"/>
          </p:cNvSpPr>
          <p:nvPr>
            <p:ph idx="22"/>
          </p:nvPr>
        </p:nvSpPr>
        <p:spPr>
          <a:xfrm>
            <a:off x="6823366" y="1454341"/>
            <a:ext cx="1980000" cy="3240000"/>
          </a:xfrm>
          <a:prstGeom prst="rect">
            <a:avLst/>
          </a:prstGeom>
        </p:spPr>
        <p:txBody>
          <a:bodyPr vert="horz" lIns="0" tIns="45720" rIns="0" bIns="45720" rtlCol="0">
            <a:noAutofit/>
          </a:bodyPr>
          <a:lstStyle>
            <a:lvl1pPr marL="0" indent="0">
              <a:spcBef>
                <a:spcPts val="600"/>
              </a:spcBef>
              <a:buClr>
                <a:schemeClr val="tx2"/>
              </a:buClr>
              <a:buNone/>
              <a:defRPr sz="1050" b="1">
                <a:solidFill>
                  <a:schemeClr val="tx2"/>
                </a:solidFill>
                <a:latin typeface="Arial"/>
                <a:cs typeface="Arial"/>
              </a:defRPr>
            </a:lvl1pPr>
            <a:lvl2pPr marL="179388" indent="-179388">
              <a:spcBef>
                <a:spcPts val="600"/>
              </a:spcBef>
              <a:buClr>
                <a:schemeClr val="tx2"/>
              </a:buClr>
              <a:defRPr sz="1000">
                <a:latin typeface="Arial"/>
                <a:cs typeface="Arial"/>
              </a:defRPr>
            </a:lvl2pPr>
            <a:lvl3pPr marL="179388" indent="-179388">
              <a:spcBef>
                <a:spcPts val="600"/>
              </a:spcBef>
              <a:buClr>
                <a:schemeClr val="tx2"/>
              </a:buClr>
              <a:defRPr sz="1000">
                <a:latin typeface="Arial"/>
                <a:cs typeface="Arial"/>
              </a:defRPr>
            </a:lvl3pPr>
            <a:lvl4pPr marL="179388" indent="-179388">
              <a:spcBef>
                <a:spcPts val="600"/>
              </a:spcBef>
              <a:buClr>
                <a:schemeClr val="tx2"/>
              </a:buClr>
              <a:tabLst/>
              <a:defRPr sz="1000">
                <a:latin typeface="Arial"/>
                <a:cs typeface="Arial"/>
              </a:defRPr>
            </a:lvl4pPr>
            <a:lvl5pPr marL="179388" indent="-179388">
              <a:spcBef>
                <a:spcPts val="600"/>
              </a:spcBef>
              <a:buClr>
                <a:schemeClr val="tx2"/>
              </a:buClr>
              <a:defRPr sz="1000">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4" name="Text Placeholder 46"/>
          <p:cNvSpPr>
            <a:spLocks noGrp="1"/>
          </p:cNvSpPr>
          <p:nvPr>
            <p:ph idx="23"/>
          </p:nvPr>
        </p:nvSpPr>
        <p:spPr>
          <a:xfrm>
            <a:off x="4666134" y="1454341"/>
            <a:ext cx="1980000" cy="3240000"/>
          </a:xfrm>
          <a:prstGeom prst="rect">
            <a:avLst/>
          </a:prstGeom>
        </p:spPr>
        <p:txBody>
          <a:bodyPr vert="horz" lIns="0" tIns="45720" rIns="0" bIns="45720" rtlCol="0">
            <a:noAutofit/>
          </a:bodyPr>
          <a:lstStyle>
            <a:lvl1pPr marL="0" indent="0">
              <a:spcBef>
                <a:spcPts val="600"/>
              </a:spcBef>
              <a:buClr>
                <a:schemeClr val="tx2"/>
              </a:buClr>
              <a:buNone/>
              <a:defRPr sz="1050" b="1">
                <a:solidFill>
                  <a:schemeClr val="tx2"/>
                </a:solidFill>
                <a:latin typeface="Arial"/>
                <a:cs typeface="Arial"/>
              </a:defRPr>
            </a:lvl1pPr>
            <a:lvl2pPr marL="179388" indent="-179388">
              <a:spcBef>
                <a:spcPts val="600"/>
              </a:spcBef>
              <a:buClr>
                <a:schemeClr val="tx2"/>
              </a:buClr>
              <a:defRPr sz="1000">
                <a:latin typeface="Arial"/>
                <a:cs typeface="Arial"/>
              </a:defRPr>
            </a:lvl2pPr>
            <a:lvl3pPr marL="179388" indent="-179388">
              <a:spcBef>
                <a:spcPts val="600"/>
              </a:spcBef>
              <a:buClr>
                <a:schemeClr val="tx2"/>
              </a:buClr>
              <a:defRPr sz="1000">
                <a:latin typeface="Arial"/>
                <a:cs typeface="Arial"/>
              </a:defRPr>
            </a:lvl3pPr>
            <a:lvl4pPr marL="179388" indent="-179388">
              <a:spcBef>
                <a:spcPts val="600"/>
              </a:spcBef>
              <a:buClr>
                <a:schemeClr val="tx2"/>
              </a:buClr>
              <a:tabLst/>
              <a:defRPr sz="1000">
                <a:latin typeface="Arial"/>
                <a:cs typeface="Arial"/>
              </a:defRPr>
            </a:lvl4pPr>
            <a:lvl5pPr marL="179388" indent="-179388">
              <a:spcBef>
                <a:spcPts val="600"/>
              </a:spcBef>
              <a:buClr>
                <a:schemeClr val="tx2"/>
              </a:buClr>
              <a:defRPr sz="1000">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5" name="Text Placeholder 2"/>
          <p:cNvSpPr>
            <a:spLocks noGrp="1"/>
          </p:cNvSpPr>
          <p:nvPr>
            <p:ph type="body" sz="quarter" idx="25" hasCustomPrompt="1"/>
          </p:nvPr>
        </p:nvSpPr>
        <p:spPr>
          <a:xfrm>
            <a:off x="6202363" y="4807465"/>
            <a:ext cx="1160462" cy="341313"/>
          </a:xfrm>
          <a:prstGeom prst="rect">
            <a:avLst/>
          </a:prstGeom>
        </p:spPr>
        <p:txBody>
          <a:bodyPr anchor="ctr"/>
          <a:lstStyle>
            <a:lvl1pPr marL="0" indent="0" algn="ctr">
              <a:buNone/>
              <a:defRPr sz="800">
                <a:solidFill>
                  <a:schemeClr val="tx1">
                    <a:lumMod val="75000"/>
                    <a:lumOff val="25000"/>
                  </a:schemeClr>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sp>
        <p:nvSpPr>
          <p:cNvPr id="16"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chemeClr val="bg1">
                    <a:lumMod val="75000"/>
                  </a:schemeClr>
                </a:solidFill>
                <a:latin typeface="+mn-lt"/>
              </a:defRPr>
            </a:lvl1pPr>
          </a:lstStyle>
          <a:p>
            <a:fld id="{19AB4E72-7858-48F1-A40D-12FF09E4BFB8}" type="slidenum">
              <a:rPr lang="en-GB" smtClean="0"/>
              <a:pPr/>
              <a:t>‹Nº›</a:t>
            </a:fld>
            <a:endParaRPr lang="en-GB"/>
          </a:p>
        </p:txBody>
      </p:sp>
      <p:sp>
        <p:nvSpPr>
          <p:cNvPr id="17" name="Footer Placeholder 6"/>
          <p:cNvSpPr>
            <a:spLocks noGrp="1"/>
          </p:cNvSpPr>
          <p:nvPr>
            <p:ph type="ftr" sz="quarter" idx="11"/>
          </p:nvPr>
        </p:nvSpPr>
        <p:spPr>
          <a:xfrm>
            <a:off x="608553" y="4816190"/>
            <a:ext cx="5040000" cy="158419"/>
          </a:xfrm>
          <a:prstGeom prst="rect">
            <a:avLst/>
          </a:prstGeom>
        </p:spPr>
        <p:txBody>
          <a:bodyPr lIns="0" rIns="0" bIns="0"/>
          <a:lstStyle>
            <a:lvl1pPr>
              <a:defRPr sz="600">
                <a:solidFill>
                  <a:schemeClr val="bg1">
                    <a:lumMod val="75000"/>
                  </a:schemeClr>
                </a:solidFill>
                <a:latin typeface="+mj-lt"/>
              </a:defRPr>
            </a:lvl1pPr>
          </a:lstStyle>
          <a:p>
            <a:endParaRPr lang="pt-BR"/>
          </a:p>
        </p:txBody>
      </p:sp>
      <p:sp>
        <p:nvSpPr>
          <p:cNvPr id="18"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latin typeface="+mn-lt"/>
              </a:rPr>
              <a:t>Private and Confidental</a:t>
            </a:r>
            <a:endParaRPr lang="pt-BR" sz="500" dirty="0">
              <a:latin typeface="+mn-lt"/>
            </a:endParaRPr>
          </a:p>
        </p:txBody>
      </p:sp>
    </p:spTree>
    <p:extLst>
      <p:ext uri="{BB962C8B-B14F-4D97-AF65-F5344CB8AC3E}">
        <p14:creationId xmlns:p14="http://schemas.microsoft.com/office/powerpoint/2010/main" val="273980872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25" hasCustomPrompt="1"/>
          </p:nvPr>
        </p:nvSpPr>
        <p:spPr>
          <a:xfrm>
            <a:off x="6202363" y="4807465"/>
            <a:ext cx="1160462" cy="341313"/>
          </a:xfrm>
          <a:prstGeom prst="rect">
            <a:avLst/>
          </a:prstGeom>
        </p:spPr>
        <p:txBody>
          <a:bodyPr anchor="ctr"/>
          <a:lstStyle>
            <a:lvl1pPr marL="0" indent="0" algn="ctr">
              <a:buNone/>
              <a:defRPr sz="800">
                <a:solidFill>
                  <a:schemeClr val="tx1">
                    <a:lumMod val="75000"/>
                    <a:lumOff val="25000"/>
                  </a:schemeClr>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sp>
        <p:nvSpPr>
          <p:cNvPr id="6"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chemeClr val="bg1">
                    <a:lumMod val="75000"/>
                  </a:schemeClr>
                </a:solidFill>
                <a:latin typeface="+mn-lt"/>
              </a:defRPr>
            </a:lvl1pPr>
          </a:lstStyle>
          <a:p>
            <a:fld id="{19AB4E72-7858-48F1-A40D-12FF09E4BFB8}" type="slidenum">
              <a:rPr lang="en-GB" smtClean="0"/>
              <a:pPr/>
              <a:t>‹Nº›</a:t>
            </a:fld>
            <a:endParaRPr lang="en-GB"/>
          </a:p>
        </p:txBody>
      </p:sp>
      <p:sp>
        <p:nvSpPr>
          <p:cNvPr id="8" name="Footer Placeholder 6"/>
          <p:cNvSpPr>
            <a:spLocks noGrp="1"/>
          </p:cNvSpPr>
          <p:nvPr>
            <p:ph type="ftr" sz="quarter" idx="11"/>
          </p:nvPr>
        </p:nvSpPr>
        <p:spPr>
          <a:xfrm>
            <a:off x="608553" y="4816190"/>
            <a:ext cx="5040000" cy="158419"/>
          </a:xfrm>
          <a:prstGeom prst="rect">
            <a:avLst/>
          </a:prstGeom>
        </p:spPr>
        <p:txBody>
          <a:bodyPr lIns="0" rIns="0" bIns="0"/>
          <a:lstStyle>
            <a:lvl1pPr>
              <a:defRPr sz="600">
                <a:solidFill>
                  <a:schemeClr val="bg1">
                    <a:lumMod val="75000"/>
                  </a:schemeClr>
                </a:solidFill>
                <a:latin typeface="+mj-lt"/>
              </a:defRPr>
            </a:lvl1pPr>
          </a:lstStyle>
          <a:p>
            <a:endParaRPr lang="pt-BR"/>
          </a:p>
        </p:txBody>
      </p:sp>
      <p:sp>
        <p:nvSpPr>
          <p:cNvPr id="9"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latin typeface="+mn-lt"/>
              </a:rPr>
              <a:t>Private and Confidental</a:t>
            </a:r>
            <a:endParaRPr lang="pt-BR" sz="500" dirty="0">
              <a:latin typeface="+mn-lt"/>
            </a:endParaRPr>
          </a:p>
        </p:txBody>
      </p:sp>
    </p:spTree>
    <p:extLst>
      <p:ext uri="{BB962C8B-B14F-4D97-AF65-F5344CB8AC3E}">
        <p14:creationId xmlns:p14="http://schemas.microsoft.com/office/powerpoint/2010/main" val="4133225762"/>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 Title - Team Bio - 2pl">
    <p:bg>
      <p:bgPr>
        <a:solidFill>
          <a:schemeClr val="bg1"/>
        </a:solidFill>
        <a:effectLst/>
      </p:bgPr>
    </p:bg>
    <p:spTree>
      <p:nvGrpSpPr>
        <p:cNvPr id="1" name=""/>
        <p:cNvGrpSpPr/>
        <p:nvPr/>
      </p:nvGrpSpPr>
      <p:grpSpPr>
        <a:xfrm>
          <a:off x="0" y="0"/>
          <a:ext cx="0" cy="0"/>
          <a:chOff x="0" y="0"/>
          <a:chExt cx="0" cy="0"/>
        </a:xfrm>
      </p:grpSpPr>
      <p:sp>
        <p:nvSpPr>
          <p:cNvPr id="9" name="Title Placeholder 6"/>
          <p:cNvSpPr>
            <a:spLocks noGrp="1"/>
          </p:cNvSpPr>
          <p:nvPr>
            <p:ph type="title"/>
          </p:nvPr>
        </p:nvSpPr>
        <p:spPr>
          <a:xfrm>
            <a:off x="347474" y="323727"/>
            <a:ext cx="8460000" cy="416186"/>
          </a:xfrm>
          <a:prstGeom prst="rect">
            <a:avLst/>
          </a:prstGeom>
        </p:spPr>
        <p:txBody>
          <a:bodyPr vert="horz" lIns="0" tIns="45720" rIns="0" bIns="45720" rtlCol="0" anchor="b">
            <a:noAutofit/>
          </a:bodyPr>
          <a:lstStyle>
            <a:lvl1pPr>
              <a:defRPr sz="2000">
                <a:solidFill>
                  <a:schemeClr val="tx1">
                    <a:lumMod val="75000"/>
                    <a:lumOff val="25000"/>
                  </a:schemeClr>
                </a:solidFill>
              </a:defRPr>
            </a:lvl1pPr>
          </a:lstStyle>
          <a:p>
            <a:r>
              <a:rPr lang="en-US" dirty="0" smtClean="0"/>
              <a:t>Click to edit Master title style</a:t>
            </a:r>
            <a:endParaRPr lang="en-GB" dirty="0"/>
          </a:p>
        </p:txBody>
      </p:sp>
      <p:cxnSp>
        <p:nvCxnSpPr>
          <p:cNvPr id="13" name="Straight Connector 12"/>
          <p:cNvCxnSpPr/>
          <p:nvPr userDrawn="1"/>
        </p:nvCxnSpPr>
        <p:spPr>
          <a:xfrm>
            <a:off x="343366" y="739913"/>
            <a:ext cx="8460000" cy="0"/>
          </a:xfrm>
          <a:prstGeom prst="line">
            <a:avLst/>
          </a:prstGeom>
          <a:ln w="12700">
            <a:solidFill>
              <a:schemeClr val="tx1">
                <a:lumMod val="75000"/>
                <a:lumOff val="25000"/>
              </a:schemeClr>
            </a:solidFill>
            <a:miter lim="800000"/>
          </a:ln>
        </p:spPr>
        <p:style>
          <a:lnRef idx="1">
            <a:schemeClr val="accent1"/>
          </a:lnRef>
          <a:fillRef idx="0">
            <a:schemeClr val="accent1"/>
          </a:fillRef>
          <a:effectRef idx="0">
            <a:schemeClr val="accent1"/>
          </a:effectRef>
          <a:fontRef idx="minor">
            <a:schemeClr val="tx1"/>
          </a:fontRef>
        </p:style>
      </p:cxnSp>
      <p:sp>
        <p:nvSpPr>
          <p:cNvPr id="36" name="Text Placeholder 46"/>
          <p:cNvSpPr>
            <a:spLocks noGrp="1"/>
          </p:cNvSpPr>
          <p:nvPr>
            <p:ph idx="1" hasCustomPrompt="1"/>
          </p:nvPr>
        </p:nvSpPr>
        <p:spPr>
          <a:xfrm>
            <a:off x="347472" y="2539169"/>
            <a:ext cx="4141429" cy="205060"/>
          </a:xfrm>
          <a:prstGeom prst="rect">
            <a:avLst/>
          </a:prstGeom>
        </p:spPr>
        <p:txBody>
          <a:bodyPr vert="horz" lIns="0" tIns="25200" rIns="0" bIns="45720" rtlCol="0">
            <a:noAutofit/>
          </a:bodyPr>
          <a:lstStyle>
            <a:lvl1pPr marL="0" indent="0">
              <a:spcBef>
                <a:spcPts val="600"/>
              </a:spcBef>
              <a:buClr>
                <a:schemeClr val="tx2"/>
              </a:buClr>
              <a:buNone/>
              <a:defRPr sz="1000" b="1" baseline="0">
                <a:solidFill>
                  <a:schemeClr val="tx2"/>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name</a:t>
            </a:r>
            <a:endParaRPr lang="en-GB" dirty="0"/>
          </a:p>
        </p:txBody>
      </p:sp>
      <p:sp>
        <p:nvSpPr>
          <p:cNvPr id="37" name="Picture Placeholder 2"/>
          <p:cNvSpPr>
            <a:spLocks noGrp="1"/>
          </p:cNvSpPr>
          <p:nvPr>
            <p:ph type="pic" sz="quarter" idx="25" hasCustomPrompt="1"/>
          </p:nvPr>
        </p:nvSpPr>
        <p:spPr>
          <a:xfrm>
            <a:off x="347472" y="1528560"/>
            <a:ext cx="941987" cy="941987"/>
          </a:xfrm>
          <a:prstGeom prst="rect">
            <a:avLst/>
          </a:prstGeom>
          <a:noFill/>
          <a:ln w="6350" cmpd="sng">
            <a:noFill/>
          </a:ln>
        </p:spPr>
        <p:txBody>
          <a:bodyPr vert="horz"/>
          <a:lstStyle>
            <a:lvl1pPr marL="0" indent="0" algn="ctr">
              <a:lnSpc>
                <a:spcPct val="90000"/>
              </a:lnSpc>
              <a:buNone/>
              <a:defRPr sz="1000">
                <a:solidFill>
                  <a:schemeClr val="bg1">
                    <a:lumMod val="65000"/>
                  </a:schemeClr>
                </a:solidFill>
              </a:defRPr>
            </a:lvl1pPr>
          </a:lstStyle>
          <a:p>
            <a:r>
              <a:rPr lang="en-US" smtClean="0"/>
              <a:t>Click to add a picture</a:t>
            </a:r>
            <a:endParaRPr lang="en-US"/>
          </a:p>
        </p:txBody>
      </p:sp>
      <p:sp>
        <p:nvSpPr>
          <p:cNvPr id="38" name="Text Placeholder 46"/>
          <p:cNvSpPr>
            <a:spLocks noGrp="1"/>
          </p:cNvSpPr>
          <p:nvPr>
            <p:ph idx="29" hasCustomPrompt="1"/>
          </p:nvPr>
        </p:nvSpPr>
        <p:spPr>
          <a:xfrm>
            <a:off x="347472" y="2950325"/>
            <a:ext cx="4141429" cy="1744015"/>
          </a:xfrm>
          <a:prstGeom prst="rect">
            <a:avLst/>
          </a:prstGeom>
        </p:spPr>
        <p:txBody>
          <a:bodyPr vert="horz" lIns="0" tIns="45720" rIns="0" bIns="45720" rtlCol="0">
            <a:noAutofit/>
          </a:bodyPr>
          <a:lstStyle>
            <a:lvl1pPr marL="0" indent="0">
              <a:spcBef>
                <a:spcPts val="600"/>
              </a:spcBef>
              <a:buClr>
                <a:schemeClr val="tx2"/>
              </a:buClr>
              <a:buNone/>
              <a:defRPr sz="800" b="0">
                <a:solidFill>
                  <a:schemeClr val="tx1">
                    <a:lumMod val="75000"/>
                    <a:lumOff val="25000"/>
                  </a:schemeClr>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bio</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39" name="Text Placeholder 46"/>
          <p:cNvSpPr>
            <a:spLocks noGrp="1"/>
          </p:cNvSpPr>
          <p:nvPr>
            <p:ph idx="30" hasCustomPrompt="1"/>
          </p:nvPr>
        </p:nvSpPr>
        <p:spPr>
          <a:xfrm>
            <a:off x="347472" y="2744229"/>
            <a:ext cx="4141429" cy="176217"/>
          </a:xfrm>
          <a:prstGeom prst="rect">
            <a:avLst/>
          </a:prstGeom>
        </p:spPr>
        <p:txBody>
          <a:bodyPr vert="horz" lIns="0" tIns="0" rIns="0" bIns="45720" rtlCol="0">
            <a:noAutofit/>
          </a:bodyPr>
          <a:lstStyle>
            <a:lvl1pPr marL="0" indent="0">
              <a:spcBef>
                <a:spcPts val="600"/>
              </a:spcBef>
              <a:buClr>
                <a:schemeClr val="tx2"/>
              </a:buClr>
              <a:buNone/>
              <a:defRPr sz="900" b="0" baseline="0">
                <a:solidFill>
                  <a:schemeClr val="tx1">
                    <a:lumMod val="75000"/>
                    <a:lumOff val="25000"/>
                  </a:schemeClr>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job title</a:t>
            </a:r>
            <a:endParaRPr lang="en-GB" dirty="0"/>
          </a:p>
        </p:txBody>
      </p:sp>
      <p:cxnSp>
        <p:nvCxnSpPr>
          <p:cNvPr id="40" name="Straight Connector 39"/>
          <p:cNvCxnSpPr/>
          <p:nvPr userDrawn="1"/>
        </p:nvCxnSpPr>
        <p:spPr>
          <a:xfrm>
            <a:off x="343366" y="1455737"/>
            <a:ext cx="4145536" cy="0"/>
          </a:xfrm>
          <a:prstGeom prst="line">
            <a:avLst/>
          </a:prstGeom>
          <a:ln w="12700" cmpd="sng">
            <a:solidFill>
              <a:schemeClr val="tx1">
                <a:lumMod val="75000"/>
                <a:lumOff val="25000"/>
              </a:schemeClr>
            </a:solidFill>
            <a:prstDash val="solid"/>
            <a:miter lim="800000"/>
          </a:ln>
        </p:spPr>
        <p:style>
          <a:lnRef idx="1">
            <a:schemeClr val="accent1"/>
          </a:lnRef>
          <a:fillRef idx="0">
            <a:schemeClr val="accent1"/>
          </a:fillRef>
          <a:effectRef idx="0">
            <a:schemeClr val="accent1"/>
          </a:effectRef>
          <a:fontRef idx="minor">
            <a:schemeClr val="tx1"/>
          </a:fontRef>
        </p:style>
      </p:cxnSp>
      <p:sp>
        <p:nvSpPr>
          <p:cNvPr id="41" name="Text Placeholder 46"/>
          <p:cNvSpPr>
            <a:spLocks noGrp="1"/>
          </p:cNvSpPr>
          <p:nvPr>
            <p:ph idx="41" hasCustomPrompt="1"/>
          </p:nvPr>
        </p:nvSpPr>
        <p:spPr>
          <a:xfrm>
            <a:off x="4666134" y="2539169"/>
            <a:ext cx="4133125" cy="205060"/>
          </a:xfrm>
          <a:prstGeom prst="rect">
            <a:avLst/>
          </a:prstGeom>
        </p:spPr>
        <p:txBody>
          <a:bodyPr vert="horz" lIns="0" tIns="25200" rIns="0" bIns="45720" rtlCol="0">
            <a:noAutofit/>
          </a:bodyPr>
          <a:lstStyle>
            <a:lvl1pPr marL="0" indent="0">
              <a:spcBef>
                <a:spcPts val="600"/>
              </a:spcBef>
              <a:buClr>
                <a:schemeClr val="tx2"/>
              </a:buClr>
              <a:buNone/>
              <a:defRPr sz="1000" b="1" baseline="0">
                <a:solidFill>
                  <a:schemeClr val="tx2"/>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name</a:t>
            </a:r>
            <a:endParaRPr lang="en-GB" dirty="0"/>
          </a:p>
        </p:txBody>
      </p:sp>
      <p:sp>
        <p:nvSpPr>
          <p:cNvPr id="42" name="Text Placeholder 46"/>
          <p:cNvSpPr>
            <a:spLocks noGrp="1"/>
          </p:cNvSpPr>
          <p:nvPr>
            <p:ph idx="43" hasCustomPrompt="1"/>
          </p:nvPr>
        </p:nvSpPr>
        <p:spPr>
          <a:xfrm>
            <a:off x="4666134" y="2950325"/>
            <a:ext cx="4133125" cy="1744015"/>
          </a:xfrm>
          <a:prstGeom prst="rect">
            <a:avLst/>
          </a:prstGeom>
        </p:spPr>
        <p:txBody>
          <a:bodyPr vert="horz" lIns="0" tIns="45720" rIns="0" bIns="45720" rtlCol="0">
            <a:noAutofit/>
          </a:bodyPr>
          <a:lstStyle>
            <a:lvl1pPr marL="0" indent="0">
              <a:spcBef>
                <a:spcPts val="600"/>
              </a:spcBef>
              <a:buClr>
                <a:schemeClr val="tx2"/>
              </a:buClr>
              <a:buNone/>
              <a:defRPr sz="800" b="0">
                <a:solidFill>
                  <a:schemeClr val="tx1">
                    <a:lumMod val="75000"/>
                    <a:lumOff val="25000"/>
                  </a:schemeClr>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bio</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3" name="Text Placeholder 46"/>
          <p:cNvSpPr>
            <a:spLocks noGrp="1"/>
          </p:cNvSpPr>
          <p:nvPr>
            <p:ph idx="44" hasCustomPrompt="1"/>
          </p:nvPr>
        </p:nvSpPr>
        <p:spPr>
          <a:xfrm>
            <a:off x="4666134" y="2744229"/>
            <a:ext cx="4133125" cy="176217"/>
          </a:xfrm>
          <a:prstGeom prst="rect">
            <a:avLst/>
          </a:prstGeom>
        </p:spPr>
        <p:txBody>
          <a:bodyPr vert="horz" lIns="0" tIns="0" rIns="0" bIns="45720" rtlCol="0">
            <a:noAutofit/>
          </a:bodyPr>
          <a:lstStyle>
            <a:lvl1pPr marL="0" indent="0">
              <a:spcBef>
                <a:spcPts val="600"/>
              </a:spcBef>
              <a:buClr>
                <a:schemeClr val="tx2"/>
              </a:buClr>
              <a:buNone/>
              <a:defRPr sz="900" b="0" baseline="0">
                <a:solidFill>
                  <a:schemeClr val="tx1">
                    <a:lumMod val="75000"/>
                    <a:lumOff val="25000"/>
                  </a:schemeClr>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job title</a:t>
            </a:r>
            <a:endParaRPr lang="en-GB" dirty="0"/>
          </a:p>
        </p:txBody>
      </p:sp>
      <p:cxnSp>
        <p:nvCxnSpPr>
          <p:cNvPr id="44" name="Straight Connector 43"/>
          <p:cNvCxnSpPr/>
          <p:nvPr userDrawn="1"/>
        </p:nvCxnSpPr>
        <p:spPr>
          <a:xfrm>
            <a:off x="4666134" y="2543370"/>
            <a:ext cx="4137232" cy="0"/>
          </a:xfrm>
          <a:prstGeom prst="line">
            <a:avLst/>
          </a:prstGeom>
          <a:ln w="12700" cmpd="sng">
            <a:solidFill>
              <a:schemeClr val="tx1">
                <a:lumMod val="75000"/>
                <a:lumOff val="25000"/>
              </a:schemeClr>
            </a:solidFill>
            <a:prstDash val="solid"/>
            <a:miter lim="800000"/>
          </a:ln>
        </p:spPr>
        <p:style>
          <a:lnRef idx="1">
            <a:schemeClr val="accent1"/>
          </a:lnRef>
          <a:fillRef idx="0">
            <a:schemeClr val="accent1"/>
          </a:fillRef>
          <a:effectRef idx="0">
            <a:schemeClr val="accent1"/>
          </a:effectRef>
          <a:fontRef idx="minor">
            <a:schemeClr val="tx1"/>
          </a:fontRef>
        </p:style>
      </p:cxnSp>
      <p:sp>
        <p:nvSpPr>
          <p:cNvPr id="45" name="Picture Placeholder 2"/>
          <p:cNvSpPr>
            <a:spLocks noGrp="1"/>
          </p:cNvSpPr>
          <p:nvPr>
            <p:ph type="pic" sz="quarter" idx="50" hasCustomPrompt="1"/>
          </p:nvPr>
        </p:nvSpPr>
        <p:spPr>
          <a:xfrm>
            <a:off x="4666134" y="1528560"/>
            <a:ext cx="941987" cy="941987"/>
          </a:xfrm>
          <a:prstGeom prst="rect">
            <a:avLst/>
          </a:prstGeom>
          <a:noFill/>
          <a:ln w="6350" cmpd="sng">
            <a:noFill/>
          </a:ln>
        </p:spPr>
        <p:txBody>
          <a:bodyPr vert="horz"/>
          <a:lstStyle>
            <a:lvl1pPr marL="0" indent="0" algn="ctr">
              <a:lnSpc>
                <a:spcPct val="90000"/>
              </a:lnSpc>
              <a:buNone/>
              <a:defRPr sz="1000">
                <a:solidFill>
                  <a:schemeClr val="bg1">
                    <a:lumMod val="65000"/>
                  </a:schemeClr>
                </a:solidFill>
              </a:defRPr>
            </a:lvl1pPr>
          </a:lstStyle>
          <a:p>
            <a:r>
              <a:rPr lang="en-US" smtClean="0"/>
              <a:t>Click to add a picture</a:t>
            </a:r>
            <a:endParaRPr lang="en-US"/>
          </a:p>
        </p:txBody>
      </p:sp>
      <p:cxnSp>
        <p:nvCxnSpPr>
          <p:cNvPr id="46" name="Straight Connector 45"/>
          <p:cNvCxnSpPr/>
          <p:nvPr userDrawn="1"/>
        </p:nvCxnSpPr>
        <p:spPr>
          <a:xfrm>
            <a:off x="4666134" y="1455737"/>
            <a:ext cx="4137232" cy="0"/>
          </a:xfrm>
          <a:prstGeom prst="line">
            <a:avLst/>
          </a:prstGeom>
          <a:ln w="12700" cmpd="sng">
            <a:solidFill>
              <a:schemeClr val="tx1">
                <a:lumMod val="75000"/>
                <a:lumOff val="25000"/>
              </a:schemeClr>
            </a:solidFill>
            <a:prstDash val="solid"/>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userDrawn="1"/>
        </p:nvCxnSpPr>
        <p:spPr>
          <a:xfrm>
            <a:off x="343366" y="2543370"/>
            <a:ext cx="4145536" cy="0"/>
          </a:xfrm>
          <a:prstGeom prst="line">
            <a:avLst/>
          </a:prstGeom>
          <a:ln w="12700" cmpd="sng">
            <a:solidFill>
              <a:schemeClr val="tx1">
                <a:lumMod val="75000"/>
                <a:lumOff val="25000"/>
              </a:schemeClr>
            </a:solidFill>
            <a:prstDash val="solid"/>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a:xfrm>
            <a:off x="351670" y="2950325"/>
            <a:ext cx="4137231" cy="0"/>
          </a:xfrm>
          <a:prstGeom prst="line">
            <a:avLst/>
          </a:prstGeom>
          <a:ln w="12700" cap="rnd">
            <a:solidFill>
              <a:schemeClr val="tx1">
                <a:lumMod val="75000"/>
                <a:lumOff val="25000"/>
              </a:schemeClr>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userDrawn="1"/>
        </p:nvCxnSpPr>
        <p:spPr>
          <a:xfrm>
            <a:off x="4666134" y="2950325"/>
            <a:ext cx="4133125" cy="0"/>
          </a:xfrm>
          <a:prstGeom prst="line">
            <a:avLst/>
          </a:prstGeom>
          <a:ln w="12700" cap="rnd">
            <a:solidFill>
              <a:schemeClr val="tx1">
                <a:lumMod val="75000"/>
                <a:lumOff val="25000"/>
              </a:schemeClr>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21" name="Text Placeholder 2"/>
          <p:cNvSpPr>
            <a:spLocks noGrp="1"/>
          </p:cNvSpPr>
          <p:nvPr>
            <p:ph type="body" sz="quarter" idx="51" hasCustomPrompt="1"/>
          </p:nvPr>
        </p:nvSpPr>
        <p:spPr>
          <a:xfrm>
            <a:off x="6202363" y="4807465"/>
            <a:ext cx="1160462" cy="341313"/>
          </a:xfrm>
          <a:prstGeom prst="rect">
            <a:avLst/>
          </a:prstGeom>
        </p:spPr>
        <p:txBody>
          <a:bodyPr anchor="ctr"/>
          <a:lstStyle>
            <a:lvl1pPr marL="0" indent="0" algn="ctr">
              <a:buNone/>
              <a:defRPr sz="800">
                <a:solidFill>
                  <a:schemeClr val="tx1">
                    <a:lumMod val="75000"/>
                    <a:lumOff val="25000"/>
                  </a:schemeClr>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sp>
        <p:nvSpPr>
          <p:cNvPr id="22"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chemeClr val="bg1">
                    <a:lumMod val="75000"/>
                  </a:schemeClr>
                </a:solidFill>
                <a:latin typeface="+mn-lt"/>
              </a:defRPr>
            </a:lvl1pPr>
          </a:lstStyle>
          <a:p>
            <a:fld id="{19AB4E72-7858-48F1-A40D-12FF09E4BFB8}" type="slidenum">
              <a:rPr lang="en-GB" smtClean="0"/>
              <a:pPr/>
              <a:t>‹Nº›</a:t>
            </a:fld>
            <a:endParaRPr lang="en-GB"/>
          </a:p>
        </p:txBody>
      </p:sp>
      <p:sp>
        <p:nvSpPr>
          <p:cNvPr id="23" name="Footer Placeholder 6"/>
          <p:cNvSpPr>
            <a:spLocks noGrp="1"/>
          </p:cNvSpPr>
          <p:nvPr>
            <p:ph type="ftr" sz="quarter" idx="11"/>
          </p:nvPr>
        </p:nvSpPr>
        <p:spPr>
          <a:xfrm>
            <a:off x="608553" y="4816190"/>
            <a:ext cx="5040000" cy="158419"/>
          </a:xfrm>
          <a:prstGeom prst="rect">
            <a:avLst/>
          </a:prstGeom>
        </p:spPr>
        <p:txBody>
          <a:bodyPr lIns="0" rIns="0" bIns="0"/>
          <a:lstStyle>
            <a:lvl1pPr>
              <a:defRPr sz="600">
                <a:solidFill>
                  <a:schemeClr val="bg1">
                    <a:lumMod val="75000"/>
                  </a:schemeClr>
                </a:solidFill>
                <a:latin typeface="+mj-lt"/>
              </a:defRPr>
            </a:lvl1pPr>
          </a:lstStyle>
          <a:p>
            <a:endParaRPr lang="pt-BR"/>
          </a:p>
        </p:txBody>
      </p:sp>
      <p:sp>
        <p:nvSpPr>
          <p:cNvPr id="24"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latin typeface="+mn-lt"/>
              </a:rPr>
              <a:t>Private and Confidental</a:t>
            </a:r>
            <a:endParaRPr lang="pt-BR" sz="500" dirty="0">
              <a:latin typeface="+mn-lt"/>
            </a:endParaRPr>
          </a:p>
        </p:txBody>
      </p:sp>
    </p:spTree>
    <p:extLst>
      <p:ext uri="{BB962C8B-B14F-4D97-AF65-F5344CB8AC3E}">
        <p14:creationId xmlns:p14="http://schemas.microsoft.com/office/powerpoint/2010/main" val="461915920"/>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 Title - Team Bio - 4pl">
    <p:bg>
      <p:bgPr>
        <a:solidFill>
          <a:schemeClr val="bg1"/>
        </a:solidFill>
        <a:effectLst/>
      </p:bgPr>
    </p:bg>
    <p:spTree>
      <p:nvGrpSpPr>
        <p:cNvPr id="1" name=""/>
        <p:cNvGrpSpPr/>
        <p:nvPr/>
      </p:nvGrpSpPr>
      <p:grpSpPr>
        <a:xfrm>
          <a:off x="0" y="0"/>
          <a:ext cx="0" cy="0"/>
          <a:chOff x="0" y="0"/>
          <a:chExt cx="0" cy="0"/>
        </a:xfrm>
      </p:grpSpPr>
      <p:sp>
        <p:nvSpPr>
          <p:cNvPr id="9" name="Title Placeholder 6"/>
          <p:cNvSpPr>
            <a:spLocks noGrp="1"/>
          </p:cNvSpPr>
          <p:nvPr>
            <p:ph type="title"/>
          </p:nvPr>
        </p:nvSpPr>
        <p:spPr>
          <a:xfrm>
            <a:off x="347474" y="323727"/>
            <a:ext cx="8460000" cy="416186"/>
          </a:xfrm>
          <a:prstGeom prst="rect">
            <a:avLst/>
          </a:prstGeom>
        </p:spPr>
        <p:txBody>
          <a:bodyPr vert="horz" lIns="0" tIns="45720" rIns="0" bIns="45720" rtlCol="0" anchor="b">
            <a:noAutofit/>
          </a:bodyPr>
          <a:lstStyle>
            <a:lvl1pPr>
              <a:defRPr sz="2000">
                <a:solidFill>
                  <a:schemeClr val="tx1">
                    <a:lumMod val="75000"/>
                    <a:lumOff val="25000"/>
                  </a:schemeClr>
                </a:solidFill>
              </a:defRPr>
            </a:lvl1pPr>
          </a:lstStyle>
          <a:p>
            <a:r>
              <a:rPr lang="en-US" dirty="0" smtClean="0"/>
              <a:t>Click to edit Master title style</a:t>
            </a:r>
            <a:endParaRPr lang="en-GB" dirty="0"/>
          </a:p>
        </p:txBody>
      </p:sp>
      <p:cxnSp>
        <p:nvCxnSpPr>
          <p:cNvPr id="13" name="Straight Connector 12"/>
          <p:cNvCxnSpPr/>
          <p:nvPr userDrawn="1"/>
        </p:nvCxnSpPr>
        <p:spPr>
          <a:xfrm>
            <a:off x="343366" y="739913"/>
            <a:ext cx="8460000" cy="0"/>
          </a:xfrm>
          <a:prstGeom prst="line">
            <a:avLst/>
          </a:prstGeom>
          <a:ln w="12700">
            <a:solidFill>
              <a:schemeClr val="tx1">
                <a:lumMod val="75000"/>
                <a:lumOff val="25000"/>
              </a:schemeClr>
            </a:solidFill>
            <a:miter lim="800000"/>
          </a:ln>
        </p:spPr>
        <p:style>
          <a:lnRef idx="1">
            <a:schemeClr val="accent1"/>
          </a:lnRef>
          <a:fillRef idx="0">
            <a:schemeClr val="accent1"/>
          </a:fillRef>
          <a:effectRef idx="0">
            <a:schemeClr val="accent1"/>
          </a:effectRef>
          <a:fontRef idx="minor">
            <a:schemeClr val="tx1"/>
          </a:fontRef>
        </p:style>
      </p:cxnSp>
      <p:sp>
        <p:nvSpPr>
          <p:cNvPr id="65" name="Picture Placeholder 2"/>
          <p:cNvSpPr>
            <a:spLocks noGrp="1"/>
          </p:cNvSpPr>
          <p:nvPr>
            <p:ph type="pic" sz="quarter" idx="25" hasCustomPrompt="1"/>
          </p:nvPr>
        </p:nvSpPr>
        <p:spPr>
          <a:xfrm>
            <a:off x="347472" y="1528560"/>
            <a:ext cx="941987" cy="941987"/>
          </a:xfrm>
          <a:prstGeom prst="rect">
            <a:avLst/>
          </a:prstGeom>
          <a:noFill/>
          <a:ln w="6350" cmpd="sng">
            <a:noFill/>
          </a:ln>
        </p:spPr>
        <p:txBody>
          <a:bodyPr vert="horz"/>
          <a:lstStyle>
            <a:lvl1pPr marL="0" indent="0" algn="ctr">
              <a:lnSpc>
                <a:spcPct val="90000"/>
              </a:lnSpc>
              <a:buNone/>
              <a:defRPr sz="1000">
                <a:solidFill>
                  <a:schemeClr val="bg1">
                    <a:lumMod val="65000"/>
                  </a:schemeClr>
                </a:solidFill>
              </a:defRPr>
            </a:lvl1pPr>
          </a:lstStyle>
          <a:p>
            <a:r>
              <a:rPr lang="en-US" smtClean="0"/>
              <a:t>Click to add a picture</a:t>
            </a:r>
            <a:endParaRPr lang="en-US"/>
          </a:p>
        </p:txBody>
      </p:sp>
      <p:cxnSp>
        <p:nvCxnSpPr>
          <p:cNvPr id="69" name="Straight Connector 68"/>
          <p:cNvCxnSpPr/>
          <p:nvPr userDrawn="1"/>
        </p:nvCxnSpPr>
        <p:spPr>
          <a:xfrm>
            <a:off x="343366" y="2543370"/>
            <a:ext cx="1984107" cy="0"/>
          </a:xfrm>
          <a:prstGeom prst="line">
            <a:avLst/>
          </a:prstGeom>
          <a:ln w="12700" cmpd="sng">
            <a:solidFill>
              <a:schemeClr val="tx1">
                <a:lumMod val="75000"/>
                <a:lumOff val="25000"/>
              </a:schemeClr>
            </a:solidFill>
            <a:prstDash val="solid"/>
            <a:miter lim="800000"/>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userDrawn="1"/>
        </p:nvCxnSpPr>
        <p:spPr>
          <a:xfrm>
            <a:off x="343366" y="1455737"/>
            <a:ext cx="1984107" cy="0"/>
          </a:xfrm>
          <a:prstGeom prst="line">
            <a:avLst/>
          </a:prstGeom>
          <a:ln w="12700" cmpd="sng">
            <a:solidFill>
              <a:schemeClr val="tx1">
                <a:lumMod val="75000"/>
                <a:lumOff val="25000"/>
              </a:schemeClr>
            </a:solidFill>
            <a:prstDash val="solid"/>
            <a:miter lim="800000"/>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userDrawn="1"/>
        </p:nvCxnSpPr>
        <p:spPr>
          <a:xfrm>
            <a:off x="6823367" y="2543370"/>
            <a:ext cx="1984107" cy="0"/>
          </a:xfrm>
          <a:prstGeom prst="line">
            <a:avLst/>
          </a:prstGeom>
          <a:ln w="12700" cmpd="sng">
            <a:solidFill>
              <a:schemeClr val="tx1">
                <a:lumMod val="75000"/>
                <a:lumOff val="25000"/>
              </a:schemeClr>
            </a:solidFill>
            <a:prstDash val="solid"/>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userDrawn="1"/>
        </p:nvCxnSpPr>
        <p:spPr>
          <a:xfrm>
            <a:off x="6823367" y="1455737"/>
            <a:ext cx="1984107" cy="0"/>
          </a:xfrm>
          <a:prstGeom prst="line">
            <a:avLst/>
          </a:prstGeom>
          <a:ln w="12700" cmpd="sng">
            <a:solidFill>
              <a:schemeClr val="tx1">
                <a:lumMod val="75000"/>
                <a:lumOff val="25000"/>
              </a:schemeClr>
            </a:solidFill>
            <a:prstDash val="solid"/>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userDrawn="1"/>
        </p:nvCxnSpPr>
        <p:spPr>
          <a:xfrm>
            <a:off x="4666134" y="2543370"/>
            <a:ext cx="1984107" cy="0"/>
          </a:xfrm>
          <a:prstGeom prst="line">
            <a:avLst/>
          </a:prstGeom>
          <a:ln w="12700" cmpd="sng">
            <a:solidFill>
              <a:schemeClr val="tx1">
                <a:lumMod val="75000"/>
                <a:lumOff val="25000"/>
              </a:schemeClr>
            </a:solidFill>
            <a:prstDash val="solid"/>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userDrawn="1"/>
        </p:nvCxnSpPr>
        <p:spPr>
          <a:xfrm>
            <a:off x="4666134" y="1455737"/>
            <a:ext cx="1984107" cy="0"/>
          </a:xfrm>
          <a:prstGeom prst="line">
            <a:avLst/>
          </a:prstGeom>
          <a:ln w="12700" cmpd="sng">
            <a:solidFill>
              <a:schemeClr val="tx1">
                <a:lumMod val="75000"/>
                <a:lumOff val="25000"/>
              </a:schemeClr>
            </a:solidFill>
            <a:prstDash val="solid"/>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userDrawn="1"/>
        </p:nvCxnSpPr>
        <p:spPr>
          <a:xfrm>
            <a:off x="2504795" y="2543370"/>
            <a:ext cx="1984107" cy="0"/>
          </a:xfrm>
          <a:prstGeom prst="line">
            <a:avLst/>
          </a:prstGeom>
          <a:ln w="12700" cmpd="sng">
            <a:solidFill>
              <a:schemeClr val="tx1">
                <a:lumMod val="75000"/>
                <a:lumOff val="25000"/>
              </a:schemeClr>
            </a:solidFill>
            <a:prstDash val="solid"/>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userDrawn="1"/>
        </p:nvCxnSpPr>
        <p:spPr>
          <a:xfrm>
            <a:off x="2504795" y="1455737"/>
            <a:ext cx="1984107" cy="0"/>
          </a:xfrm>
          <a:prstGeom prst="line">
            <a:avLst/>
          </a:prstGeom>
          <a:ln w="12700" cmpd="sng">
            <a:solidFill>
              <a:schemeClr val="tx1">
                <a:lumMod val="75000"/>
                <a:lumOff val="25000"/>
              </a:schemeClr>
            </a:solidFill>
            <a:prstDash val="solid"/>
            <a:miter lim="800000"/>
          </a:ln>
        </p:spPr>
        <p:style>
          <a:lnRef idx="1">
            <a:schemeClr val="accent1"/>
          </a:lnRef>
          <a:fillRef idx="0">
            <a:schemeClr val="accent1"/>
          </a:fillRef>
          <a:effectRef idx="0">
            <a:schemeClr val="accent1"/>
          </a:effectRef>
          <a:fontRef idx="minor">
            <a:schemeClr val="tx1"/>
          </a:fontRef>
        </p:style>
      </p:cxnSp>
      <p:sp>
        <p:nvSpPr>
          <p:cNvPr id="97" name="Picture Placeholder 2"/>
          <p:cNvSpPr>
            <a:spLocks noGrp="1"/>
          </p:cNvSpPr>
          <p:nvPr>
            <p:ph type="pic" sz="quarter" idx="49" hasCustomPrompt="1"/>
          </p:nvPr>
        </p:nvSpPr>
        <p:spPr>
          <a:xfrm>
            <a:off x="6823367" y="1528560"/>
            <a:ext cx="941987" cy="941987"/>
          </a:xfrm>
          <a:prstGeom prst="rect">
            <a:avLst/>
          </a:prstGeom>
          <a:noFill/>
          <a:ln w="6350" cmpd="sng">
            <a:noFill/>
          </a:ln>
        </p:spPr>
        <p:txBody>
          <a:bodyPr vert="horz"/>
          <a:lstStyle>
            <a:lvl1pPr marL="0" indent="0" algn="ctr">
              <a:lnSpc>
                <a:spcPct val="90000"/>
              </a:lnSpc>
              <a:buNone/>
              <a:defRPr sz="1000">
                <a:solidFill>
                  <a:schemeClr val="bg1">
                    <a:lumMod val="65000"/>
                  </a:schemeClr>
                </a:solidFill>
              </a:defRPr>
            </a:lvl1pPr>
          </a:lstStyle>
          <a:p>
            <a:r>
              <a:rPr lang="en-US" smtClean="0"/>
              <a:t>Click to add a picture</a:t>
            </a:r>
            <a:endParaRPr lang="en-US"/>
          </a:p>
        </p:txBody>
      </p:sp>
      <p:sp>
        <p:nvSpPr>
          <p:cNvPr id="98" name="Picture Placeholder 2"/>
          <p:cNvSpPr>
            <a:spLocks noGrp="1"/>
          </p:cNvSpPr>
          <p:nvPr>
            <p:ph type="pic" sz="quarter" idx="50" hasCustomPrompt="1"/>
          </p:nvPr>
        </p:nvSpPr>
        <p:spPr>
          <a:xfrm>
            <a:off x="4666134" y="1528560"/>
            <a:ext cx="941987" cy="941987"/>
          </a:xfrm>
          <a:prstGeom prst="rect">
            <a:avLst/>
          </a:prstGeom>
          <a:noFill/>
          <a:ln w="6350" cmpd="sng">
            <a:noFill/>
          </a:ln>
        </p:spPr>
        <p:txBody>
          <a:bodyPr vert="horz"/>
          <a:lstStyle>
            <a:lvl1pPr marL="0" indent="0" algn="ctr">
              <a:lnSpc>
                <a:spcPct val="90000"/>
              </a:lnSpc>
              <a:buNone/>
              <a:defRPr sz="1000">
                <a:solidFill>
                  <a:schemeClr val="bg1">
                    <a:lumMod val="65000"/>
                  </a:schemeClr>
                </a:solidFill>
              </a:defRPr>
            </a:lvl1pPr>
          </a:lstStyle>
          <a:p>
            <a:r>
              <a:rPr lang="en-US" smtClean="0"/>
              <a:t>Click to add a picture</a:t>
            </a:r>
            <a:endParaRPr lang="en-US"/>
          </a:p>
        </p:txBody>
      </p:sp>
      <p:sp>
        <p:nvSpPr>
          <p:cNvPr id="99" name="Picture Placeholder 2"/>
          <p:cNvSpPr>
            <a:spLocks noGrp="1"/>
          </p:cNvSpPr>
          <p:nvPr>
            <p:ph type="pic" sz="quarter" idx="51" hasCustomPrompt="1"/>
          </p:nvPr>
        </p:nvSpPr>
        <p:spPr>
          <a:xfrm>
            <a:off x="2504795" y="1528560"/>
            <a:ext cx="941987" cy="941987"/>
          </a:xfrm>
          <a:prstGeom prst="rect">
            <a:avLst/>
          </a:prstGeom>
          <a:noFill/>
          <a:ln w="6350" cmpd="sng">
            <a:noFill/>
          </a:ln>
        </p:spPr>
        <p:txBody>
          <a:bodyPr vert="horz"/>
          <a:lstStyle>
            <a:lvl1pPr marL="0" indent="0" algn="ctr">
              <a:lnSpc>
                <a:spcPct val="90000"/>
              </a:lnSpc>
              <a:buNone/>
              <a:defRPr sz="1000">
                <a:solidFill>
                  <a:schemeClr val="bg1">
                    <a:lumMod val="65000"/>
                  </a:schemeClr>
                </a:solidFill>
              </a:defRPr>
            </a:lvl1pPr>
          </a:lstStyle>
          <a:p>
            <a:r>
              <a:rPr lang="en-US" smtClean="0"/>
              <a:t>Click to add a picture</a:t>
            </a:r>
            <a:endParaRPr lang="en-US"/>
          </a:p>
        </p:txBody>
      </p:sp>
      <p:sp>
        <p:nvSpPr>
          <p:cNvPr id="104" name="Text Placeholder 46"/>
          <p:cNvSpPr>
            <a:spLocks noGrp="1"/>
          </p:cNvSpPr>
          <p:nvPr>
            <p:ph idx="1" hasCustomPrompt="1"/>
          </p:nvPr>
        </p:nvSpPr>
        <p:spPr>
          <a:xfrm>
            <a:off x="347472" y="2539169"/>
            <a:ext cx="1980001" cy="205060"/>
          </a:xfrm>
          <a:prstGeom prst="rect">
            <a:avLst/>
          </a:prstGeom>
        </p:spPr>
        <p:txBody>
          <a:bodyPr vert="horz" lIns="0" tIns="25200" rIns="0" bIns="45720" rtlCol="0">
            <a:noAutofit/>
          </a:bodyPr>
          <a:lstStyle>
            <a:lvl1pPr marL="0" indent="0">
              <a:spcBef>
                <a:spcPts val="600"/>
              </a:spcBef>
              <a:buClr>
                <a:schemeClr val="tx2"/>
              </a:buClr>
              <a:buNone/>
              <a:defRPr sz="1000" b="1" baseline="0">
                <a:solidFill>
                  <a:schemeClr val="tx2"/>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name</a:t>
            </a:r>
            <a:endParaRPr lang="en-GB" dirty="0"/>
          </a:p>
        </p:txBody>
      </p:sp>
      <p:sp>
        <p:nvSpPr>
          <p:cNvPr id="105" name="Text Placeholder 46"/>
          <p:cNvSpPr>
            <a:spLocks noGrp="1"/>
          </p:cNvSpPr>
          <p:nvPr>
            <p:ph idx="29" hasCustomPrompt="1"/>
          </p:nvPr>
        </p:nvSpPr>
        <p:spPr>
          <a:xfrm>
            <a:off x="347472" y="2950325"/>
            <a:ext cx="1980001" cy="1744015"/>
          </a:xfrm>
          <a:prstGeom prst="rect">
            <a:avLst/>
          </a:prstGeom>
        </p:spPr>
        <p:txBody>
          <a:bodyPr vert="horz" lIns="0" tIns="45720" rIns="0" bIns="45720" rtlCol="0">
            <a:noAutofit/>
          </a:bodyPr>
          <a:lstStyle>
            <a:lvl1pPr marL="0" indent="0">
              <a:spcBef>
                <a:spcPts val="600"/>
              </a:spcBef>
              <a:buClr>
                <a:schemeClr val="tx2"/>
              </a:buClr>
              <a:buNone/>
              <a:defRPr sz="800" b="0">
                <a:solidFill>
                  <a:schemeClr val="tx1">
                    <a:lumMod val="75000"/>
                    <a:lumOff val="25000"/>
                  </a:schemeClr>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bio</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06" name="Text Placeholder 46"/>
          <p:cNvSpPr>
            <a:spLocks noGrp="1"/>
          </p:cNvSpPr>
          <p:nvPr>
            <p:ph idx="30" hasCustomPrompt="1"/>
          </p:nvPr>
        </p:nvSpPr>
        <p:spPr>
          <a:xfrm>
            <a:off x="347472" y="2744229"/>
            <a:ext cx="1980001" cy="176217"/>
          </a:xfrm>
          <a:prstGeom prst="rect">
            <a:avLst/>
          </a:prstGeom>
        </p:spPr>
        <p:txBody>
          <a:bodyPr vert="horz" lIns="0" tIns="0" rIns="0" bIns="45720" rtlCol="0">
            <a:noAutofit/>
          </a:bodyPr>
          <a:lstStyle>
            <a:lvl1pPr marL="0" indent="0">
              <a:spcBef>
                <a:spcPts val="600"/>
              </a:spcBef>
              <a:buClr>
                <a:schemeClr val="tx2"/>
              </a:buClr>
              <a:buNone/>
              <a:defRPr sz="900" b="0" baseline="0">
                <a:solidFill>
                  <a:schemeClr val="tx1">
                    <a:lumMod val="75000"/>
                    <a:lumOff val="25000"/>
                  </a:schemeClr>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job title</a:t>
            </a:r>
            <a:endParaRPr lang="en-GB" dirty="0"/>
          </a:p>
        </p:txBody>
      </p:sp>
      <p:cxnSp>
        <p:nvCxnSpPr>
          <p:cNvPr id="108" name="Straight Connector 107"/>
          <p:cNvCxnSpPr/>
          <p:nvPr userDrawn="1"/>
        </p:nvCxnSpPr>
        <p:spPr>
          <a:xfrm>
            <a:off x="351670" y="2950325"/>
            <a:ext cx="1977994" cy="0"/>
          </a:xfrm>
          <a:prstGeom prst="line">
            <a:avLst/>
          </a:prstGeom>
          <a:ln w="12700" cap="rnd">
            <a:solidFill>
              <a:schemeClr val="tx1">
                <a:lumMod val="75000"/>
                <a:lumOff val="25000"/>
              </a:schemeClr>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109" name="Text Placeholder 46"/>
          <p:cNvSpPr>
            <a:spLocks noGrp="1"/>
          </p:cNvSpPr>
          <p:nvPr>
            <p:ph idx="52" hasCustomPrompt="1"/>
          </p:nvPr>
        </p:nvSpPr>
        <p:spPr>
          <a:xfrm>
            <a:off x="2504795" y="2539169"/>
            <a:ext cx="1980001" cy="205060"/>
          </a:xfrm>
          <a:prstGeom prst="rect">
            <a:avLst/>
          </a:prstGeom>
        </p:spPr>
        <p:txBody>
          <a:bodyPr vert="horz" lIns="0" tIns="25200" rIns="0" bIns="45720" rtlCol="0">
            <a:noAutofit/>
          </a:bodyPr>
          <a:lstStyle>
            <a:lvl1pPr marL="0" indent="0">
              <a:spcBef>
                <a:spcPts val="600"/>
              </a:spcBef>
              <a:buClr>
                <a:schemeClr val="tx2"/>
              </a:buClr>
              <a:buNone/>
              <a:defRPr sz="1000" b="1" baseline="0">
                <a:solidFill>
                  <a:schemeClr val="tx2"/>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name</a:t>
            </a:r>
            <a:endParaRPr lang="en-GB" dirty="0"/>
          </a:p>
        </p:txBody>
      </p:sp>
      <p:sp>
        <p:nvSpPr>
          <p:cNvPr id="110" name="Text Placeholder 46"/>
          <p:cNvSpPr>
            <a:spLocks noGrp="1"/>
          </p:cNvSpPr>
          <p:nvPr>
            <p:ph idx="53" hasCustomPrompt="1"/>
          </p:nvPr>
        </p:nvSpPr>
        <p:spPr>
          <a:xfrm>
            <a:off x="2504795" y="2950325"/>
            <a:ext cx="1980001" cy="1744015"/>
          </a:xfrm>
          <a:prstGeom prst="rect">
            <a:avLst/>
          </a:prstGeom>
        </p:spPr>
        <p:txBody>
          <a:bodyPr vert="horz" lIns="0" tIns="45720" rIns="0" bIns="45720" rtlCol="0">
            <a:noAutofit/>
          </a:bodyPr>
          <a:lstStyle>
            <a:lvl1pPr marL="0" indent="0">
              <a:spcBef>
                <a:spcPts val="600"/>
              </a:spcBef>
              <a:buClr>
                <a:schemeClr val="tx2"/>
              </a:buClr>
              <a:buNone/>
              <a:defRPr sz="800" b="0">
                <a:solidFill>
                  <a:schemeClr val="tx1">
                    <a:lumMod val="75000"/>
                    <a:lumOff val="25000"/>
                  </a:schemeClr>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bio</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11" name="Text Placeholder 46"/>
          <p:cNvSpPr>
            <a:spLocks noGrp="1"/>
          </p:cNvSpPr>
          <p:nvPr>
            <p:ph idx="54" hasCustomPrompt="1"/>
          </p:nvPr>
        </p:nvSpPr>
        <p:spPr>
          <a:xfrm>
            <a:off x="2504795" y="2744229"/>
            <a:ext cx="1980001" cy="176217"/>
          </a:xfrm>
          <a:prstGeom prst="rect">
            <a:avLst/>
          </a:prstGeom>
        </p:spPr>
        <p:txBody>
          <a:bodyPr vert="horz" lIns="0" tIns="0" rIns="0" bIns="45720" rtlCol="0">
            <a:noAutofit/>
          </a:bodyPr>
          <a:lstStyle>
            <a:lvl1pPr marL="0" indent="0">
              <a:spcBef>
                <a:spcPts val="600"/>
              </a:spcBef>
              <a:buClr>
                <a:schemeClr val="tx2"/>
              </a:buClr>
              <a:buNone/>
              <a:defRPr sz="900" b="0" baseline="0">
                <a:solidFill>
                  <a:schemeClr val="tx1">
                    <a:lumMod val="75000"/>
                    <a:lumOff val="25000"/>
                  </a:schemeClr>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job title</a:t>
            </a:r>
            <a:endParaRPr lang="en-GB" dirty="0"/>
          </a:p>
        </p:txBody>
      </p:sp>
      <p:cxnSp>
        <p:nvCxnSpPr>
          <p:cNvPr id="112" name="Straight Connector 111"/>
          <p:cNvCxnSpPr/>
          <p:nvPr userDrawn="1"/>
        </p:nvCxnSpPr>
        <p:spPr>
          <a:xfrm>
            <a:off x="2504795" y="2950325"/>
            <a:ext cx="1977994" cy="0"/>
          </a:xfrm>
          <a:prstGeom prst="line">
            <a:avLst/>
          </a:prstGeom>
          <a:ln w="12700" cap="rnd">
            <a:solidFill>
              <a:schemeClr val="tx1">
                <a:lumMod val="75000"/>
                <a:lumOff val="25000"/>
              </a:schemeClr>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121" name="Text Placeholder 46"/>
          <p:cNvSpPr>
            <a:spLocks noGrp="1"/>
          </p:cNvSpPr>
          <p:nvPr>
            <p:ph idx="55" hasCustomPrompt="1"/>
          </p:nvPr>
        </p:nvSpPr>
        <p:spPr>
          <a:xfrm>
            <a:off x="4666134" y="2539169"/>
            <a:ext cx="1980001" cy="205060"/>
          </a:xfrm>
          <a:prstGeom prst="rect">
            <a:avLst/>
          </a:prstGeom>
        </p:spPr>
        <p:txBody>
          <a:bodyPr vert="horz" lIns="0" tIns="25200" rIns="0" bIns="45720" rtlCol="0">
            <a:noAutofit/>
          </a:bodyPr>
          <a:lstStyle>
            <a:lvl1pPr marL="0" indent="0">
              <a:spcBef>
                <a:spcPts val="600"/>
              </a:spcBef>
              <a:buClr>
                <a:schemeClr val="tx2"/>
              </a:buClr>
              <a:buNone/>
              <a:defRPr sz="1000" b="1" baseline="0">
                <a:solidFill>
                  <a:schemeClr val="tx2"/>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name</a:t>
            </a:r>
            <a:endParaRPr lang="en-GB" dirty="0"/>
          </a:p>
        </p:txBody>
      </p:sp>
      <p:sp>
        <p:nvSpPr>
          <p:cNvPr id="122" name="Text Placeholder 46"/>
          <p:cNvSpPr>
            <a:spLocks noGrp="1"/>
          </p:cNvSpPr>
          <p:nvPr>
            <p:ph idx="56" hasCustomPrompt="1"/>
          </p:nvPr>
        </p:nvSpPr>
        <p:spPr>
          <a:xfrm>
            <a:off x="4666134" y="2950325"/>
            <a:ext cx="1980001" cy="1744015"/>
          </a:xfrm>
          <a:prstGeom prst="rect">
            <a:avLst/>
          </a:prstGeom>
        </p:spPr>
        <p:txBody>
          <a:bodyPr vert="horz" lIns="0" tIns="45720" rIns="0" bIns="45720" rtlCol="0">
            <a:noAutofit/>
          </a:bodyPr>
          <a:lstStyle>
            <a:lvl1pPr marL="0" indent="0">
              <a:spcBef>
                <a:spcPts val="600"/>
              </a:spcBef>
              <a:buClr>
                <a:schemeClr val="tx2"/>
              </a:buClr>
              <a:buNone/>
              <a:defRPr sz="800" b="0">
                <a:solidFill>
                  <a:schemeClr val="tx1">
                    <a:lumMod val="75000"/>
                    <a:lumOff val="25000"/>
                  </a:schemeClr>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bio</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23" name="Text Placeholder 46"/>
          <p:cNvSpPr>
            <a:spLocks noGrp="1"/>
          </p:cNvSpPr>
          <p:nvPr>
            <p:ph idx="57" hasCustomPrompt="1"/>
          </p:nvPr>
        </p:nvSpPr>
        <p:spPr>
          <a:xfrm>
            <a:off x="4666134" y="2744229"/>
            <a:ext cx="1980001" cy="176217"/>
          </a:xfrm>
          <a:prstGeom prst="rect">
            <a:avLst/>
          </a:prstGeom>
        </p:spPr>
        <p:txBody>
          <a:bodyPr vert="horz" lIns="0" tIns="0" rIns="0" bIns="45720" rtlCol="0">
            <a:noAutofit/>
          </a:bodyPr>
          <a:lstStyle>
            <a:lvl1pPr marL="0" indent="0">
              <a:spcBef>
                <a:spcPts val="600"/>
              </a:spcBef>
              <a:buClr>
                <a:schemeClr val="tx2"/>
              </a:buClr>
              <a:buNone/>
              <a:defRPr sz="900" b="0" baseline="0">
                <a:solidFill>
                  <a:schemeClr val="tx1">
                    <a:lumMod val="75000"/>
                    <a:lumOff val="25000"/>
                  </a:schemeClr>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job title</a:t>
            </a:r>
            <a:endParaRPr lang="en-GB" dirty="0"/>
          </a:p>
        </p:txBody>
      </p:sp>
      <p:cxnSp>
        <p:nvCxnSpPr>
          <p:cNvPr id="124" name="Straight Connector 123"/>
          <p:cNvCxnSpPr/>
          <p:nvPr userDrawn="1"/>
        </p:nvCxnSpPr>
        <p:spPr>
          <a:xfrm>
            <a:off x="4666134" y="2950325"/>
            <a:ext cx="1977994" cy="0"/>
          </a:xfrm>
          <a:prstGeom prst="line">
            <a:avLst/>
          </a:prstGeom>
          <a:ln w="12700" cap="rnd">
            <a:solidFill>
              <a:schemeClr val="tx1">
                <a:lumMod val="75000"/>
                <a:lumOff val="25000"/>
              </a:schemeClr>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125" name="Text Placeholder 46"/>
          <p:cNvSpPr>
            <a:spLocks noGrp="1"/>
          </p:cNvSpPr>
          <p:nvPr>
            <p:ph idx="58" hasCustomPrompt="1"/>
          </p:nvPr>
        </p:nvSpPr>
        <p:spPr>
          <a:xfrm>
            <a:off x="6823367" y="2539169"/>
            <a:ext cx="1980001" cy="205060"/>
          </a:xfrm>
          <a:prstGeom prst="rect">
            <a:avLst/>
          </a:prstGeom>
        </p:spPr>
        <p:txBody>
          <a:bodyPr vert="horz" lIns="0" tIns="25200" rIns="0" bIns="45720" rtlCol="0">
            <a:noAutofit/>
          </a:bodyPr>
          <a:lstStyle>
            <a:lvl1pPr marL="0" indent="0">
              <a:spcBef>
                <a:spcPts val="600"/>
              </a:spcBef>
              <a:buClr>
                <a:schemeClr val="tx2"/>
              </a:buClr>
              <a:buNone/>
              <a:defRPr sz="1000" b="1" baseline="0">
                <a:solidFill>
                  <a:schemeClr val="tx2"/>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name</a:t>
            </a:r>
            <a:endParaRPr lang="en-GB" dirty="0"/>
          </a:p>
        </p:txBody>
      </p:sp>
      <p:sp>
        <p:nvSpPr>
          <p:cNvPr id="126" name="Text Placeholder 46"/>
          <p:cNvSpPr>
            <a:spLocks noGrp="1"/>
          </p:cNvSpPr>
          <p:nvPr>
            <p:ph idx="59" hasCustomPrompt="1"/>
          </p:nvPr>
        </p:nvSpPr>
        <p:spPr>
          <a:xfrm>
            <a:off x="6823367" y="2950325"/>
            <a:ext cx="1980001" cy="1744015"/>
          </a:xfrm>
          <a:prstGeom prst="rect">
            <a:avLst/>
          </a:prstGeom>
        </p:spPr>
        <p:txBody>
          <a:bodyPr vert="horz" lIns="0" tIns="45720" rIns="0" bIns="45720" rtlCol="0">
            <a:noAutofit/>
          </a:bodyPr>
          <a:lstStyle>
            <a:lvl1pPr marL="0" indent="0">
              <a:spcBef>
                <a:spcPts val="600"/>
              </a:spcBef>
              <a:buClr>
                <a:schemeClr val="tx2"/>
              </a:buClr>
              <a:buNone/>
              <a:defRPr sz="800" b="0">
                <a:solidFill>
                  <a:schemeClr val="tx1">
                    <a:lumMod val="75000"/>
                    <a:lumOff val="25000"/>
                  </a:schemeClr>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bio</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27" name="Text Placeholder 46"/>
          <p:cNvSpPr>
            <a:spLocks noGrp="1"/>
          </p:cNvSpPr>
          <p:nvPr>
            <p:ph idx="60" hasCustomPrompt="1"/>
          </p:nvPr>
        </p:nvSpPr>
        <p:spPr>
          <a:xfrm>
            <a:off x="6823367" y="2744229"/>
            <a:ext cx="1980001" cy="176217"/>
          </a:xfrm>
          <a:prstGeom prst="rect">
            <a:avLst/>
          </a:prstGeom>
        </p:spPr>
        <p:txBody>
          <a:bodyPr vert="horz" lIns="0" tIns="0" rIns="0" bIns="45720" rtlCol="0">
            <a:noAutofit/>
          </a:bodyPr>
          <a:lstStyle>
            <a:lvl1pPr marL="0" indent="0">
              <a:spcBef>
                <a:spcPts val="600"/>
              </a:spcBef>
              <a:buClr>
                <a:schemeClr val="tx2"/>
              </a:buClr>
              <a:buNone/>
              <a:defRPr sz="900" b="0" baseline="0">
                <a:solidFill>
                  <a:schemeClr val="tx1">
                    <a:lumMod val="75000"/>
                    <a:lumOff val="25000"/>
                  </a:schemeClr>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job title</a:t>
            </a:r>
            <a:endParaRPr lang="en-GB" dirty="0"/>
          </a:p>
        </p:txBody>
      </p:sp>
      <p:cxnSp>
        <p:nvCxnSpPr>
          <p:cNvPr id="128" name="Straight Connector 127"/>
          <p:cNvCxnSpPr/>
          <p:nvPr userDrawn="1"/>
        </p:nvCxnSpPr>
        <p:spPr>
          <a:xfrm>
            <a:off x="6823367" y="2950325"/>
            <a:ext cx="1977994" cy="0"/>
          </a:xfrm>
          <a:prstGeom prst="line">
            <a:avLst/>
          </a:prstGeom>
          <a:ln w="12700" cap="rnd">
            <a:solidFill>
              <a:schemeClr val="tx1">
                <a:lumMod val="75000"/>
                <a:lumOff val="25000"/>
              </a:schemeClr>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35" name="Text Placeholder 2"/>
          <p:cNvSpPr>
            <a:spLocks noGrp="1"/>
          </p:cNvSpPr>
          <p:nvPr>
            <p:ph type="body" sz="quarter" idx="61" hasCustomPrompt="1"/>
          </p:nvPr>
        </p:nvSpPr>
        <p:spPr>
          <a:xfrm>
            <a:off x="6202363" y="4807465"/>
            <a:ext cx="1160462" cy="341313"/>
          </a:xfrm>
          <a:prstGeom prst="rect">
            <a:avLst/>
          </a:prstGeom>
        </p:spPr>
        <p:txBody>
          <a:bodyPr anchor="ctr"/>
          <a:lstStyle>
            <a:lvl1pPr marL="0" indent="0" algn="ctr">
              <a:buNone/>
              <a:defRPr sz="800">
                <a:solidFill>
                  <a:schemeClr val="tx1">
                    <a:lumMod val="75000"/>
                    <a:lumOff val="25000"/>
                  </a:schemeClr>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sp>
        <p:nvSpPr>
          <p:cNvPr id="36"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chemeClr val="bg1">
                    <a:lumMod val="75000"/>
                  </a:schemeClr>
                </a:solidFill>
                <a:latin typeface="+mn-lt"/>
              </a:defRPr>
            </a:lvl1pPr>
          </a:lstStyle>
          <a:p>
            <a:fld id="{19AB4E72-7858-48F1-A40D-12FF09E4BFB8}" type="slidenum">
              <a:rPr lang="en-GB" smtClean="0"/>
              <a:pPr/>
              <a:t>‹Nº›</a:t>
            </a:fld>
            <a:endParaRPr lang="en-GB"/>
          </a:p>
        </p:txBody>
      </p:sp>
      <p:sp>
        <p:nvSpPr>
          <p:cNvPr id="37" name="Footer Placeholder 6"/>
          <p:cNvSpPr>
            <a:spLocks noGrp="1"/>
          </p:cNvSpPr>
          <p:nvPr>
            <p:ph type="ftr" sz="quarter" idx="11"/>
          </p:nvPr>
        </p:nvSpPr>
        <p:spPr>
          <a:xfrm>
            <a:off x="608553" y="4816190"/>
            <a:ext cx="5040000" cy="158419"/>
          </a:xfrm>
          <a:prstGeom prst="rect">
            <a:avLst/>
          </a:prstGeom>
        </p:spPr>
        <p:txBody>
          <a:bodyPr lIns="0" rIns="0" bIns="0"/>
          <a:lstStyle>
            <a:lvl1pPr>
              <a:defRPr sz="600">
                <a:solidFill>
                  <a:schemeClr val="bg1">
                    <a:lumMod val="75000"/>
                  </a:schemeClr>
                </a:solidFill>
                <a:latin typeface="+mj-lt"/>
              </a:defRPr>
            </a:lvl1pPr>
          </a:lstStyle>
          <a:p>
            <a:endParaRPr lang="pt-BR"/>
          </a:p>
        </p:txBody>
      </p:sp>
      <p:sp>
        <p:nvSpPr>
          <p:cNvPr id="38"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latin typeface="+mn-lt"/>
              </a:rPr>
              <a:t>Private and Confidental</a:t>
            </a:r>
            <a:endParaRPr lang="pt-BR" sz="500" dirty="0">
              <a:latin typeface="+mn-lt"/>
            </a:endParaRPr>
          </a:p>
        </p:txBody>
      </p:sp>
    </p:spTree>
    <p:extLst>
      <p:ext uri="{BB962C8B-B14F-4D97-AF65-F5344CB8AC3E}">
        <p14:creationId xmlns:p14="http://schemas.microsoft.com/office/powerpoint/2010/main" val="4284079800"/>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 Title - Team Bio - 8pl">
    <p:bg>
      <p:bgPr>
        <a:solidFill>
          <a:schemeClr val="bg1"/>
        </a:solidFill>
        <a:effectLst/>
      </p:bgPr>
    </p:bg>
    <p:spTree>
      <p:nvGrpSpPr>
        <p:cNvPr id="1" name=""/>
        <p:cNvGrpSpPr/>
        <p:nvPr/>
      </p:nvGrpSpPr>
      <p:grpSpPr>
        <a:xfrm>
          <a:off x="0" y="0"/>
          <a:ext cx="0" cy="0"/>
          <a:chOff x="0" y="0"/>
          <a:chExt cx="0" cy="0"/>
        </a:xfrm>
      </p:grpSpPr>
      <p:sp>
        <p:nvSpPr>
          <p:cNvPr id="9" name="Title Placeholder 6"/>
          <p:cNvSpPr>
            <a:spLocks noGrp="1"/>
          </p:cNvSpPr>
          <p:nvPr>
            <p:ph type="title"/>
          </p:nvPr>
        </p:nvSpPr>
        <p:spPr>
          <a:xfrm>
            <a:off x="347474" y="323727"/>
            <a:ext cx="8460000" cy="416186"/>
          </a:xfrm>
          <a:prstGeom prst="rect">
            <a:avLst/>
          </a:prstGeom>
        </p:spPr>
        <p:txBody>
          <a:bodyPr vert="horz" lIns="0" tIns="45720" rIns="0" bIns="45720" rtlCol="0" anchor="b">
            <a:noAutofit/>
          </a:bodyPr>
          <a:lstStyle>
            <a:lvl1pPr>
              <a:defRPr sz="2000">
                <a:solidFill>
                  <a:schemeClr val="tx1">
                    <a:lumMod val="75000"/>
                    <a:lumOff val="25000"/>
                  </a:schemeClr>
                </a:solidFill>
              </a:defRPr>
            </a:lvl1pPr>
          </a:lstStyle>
          <a:p>
            <a:r>
              <a:rPr lang="en-US" dirty="0" smtClean="0"/>
              <a:t>Click to edit Master title style</a:t>
            </a:r>
            <a:endParaRPr lang="en-GB" dirty="0"/>
          </a:p>
        </p:txBody>
      </p:sp>
      <p:cxnSp>
        <p:nvCxnSpPr>
          <p:cNvPr id="13" name="Straight Connector 12"/>
          <p:cNvCxnSpPr/>
          <p:nvPr userDrawn="1"/>
        </p:nvCxnSpPr>
        <p:spPr>
          <a:xfrm>
            <a:off x="343366" y="739913"/>
            <a:ext cx="8460000" cy="0"/>
          </a:xfrm>
          <a:prstGeom prst="line">
            <a:avLst/>
          </a:prstGeom>
          <a:ln w="12700">
            <a:solidFill>
              <a:schemeClr val="tx1">
                <a:lumMod val="75000"/>
                <a:lumOff val="25000"/>
              </a:schemeClr>
            </a:solidFill>
            <a:miter lim="800000"/>
          </a:ln>
        </p:spPr>
        <p:style>
          <a:lnRef idx="1">
            <a:schemeClr val="accent1"/>
          </a:lnRef>
          <a:fillRef idx="0">
            <a:schemeClr val="accent1"/>
          </a:fillRef>
          <a:effectRef idx="0">
            <a:schemeClr val="accent1"/>
          </a:effectRef>
          <a:fontRef idx="minor">
            <a:schemeClr val="tx1"/>
          </a:fontRef>
        </p:style>
      </p:cxnSp>
      <p:sp>
        <p:nvSpPr>
          <p:cNvPr id="11" name="Picture Placeholder 2"/>
          <p:cNvSpPr>
            <a:spLocks noGrp="1"/>
          </p:cNvSpPr>
          <p:nvPr>
            <p:ph type="pic" sz="quarter" idx="25" hasCustomPrompt="1"/>
          </p:nvPr>
        </p:nvSpPr>
        <p:spPr>
          <a:xfrm>
            <a:off x="347472" y="1528560"/>
            <a:ext cx="720000" cy="720000"/>
          </a:xfrm>
          <a:prstGeom prst="rect">
            <a:avLst/>
          </a:prstGeom>
          <a:noFill/>
          <a:ln w="6350" cmpd="sng">
            <a:noFill/>
          </a:ln>
        </p:spPr>
        <p:txBody>
          <a:bodyPr vert="horz"/>
          <a:lstStyle>
            <a:lvl1pPr marL="0" indent="0" algn="ctr">
              <a:lnSpc>
                <a:spcPct val="90000"/>
              </a:lnSpc>
              <a:buNone/>
              <a:defRPr sz="1000">
                <a:solidFill>
                  <a:schemeClr val="bg1">
                    <a:lumMod val="65000"/>
                  </a:schemeClr>
                </a:solidFill>
              </a:defRPr>
            </a:lvl1pPr>
          </a:lstStyle>
          <a:p>
            <a:r>
              <a:rPr lang="en-US" smtClean="0"/>
              <a:t>Click to add a picture</a:t>
            </a:r>
            <a:endParaRPr lang="en-US"/>
          </a:p>
        </p:txBody>
      </p:sp>
      <p:cxnSp>
        <p:nvCxnSpPr>
          <p:cNvPr id="15" name="Straight Connector 14"/>
          <p:cNvCxnSpPr/>
          <p:nvPr userDrawn="1"/>
        </p:nvCxnSpPr>
        <p:spPr>
          <a:xfrm>
            <a:off x="343366" y="2330380"/>
            <a:ext cx="1984107" cy="0"/>
          </a:xfrm>
          <a:prstGeom prst="line">
            <a:avLst/>
          </a:prstGeom>
          <a:ln w="12700" cmpd="sng">
            <a:solidFill>
              <a:schemeClr val="tx1">
                <a:lumMod val="75000"/>
                <a:lumOff val="25000"/>
              </a:schemeClr>
            </a:solidFill>
            <a:prstDash val="solid"/>
            <a:miter lim="800000"/>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343366" y="1455737"/>
            <a:ext cx="1984107" cy="0"/>
          </a:xfrm>
          <a:prstGeom prst="line">
            <a:avLst/>
          </a:prstGeom>
          <a:ln w="12700" cmpd="sng">
            <a:solidFill>
              <a:schemeClr val="tx1">
                <a:lumMod val="75000"/>
                <a:lumOff val="25000"/>
              </a:schemeClr>
            </a:solidFill>
            <a:prstDash val="solid"/>
            <a:miter lim="800000"/>
          </a:ln>
        </p:spPr>
        <p:style>
          <a:lnRef idx="1">
            <a:schemeClr val="accent1"/>
          </a:lnRef>
          <a:fillRef idx="0">
            <a:schemeClr val="accent1"/>
          </a:fillRef>
          <a:effectRef idx="0">
            <a:schemeClr val="accent1"/>
          </a:effectRef>
          <a:fontRef idx="minor">
            <a:schemeClr val="tx1"/>
          </a:fontRef>
        </p:style>
      </p:cxnSp>
      <p:sp>
        <p:nvSpPr>
          <p:cNvPr id="78" name="Text Placeholder 46"/>
          <p:cNvSpPr>
            <a:spLocks noGrp="1"/>
          </p:cNvSpPr>
          <p:nvPr>
            <p:ph idx="29" hasCustomPrompt="1"/>
          </p:nvPr>
        </p:nvSpPr>
        <p:spPr>
          <a:xfrm>
            <a:off x="347472" y="2737335"/>
            <a:ext cx="1980001" cy="328944"/>
          </a:xfrm>
          <a:prstGeom prst="rect">
            <a:avLst/>
          </a:prstGeom>
        </p:spPr>
        <p:txBody>
          <a:bodyPr vert="horz" lIns="0" tIns="45720" rIns="0" bIns="45720" rtlCol="0">
            <a:noAutofit/>
          </a:bodyPr>
          <a:lstStyle>
            <a:lvl1pPr marL="0" marR="0" indent="0" algn="l" defTabSz="914400" rtl="0" eaLnBrk="1" fontAlgn="auto" latinLnBrk="0" hangingPunct="1">
              <a:lnSpc>
                <a:spcPct val="100000"/>
              </a:lnSpc>
              <a:spcBef>
                <a:spcPts val="600"/>
              </a:spcBef>
              <a:spcAft>
                <a:spcPts val="0"/>
              </a:spcAft>
              <a:buClr>
                <a:schemeClr val="tx2"/>
              </a:buClr>
              <a:buSzPct val="99000"/>
              <a:buFont typeface="Arial" pitchFamily="34" charset="0"/>
              <a:buNone/>
              <a:tabLst/>
              <a:defRPr sz="800" b="0">
                <a:solidFill>
                  <a:schemeClr val="tx1">
                    <a:lumMod val="75000"/>
                    <a:lumOff val="25000"/>
                  </a:schemeClr>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marL="0" marR="0" lvl="0" indent="0" algn="l" defTabSz="914400" rtl="0" eaLnBrk="1" fontAlgn="auto" latinLnBrk="0" hangingPunct="1">
              <a:lnSpc>
                <a:spcPct val="100000"/>
              </a:lnSpc>
              <a:spcBef>
                <a:spcPts val="600"/>
              </a:spcBef>
              <a:spcAft>
                <a:spcPts val="0"/>
              </a:spcAft>
              <a:buClr>
                <a:schemeClr val="tx2"/>
              </a:buClr>
              <a:buSzPct val="99000"/>
              <a:buFont typeface="Arial" pitchFamily="34" charset="0"/>
              <a:buNone/>
              <a:tabLst/>
              <a:defRPr/>
            </a:pPr>
            <a:r>
              <a:rPr lang="en-US" dirty="0" smtClean="0"/>
              <a:t>Click to add a short bio</a:t>
            </a:r>
            <a:endParaRPr lang="en-GB" dirty="0" smtClean="0"/>
          </a:p>
        </p:txBody>
      </p:sp>
      <p:sp>
        <p:nvSpPr>
          <p:cNvPr id="79" name="Text Placeholder 46"/>
          <p:cNvSpPr>
            <a:spLocks noGrp="1"/>
          </p:cNvSpPr>
          <p:nvPr>
            <p:ph idx="30" hasCustomPrompt="1"/>
          </p:nvPr>
        </p:nvSpPr>
        <p:spPr>
          <a:xfrm>
            <a:off x="347472" y="2531238"/>
            <a:ext cx="1980001" cy="176217"/>
          </a:xfrm>
          <a:prstGeom prst="rect">
            <a:avLst/>
          </a:prstGeom>
        </p:spPr>
        <p:txBody>
          <a:bodyPr vert="horz" lIns="0" tIns="0" rIns="0" bIns="45720" rtlCol="0">
            <a:noAutofit/>
          </a:bodyPr>
          <a:lstStyle>
            <a:lvl1pPr marL="0" indent="0">
              <a:spcBef>
                <a:spcPts val="600"/>
              </a:spcBef>
              <a:buClr>
                <a:schemeClr val="tx2"/>
              </a:buClr>
              <a:buNone/>
              <a:defRPr sz="900" b="0" baseline="0">
                <a:solidFill>
                  <a:schemeClr val="tx1">
                    <a:lumMod val="75000"/>
                    <a:lumOff val="25000"/>
                  </a:schemeClr>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job title</a:t>
            </a:r>
            <a:endParaRPr lang="en-GB" dirty="0"/>
          </a:p>
        </p:txBody>
      </p:sp>
      <p:cxnSp>
        <p:nvCxnSpPr>
          <p:cNvPr id="80" name="Straight Connector 79"/>
          <p:cNvCxnSpPr/>
          <p:nvPr userDrawn="1"/>
        </p:nvCxnSpPr>
        <p:spPr>
          <a:xfrm>
            <a:off x="351670" y="2737334"/>
            <a:ext cx="1977994" cy="0"/>
          </a:xfrm>
          <a:prstGeom prst="line">
            <a:avLst/>
          </a:prstGeom>
          <a:ln w="12700" cap="rnd">
            <a:solidFill>
              <a:schemeClr val="tx1">
                <a:lumMod val="75000"/>
                <a:lumOff val="25000"/>
              </a:schemeClr>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81" name="Text Placeholder 46"/>
          <p:cNvSpPr>
            <a:spLocks noGrp="1"/>
          </p:cNvSpPr>
          <p:nvPr>
            <p:ph idx="1" hasCustomPrompt="1"/>
          </p:nvPr>
        </p:nvSpPr>
        <p:spPr>
          <a:xfrm>
            <a:off x="347472" y="2326178"/>
            <a:ext cx="1980001" cy="205060"/>
          </a:xfrm>
          <a:prstGeom prst="rect">
            <a:avLst/>
          </a:prstGeom>
        </p:spPr>
        <p:txBody>
          <a:bodyPr vert="horz" lIns="0" tIns="25200" rIns="0" bIns="45720" rtlCol="0">
            <a:noAutofit/>
          </a:bodyPr>
          <a:lstStyle>
            <a:lvl1pPr marL="0" indent="0">
              <a:spcBef>
                <a:spcPts val="600"/>
              </a:spcBef>
              <a:buClr>
                <a:schemeClr val="tx2"/>
              </a:buClr>
              <a:buNone/>
              <a:defRPr sz="1000" b="1" baseline="0">
                <a:solidFill>
                  <a:schemeClr val="tx2"/>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name</a:t>
            </a:r>
            <a:endParaRPr lang="en-GB" dirty="0"/>
          </a:p>
        </p:txBody>
      </p:sp>
      <p:sp>
        <p:nvSpPr>
          <p:cNvPr id="82" name="Picture Placeholder 2"/>
          <p:cNvSpPr>
            <a:spLocks noGrp="1"/>
          </p:cNvSpPr>
          <p:nvPr>
            <p:ph type="pic" sz="quarter" idx="80" hasCustomPrompt="1"/>
          </p:nvPr>
        </p:nvSpPr>
        <p:spPr>
          <a:xfrm>
            <a:off x="347472" y="3201703"/>
            <a:ext cx="720000" cy="720000"/>
          </a:xfrm>
          <a:prstGeom prst="rect">
            <a:avLst/>
          </a:prstGeom>
          <a:noFill/>
          <a:ln w="6350" cmpd="sng">
            <a:noFill/>
          </a:ln>
        </p:spPr>
        <p:txBody>
          <a:bodyPr vert="horz"/>
          <a:lstStyle>
            <a:lvl1pPr marL="0" indent="0" algn="ctr">
              <a:lnSpc>
                <a:spcPct val="90000"/>
              </a:lnSpc>
              <a:buNone/>
              <a:defRPr sz="1000">
                <a:solidFill>
                  <a:schemeClr val="bg1">
                    <a:lumMod val="65000"/>
                  </a:schemeClr>
                </a:solidFill>
              </a:defRPr>
            </a:lvl1pPr>
          </a:lstStyle>
          <a:p>
            <a:r>
              <a:rPr lang="en-US" smtClean="0"/>
              <a:t>Click to add a picture</a:t>
            </a:r>
            <a:endParaRPr lang="en-US"/>
          </a:p>
        </p:txBody>
      </p:sp>
      <p:cxnSp>
        <p:nvCxnSpPr>
          <p:cNvPr id="83" name="Straight Connector 82"/>
          <p:cNvCxnSpPr/>
          <p:nvPr userDrawn="1"/>
        </p:nvCxnSpPr>
        <p:spPr>
          <a:xfrm>
            <a:off x="343366" y="4003523"/>
            <a:ext cx="1984107" cy="0"/>
          </a:xfrm>
          <a:prstGeom prst="line">
            <a:avLst/>
          </a:prstGeom>
          <a:ln w="12700" cmpd="sng">
            <a:solidFill>
              <a:schemeClr val="tx1">
                <a:lumMod val="75000"/>
                <a:lumOff val="25000"/>
              </a:schemeClr>
            </a:solidFill>
            <a:prstDash val="solid"/>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userDrawn="1"/>
        </p:nvCxnSpPr>
        <p:spPr>
          <a:xfrm>
            <a:off x="343366" y="3128880"/>
            <a:ext cx="1984107" cy="0"/>
          </a:xfrm>
          <a:prstGeom prst="line">
            <a:avLst/>
          </a:prstGeom>
          <a:ln w="12700" cmpd="sng">
            <a:solidFill>
              <a:schemeClr val="tx1">
                <a:lumMod val="75000"/>
                <a:lumOff val="25000"/>
              </a:schemeClr>
            </a:solidFill>
            <a:prstDash val="solid"/>
            <a:miter lim="800000"/>
          </a:ln>
        </p:spPr>
        <p:style>
          <a:lnRef idx="1">
            <a:schemeClr val="accent1"/>
          </a:lnRef>
          <a:fillRef idx="0">
            <a:schemeClr val="accent1"/>
          </a:fillRef>
          <a:effectRef idx="0">
            <a:schemeClr val="accent1"/>
          </a:effectRef>
          <a:fontRef idx="minor">
            <a:schemeClr val="tx1"/>
          </a:fontRef>
        </p:style>
      </p:cxnSp>
      <p:sp>
        <p:nvSpPr>
          <p:cNvPr id="85" name="Text Placeholder 46"/>
          <p:cNvSpPr>
            <a:spLocks noGrp="1"/>
          </p:cNvSpPr>
          <p:nvPr>
            <p:ph idx="81" hasCustomPrompt="1"/>
          </p:nvPr>
        </p:nvSpPr>
        <p:spPr>
          <a:xfrm>
            <a:off x="347472" y="4410478"/>
            <a:ext cx="1980001" cy="328944"/>
          </a:xfrm>
          <a:prstGeom prst="rect">
            <a:avLst/>
          </a:prstGeom>
        </p:spPr>
        <p:txBody>
          <a:bodyPr vert="horz" lIns="0" tIns="45720" rIns="0" bIns="45720" rtlCol="0">
            <a:noAutofit/>
          </a:bodyPr>
          <a:lstStyle>
            <a:lvl1pPr marL="0" marR="0" indent="0" algn="l" defTabSz="914400" rtl="0" eaLnBrk="1" fontAlgn="auto" latinLnBrk="0" hangingPunct="1">
              <a:lnSpc>
                <a:spcPct val="100000"/>
              </a:lnSpc>
              <a:spcBef>
                <a:spcPts val="600"/>
              </a:spcBef>
              <a:spcAft>
                <a:spcPts val="0"/>
              </a:spcAft>
              <a:buClr>
                <a:schemeClr val="tx2"/>
              </a:buClr>
              <a:buSzPct val="99000"/>
              <a:buFont typeface="Arial" pitchFamily="34" charset="0"/>
              <a:buNone/>
              <a:tabLst/>
              <a:defRPr sz="800" b="0">
                <a:solidFill>
                  <a:schemeClr val="tx1">
                    <a:lumMod val="75000"/>
                    <a:lumOff val="25000"/>
                  </a:schemeClr>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marL="0" marR="0" lvl="0" indent="0" algn="l" defTabSz="914400" rtl="0" eaLnBrk="1" fontAlgn="auto" latinLnBrk="0" hangingPunct="1">
              <a:lnSpc>
                <a:spcPct val="100000"/>
              </a:lnSpc>
              <a:spcBef>
                <a:spcPts val="600"/>
              </a:spcBef>
              <a:spcAft>
                <a:spcPts val="0"/>
              </a:spcAft>
              <a:buClr>
                <a:schemeClr val="tx2"/>
              </a:buClr>
              <a:buSzPct val="99000"/>
              <a:buFont typeface="Arial" pitchFamily="34" charset="0"/>
              <a:buNone/>
              <a:tabLst/>
              <a:defRPr/>
            </a:pPr>
            <a:r>
              <a:rPr lang="en-US" dirty="0" smtClean="0"/>
              <a:t>Click to add a short bio</a:t>
            </a:r>
            <a:endParaRPr lang="en-GB" dirty="0" smtClean="0"/>
          </a:p>
        </p:txBody>
      </p:sp>
      <p:sp>
        <p:nvSpPr>
          <p:cNvPr id="86" name="Text Placeholder 46"/>
          <p:cNvSpPr>
            <a:spLocks noGrp="1"/>
          </p:cNvSpPr>
          <p:nvPr>
            <p:ph idx="82" hasCustomPrompt="1"/>
          </p:nvPr>
        </p:nvSpPr>
        <p:spPr>
          <a:xfrm>
            <a:off x="347472" y="4204381"/>
            <a:ext cx="1980001" cy="176217"/>
          </a:xfrm>
          <a:prstGeom prst="rect">
            <a:avLst/>
          </a:prstGeom>
        </p:spPr>
        <p:txBody>
          <a:bodyPr vert="horz" lIns="0" tIns="0" rIns="0" bIns="45720" rtlCol="0">
            <a:noAutofit/>
          </a:bodyPr>
          <a:lstStyle>
            <a:lvl1pPr marL="0" indent="0">
              <a:spcBef>
                <a:spcPts val="600"/>
              </a:spcBef>
              <a:buClr>
                <a:schemeClr val="tx2"/>
              </a:buClr>
              <a:buNone/>
              <a:defRPr sz="900" b="0" baseline="0">
                <a:solidFill>
                  <a:schemeClr val="tx1">
                    <a:lumMod val="75000"/>
                    <a:lumOff val="25000"/>
                  </a:schemeClr>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job title</a:t>
            </a:r>
            <a:endParaRPr lang="en-GB" dirty="0"/>
          </a:p>
        </p:txBody>
      </p:sp>
      <p:cxnSp>
        <p:nvCxnSpPr>
          <p:cNvPr id="87" name="Straight Connector 86"/>
          <p:cNvCxnSpPr/>
          <p:nvPr userDrawn="1"/>
        </p:nvCxnSpPr>
        <p:spPr>
          <a:xfrm>
            <a:off x="351670" y="4410477"/>
            <a:ext cx="1977994" cy="0"/>
          </a:xfrm>
          <a:prstGeom prst="line">
            <a:avLst/>
          </a:prstGeom>
          <a:ln w="12700" cap="rnd">
            <a:solidFill>
              <a:schemeClr val="tx1">
                <a:lumMod val="75000"/>
                <a:lumOff val="25000"/>
              </a:schemeClr>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88" name="Text Placeholder 46"/>
          <p:cNvSpPr>
            <a:spLocks noGrp="1"/>
          </p:cNvSpPr>
          <p:nvPr>
            <p:ph idx="83" hasCustomPrompt="1"/>
          </p:nvPr>
        </p:nvSpPr>
        <p:spPr>
          <a:xfrm>
            <a:off x="347472" y="3999321"/>
            <a:ext cx="1980001" cy="205060"/>
          </a:xfrm>
          <a:prstGeom prst="rect">
            <a:avLst/>
          </a:prstGeom>
        </p:spPr>
        <p:txBody>
          <a:bodyPr vert="horz" lIns="0" tIns="25200" rIns="0" bIns="45720" rtlCol="0">
            <a:noAutofit/>
          </a:bodyPr>
          <a:lstStyle>
            <a:lvl1pPr marL="0" indent="0">
              <a:spcBef>
                <a:spcPts val="600"/>
              </a:spcBef>
              <a:buClr>
                <a:schemeClr val="tx2"/>
              </a:buClr>
              <a:buNone/>
              <a:defRPr sz="1000" b="1" baseline="0">
                <a:solidFill>
                  <a:schemeClr val="tx2"/>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name</a:t>
            </a:r>
            <a:endParaRPr lang="en-GB" dirty="0"/>
          </a:p>
        </p:txBody>
      </p:sp>
      <p:sp>
        <p:nvSpPr>
          <p:cNvPr id="89" name="Picture Placeholder 2"/>
          <p:cNvSpPr>
            <a:spLocks noGrp="1"/>
          </p:cNvSpPr>
          <p:nvPr>
            <p:ph type="pic" sz="quarter" idx="84" hasCustomPrompt="1"/>
          </p:nvPr>
        </p:nvSpPr>
        <p:spPr>
          <a:xfrm>
            <a:off x="6823366" y="1528560"/>
            <a:ext cx="720000" cy="720000"/>
          </a:xfrm>
          <a:prstGeom prst="rect">
            <a:avLst/>
          </a:prstGeom>
          <a:noFill/>
          <a:ln w="6350" cmpd="sng">
            <a:noFill/>
          </a:ln>
        </p:spPr>
        <p:txBody>
          <a:bodyPr vert="horz"/>
          <a:lstStyle>
            <a:lvl1pPr marL="0" indent="0" algn="ctr">
              <a:lnSpc>
                <a:spcPct val="90000"/>
              </a:lnSpc>
              <a:buNone/>
              <a:defRPr sz="1000">
                <a:solidFill>
                  <a:schemeClr val="bg1">
                    <a:lumMod val="65000"/>
                  </a:schemeClr>
                </a:solidFill>
              </a:defRPr>
            </a:lvl1pPr>
          </a:lstStyle>
          <a:p>
            <a:r>
              <a:rPr lang="en-US" smtClean="0"/>
              <a:t>Click to add a picture</a:t>
            </a:r>
            <a:endParaRPr lang="en-US"/>
          </a:p>
        </p:txBody>
      </p:sp>
      <p:cxnSp>
        <p:nvCxnSpPr>
          <p:cNvPr id="90" name="Straight Connector 89"/>
          <p:cNvCxnSpPr/>
          <p:nvPr userDrawn="1"/>
        </p:nvCxnSpPr>
        <p:spPr>
          <a:xfrm>
            <a:off x="6823366" y="2330380"/>
            <a:ext cx="1984107" cy="0"/>
          </a:xfrm>
          <a:prstGeom prst="line">
            <a:avLst/>
          </a:prstGeom>
          <a:ln w="12700" cmpd="sng">
            <a:solidFill>
              <a:schemeClr val="tx1">
                <a:lumMod val="75000"/>
                <a:lumOff val="25000"/>
              </a:schemeClr>
            </a:solidFill>
            <a:prstDash val="solid"/>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userDrawn="1"/>
        </p:nvCxnSpPr>
        <p:spPr>
          <a:xfrm>
            <a:off x="6823366" y="1455737"/>
            <a:ext cx="1984107" cy="0"/>
          </a:xfrm>
          <a:prstGeom prst="line">
            <a:avLst/>
          </a:prstGeom>
          <a:ln w="12700" cmpd="sng">
            <a:solidFill>
              <a:schemeClr val="tx1">
                <a:lumMod val="75000"/>
                <a:lumOff val="25000"/>
              </a:schemeClr>
            </a:solidFill>
            <a:prstDash val="solid"/>
            <a:miter lim="800000"/>
          </a:ln>
        </p:spPr>
        <p:style>
          <a:lnRef idx="1">
            <a:schemeClr val="accent1"/>
          </a:lnRef>
          <a:fillRef idx="0">
            <a:schemeClr val="accent1"/>
          </a:fillRef>
          <a:effectRef idx="0">
            <a:schemeClr val="accent1"/>
          </a:effectRef>
          <a:fontRef idx="minor">
            <a:schemeClr val="tx1"/>
          </a:fontRef>
        </p:style>
      </p:cxnSp>
      <p:sp>
        <p:nvSpPr>
          <p:cNvPr id="92" name="Text Placeholder 46"/>
          <p:cNvSpPr>
            <a:spLocks noGrp="1"/>
          </p:cNvSpPr>
          <p:nvPr>
            <p:ph idx="85" hasCustomPrompt="1"/>
          </p:nvPr>
        </p:nvSpPr>
        <p:spPr>
          <a:xfrm>
            <a:off x="6823366" y="2737335"/>
            <a:ext cx="1980001" cy="328944"/>
          </a:xfrm>
          <a:prstGeom prst="rect">
            <a:avLst/>
          </a:prstGeom>
        </p:spPr>
        <p:txBody>
          <a:bodyPr vert="horz" lIns="0" tIns="45720" rIns="0" bIns="45720" rtlCol="0">
            <a:noAutofit/>
          </a:bodyPr>
          <a:lstStyle>
            <a:lvl1pPr marL="0" marR="0" indent="0" algn="l" defTabSz="914400" rtl="0" eaLnBrk="1" fontAlgn="auto" latinLnBrk="0" hangingPunct="1">
              <a:lnSpc>
                <a:spcPct val="100000"/>
              </a:lnSpc>
              <a:spcBef>
                <a:spcPts val="600"/>
              </a:spcBef>
              <a:spcAft>
                <a:spcPts val="0"/>
              </a:spcAft>
              <a:buClr>
                <a:schemeClr val="tx2"/>
              </a:buClr>
              <a:buSzPct val="99000"/>
              <a:buFont typeface="Arial" pitchFamily="34" charset="0"/>
              <a:buNone/>
              <a:tabLst/>
              <a:defRPr sz="800" b="0">
                <a:solidFill>
                  <a:schemeClr val="tx1">
                    <a:lumMod val="75000"/>
                    <a:lumOff val="25000"/>
                  </a:schemeClr>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marL="0" marR="0" lvl="0" indent="0" algn="l" defTabSz="914400" rtl="0" eaLnBrk="1" fontAlgn="auto" latinLnBrk="0" hangingPunct="1">
              <a:lnSpc>
                <a:spcPct val="100000"/>
              </a:lnSpc>
              <a:spcBef>
                <a:spcPts val="600"/>
              </a:spcBef>
              <a:spcAft>
                <a:spcPts val="0"/>
              </a:spcAft>
              <a:buClr>
                <a:schemeClr val="tx2"/>
              </a:buClr>
              <a:buSzPct val="99000"/>
              <a:buFont typeface="Arial" pitchFamily="34" charset="0"/>
              <a:buNone/>
              <a:tabLst/>
              <a:defRPr/>
            </a:pPr>
            <a:r>
              <a:rPr lang="en-US" dirty="0" smtClean="0"/>
              <a:t>Click to add a short bio</a:t>
            </a:r>
            <a:endParaRPr lang="en-GB" dirty="0" smtClean="0"/>
          </a:p>
        </p:txBody>
      </p:sp>
      <p:sp>
        <p:nvSpPr>
          <p:cNvPr id="93" name="Text Placeholder 46"/>
          <p:cNvSpPr>
            <a:spLocks noGrp="1"/>
          </p:cNvSpPr>
          <p:nvPr>
            <p:ph idx="86" hasCustomPrompt="1"/>
          </p:nvPr>
        </p:nvSpPr>
        <p:spPr>
          <a:xfrm>
            <a:off x="6823366" y="2531238"/>
            <a:ext cx="1980001" cy="176217"/>
          </a:xfrm>
          <a:prstGeom prst="rect">
            <a:avLst/>
          </a:prstGeom>
        </p:spPr>
        <p:txBody>
          <a:bodyPr vert="horz" lIns="0" tIns="0" rIns="0" bIns="45720" rtlCol="0">
            <a:noAutofit/>
          </a:bodyPr>
          <a:lstStyle>
            <a:lvl1pPr marL="0" indent="0">
              <a:spcBef>
                <a:spcPts val="600"/>
              </a:spcBef>
              <a:buClr>
                <a:schemeClr val="tx2"/>
              </a:buClr>
              <a:buNone/>
              <a:defRPr sz="900" b="0" baseline="0">
                <a:solidFill>
                  <a:schemeClr val="tx1">
                    <a:lumMod val="75000"/>
                    <a:lumOff val="25000"/>
                  </a:schemeClr>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job title</a:t>
            </a:r>
            <a:endParaRPr lang="en-GB" dirty="0"/>
          </a:p>
        </p:txBody>
      </p:sp>
      <p:cxnSp>
        <p:nvCxnSpPr>
          <p:cNvPr id="94" name="Straight Connector 93"/>
          <p:cNvCxnSpPr/>
          <p:nvPr userDrawn="1"/>
        </p:nvCxnSpPr>
        <p:spPr>
          <a:xfrm>
            <a:off x="6823366" y="2737334"/>
            <a:ext cx="1977994" cy="0"/>
          </a:xfrm>
          <a:prstGeom prst="line">
            <a:avLst/>
          </a:prstGeom>
          <a:ln w="12700" cap="rnd">
            <a:solidFill>
              <a:schemeClr val="tx1">
                <a:lumMod val="75000"/>
                <a:lumOff val="25000"/>
              </a:schemeClr>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95" name="Text Placeholder 46"/>
          <p:cNvSpPr>
            <a:spLocks noGrp="1"/>
          </p:cNvSpPr>
          <p:nvPr>
            <p:ph idx="87" hasCustomPrompt="1"/>
          </p:nvPr>
        </p:nvSpPr>
        <p:spPr>
          <a:xfrm>
            <a:off x="6823366" y="2326178"/>
            <a:ext cx="1980001" cy="205060"/>
          </a:xfrm>
          <a:prstGeom prst="rect">
            <a:avLst/>
          </a:prstGeom>
        </p:spPr>
        <p:txBody>
          <a:bodyPr vert="horz" lIns="0" tIns="25200" rIns="0" bIns="45720" rtlCol="0">
            <a:noAutofit/>
          </a:bodyPr>
          <a:lstStyle>
            <a:lvl1pPr marL="0" indent="0">
              <a:spcBef>
                <a:spcPts val="600"/>
              </a:spcBef>
              <a:buClr>
                <a:schemeClr val="tx2"/>
              </a:buClr>
              <a:buNone/>
              <a:defRPr sz="1000" b="1" baseline="0">
                <a:solidFill>
                  <a:schemeClr val="tx2"/>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name</a:t>
            </a:r>
            <a:endParaRPr lang="en-GB" dirty="0"/>
          </a:p>
        </p:txBody>
      </p:sp>
      <p:sp>
        <p:nvSpPr>
          <p:cNvPr id="96" name="Picture Placeholder 2"/>
          <p:cNvSpPr>
            <a:spLocks noGrp="1"/>
          </p:cNvSpPr>
          <p:nvPr>
            <p:ph type="pic" sz="quarter" idx="88" hasCustomPrompt="1"/>
          </p:nvPr>
        </p:nvSpPr>
        <p:spPr>
          <a:xfrm>
            <a:off x="6823366" y="3201703"/>
            <a:ext cx="720000" cy="720000"/>
          </a:xfrm>
          <a:prstGeom prst="rect">
            <a:avLst/>
          </a:prstGeom>
          <a:noFill/>
          <a:ln w="6350" cmpd="sng">
            <a:noFill/>
          </a:ln>
        </p:spPr>
        <p:txBody>
          <a:bodyPr vert="horz"/>
          <a:lstStyle>
            <a:lvl1pPr marL="0" indent="0" algn="ctr">
              <a:lnSpc>
                <a:spcPct val="90000"/>
              </a:lnSpc>
              <a:buNone/>
              <a:defRPr sz="1000">
                <a:solidFill>
                  <a:schemeClr val="bg1">
                    <a:lumMod val="65000"/>
                  </a:schemeClr>
                </a:solidFill>
              </a:defRPr>
            </a:lvl1pPr>
          </a:lstStyle>
          <a:p>
            <a:r>
              <a:rPr lang="en-US" smtClean="0"/>
              <a:t>Click to add a picture</a:t>
            </a:r>
            <a:endParaRPr lang="en-US"/>
          </a:p>
        </p:txBody>
      </p:sp>
      <p:cxnSp>
        <p:nvCxnSpPr>
          <p:cNvPr id="97" name="Straight Connector 96"/>
          <p:cNvCxnSpPr/>
          <p:nvPr userDrawn="1"/>
        </p:nvCxnSpPr>
        <p:spPr>
          <a:xfrm>
            <a:off x="6823366" y="4003523"/>
            <a:ext cx="1984107" cy="0"/>
          </a:xfrm>
          <a:prstGeom prst="line">
            <a:avLst/>
          </a:prstGeom>
          <a:ln w="12700" cmpd="sng">
            <a:solidFill>
              <a:schemeClr val="tx1">
                <a:lumMod val="75000"/>
                <a:lumOff val="25000"/>
              </a:schemeClr>
            </a:solidFill>
            <a:prstDash val="solid"/>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userDrawn="1"/>
        </p:nvCxnSpPr>
        <p:spPr>
          <a:xfrm>
            <a:off x="6823366" y="3128880"/>
            <a:ext cx="1984107" cy="0"/>
          </a:xfrm>
          <a:prstGeom prst="line">
            <a:avLst/>
          </a:prstGeom>
          <a:ln w="12700" cmpd="sng">
            <a:solidFill>
              <a:schemeClr val="tx1">
                <a:lumMod val="75000"/>
                <a:lumOff val="25000"/>
              </a:schemeClr>
            </a:solidFill>
            <a:prstDash val="solid"/>
            <a:miter lim="800000"/>
          </a:ln>
        </p:spPr>
        <p:style>
          <a:lnRef idx="1">
            <a:schemeClr val="accent1"/>
          </a:lnRef>
          <a:fillRef idx="0">
            <a:schemeClr val="accent1"/>
          </a:fillRef>
          <a:effectRef idx="0">
            <a:schemeClr val="accent1"/>
          </a:effectRef>
          <a:fontRef idx="minor">
            <a:schemeClr val="tx1"/>
          </a:fontRef>
        </p:style>
      </p:cxnSp>
      <p:sp>
        <p:nvSpPr>
          <p:cNvPr id="99" name="Text Placeholder 46"/>
          <p:cNvSpPr>
            <a:spLocks noGrp="1"/>
          </p:cNvSpPr>
          <p:nvPr>
            <p:ph idx="89" hasCustomPrompt="1"/>
          </p:nvPr>
        </p:nvSpPr>
        <p:spPr>
          <a:xfrm>
            <a:off x="6823366" y="4410478"/>
            <a:ext cx="1980001" cy="328944"/>
          </a:xfrm>
          <a:prstGeom prst="rect">
            <a:avLst/>
          </a:prstGeom>
        </p:spPr>
        <p:txBody>
          <a:bodyPr vert="horz" lIns="0" tIns="45720" rIns="0" bIns="45720" rtlCol="0">
            <a:noAutofit/>
          </a:bodyPr>
          <a:lstStyle>
            <a:lvl1pPr marL="0" marR="0" indent="0" algn="l" defTabSz="914400" rtl="0" eaLnBrk="1" fontAlgn="auto" latinLnBrk="0" hangingPunct="1">
              <a:lnSpc>
                <a:spcPct val="100000"/>
              </a:lnSpc>
              <a:spcBef>
                <a:spcPts val="600"/>
              </a:spcBef>
              <a:spcAft>
                <a:spcPts val="0"/>
              </a:spcAft>
              <a:buClr>
                <a:schemeClr val="tx2"/>
              </a:buClr>
              <a:buSzPct val="99000"/>
              <a:buFont typeface="Arial" pitchFamily="34" charset="0"/>
              <a:buNone/>
              <a:tabLst/>
              <a:defRPr sz="800" b="0">
                <a:solidFill>
                  <a:schemeClr val="tx1">
                    <a:lumMod val="75000"/>
                    <a:lumOff val="25000"/>
                  </a:schemeClr>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marL="0" marR="0" lvl="0" indent="0" algn="l" defTabSz="914400" rtl="0" eaLnBrk="1" fontAlgn="auto" latinLnBrk="0" hangingPunct="1">
              <a:lnSpc>
                <a:spcPct val="100000"/>
              </a:lnSpc>
              <a:spcBef>
                <a:spcPts val="600"/>
              </a:spcBef>
              <a:spcAft>
                <a:spcPts val="0"/>
              </a:spcAft>
              <a:buClr>
                <a:schemeClr val="tx2"/>
              </a:buClr>
              <a:buSzPct val="99000"/>
              <a:buFont typeface="Arial" pitchFamily="34" charset="0"/>
              <a:buNone/>
              <a:tabLst/>
              <a:defRPr/>
            </a:pPr>
            <a:r>
              <a:rPr lang="en-US" dirty="0" smtClean="0"/>
              <a:t>Click to add a short bio</a:t>
            </a:r>
            <a:endParaRPr lang="en-GB" dirty="0" smtClean="0"/>
          </a:p>
        </p:txBody>
      </p:sp>
      <p:sp>
        <p:nvSpPr>
          <p:cNvPr id="100" name="Text Placeholder 46"/>
          <p:cNvSpPr>
            <a:spLocks noGrp="1"/>
          </p:cNvSpPr>
          <p:nvPr>
            <p:ph idx="90" hasCustomPrompt="1"/>
          </p:nvPr>
        </p:nvSpPr>
        <p:spPr>
          <a:xfrm>
            <a:off x="6823366" y="4204381"/>
            <a:ext cx="1980001" cy="176217"/>
          </a:xfrm>
          <a:prstGeom prst="rect">
            <a:avLst/>
          </a:prstGeom>
        </p:spPr>
        <p:txBody>
          <a:bodyPr vert="horz" lIns="0" tIns="0" rIns="0" bIns="45720" rtlCol="0">
            <a:noAutofit/>
          </a:bodyPr>
          <a:lstStyle>
            <a:lvl1pPr marL="0" indent="0">
              <a:spcBef>
                <a:spcPts val="600"/>
              </a:spcBef>
              <a:buClr>
                <a:schemeClr val="tx2"/>
              </a:buClr>
              <a:buNone/>
              <a:defRPr sz="900" b="0" baseline="0">
                <a:solidFill>
                  <a:schemeClr val="tx1">
                    <a:lumMod val="75000"/>
                    <a:lumOff val="25000"/>
                  </a:schemeClr>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job title</a:t>
            </a:r>
            <a:endParaRPr lang="en-GB" dirty="0"/>
          </a:p>
        </p:txBody>
      </p:sp>
      <p:cxnSp>
        <p:nvCxnSpPr>
          <p:cNvPr id="101" name="Straight Connector 100"/>
          <p:cNvCxnSpPr/>
          <p:nvPr userDrawn="1"/>
        </p:nvCxnSpPr>
        <p:spPr>
          <a:xfrm>
            <a:off x="6823366" y="4410477"/>
            <a:ext cx="1977994" cy="0"/>
          </a:xfrm>
          <a:prstGeom prst="line">
            <a:avLst/>
          </a:prstGeom>
          <a:ln w="12700" cap="rnd">
            <a:solidFill>
              <a:schemeClr val="tx1">
                <a:lumMod val="75000"/>
                <a:lumOff val="25000"/>
              </a:schemeClr>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102" name="Text Placeholder 46"/>
          <p:cNvSpPr>
            <a:spLocks noGrp="1"/>
          </p:cNvSpPr>
          <p:nvPr>
            <p:ph idx="91" hasCustomPrompt="1"/>
          </p:nvPr>
        </p:nvSpPr>
        <p:spPr>
          <a:xfrm>
            <a:off x="6823366" y="3999321"/>
            <a:ext cx="1980001" cy="205060"/>
          </a:xfrm>
          <a:prstGeom prst="rect">
            <a:avLst/>
          </a:prstGeom>
        </p:spPr>
        <p:txBody>
          <a:bodyPr vert="horz" lIns="0" tIns="25200" rIns="0" bIns="45720" rtlCol="0">
            <a:noAutofit/>
          </a:bodyPr>
          <a:lstStyle>
            <a:lvl1pPr marL="0" indent="0">
              <a:spcBef>
                <a:spcPts val="600"/>
              </a:spcBef>
              <a:buClr>
                <a:schemeClr val="tx2"/>
              </a:buClr>
              <a:buNone/>
              <a:defRPr sz="1000" b="1" baseline="0">
                <a:solidFill>
                  <a:schemeClr val="tx2"/>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name</a:t>
            </a:r>
            <a:endParaRPr lang="en-GB" dirty="0"/>
          </a:p>
        </p:txBody>
      </p:sp>
      <p:sp>
        <p:nvSpPr>
          <p:cNvPr id="103" name="Picture Placeholder 2"/>
          <p:cNvSpPr>
            <a:spLocks noGrp="1"/>
          </p:cNvSpPr>
          <p:nvPr>
            <p:ph type="pic" sz="quarter" idx="92" hasCustomPrompt="1"/>
          </p:nvPr>
        </p:nvSpPr>
        <p:spPr>
          <a:xfrm>
            <a:off x="4666134" y="1528560"/>
            <a:ext cx="720000" cy="720000"/>
          </a:xfrm>
          <a:prstGeom prst="rect">
            <a:avLst/>
          </a:prstGeom>
          <a:noFill/>
          <a:ln w="6350" cmpd="sng">
            <a:noFill/>
          </a:ln>
        </p:spPr>
        <p:txBody>
          <a:bodyPr vert="horz"/>
          <a:lstStyle>
            <a:lvl1pPr marL="0" indent="0" algn="ctr">
              <a:lnSpc>
                <a:spcPct val="90000"/>
              </a:lnSpc>
              <a:buNone/>
              <a:defRPr sz="1000">
                <a:solidFill>
                  <a:schemeClr val="bg1">
                    <a:lumMod val="65000"/>
                  </a:schemeClr>
                </a:solidFill>
              </a:defRPr>
            </a:lvl1pPr>
          </a:lstStyle>
          <a:p>
            <a:r>
              <a:rPr lang="en-US" smtClean="0"/>
              <a:t>Click to add a picture</a:t>
            </a:r>
            <a:endParaRPr lang="en-US"/>
          </a:p>
        </p:txBody>
      </p:sp>
      <p:cxnSp>
        <p:nvCxnSpPr>
          <p:cNvPr id="104" name="Straight Connector 103"/>
          <p:cNvCxnSpPr/>
          <p:nvPr userDrawn="1"/>
        </p:nvCxnSpPr>
        <p:spPr>
          <a:xfrm>
            <a:off x="4666134" y="2330380"/>
            <a:ext cx="1984107" cy="0"/>
          </a:xfrm>
          <a:prstGeom prst="line">
            <a:avLst/>
          </a:prstGeom>
          <a:ln w="12700" cmpd="sng">
            <a:solidFill>
              <a:schemeClr val="tx1">
                <a:lumMod val="75000"/>
                <a:lumOff val="25000"/>
              </a:schemeClr>
            </a:solidFill>
            <a:prstDash val="solid"/>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a:xfrm>
            <a:off x="4666134" y="1455737"/>
            <a:ext cx="1984107" cy="0"/>
          </a:xfrm>
          <a:prstGeom prst="line">
            <a:avLst/>
          </a:prstGeom>
          <a:ln w="12700" cmpd="sng">
            <a:solidFill>
              <a:schemeClr val="tx1">
                <a:lumMod val="75000"/>
                <a:lumOff val="25000"/>
              </a:schemeClr>
            </a:solidFill>
            <a:prstDash val="solid"/>
            <a:miter lim="800000"/>
          </a:ln>
        </p:spPr>
        <p:style>
          <a:lnRef idx="1">
            <a:schemeClr val="accent1"/>
          </a:lnRef>
          <a:fillRef idx="0">
            <a:schemeClr val="accent1"/>
          </a:fillRef>
          <a:effectRef idx="0">
            <a:schemeClr val="accent1"/>
          </a:effectRef>
          <a:fontRef idx="minor">
            <a:schemeClr val="tx1"/>
          </a:fontRef>
        </p:style>
      </p:cxnSp>
      <p:sp>
        <p:nvSpPr>
          <p:cNvPr id="106" name="Text Placeholder 46"/>
          <p:cNvSpPr>
            <a:spLocks noGrp="1"/>
          </p:cNvSpPr>
          <p:nvPr>
            <p:ph idx="93" hasCustomPrompt="1"/>
          </p:nvPr>
        </p:nvSpPr>
        <p:spPr>
          <a:xfrm>
            <a:off x="4666134" y="2737335"/>
            <a:ext cx="1980001" cy="328944"/>
          </a:xfrm>
          <a:prstGeom prst="rect">
            <a:avLst/>
          </a:prstGeom>
        </p:spPr>
        <p:txBody>
          <a:bodyPr vert="horz" lIns="0" tIns="45720" rIns="0" bIns="45720" rtlCol="0">
            <a:noAutofit/>
          </a:bodyPr>
          <a:lstStyle>
            <a:lvl1pPr marL="0" marR="0" indent="0" algn="l" defTabSz="914400" rtl="0" eaLnBrk="1" fontAlgn="auto" latinLnBrk="0" hangingPunct="1">
              <a:lnSpc>
                <a:spcPct val="100000"/>
              </a:lnSpc>
              <a:spcBef>
                <a:spcPts val="600"/>
              </a:spcBef>
              <a:spcAft>
                <a:spcPts val="0"/>
              </a:spcAft>
              <a:buClr>
                <a:schemeClr val="tx2"/>
              </a:buClr>
              <a:buSzPct val="99000"/>
              <a:buFont typeface="Arial" pitchFamily="34" charset="0"/>
              <a:buNone/>
              <a:tabLst/>
              <a:defRPr sz="800" b="0">
                <a:solidFill>
                  <a:schemeClr val="tx1">
                    <a:lumMod val="75000"/>
                    <a:lumOff val="25000"/>
                  </a:schemeClr>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marL="0" marR="0" lvl="0" indent="0" algn="l" defTabSz="914400" rtl="0" eaLnBrk="1" fontAlgn="auto" latinLnBrk="0" hangingPunct="1">
              <a:lnSpc>
                <a:spcPct val="100000"/>
              </a:lnSpc>
              <a:spcBef>
                <a:spcPts val="600"/>
              </a:spcBef>
              <a:spcAft>
                <a:spcPts val="0"/>
              </a:spcAft>
              <a:buClr>
                <a:schemeClr val="tx2"/>
              </a:buClr>
              <a:buSzPct val="99000"/>
              <a:buFont typeface="Arial" pitchFamily="34" charset="0"/>
              <a:buNone/>
              <a:tabLst/>
              <a:defRPr/>
            </a:pPr>
            <a:r>
              <a:rPr lang="en-US" dirty="0" smtClean="0"/>
              <a:t>Click to add a short bio</a:t>
            </a:r>
            <a:endParaRPr lang="en-GB" dirty="0" smtClean="0"/>
          </a:p>
        </p:txBody>
      </p:sp>
      <p:sp>
        <p:nvSpPr>
          <p:cNvPr id="107" name="Text Placeholder 46"/>
          <p:cNvSpPr>
            <a:spLocks noGrp="1"/>
          </p:cNvSpPr>
          <p:nvPr>
            <p:ph idx="94" hasCustomPrompt="1"/>
          </p:nvPr>
        </p:nvSpPr>
        <p:spPr>
          <a:xfrm>
            <a:off x="4666134" y="2531238"/>
            <a:ext cx="1980001" cy="176217"/>
          </a:xfrm>
          <a:prstGeom prst="rect">
            <a:avLst/>
          </a:prstGeom>
        </p:spPr>
        <p:txBody>
          <a:bodyPr vert="horz" lIns="0" tIns="0" rIns="0" bIns="45720" rtlCol="0">
            <a:noAutofit/>
          </a:bodyPr>
          <a:lstStyle>
            <a:lvl1pPr marL="0" indent="0">
              <a:spcBef>
                <a:spcPts val="600"/>
              </a:spcBef>
              <a:buClr>
                <a:schemeClr val="tx2"/>
              </a:buClr>
              <a:buNone/>
              <a:defRPr sz="900" b="0" baseline="0">
                <a:solidFill>
                  <a:schemeClr val="tx1">
                    <a:lumMod val="75000"/>
                    <a:lumOff val="25000"/>
                  </a:schemeClr>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job title</a:t>
            </a:r>
            <a:endParaRPr lang="en-GB" dirty="0"/>
          </a:p>
        </p:txBody>
      </p:sp>
      <p:cxnSp>
        <p:nvCxnSpPr>
          <p:cNvPr id="108" name="Straight Connector 107"/>
          <p:cNvCxnSpPr/>
          <p:nvPr userDrawn="1"/>
        </p:nvCxnSpPr>
        <p:spPr>
          <a:xfrm>
            <a:off x="4666134" y="2737334"/>
            <a:ext cx="1977994" cy="0"/>
          </a:xfrm>
          <a:prstGeom prst="line">
            <a:avLst/>
          </a:prstGeom>
          <a:ln w="12700" cap="rnd">
            <a:solidFill>
              <a:schemeClr val="tx1">
                <a:lumMod val="75000"/>
                <a:lumOff val="25000"/>
              </a:schemeClr>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109" name="Text Placeholder 46"/>
          <p:cNvSpPr>
            <a:spLocks noGrp="1"/>
          </p:cNvSpPr>
          <p:nvPr>
            <p:ph idx="95" hasCustomPrompt="1"/>
          </p:nvPr>
        </p:nvSpPr>
        <p:spPr>
          <a:xfrm>
            <a:off x="4666134" y="2326178"/>
            <a:ext cx="1980001" cy="205060"/>
          </a:xfrm>
          <a:prstGeom prst="rect">
            <a:avLst/>
          </a:prstGeom>
        </p:spPr>
        <p:txBody>
          <a:bodyPr vert="horz" lIns="0" tIns="25200" rIns="0" bIns="45720" rtlCol="0">
            <a:noAutofit/>
          </a:bodyPr>
          <a:lstStyle>
            <a:lvl1pPr marL="0" indent="0">
              <a:spcBef>
                <a:spcPts val="600"/>
              </a:spcBef>
              <a:buClr>
                <a:schemeClr val="tx2"/>
              </a:buClr>
              <a:buNone/>
              <a:defRPr sz="1000" b="1" baseline="0">
                <a:solidFill>
                  <a:schemeClr val="tx2"/>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name</a:t>
            </a:r>
            <a:endParaRPr lang="en-GB" dirty="0"/>
          </a:p>
        </p:txBody>
      </p:sp>
      <p:sp>
        <p:nvSpPr>
          <p:cNvPr id="110" name="Picture Placeholder 2"/>
          <p:cNvSpPr>
            <a:spLocks noGrp="1"/>
          </p:cNvSpPr>
          <p:nvPr>
            <p:ph type="pic" sz="quarter" idx="96" hasCustomPrompt="1"/>
          </p:nvPr>
        </p:nvSpPr>
        <p:spPr>
          <a:xfrm>
            <a:off x="4666134" y="3201703"/>
            <a:ext cx="720000" cy="720000"/>
          </a:xfrm>
          <a:prstGeom prst="rect">
            <a:avLst/>
          </a:prstGeom>
          <a:noFill/>
          <a:ln w="6350" cmpd="sng">
            <a:noFill/>
          </a:ln>
        </p:spPr>
        <p:txBody>
          <a:bodyPr vert="horz"/>
          <a:lstStyle>
            <a:lvl1pPr marL="0" indent="0" algn="ctr">
              <a:lnSpc>
                <a:spcPct val="90000"/>
              </a:lnSpc>
              <a:buNone/>
              <a:defRPr sz="1000">
                <a:solidFill>
                  <a:schemeClr val="bg1">
                    <a:lumMod val="65000"/>
                  </a:schemeClr>
                </a:solidFill>
              </a:defRPr>
            </a:lvl1pPr>
          </a:lstStyle>
          <a:p>
            <a:r>
              <a:rPr lang="en-US" smtClean="0"/>
              <a:t>Click to add a picture</a:t>
            </a:r>
            <a:endParaRPr lang="en-US"/>
          </a:p>
        </p:txBody>
      </p:sp>
      <p:cxnSp>
        <p:nvCxnSpPr>
          <p:cNvPr id="111" name="Straight Connector 110"/>
          <p:cNvCxnSpPr/>
          <p:nvPr userDrawn="1"/>
        </p:nvCxnSpPr>
        <p:spPr>
          <a:xfrm>
            <a:off x="4666134" y="4003523"/>
            <a:ext cx="1984107" cy="0"/>
          </a:xfrm>
          <a:prstGeom prst="line">
            <a:avLst/>
          </a:prstGeom>
          <a:ln w="12700" cmpd="sng">
            <a:solidFill>
              <a:schemeClr val="tx1">
                <a:lumMod val="75000"/>
                <a:lumOff val="25000"/>
              </a:schemeClr>
            </a:solidFill>
            <a:prstDash val="solid"/>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userDrawn="1"/>
        </p:nvCxnSpPr>
        <p:spPr>
          <a:xfrm>
            <a:off x="4666134" y="3128880"/>
            <a:ext cx="1984107" cy="0"/>
          </a:xfrm>
          <a:prstGeom prst="line">
            <a:avLst/>
          </a:prstGeom>
          <a:ln w="12700" cmpd="sng">
            <a:solidFill>
              <a:schemeClr val="tx1">
                <a:lumMod val="75000"/>
                <a:lumOff val="25000"/>
              </a:schemeClr>
            </a:solidFill>
            <a:prstDash val="solid"/>
            <a:miter lim="800000"/>
          </a:ln>
        </p:spPr>
        <p:style>
          <a:lnRef idx="1">
            <a:schemeClr val="accent1"/>
          </a:lnRef>
          <a:fillRef idx="0">
            <a:schemeClr val="accent1"/>
          </a:fillRef>
          <a:effectRef idx="0">
            <a:schemeClr val="accent1"/>
          </a:effectRef>
          <a:fontRef idx="minor">
            <a:schemeClr val="tx1"/>
          </a:fontRef>
        </p:style>
      </p:cxnSp>
      <p:sp>
        <p:nvSpPr>
          <p:cNvPr id="113" name="Text Placeholder 46"/>
          <p:cNvSpPr>
            <a:spLocks noGrp="1"/>
          </p:cNvSpPr>
          <p:nvPr>
            <p:ph idx="97" hasCustomPrompt="1"/>
          </p:nvPr>
        </p:nvSpPr>
        <p:spPr>
          <a:xfrm>
            <a:off x="4666134" y="4410478"/>
            <a:ext cx="1980001" cy="328944"/>
          </a:xfrm>
          <a:prstGeom prst="rect">
            <a:avLst/>
          </a:prstGeom>
        </p:spPr>
        <p:txBody>
          <a:bodyPr vert="horz" lIns="0" tIns="45720" rIns="0" bIns="45720" rtlCol="0">
            <a:noAutofit/>
          </a:bodyPr>
          <a:lstStyle>
            <a:lvl1pPr marL="0" marR="0" indent="0" algn="l" defTabSz="914400" rtl="0" eaLnBrk="1" fontAlgn="auto" latinLnBrk="0" hangingPunct="1">
              <a:lnSpc>
                <a:spcPct val="100000"/>
              </a:lnSpc>
              <a:spcBef>
                <a:spcPts val="600"/>
              </a:spcBef>
              <a:spcAft>
                <a:spcPts val="0"/>
              </a:spcAft>
              <a:buClr>
                <a:schemeClr val="tx2"/>
              </a:buClr>
              <a:buSzPct val="99000"/>
              <a:buFont typeface="Arial" pitchFamily="34" charset="0"/>
              <a:buNone/>
              <a:tabLst/>
              <a:defRPr sz="800" b="0">
                <a:solidFill>
                  <a:schemeClr val="tx1">
                    <a:lumMod val="75000"/>
                    <a:lumOff val="25000"/>
                  </a:schemeClr>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marL="0" marR="0" lvl="0" indent="0" algn="l" defTabSz="914400" rtl="0" eaLnBrk="1" fontAlgn="auto" latinLnBrk="0" hangingPunct="1">
              <a:lnSpc>
                <a:spcPct val="100000"/>
              </a:lnSpc>
              <a:spcBef>
                <a:spcPts val="600"/>
              </a:spcBef>
              <a:spcAft>
                <a:spcPts val="0"/>
              </a:spcAft>
              <a:buClr>
                <a:schemeClr val="tx2"/>
              </a:buClr>
              <a:buSzPct val="99000"/>
              <a:buFont typeface="Arial" pitchFamily="34" charset="0"/>
              <a:buNone/>
              <a:tabLst/>
              <a:defRPr/>
            </a:pPr>
            <a:r>
              <a:rPr lang="en-US" dirty="0" smtClean="0"/>
              <a:t>Click to add a short bio</a:t>
            </a:r>
            <a:endParaRPr lang="en-GB" dirty="0" smtClean="0"/>
          </a:p>
        </p:txBody>
      </p:sp>
      <p:sp>
        <p:nvSpPr>
          <p:cNvPr id="114" name="Text Placeholder 46"/>
          <p:cNvSpPr>
            <a:spLocks noGrp="1"/>
          </p:cNvSpPr>
          <p:nvPr>
            <p:ph idx="98" hasCustomPrompt="1"/>
          </p:nvPr>
        </p:nvSpPr>
        <p:spPr>
          <a:xfrm>
            <a:off x="4666134" y="4204381"/>
            <a:ext cx="1980001" cy="176217"/>
          </a:xfrm>
          <a:prstGeom prst="rect">
            <a:avLst/>
          </a:prstGeom>
        </p:spPr>
        <p:txBody>
          <a:bodyPr vert="horz" lIns="0" tIns="0" rIns="0" bIns="45720" rtlCol="0">
            <a:noAutofit/>
          </a:bodyPr>
          <a:lstStyle>
            <a:lvl1pPr marL="0" indent="0">
              <a:spcBef>
                <a:spcPts val="600"/>
              </a:spcBef>
              <a:buClr>
                <a:schemeClr val="tx2"/>
              </a:buClr>
              <a:buNone/>
              <a:defRPr sz="900" b="0" baseline="0">
                <a:solidFill>
                  <a:schemeClr val="tx1">
                    <a:lumMod val="75000"/>
                    <a:lumOff val="25000"/>
                  </a:schemeClr>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job title</a:t>
            </a:r>
            <a:endParaRPr lang="en-GB" dirty="0"/>
          </a:p>
        </p:txBody>
      </p:sp>
      <p:cxnSp>
        <p:nvCxnSpPr>
          <p:cNvPr id="115" name="Straight Connector 114"/>
          <p:cNvCxnSpPr/>
          <p:nvPr userDrawn="1"/>
        </p:nvCxnSpPr>
        <p:spPr>
          <a:xfrm>
            <a:off x="4666134" y="4410477"/>
            <a:ext cx="1977994" cy="0"/>
          </a:xfrm>
          <a:prstGeom prst="line">
            <a:avLst/>
          </a:prstGeom>
          <a:ln w="12700" cap="rnd">
            <a:solidFill>
              <a:schemeClr val="tx1">
                <a:lumMod val="75000"/>
                <a:lumOff val="25000"/>
              </a:schemeClr>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116" name="Text Placeholder 46"/>
          <p:cNvSpPr>
            <a:spLocks noGrp="1"/>
          </p:cNvSpPr>
          <p:nvPr>
            <p:ph idx="99" hasCustomPrompt="1"/>
          </p:nvPr>
        </p:nvSpPr>
        <p:spPr>
          <a:xfrm>
            <a:off x="4666134" y="3999321"/>
            <a:ext cx="1980001" cy="205060"/>
          </a:xfrm>
          <a:prstGeom prst="rect">
            <a:avLst/>
          </a:prstGeom>
        </p:spPr>
        <p:txBody>
          <a:bodyPr vert="horz" lIns="0" tIns="25200" rIns="0" bIns="45720" rtlCol="0">
            <a:noAutofit/>
          </a:bodyPr>
          <a:lstStyle>
            <a:lvl1pPr marL="0" indent="0">
              <a:spcBef>
                <a:spcPts val="600"/>
              </a:spcBef>
              <a:buClr>
                <a:schemeClr val="tx2"/>
              </a:buClr>
              <a:buNone/>
              <a:defRPr sz="1000" b="1" baseline="0">
                <a:solidFill>
                  <a:schemeClr val="tx2"/>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name</a:t>
            </a:r>
            <a:endParaRPr lang="en-GB" dirty="0"/>
          </a:p>
        </p:txBody>
      </p:sp>
      <p:sp>
        <p:nvSpPr>
          <p:cNvPr id="117" name="Picture Placeholder 2"/>
          <p:cNvSpPr>
            <a:spLocks noGrp="1"/>
          </p:cNvSpPr>
          <p:nvPr>
            <p:ph type="pic" sz="quarter" idx="100" hasCustomPrompt="1"/>
          </p:nvPr>
        </p:nvSpPr>
        <p:spPr>
          <a:xfrm>
            <a:off x="2504795" y="1528560"/>
            <a:ext cx="720000" cy="720000"/>
          </a:xfrm>
          <a:prstGeom prst="rect">
            <a:avLst/>
          </a:prstGeom>
          <a:noFill/>
          <a:ln w="6350" cmpd="sng">
            <a:noFill/>
          </a:ln>
        </p:spPr>
        <p:txBody>
          <a:bodyPr vert="horz"/>
          <a:lstStyle>
            <a:lvl1pPr marL="0" indent="0" algn="ctr">
              <a:lnSpc>
                <a:spcPct val="90000"/>
              </a:lnSpc>
              <a:buNone/>
              <a:defRPr sz="1000">
                <a:solidFill>
                  <a:schemeClr val="bg1">
                    <a:lumMod val="65000"/>
                  </a:schemeClr>
                </a:solidFill>
              </a:defRPr>
            </a:lvl1pPr>
          </a:lstStyle>
          <a:p>
            <a:r>
              <a:rPr lang="en-US" smtClean="0"/>
              <a:t>Click to add a picture</a:t>
            </a:r>
            <a:endParaRPr lang="en-US"/>
          </a:p>
        </p:txBody>
      </p:sp>
      <p:cxnSp>
        <p:nvCxnSpPr>
          <p:cNvPr id="118" name="Straight Connector 117"/>
          <p:cNvCxnSpPr/>
          <p:nvPr userDrawn="1"/>
        </p:nvCxnSpPr>
        <p:spPr>
          <a:xfrm>
            <a:off x="2504795" y="2330380"/>
            <a:ext cx="1984107" cy="0"/>
          </a:xfrm>
          <a:prstGeom prst="line">
            <a:avLst/>
          </a:prstGeom>
          <a:ln w="12700" cmpd="sng">
            <a:solidFill>
              <a:schemeClr val="tx1">
                <a:lumMod val="75000"/>
                <a:lumOff val="25000"/>
              </a:schemeClr>
            </a:solidFill>
            <a:prstDash val="solid"/>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userDrawn="1"/>
        </p:nvCxnSpPr>
        <p:spPr>
          <a:xfrm>
            <a:off x="2504795" y="1455737"/>
            <a:ext cx="1984107" cy="0"/>
          </a:xfrm>
          <a:prstGeom prst="line">
            <a:avLst/>
          </a:prstGeom>
          <a:ln w="12700" cmpd="sng">
            <a:solidFill>
              <a:schemeClr val="tx1">
                <a:lumMod val="75000"/>
                <a:lumOff val="25000"/>
              </a:schemeClr>
            </a:solidFill>
            <a:prstDash val="solid"/>
            <a:miter lim="800000"/>
          </a:ln>
        </p:spPr>
        <p:style>
          <a:lnRef idx="1">
            <a:schemeClr val="accent1"/>
          </a:lnRef>
          <a:fillRef idx="0">
            <a:schemeClr val="accent1"/>
          </a:fillRef>
          <a:effectRef idx="0">
            <a:schemeClr val="accent1"/>
          </a:effectRef>
          <a:fontRef idx="minor">
            <a:schemeClr val="tx1"/>
          </a:fontRef>
        </p:style>
      </p:cxnSp>
      <p:sp>
        <p:nvSpPr>
          <p:cNvPr id="120" name="Text Placeholder 46"/>
          <p:cNvSpPr>
            <a:spLocks noGrp="1"/>
          </p:cNvSpPr>
          <p:nvPr>
            <p:ph idx="101" hasCustomPrompt="1"/>
          </p:nvPr>
        </p:nvSpPr>
        <p:spPr>
          <a:xfrm>
            <a:off x="2504795" y="2737335"/>
            <a:ext cx="1980001" cy="328944"/>
          </a:xfrm>
          <a:prstGeom prst="rect">
            <a:avLst/>
          </a:prstGeom>
        </p:spPr>
        <p:txBody>
          <a:bodyPr vert="horz" lIns="0" tIns="45720" rIns="0" bIns="45720" rtlCol="0">
            <a:noAutofit/>
          </a:bodyPr>
          <a:lstStyle>
            <a:lvl1pPr marL="0" marR="0" indent="0" algn="l" defTabSz="914400" rtl="0" eaLnBrk="1" fontAlgn="auto" latinLnBrk="0" hangingPunct="1">
              <a:lnSpc>
                <a:spcPct val="100000"/>
              </a:lnSpc>
              <a:spcBef>
                <a:spcPts val="600"/>
              </a:spcBef>
              <a:spcAft>
                <a:spcPts val="0"/>
              </a:spcAft>
              <a:buClr>
                <a:schemeClr val="tx2"/>
              </a:buClr>
              <a:buSzPct val="99000"/>
              <a:buFont typeface="Arial" pitchFamily="34" charset="0"/>
              <a:buNone/>
              <a:tabLst/>
              <a:defRPr sz="800" b="0">
                <a:solidFill>
                  <a:schemeClr val="tx1">
                    <a:lumMod val="75000"/>
                    <a:lumOff val="25000"/>
                  </a:schemeClr>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marL="0" marR="0" lvl="0" indent="0" algn="l" defTabSz="914400" rtl="0" eaLnBrk="1" fontAlgn="auto" latinLnBrk="0" hangingPunct="1">
              <a:lnSpc>
                <a:spcPct val="100000"/>
              </a:lnSpc>
              <a:spcBef>
                <a:spcPts val="600"/>
              </a:spcBef>
              <a:spcAft>
                <a:spcPts val="0"/>
              </a:spcAft>
              <a:buClr>
                <a:schemeClr val="tx2"/>
              </a:buClr>
              <a:buSzPct val="99000"/>
              <a:buFont typeface="Arial" pitchFamily="34" charset="0"/>
              <a:buNone/>
              <a:tabLst/>
              <a:defRPr/>
            </a:pPr>
            <a:r>
              <a:rPr lang="en-US" dirty="0" smtClean="0"/>
              <a:t>Click to add a short bio</a:t>
            </a:r>
            <a:endParaRPr lang="en-GB" dirty="0" smtClean="0"/>
          </a:p>
        </p:txBody>
      </p:sp>
      <p:sp>
        <p:nvSpPr>
          <p:cNvPr id="121" name="Text Placeholder 46"/>
          <p:cNvSpPr>
            <a:spLocks noGrp="1"/>
          </p:cNvSpPr>
          <p:nvPr>
            <p:ph idx="102" hasCustomPrompt="1"/>
          </p:nvPr>
        </p:nvSpPr>
        <p:spPr>
          <a:xfrm>
            <a:off x="2504795" y="2531238"/>
            <a:ext cx="1980001" cy="176217"/>
          </a:xfrm>
          <a:prstGeom prst="rect">
            <a:avLst/>
          </a:prstGeom>
        </p:spPr>
        <p:txBody>
          <a:bodyPr vert="horz" lIns="0" tIns="0" rIns="0" bIns="45720" rtlCol="0">
            <a:noAutofit/>
          </a:bodyPr>
          <a:lstStyle>
            <a:lvl1pPr marL="0" indent="0">
              <a:spcBef>
                <a:spcPts val="600"/>
              </a:spcBef>
              <a:buClr>
                <a:schemeClr val="tx2"/>
              </a:buClr>
              <a:buNone/>
              <a:defRPr sz="900" b="0" baseline="0">
                <a:solidFill>
                  <a:schemeClr val="tx1">
                    <a:lumMod val="75000"/>
                    <a:lumOff val="25000"/>
                  </a:schemeClr>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job title</a:t>
            </a:r>
            <a:endParaRPr lang="en-GB" dirty="0"/>
          </a:p>
        </p:txBody>
      </p:sp>
      <p:cxnSp>
        <p:nvCxnSpPr>
          <p:cNvPr id="122" name="Straight Connector 121"/>
          <p:cNvCxnSpPr/>
          <p:nvPr userDrawn="1"/>
        </p:nvCxnSpPr>
        <p:spPr>
          <a:xfrm>
            <a:off x="2504795" y="2737334"/>
            <a:ext cx="1977994" cy="0"/>
          </a:xfrm>
          <a:prstGeom prst="line">
            <a:avLst/>
          </a:prstGeom>
          <a:ln w="12700" cap="rnd">
            <a:solidFill>
              <a:schemeClr val="tx1">
                <a:lumMod val="75000"/>
                <a:lumOff val="25000"/>
              </a:schemeClr>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123" name="Text Placeholder 46"/>
          <p:cNvSpPr>
            <a:spLocks noGrp="1"/>
          </p:cNvSpPr>
          <p:nvPr>
            <p:ph idx="103" hasCustomPrompt="1"/>
          </p:nvPr>
        </p:nvSpPr>
        <p:spPr>
          <a:xfrm>
            <a:off x="2504795" y="2326178"/>
            <a:ext cx="1980001" cy="205060"/>
          </a:xfrm>
          <a:prstGeom prst="rect">
            <a:avLst/>
          </a:prstGeom>
        </p:spPr>
        <p:txBody>
          <a:bodyPr vert="horz" lIns="0" tIns="25200" rIns="0" bIns="45720" rtlCol="0">
            <a:noAutofit/>
          </a:bodyPr>
          <a:lstStyle>
            <a:lvl1pPr marL="0" indent="0">
              <a:spcBef>
                <a:spcPts val="600"/>
              </a:spcBef>
              <a:buClr>
                <a:schemeClr val="tx2"/>
              </a:buClr>
              <a:buNone/>
              <a:defRPr sz="1000" b="1" baseline="0">
                <a:solidFill>
                  <a:schemeClr val="tx2"/>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name</a:t>
            </a:r>
            <a:endParaRPr lang="en-GB" dirty="0"/>
          </a:p>
        </p:txBody>
      </p:sp>
      <p:sp>
        <p:nvSpPr>
          <p:cNvPr id="124" name="Picture Placeholder 2"/>
          <p:cNvSpPr>
            <a:spLocks noGrp="1"/>
          </p:cNvSpPr>
          <p:nvPr>
            <p:ph type="pic" sz="quarter" idx="104" hasCustomPrompt="1"/>
          </p:nvPr>
        </p:nvSpPr>
        <p:spPr>
          <a:xfrm>
            <a:off x="2504795" y="3201703"/>
            <a:ext cx="720000" cy="720000"/>
          </a:xfrm>
          <a:prstGeom prst="rect">
            <a:avLst/>
          </a:prstGeom>
          <a:noFill/>
          <a:ln w="6350" cmpd="sng">
            <a:noFill/>
          </a:ln>
        </p:spPr>
        <p:txBody>
          <a:bodyPr vert="horz"/>
          <a:lstStyle>
            <a:lvl1pPr marL="0" indent="0" algn="ctr">
              <a:lnSpc>
                <a:spcPct val="90000"/>
              </a:lnSpc>
              <a:buNone/>
              <a:defRPr sz="1000">
                <a:solidFill>
                  <a:schemeClr val="bg1">
                    <a:lumMod val="65000"/>
                  </a:schemeClr>
                </a:solidFill>
              </a:defRPr>
            </a:lvl1pPr>
          </a:lstStyle>
          <a:p>
            <a:r>
              <a:rPr lang="en-US" smtClean="0"/>
              <a:t>Click to add a picture</a:t>
            </a:r>
            <a:endParaRPr lang="en-US"/>
          </a:p>
        </p:txBody>
      </p:sp>
      <p:cxnSp>
        <p:nvCxnSpPr>
          <p:cNvPr id="125" name="Straight Connector 124"/>
          <p:cNvCxnSpPr/>
          <p:nvPr userDrawn="1"/>
        </p:nvCxnSpPr>
        <p:spPr>
          <a:xfrm>
            <a:off x="2504795" y="4003523"/>
            <a:ext cx="1984107" cy="0"/>
          </a:xfrm>
          <a:prstGeom prst="line">
            <a:avLst/>
          </a:prstGeom>
          <a:ln w="12700" cmpd="sng">
            <a:solidFill>
              <a:schemeClr val="tx1">
                <a:lumMod val="75000"/>
                <a:lumOff val="25000"/>
              </a:schemeClr>
            </a:solidFill>
            <a:prstDash val="solid"/>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userDrawn="1"/>
        </p:nvCxnSpPr>
        <p:spPr>
          <a:xfrm>
            <a:off x="2504795" y="3128880"/>
            <a:ext cx="1984107" cy="0"/>
          </a:xfrm>
          <a:prstGeom prst="line">
            <a:avLst/>
          </a:prstGeom>
          <a:ln w="12700" cmpd="sng">
            <a:solidFill>
              <a:schemeClr val="tx1">
                <a:lumMod val="75000"/>
                <a:lumOff val="25000"/>
              </a:schemeClr>
            </a:solidFill>
            <a:prstDash val="solid"/>
            <a:miter lim="800000"/>
          </a:ln>
        </p:spPr>
        <p:style>
          <a:lnRef idx="1">
            <a:schemeClr val="accent1"/>
          </a:lnRef>
          <a:fillRef idx="0">
            <a:schemeClr val="accent1"/>
          </a:fillRef>
          <a:effectRef idx="0">
            <a:schemeClr val="accent1"/>
          </a:effectRef>
          <a:fontRef idx="minor">
            <a:schemeClr val="tx1"/>
          </a:fontRef>
        </p:style>
      </p:cxnSp>
      <p:sp>
        <p:nvSpPr>
          <p:cNvPr id="127" name="Text Placeholder 46"/>
          <p:cNvSpPr>
            <a:spLocks noGrp="1"/>
          </p:cNvSpPr>
          <p:nvPr>
            <p:ph idx="105" hasCustomPrompt="1"/>
          </p:nvPr>
        </p:nvSpPr>
        <p:spPr>
          <a:xfrm>
            <a:off x="2504795" y="4410478"/>
            <a:ext cx="1980001" cy="328944"/>
          </a:xfrm>
          <a:prstGeom prst="rect">
            <a:avLst/>
          </a:prstGeom>
        </p:spPr>
        <p:txBody>
          <a:bodyPr vert="horz" lIns="0" tIns="45720" rIns="0" bIns="45720" rtlCol="0">
            <a:noAutofit/>
          </a:bodyPr>
          <a:lstStyle>
            <a:lvl1pPr marL="0" marR="0" indent="0" algn="l" defTabSz="914400" rtl="0" eaLnBrk="1" fontAlgn="auto" latinLnBrk="0" hangingPunct="1">
              <a:lnSpc>
                <a:spcPct val="100000"/>
              </a:lnSpc>
              <a:spcBef>
                <a:spcPts val="600"/>
              </a:spcBef>
              <a:spcAft>
                <a:spcPts val="0"/>
              </a:spcAft>
              <a:buClr>
                <a:schemeClr val="tx2"/>
              </a:buClr>
              <a:buSzPct val="99000"/>
              <a:buFont typeface="Arial" pitchFamily="34" charset="0"/>
              <a:buNone/>
              <a:tabLst/>
              <a:defRPr sz="800" b="0">
                <a:solidFill>
                  <a:schemeClr val="tx1">
                    <a:lumMod val="75000"/>
                    <a:lumOff val="25000"/>
                  </a:schemeClr>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marL="0" marR="0" lvl="0" indent="0" algn="l" defTabSz="914400" rtl="0" eaLnBrk="1" fontAlgn="auto" latinLnBrk="0" hangingPunct="1">
              <a:lnSpc>
                <a:spcPct val="100000"/>
              </a:lnSpc>
              <a:spcBef>
                <a:spcPts val="600"/>
              </a:spcBef>
              <a:spcAft>
                <a:spcPts val="0"/>
              </a:spcAft>
              <a:buClr>
                <a:schemeClr val="tx2"/>
              </a:buClr>
              <a:buSzPct val="99000"/>
              <a:buFont typeface="Arial" pitchFamily="34" charset="0"/>
              <a:buNone/>
              <a:tabLst/>
              <a:defRPr/>
            </a:pPr>
            <a:r>
              <a:rPr lang="en-US" dirty="0" smtClean="0"/>
              <a:t>Click to add a short bio</a:t>
            </a:r>
            <a:endParaRPr lang="en-GB" dirty="0" smtClean="0"/>
          </a:p>
        </p:txBody>
      </p:sp>
      <p:sp>
        <p:nvSpPr>
          <p:cNvPr id="128" name="Text Placeholder 46"/>
          <p:cNvSpPr>
            <a:spLocks noGrp="1"/>
          </p:cNvSpPr>
          <p:nvPr>
            <p:ph idx="106" hasCustomPrompt="1"/>
          </p:nvPr>
        </p:nvSpPr>
        <p:spPr>
          <a:xfrm>
            <a:off x="2504795" y="4204381"/>
            <a:ext cx="1980001" cy="176217"/>
          </a:xfrm>
          <a:prstGeom prst="rect">
            <a:avLst/>
          </a:prstGeom>
        </p:spPr>
        <p:txBody>
          <a:bodyPr vert="horz" lIns="0" tIns="0" rIns="0" bIns="45720" rtlCol="0">
            <a:noAutofit/>
          </a:bodyPr>
          <a:lstStyle>
            <a:lvl1pPr marL="0" indent="0">
              <a:spcBef>
                <a:spcPts val="600"/>
              </a:spcBef>
              <a:buClr>
                <a:schemeClr val="tx2"/>
              </a:buClr>
              <a:buNone/>
              <a:defRPr sz="900" b="0" baseline="0">
                <a:solidFill>
                  <a:schemeClr val="tx1">
                    <a:lumMod val="75000"/>
                    <a:lumOff val="25000"/>
                  </a:schemeClr>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job title</a:t>
            </a:r>
            <a:endParaRPr lang="en-GB" dirty="0"/>
          </a:p>
        </p:txBody>
      </p:sp>
      <p:cxnSp>
        <p:nvCxnSpPr>
          <p:cNvPr id="129" name="Straight Connector 128"/>
          <p:cNvCxnSpPr/>
          <p:nvPr userDrawn="1"/>
        </p:nvCxnSpPr>
        <p:spPr>
          <a:xfrm>
            <a:off x="2504795" y="4410477"/>
            <a:ext cx="1977994" cy="0"/>
          </a:xfrm>
          <a:prstGeom prst="line">
            <a:avLst/>
          </a:prstGeom>
          <a:ln w="12700" cap="rnd">
            <a:solidFill>
              <a:schemeClr val="tx1">
                <a:lumMod val="75000"/>
                <a:lumOff val="25000"/>
              </a:schemeClr>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130" name="Text Placeholder 46"/>
          <p:cNvSpPr>
            <a:spLocks noGrp="1"/>
          </p:cNvSpPr>
          <p:nvPr>
            <p:ph idx="107" hasCustomPrompt="1"/>
          </p:nvPr>
        </p:nvSpPr>
        <p:spPr>
          <a:xfrm>
            <a:off x="2504795" y="3999321"/>
            <a:ext cx="1980001" cy="205060"/>
          </a:xfrm>
          <a:prstGeom prst="rect">
            <a:avLst/>
          </a:prstGeom>
        </p:spPr>
        <p:txBody>
          <a:bodyPr vert="horz" lIns="0" tIns="25200" rIns="0" bIns="45720" rtlCol="0">
            <a:noAutofit/>
          </a:bodyPr>
          <a:lstStyle>
            <a:lvl1pPr marL="0" indent="0">
              <a:spcBef>
                <a:spcPts val="600"/>
              </a:spcBef>
              <a:buClr>
                <a:schemeClr val="tx2"/>
              </a:buClr>
              <a:buNone/>
              <a:defRPr sz="1000" b="1" baseline="0">
                <a:solidFill>
                  <a:schemeClr val="tx2"/>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name</a:t>
            </a:r>
            <a:endParaRPr lang="en-GB" dirty="0"/>
          </a:p>
        </p:txBody>
      </p:sp>
      <p:sp>
        <p:nvSpPr>
          <p:cNvPr id="63" name="Text Placeholder 2"/>
          <p:cNvSpPr>
            <a:spLocks noGrp="1"/>
          </p:cNvSpPr>
          <p:nvPr>
            <p:ph type="body" sz="quarter" idx="108" hasCustomPrompt="1"/>
          </p:nvPr>
        </p:nvSpPr>
        <p:spPr>
          <a:xfrm>
            <a:off x="6202363" y="4807465"/>
            <a:ext cx="1160462" cy="341313"/>
          </a:xfrm>
          <a:prstGeom prst="rect">
            <a:avLst/>
          </a:prstGeom>
        </p:spPr>
        <p:txBody>
          <a:bodyPr anchor="ctr"/>
          <a:lstStyle>
            <a:lvl1pPr marL="0" indent="0" algn="ctr">
              <a:buNone/>
              <a:defRPr sz="800">
                <a:solidFill>
                  <a:schemeClr val="tx1">
                    <a:lumMod val="75000"/>
                    <a:lumOff val="25000"/>
                  </a:schemeClr>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sp>
        <p:nvSpPr>
          <p:cNvPr id="64"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chemeClr val="bg1">
                    <a:lumMod val="75000"/>
                  </a:schemeClr>
                </a:solidFill>
                <a:latin typeface="+mn-lt"/>
              </a:defRPr>
            </a:lvl1pPr>
          </a:lstStyle>
          <a:p>
            <a:fld id="{19AB4E72-7858-48F1-A40D-12FF09E4BFB8}" type="slidenum">
              <a:rPr lang="en-GB" smtClean="0"/>
              <a:pPr/>
              <a:t>‹Nº›</a:t>
            </a:fld>
            <a:endParaRPr lang="en-GB"/>
          </a:p>
        </p:txBody>
      </p:sp>
      <p:sp>
        <p:nvSpPr>
          <p:cNvPr id="65" name="Footer Placeholder 6"/>
          <p:cNvSpPr>
            <a:spLocks noGrp="1"/>
          </p:cNvSpPr>
          <p:nvPr>
            <p:ph type="ftr" sz="quarter" idx="11"/>
          </p:nvPr>
        </p:nvSpPr>
        <p:spPr>
          <a:xfrm>
            <a:off x="608553" y="4816190"/>
            <a:ext cx="5040000" cy="158419"/>
          </a:xfrm>
          <a:prstGeom prst="rect">
            <a:avLst/>
          </a:prstGeom>
        </p:spPr>
        <p:txBody>
          <a:bodyPr lIns="0" rIns="0" bIns="0"/>
          <a:lstStyle>
            <a:lvl1pPr>
              <a:defRPr sz="600">
                <a:solidFill>
                  <a:schemeClr val="bg1">
                    <a:lumMod val="75000"/>
                  </a:schemeClr>
                </a:solidFill>
                <a:latin typeface="+mj-lt"/>
              </a:defRPr>
            </a:lvl1pPr>
          </a:lstStyle>
          <a:p>
            <a:endParaRPr lang="pt-BR"/>
          </a:p>
        </p:txBody>
      </p:sp>
      <p:sp>
        <p:nvSpPr>
          <p:cNvPr id="66"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latin typeface="+mn-lt"/>
              </a:rPr>
              <a:t>Private and Confidental</a:t>
            </a:r>
            <a:endParaRPr lang="pt-BR" sz="500" dirty="0">
              <a:latin typeface="+mn-lt"/>
            </a:endParaRPr>
          </a:p>
        </p:txBody>
      </p:sp>
    </p:spTree>
    <p:extLst>
      <p:ext uri="{BB962C8B-B14F-4D97-AF65-F5344CB8AC3E}">
        <p14:creationId xmlns:p14="http://schemas.microsoft.com/office/powerpoint/2010/main" val="90451182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Titles - Content">
    <p:bg>
      <p:bgPr>
        <a:solidFill>
          <a:schemeClr val="bg1"/>
        </a:solidFill>
        <a:effectLst/>
      </p:bgPr>
    </p:bg>
    <p:spTree>
      <p:nvGrpSpPr>
        <p:cNvPr id="1" name=""/>
        <p:cNvGrpSpPr/>
        <p:nvPr/>
      </p:nvGrpSpPr>
      <p:grpSpPr>
        <a:xfrm>
          <a:off x="0" y="0"/>
          <a:ext cx="0" cy="0"/>
          <a:chOff x="0" y="0"/>
          <a:chExt cx="0" cy="0"/>
        </a:xfrm>
      </p:grpSpPr>
      <p:sp>
        <p:nvSpPr>
          <p:cNvPr id="4" name="Title Placeholder 6"/>
          <p:cNvSpPr>
            <a:spLocks noGrp="1"/>
          </p:cNvSpPr>
          <p:nvPr>
            <p:ph type="title"/>
          </p:nvPr>
        </p:nvSpPr>
        <p:spPr>
          <a:xfrm>
            <a:off x="347474" y="323727"/>
            <a:ext cx="8460000" cy="416186"/>
          </a:xfrm>
          <a:prstGeom prst="rect">
            <a:avLst/>
          </a:prstGeom>
        </p:spPr>
        <p:txBody>
          <a:bodyPr vert="horz" lIns="0" tIns="45720" rIns="0" bIns="45720" rtlCol="0" anchor="b">
            <a:noAutofit/>
          </a:bodyPr>
          <a:lstStyle>
            <a:lvl1pPr>
              <a:defRPr sz="2000">
                <a:solidFill>
                  <a:schemeClr val="tx1">
                    <a:lumMod val="75000"/>
                    <a:lumOff val="25000"/>
                  </a:schemeClr>
                </a:solidFill>
              </a:defRPr>
            </a:lvl1pPr>
          </a:lstStyle>
          <a:p>
            <a:r>
              <a:rPr lang="en-US" dirty="0" smtClean="0"/>
              <a:t>Click to edit Master title style</a:t>
            </a:r>
            <a:endParaRPr lang="en-GB" dirty="0"/>
          </a:p>
        </p:txBody>
      </p:sp>
      <p:sp>
        <p:nvSpPr>
          <p:cNvPr id="5" name="Text Placeholder 46"/>
          <p:cNvSpPr>
            <a:spLocks noGrp="1"/>
          </p:cNvSpPr>
          <p:nvPr>
            <p:ph idx="1"/>
          </p:nvPr>
        </p:nvSpPr>
        <p:spPr>
          <a:xfrm>
            <a:off x="351670" y="1454341"/>
            <a:ext cx="8460000" cy="3240000"/>
          </a:xfrm>
          <a:prstGeom prst="rect">
            <a:avLst/>
          </a:prstGeom>
        </p:spPr>
        <p:txBody>
          <a:bodyPr vert="horz" lIns="0" tIns="45720" rIns="0" bIns="45720" rtlCol="0">
            <a:noAutofit/>
          </a:bodyPr>
          <a:lstStyle>
            <a:lvl1pPr marL="0" indent="0">
              <a:spcBef>
                <a:spcPts val="600"/>
              </a:spcBef>
              <a:buClr>
                <a:schemeClr val="tx2"/>
              </a:buClr>
              <a:buNone/>
              <a:defRPr sz="1050" b="1">
                <a:solidFill>
                  <a:schemeClr val="tx2"/>
                </a:solidFill>
                <a:latin typeface="Arial"/>
                <a:cs typeface="Arial"/>
              </a:defRPr>
            </a:lvl1pPr>
            <a:lvl2pPr marL="179388" indent="-179388">
              <a:spcBef>
                <a:spcPts val="600"/>
              </a:spcBef>
              <a:buClr>
                <a:schemeClr val="tx2"/>
              </a:buClr>
              <a:defRPr sz="1050">
                <a:latin typeface="Arial"/>
                <a:cs typeface="Arial"/>
              </a:defRPr>
            </a:lvl2pPr>
            <a:lvl3pPr marL="179388" indent="-179388">
              <a:spcBef>
                <a:spcPts val="600"/>
              </a:spcBef>
              <a:buClr>
                <a:schemeClr val="tx2"/>
              </a:buClr>
              <a:defRPr sz="1050">
                <a:latin typeface="Arial"/>
                <a:cs typeface="Arial"/>
              </a:defRPr>
            </a:lvl3pPr>
            <a:lvl4pPr marL="179388" indent="-179388">
              <a:spcBef>
                <a:spcPts val="600"/>
              </a:spcBef>
              <a:buClr>
                <a:schemeClr val="tx2"/>
              </a:buClr>
              <a:tabLst/>
              <a:defRPr sz="1050">
                <a:latin typeface="Arial"/>
                <a:cs typeface="Arial"/>
              </a:defRPr>
            </a:lvl4pPr>
            <a:lvl5pPr marL="179388" indent="-179388">
              <a:spcBef>
                <a:spcPts val="600"/>
              </a:spcBef>
              <a:buClr>
                <a:schemeClr val="tx2"/>
              </a:buClr>
              <a:defRPr sz="1050">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Text Placeholder 7"/>
          <p:cNvSpPr>
            <a:spLocks noGrp="1"/>
          </p:cNvSpPr>
          <p:nvPr>
            <p:ph type="body" sz="quarter" idx="20"/>
          </p:nvPr>
        </p:nvSpPr>
        <p:spPr>
          <a:xfrm>
            <a:off x="347473" y="808579"/>
            <a:ext cx="8460000" cy="393270"/>
          </a:xfrm>
          <a:prstGeom prst="rect">
            <a:avLst/>
          </a:prstGeom>
        </p:spPr>
        <p:txBody>
          <a:bodyPr lIns="0" rIns="0"/>
          <a:lstStyle>
            <a:lvl1pPr marL="0" indent="0">
              <a:spcBef>
                <a:spcPts val="0"/>
              </a:spcBef>
              <a:buNone/>
              <a:defRPr lang="en-US" sz="1100" b="1" i="1" kern="1200" dirty="0" smtClean="0">
                <a:solidFill>
                  <a:schemeClr val="tx2"/>
                </a:solidFill>
                <a:latin typeface="+mj-lt"/>
                <a:ea typeface="+mn-ea"/>
                <a:cs typeface="Arial"/>
              </a:defRPr>
            </a:lvl1pPr>
            <a:lvl2pPr marL="0" indent="0">
              <a:spcBef>
                <a:spcPts val="0"/>
              </a:spcBef>
              <a:buNone/>
              <a:defRPr lang="en-US" sz="1100" b="0" i="0" kern="1200" dirty="0" smtClean="0">
                <a:solidFill>
                  <a:schemeClr val="tx1">
                    <a:lumMod val="75000"/>
                    <a:lumOff val="25000"/>
                  </a:schemeClr>
                </a:solidFill>
                <a:latin typeface="+mj-lt"/>
                <a:ea typeface="+mn-ea"/>
                <a:cs typeface="Arial"/>
              </a:defRPr>
            </a:lvl2pPr>
          </a:lstStyle>
          <a:p>
            <a:pPr lvl="0"/>
            <a:r>
              <a:rPr lang="en-US" dirty="0" smtClean="0"/>
              <a:t>Click to edit Master text styles</a:t>
            </a:r>
          </a:p>
          <a:p>
            <a:pPr lvl="1"/>
            <a:r>
              <a:rPr lang="en-US" dirty="0" smtClean="0"/>
              <a:t>Second level</a:t>
            </a:r>
          </a:p>
        </p:txBody>
      </p:sp>
      <p:cxnSp>
        <p:nvCxnSpPr>
          <p:cNvPr id="9" name="Straight Connector 8"/>
          <p:cNvCxnSpPr/>
          <p:nvPr userDrawn="1"/>
        </p:nvCxnSpPr>
        <p:spPr>
          <a:xfrm>
            <a:off x="343366" y="739913"/>
            <a:ext cx="8460000" cy="0"/>
          </a:xfrm>
          <a:prstGeom prst="line">
            <a:avLst/>
          </a:prstGeom>
          <a:ln w="12700">
            <a:solidFill>
              <a:schemeClr val="tx1">
                <a:lumMod val="75000"/>
                <a:lumOff val="25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351670" y="1270022"/>
            <a:ext cx="8460000" cy="0"/>
          </a:xfrm>
          <a:prstGeom prst="line">
            <a:avLst/>
          </a:prstGeom>
          <a:ln w="12700" cap="rnd">
            <a:solidFill>
              <a:schemeClr val="tx1">
                <a:lumMod val="75000"/>
                <a:lumOff val="25000"/>
              </a:schemeClr>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13" name="Text Placeholder 2"/>
          <p:cNvSpPr>
            <a:spLocks noGrp="1"/>
          </p:cNvSpPr>
          <p:nvPr>
            <p:ph type="body" sz="quarter" idx="25" hasCustomPrompt="1"/>
          </p:nvPr>
        </p:nvSpPr>
        <p:spPr>
          <a:xfrm>
            <a:off x="6202363" y="4807465"/>
            <a:ext cx="1160462" cy="341313"/>
          </a:xfrm>
          <a:prstGeom prst="rect">
            <a:avLst/>
          </a:prstGeom>
        </p:spPr>
        <p:txBody>
          <a:bodyPr anchor="ctr"/>
          <a:lstStyle>
            <a:lvl1pPr marL="0" indent="0" algn="ctr">
              <a:buNone/>
              <a:defRPr sz="800">
                <a:solidFill>
                  <a:schemeClr val="tx1">
                    <a:lumMod val="75000"/>
                    <a:lumOff val="25000"/>
                  </a:schemeClr>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sp>
        <p:nvSpPr>
          <p:cNvPr id="11"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chemeClr val="bg1">
                    <a:lumMod val="75000"/>
                  </a:schemeClr>
                </a:solidFill>
                <a:latin typeface="+mn-lt"/>
              </a:defRPr>
            </a:lvl1pPr>
          </a:lstStyle>
          <a:p>
            <a:fld id="{19AB4E72-7858-48F1-A40D-12FF09E4BFB8}" type="slidenum">
              <a:rPr lang="en-GB" smtClean="0"/>
              <a:pPr/>
              <a:t>‹Nº›</a:t>
            </a:fld>
            <a:endParaRPr lang="en-GB"/>
          </a:p>
        </p:txBody>
      </p:sp>
      <p:sp>
        <p:nvSpPr>
          <p:cNvPr id="14" name="Footer Placeholder 6"/>
          <p:cNvSpPr>
            <a:spLocks noGrp="1"/>
          </p:cNvSpPr>
          <p:nvPr>
            <p:ph type="ftr" sz="quarter" idx="11"/>
          </p:nvPr>
        </p:nvSpPr>
        <p:spPr>
          <a:xfrm>
            <a:off x="608553" y="4816190"/>
            <a:ext cx="5040000" cy="158419"/>
          </a:xfrm>
          <a:prstGeom prst="rect">
            <a:avLst/>
          </a:prstGeom>
        </p:spPr>
        <p:txBody>
          <a:bodyPr lIns="0" rIns="0" bIns="0"/>
          <a:lstStyle>
            <a:lvl1pPr>
              <a:defRPr sz="600">
                <a:solidFill>
                  <a:schemeClr val="bg1">
                    <a:lumMod val="75000"/>
                  </a:schemeClr>
                </a:solidFill>
                <a:latin typeface="+mj-lt"/>
              </a:defRPr>
            </a:lvl1pPr>
          </a:lstStyle>
          <a:p>
            <a:endParaRPr lang="pt-BR"/>
          </a:p>
        </p:txBody>
      </p:sp>
      <p:sp>
        <p:nvSpPr>
          <p:cNvPr id="15"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latin typeface="+mn-lt"/>
              </a:rPr>
              <a:t>Private and Confidental</a:t>
            </a:r>
            <a:endParaRPr lang="pt-BR" sz="500" dirty="0">
              <a:latin typeface="+mn-lt"/>
            </a:endParaRPr>
          </a:p>
        </p:txBody>
      </p:sp>
    </p:spTree>
    <p:extLst>
      <p:ext uri="{BB962C8B-B14F-4D97-AF65-F5344CB8AC3E}">
        <p14:creationId xmlns:p14="http://schemas.microsoft.com/office/powerpoint/2010/main" val="97269997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_Master_Leaf">
    <p:bg>
      <p:bgPr>
        <a:solidFill>
          <a:schemeClr val="bg1"/>
        </a:solidFill>
        <a:effectLst/>
      </p:bgPr>
    </p:bg>
    <p:spTree>
      <p:nvGrpSpPr>
        <p:cNvPr id="1" name=""/>
        <p:cNvGrpSpPr/>
        <p:nvPr/>
      </p:nvGrpSpPr>
      <p:grpSpPr>
        <a:xfrm>
          <a:off x="0" y="0"/>
          <a:ext cx="0" cy="0"/>
          <a:chOff x="0" y="0"/>
          <a:chExt cx="0" cy="0"/>
        </a:xfrm>
      </p:grpSpPr>
      <p:sp>
        <p:nvSpPr>
          <p:cNvPr id="31" name="Rectangle 30"/>
          <p:cNvSpPr/>
          <p:nvPr userDrawn="1"/>
        </p:nvSpPr>
        <p:spPr>
          <a:xfrm>
            <a:off x="0" y="0"/>
            <a:ext cx="9144000" cy="5148263"/>
          </a:xfrm>
          <a:prstGeom prst="rect">
            <a:avLst/>
          </a:prstGeom>
          <a:solidFill>
            <a:schemeClr val="tx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en-GB" sz="1050" smtClean="0">
              <a:solidFill>
                <a:schemeClr val="bg1"/>
              </a:solidFill>
              <a:latin typeface="Arial" panose="020B0604020202020204" pitchFamily="34" charset="0"/>
              <a:cs typeface="Arial" panose="020B0604020202020204" pitchFamily="34" charset="0"/>
            </a:endParaRPr>
          </a:p>
        </p:txBody>
      </p:sp>
      <p:pic>
        <p:nvPicPr>
          <p:cNvPr id="33" name="Picture 32" descr="cookie_white.png"/>
          <p:cNvPicPr>
            <a:picLocks noChangeAspect="1"/>
          </p:cNvPicPr>
          <p:nvPr userDrawn="1"/>
        </p:nvPicPr>
        <p:blipFill rotWithShape="1">
          <a:blip r:embed="rId2" cstate="screen">
            <a:alphaModFix amt="16000"/>
            <a:extLst>
              <a:ext uri="{28A0092B-C50C-407E-A947-70E740481C1C}">
                <a14:useLocalDpi xmlns:a14="http://schemas.microsoft.com/office/drawing/2010/main"/>
              </a:ext>
            </a:extLst>
          </a:blip>
          <a:srcRect/>
          <a:stretch/>
        </p:blipFill>
        <p:spPr>
          <a:xfrm flipH="1">
            <a:off x="5149029" y="2289839"/>
            <a:ext cx="4020091" cy="2880000"/>
          </a:xfrm>
          <a:prstGeom prst="rect">
            <a:avLst/>
          </a:prstGeom>
        </p:spPr>
      </p:pic>
      <p:cxnSp>
        <p:nvCxnSpPr>
          <p:cNvPr id="32" name="Straight Connector 31"/>
          <p:cNvCxnSpPr/>
          <p:nvPr userDrawn="1"/>
        </p:nvCxnSpPr>
        <p:spPr>
          <a:xfrm>
            <a:off x="343365" y="470176"/>
            <a:ext cx="8460000" cy="0"/>
          </a:xfrm>
          <a:prstGeom prst="line">
            <a:avLst/>
          </a:prstGeom>
          <a:ln w="6350" cmpd="sng">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343365" y="4801146"/>
            <a:ext cx="8460000" cy="0"/>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sp>
        <p:nvSpPr>
          <p:cNvPr id="67"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rgbClr val="FFFFFF"/>
                </a:solidFill>
                <a:latin typeface="+mn-lt"/>
              </a:defRPr>
            </a:lvl1pPr>
          </a:lstStyle>
          <a:p>
            <a:fld id="{19AB4E72-7858-48F1-A40D-12FF09E4BFB8}" type="slidenum">
              <a:rPr lang="en-GB" smtClean="0"/>
              <a:pPr/>
              <a:t>‹Nº›</a:t>
            </a:fld>
            <a:endParaRPr lang="en-GB"/>
          </a:p>
        </p:txBody>
      </p:sp>
      <p:sp>
        <p:nvSpPr>
          <p:cNvPr id="36" name="Title 1"/>
          <p:cNvSpPr>
            <a:spLocks noGrp="1"/>
          </p:cNvSpPr>
          <p:nvPr>
            <p:ph type="ctrTitle" hasCustomPrompt="1"/>
          </p:nvPr>
        </p:nvSpPr>
        <p:spPr>
          <a:xfrm>
            <a:off x="343365" y="2867487"/>
            <a:ext cx="8460000" cy="443198"/>
          </a:xfrm>
          <a:prstGeom prst="rect">
            <a:avLst/>
          </a:prstGeom>
        </p:spPr>
        <p:txBody>
          <a:bodyPr lIns="0" tIns="0" rIns="0" bIns="0" anchor="b"/>
          <a:lstStyle>
            <a:lvl1pPr>
              <a:lnSpc>
                <a:spcPct val="90000"/>
              </a:lnSpc>
              <a:defRPr sz="3200" b="0">
                <a:solidFill>
                  <a:schemeClr val="bg1"/>
                </a:solidFill>
              </a:defRPr>
            </a:lvl1pPr>
          </a:lstStyle>
          <a:p>
            <a:r>
              <a:rPr lang="en-US" dirty="0" smtClean="0"/>
              <a:t>Click to edit Master title Style</a:t>
            </a:r>
            <a:endParaRPr lang="en-US" dirty="0"/>
          </a:p>
        </p:txBody>
      </p:sp>
      <p:sp>
        <p:nvSpPr>
          <p:cNvPr id="37" name="Subtitle 2"/>
          <p:cNvSpPr>
            <a:spLocks noGrp="1"/>
          </p:cNvSpPr>
          <p:nvPr>
            <p:ph type="subTitle" idx="1" hasCustomPrompt="1"/>
          </p:nvPr>
        </p:nvSpPr>
        <p:spPr>
          <a:xfrm>
            <a:off x="343364" y="3474100"/>
            <a:ext cx="8460000" cy="202165"/>
          </a:xfrm>
          <a:prstGeom prst="rect">
            <a:avLst/>
          </a:prstGeom>
        </p:spPr>
        <p:txBody>
          <a:bodyPr lIns="0" tIns="0" rIns="0" bIns="0">
            <a:noAutofit/>
          </a:bodyPr>
          <a:lstStyle>
            <a:lvl1pPr marL="0" indent="0" algn="l">
              <a:buNone/>
              <a:defRPr sz="14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cxnSp>
        <p:nvCxnSpPr>
          <p:cNvPr id="38" name="Straight Connector 37"/>
          <p:cNvCxnSpPr/>
          <p:nvPr userDrawn="1"/>
        </p:nvCxnSpPr>
        <p:spPr>
          <a:xfrm>
            <a:off x="346086" y="3395058"/>
            <a:ext cx="8460000" cy="0"/>
          </a:xfrm>
          <a:prstGeom prst="line">
            <a:avLst/>
          </a:prstGeom>
          <a:ln w="12700"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ext Placeholder 2"/>
          <p:cNvSpPr>
            <a:spLocks noGrp="1"/>
          </p:cNvSpPr>
          <p:nvPr>
            <p:ph type="body" sz="quarter" idx="25" hasCustomPrompt="1"/>
          </p:nvPr>
        </p:nvSpPr>
        <p:spPr>
          <a:xfrm>
            <a:off x="6202363" y="4807465"/>
            <a:ext cx="1160462" cy="341313"/>
          </a:xfrm>
          <a:prstGeom prst="rect">
            <a:avLst/>
          </a:prstGeom>
        </p:spPr>
        <p:txBody>
          <a:bodyPr anchor="ctr"/>
          <a:lstStyle>
            <a:lvl1pPr marL="0" indent="0" algn="ctr">
              <a:buNone/>
              <a:defRPr sz="800">
                <a:solidFill>
                  <a:schemeClr val="bg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grpSp>
        <p:nvGrpSpPr>
          <p:cNvPr id="29" name="Group 28"/>
          <p:cNvGrpSpPr/>
          <p:nvPr userDrawn="1"/>
        </p:nvGrpSpPr>
        <p:grpSpPr>
          <a:xfrm>
            <a:off x="7686461" y="4906654"/>
            <a:ext cx="1124815" cy="151147"/>
            <a:chOff x="7686461" y="4581466"/>
            <a:chExt cx="1124815" cy="151147"/>
          </a:xfrm>
          <a:solidFill>
            <a:schemeClr val="bg1"/>
          </a:solidFill>
        </p:grpSpPr>
        <p:sp>
          <p:nvSpPr>
            <p:cNvPr id="30"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34"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35"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39"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1"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6"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7"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8"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9"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0"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1"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2"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3"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4"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5"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grpSp>
      <p:sp>
        <p:nvSpPr>
          <p:cNvPr id="40"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solidFill>
                  <a:schemeClr val="tx2">
                    <a:lumMod val="75000"/>
                  </a:schemeClr>
                </a:solidFill>
                <a:latin typeface="+mn-lt"/>
              </a:rPr>
              <a:t>Private and Confidental</a:t>
            </a:r>
            <a:endParaRPr lang="pt-BR" sz="500" dirty="0">
              <a:solidFill>
                <a:schemeClr val="tx2">
                  <a:lumMod val="75000"/>
                </a:schemeClr>
              </a:solidFill>
              <a:latin typeface="+mn-lt"/>
            </a:endParaRPr>
          </a:p>
        </p:txBody>
      </p:sp>
    </p:spTree>
    <p:extLst>
      <p:ext uri="{BB962C8B-B14F-4D97-AF65-F5344CB8AC3E}">
        <p14:creationId xmlns:p14="http://schemas.microsoft.com/office/powerpoint/2010/main" val="3461071211"/>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_Master_Slate_3">
    <p:bg>
      <p:bgPr>
        <a:solidFill>
          <a:schemeClr val="bg1"/>
        </a:solidFill>
        <a:effectLst/>
      </p:bgPr>
    </p:bg>
    <p:spTree>
      <p:nvGrpSpPr>
        <p:cNvPr id="1" name=""/>
        <p:cNvGrpSpPr/>
        <p:nvPr/>
      </p:nvGrpSpPr>
      <p:grpSpPr>
        <a:xfrm>
          <a:off x="0" y="0"/>
          <a:ext cx="0" cy="0"/>
          <a:chOff x="0" y="0"/>
          <a:chExt cx="0" cy="0"/>
        </a:xfrm>
      </p:grpSpPr>
      <p:sp>
        <p:nvSpPr>
          <p:cNvPr id="31" name="Rectangle 30"/>
          <p:cNvSpPr/>
          <p:nvPr userDrawn="1"/>
        </p:nvSpPr>
        <p:spPr>
          <a:xfrm>
            <a:off x="0" y="0"/>
            <a:ext cx="9144000" cy="5148263"/>
          </a:xfrm>
          <a:prstGeom prst="rect">
            <a:avLst/>
          </a:prstGeom>
          <a:solidFill>
            <a:srgbClr val="4B4E53"/>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en-GB" sz="1050" smtClean="0">
              <a:solidFill>
                <a:schemeClr val="bg1"/>
              </a:solidFill>
              <a:latin typeface="Arial" panose="020B0604020202020204" pitchFamily="34" charset="0"/>
              <a:cs typeface="Arial" panose="020B0604020202020204" pitchFamily="34" charset="0"/>
            </a:endParaRPr>
          </a:p>
        </p:txBody>
      </p:sp>
      <p:pic>
        <p:nvPicPr>
          <p:cNvPr id="33" name="Picture 32" descr="cookie_white.png"/>
          <p:cNvPicPr>
            <a:picLocks noChangeAspect="1"/>
          </p:cNvPicPr>
          <p:nvPr userDrawn="1"/>
        </p:nvPicPr>
        <p:blipFill rotWithShape="1">
          <a:blip r:embed="rId2" cstate="screen">
            <a:alphaModFix amt="16000"/>
            <a:extLst>
              <a:ext uri="{28A0092B-C50C-407E-A947-70E740481C1C}">
                <a14:useLocalDpi xmlns:a14="http://schemas.microsoft.com/office/drawing/2010/main"/>
              </a:ext>
            </a:extLst>
          </a:blip>
          <a:srcRect/>
          <a:stretch/>
        </p:blipFill>
        <p:spPr>
          <a:xfrm flipH="1">
            <a:off x="5149029" y="2289839"/>
            <a:ext cx="4020091" cy="2880000"/>
          </a:xfrm>
          <a:prstGeom prst="rect">
            <a:avLst/>
          </a:prstGeom>
        </p:spPr>
      </p:pic>
      <p:cxnSp>
        <p:nvCxnSpPr>
          <p:cNvPr id="32" name="Straight Connector 31"/>
          <p:cNvCxnSpPr/>
          <p:nvPr userDrawn="1"/>
        </p:nvCxnSpPr>
        <p:spPr>
          <a:xfrm>
            <a:off x="343365" y="470176"/>
            <a:ext cx="8460000" cy="0"/>
          </a:xfrm>
          <a:prstGeom prst="line">
            <a:avLst/>
          </a:prstGeom>
          <a:ln w="6350" cmpd="sng">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343365" y="4801146"/>
            <a:ext cx="8460000" cy="0"/>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sp>
        <p:nvSpPr>
          <p:cNvPr id="67"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rgbClr val="FFFFFF"/>
                </a:solidFill>
                <a:latin typeface="+mn-lt"/>
              </a:defRPr>
            </a:lvl1pPr>
          </a:lstStyle>
          <a:p>
            <a:fld id="{19AB4E72-7858-48F1-A40D-12FF09E4BFB8}" type="slidenum">
              <a:rPr lang="en-GB" smtClean="0"/>
              <a:pPr/>
              <a:t>‹Nº›</a:t>
            </a:fld>
            <a:endParaRPr lang="en-GB"/>
          </a:p>
        </p:txBody>
      </p:sp>
      <p:sp>
        <p:nvSpPr>
          <p:cNvPr id="36" name="Title 1"/>
          <p:cNvSpPr>
            <a:spLocks noGrp="1"/>
          </p:cNvSpPr>
          <p:nvPr>
            <p:ph type="ctrTitle" hasCustomPrompt="1"/>
          </p:nvPr>
        </p:nvSpPr>
        <p:spPr>
          <a:xfrm>
            <a:off x="343365" y="2867487"/>
            <a:ext cx="8460000" cy="443198"/>
          </a:xfrm>
          <a:prstGeom prst="rect">
            <a:avLst/>
          </a:prstGeom>
        </p:spPr>
        <p:txBody>
          <a:bodyPr lIns="0" tIns="0" rIns="0" bIns="0" anchor="b"/>
          <a:lstStyle>
            <a:lvl1pPr>
              <a:lnSpc>
                <a:spcPct val="90000"/>
              </a:lnSpc>
              <a:defRPr sz="3200" b="0">
                <a:solidFill>
                  <a:schemeClr val="bg1"/>
                </a:solidFill>
              </a:defRPr>
            </a:lvl1pPr>
          </a:lstStyle>
          <a:p>
            <a:r>
              <a:rPr lang="en-US" dirty="0" smtClean="0"/>
              <a:t>Click to edit Master title Style</a:t>
            </a:r>
            <a:endParaRPr lang="en-US" dirty="0"/>
          </a:p>
        </p:txBody>
      </p:sp>
      <p:sp>
        <p:nvSpPr>
          <p:cNvPr id="37" name="Subtitle 2"/>
          <p:cNvSpPr>
            <a:spLocks noGrp="1"/>
          </p:cNvSpPr>
          <p:nvPr>
            <p:ph type="subTitle" idx="1" hasCustomPrompt="1"/>
          </p:nvPr>
        </p:nvSpPr>
        <p:spPr>
          <a:xfrm>
            <a:off x="343364" y="3474100"/>
            <a:ext cx="8460000" cy="202165"/>
          </a:xfrm>
          <a:prstGeom prst="rect">
            <a:avLst/>
          </a:prstGeom>
        </p:spPr>
        <p:txBody>
          <a:bodyPr lIns="0" tIns="0" rIns="0" bIns="0">
            <a:noAutofit/>
          </a:bodyPr>
          <a:lstStyle>
            <a:lvl1pPr marL="0" indent="0" algn="l">
              <a:buNone/>
              <a:defRPr sz="1400">
                <a:solidFill>
                  <a:schemeClr val="tx2"/>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cxnSp>
        <p:nvCxnSpPr>
          <p:cNvPr id="38" name="Straight Connector 37"/>
          <p:cNvCxnSpPr/>
          <p:nvPr userDrawn="1"/>
        </p:nvCxnSpPr>
        <p:spPr>
          <a:xfrm>
            <a:off x="346086" y="3395058"/>
            <a:ext cx="8460000" cy="0"/>
          </a:xfrm>
          <a:prstGeom prst="line">
            <a:avLst/>
          </a:prstGeom>
          <a:ln w="12700"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Text Placeholder 2"/>
          <p:cNvSpPr>
            <a:spLocks noGrp="1"/>
          </p:cNvSpPr>
          <p:nvPr>
            <p:ph type="body" sz="quarter" idx="25" hasCustomPrompt="1"/>
          </p:nvPr>
        </p:nvSpPr>
        <p:spPr>
          <a:xfrm>
            <a:off x="6202363" y="4807465"/>
            <a:ext cx="1160462" cy="341313"/>
          </a:xfrm>
          <a:prstGeom prst="rect">
            <a:avLst/>
          </a:prstGeom>
        </p:spPr>
        <p:txBody>
          <a:bodyPr anchor="ctr"/>
          <a:lstStyle>
            <a:lvl1pPr marL="0" indent="0" algn="ctr">
              <a:buNone/>
              <a:defRPr sz="800">
                <a:solidFill>
                  <a:schemeClr val="bg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grpSp>
        <p:nvGrpSpPr>
          <p:cNvPr id="28" name="Group 27"/>
          <p:cNvGrpSpPr/>
          <p:nvPr userDrawn="1"/>
        </p:nvGrpSpPr>
        <p:grpSpPr>
          <a:xfrm>
            <a:off x="7686461" y="4906654"/>
            <a:ext cx="1124815" cy="151147"/>
            <a:chOff x="7686461" y="4581466"/>
            <a:chExt cx="1124815" cy="151147"/>
          </a:xfrm>
          <a:solidFill>
            <a:schemeClr val="bg1"/>
          </a:solidFill>
        </p:grpSpPr>
        <p:sp>
          <p:nvSpPr>
            <p:cNvPr id="30"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34"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35"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39"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1"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6"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7"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8"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9"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0"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1"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2"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3"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4"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5"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grpSp>
      <p:sp>
        <p:nvSpPr>
          <p:cNvPr id="40"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solidFill>
                  <a:schemeClr val="tx1">
                    <a:lumMod val="50000"/>
                    <a:lumOff val="50000"/>
                  </a:schemeClr>
                </a:solidFill>
                <a:latin typeface="+mn-lt"/>
              </a:rPr>
              <a:t>Private and Confidental</a:t>
            </a:r>
            <a:endParaRPr lang="pt-BR" sz="500" dirty="0">
              <a:solidFill>
                <a:schemeClr val="tx1">
                  <a:lumMod val="50000"/>
                  <a:lumOff val="50000"/>
                </a:schemeClr>
              </a:solidFill>
              <a:latin typeface="+mn-lt"/>
            </a:endParaRPr>
          </a:p>
        </p:txBody>
      </p:sp>
    </p:spTree>
    <p:extLst>
      <p:ext uri="{BB962C8B-B14F-4D97-AF65-F5344CB8AC3E}">
        <p14:creationId xmlns:p14="http://schemas.microsoft.com/office/powerpoint/2010/main" val="605064864"/>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ier_Leaf">
    <p:bg>
      <p:bgPr>
        <a:solidFill>
          <a:schemeClr val="bg1"/>
        </a:solidFill>
        <a:effectLst/>
      </p:bgPr>
    </p:bg>
    <p:spTree>
      <p:nvGrpSpPr>
        <p:cNvPr id="1" name=""/>
        <p:cNvGrpSpPr/>
        <p:nvPr/>
      </p:nvGrpSpPr>
      <p:grpSpPr>
        <a:xfrm>
          <a:off x="0" y="0"/>
          <a:ext cx="0" cy="0"/>
          <a:chOff x="0" y="0"/>
          <a:chExt cx="0" cy="0"/>
        </a:xfrm>
      </p:grpSpPr>
      <p:sp>
        <p:nvSpPr>
          <p:cNvPr id="31" name="Rectangle 30"/>
          <p:cNvSpPr/>
          <p:nvPr userDrawn="1"/>
        </p:nvSpPr>
        <p:spPr>
          <a:xfrm>
            <a:off x="0" y="0"/>
            <a:ext cx="9144000" cy="5148263"/>
          </a:xfrm>
          <a:prstGeom prst="rect">
            <a:avLst/>
          </a:prstGeom>
          <a:solidFill>
            <a:schemeClr val="tx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en-GB" sz="1050" smtClean="0">
              <a:solidFill>
                <a:schemeClr val="bg1"/>
              </a:solidFill>
              <a:latin typeface="Arial" panose="020B0604020202020204" pitchFamily="34" charset="0"/>
              <a:cs typeface="Arial" panose="020B0604020202020204" pitchFamily="34" charset="0"/>
            </a:endParaRPr>
          </a:p>
        </p:txBody>
      </p:sp>
      <p:cxnSp>
        <p:nvCxnSpPr>
          <p:cNvPr id="27" name="Straight Connector 26"/>
          <p:cNvCxnSpPr/>
          <p:nvPr userDrawn="1"/>
        </p:nvCxnSpPr>
        <p:spPr>
          <a:xfrm>
            <a:off x="353867" y="4801146"/>
            <a:ext cx="8460000" cy="0"/>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sp>
        <p:nvSpPr>
          <p:cNvPr id="67"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chemeClr val="bg1"/>
                </a:solidFill>
                <a:latin typeface="+mn-lt"/>
              </a:defRPr>
            </a:lvl1pPr>
          </a:lstStyle>
          <a:p>
            <a:fld id="{19AB4E72-7858-48F1-A40D-12FF09E4BFB8}" type="slidenum">
              <a:rPr lang="en-GB" smtClean="0"/>
              <a:pPr/>
              <a:t>‹Nº›</a:t>
            </a:fld>
            <a:endParaRPr lang="en-GB"/>
          </a:p>
        </p:txBody>
      </p:sp>
      <p:sp>
        <p:nvSpPr>
          <p:cNvPr id="36" name="Title 1"/>
          <p:cNvSpPr>
            <a:spLocks noGrp="1"/>
          </p:cNvSpPr>
          <p:nvPr>
            <p:ph type="ctrTitle" hasCustomPrompt="1"/>
          </p:nvPr>
        </p:nvSpPr>
        <p:spPr>
          <a:xfrm>
            <a:off x="353867" y="2831617"/>
            <a:ext cx="8460000" cy="443198"/>
          </a:xfrm>
          <a:prstGeom prst="rect">
            <a:avLst/>
          </a:prstGeom>
        </p:spPr>
        <p:txBody>
          <a:bodyPr lIns="0" tIns="0" rIns="0" bIns="0" anchor="b"/>
          <a:lstStyle>
            <a:lvl1pPr algn="ctr">
              <a:lnSpc>
                <a:spcPct val="90000"/>
              </a:lnSpc>
              <a:defRPr sz="3200" b="0">
                <a:solidFill>
                  <a:schemeClr val="bg1"/>
                </a:solidFill>
              </a:defRPr>
            </a:lvl1pPr>
          </a:lstStyle>
          <a:p>
            <a:r>
              <a:rPr lang="en-US" dirty="0" smtClean="0"/>
              <a:t>Click to edit Master title Style</a:t>
            </a:r>
            <a:endParaRPr lang="en-US" dirty="0"/>
          </a:p>
        </p:txBody>
      </p:sp>
      <p:sp>
        <p:nvSpPr>
          <p:cNvPr id="37" name="Subtitle 2"/>
          <p:cNvSpPr>
            <a:spLocks noGrp="1"/>
          </p:cNvSpPr>
          <p:nvPr>
            <p:ph type="subTitle" idx="1" hasCustomPrompt="1"/>
          </p:nvPr>
        </p:nvSpPr>
        <p:spPr>
          <a:xfrm>
            <a:off x="353867" y="3474100"/>
            <a:ext cx="8460000" cy="202165"/>
          </a:xfrm>
          <a:prstGeom prst="rect">
            <a:avLst/>
          </a:prstGeom>
        </p:spPr>
        <p:txBody>
          <a:bodyPr lIns="0" tIns="0" rIns="0" bIns="0">
            <a:noAutofit/>
          </a:bodyPr>
          <a:lstStyle>
            <a:lvl1pPr marL="0" indent="0" algn="ctr">
              <a:buNone/>
              <a:defRPr sz="14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cxnSp>
        <p:nvCxnSpPr>
          <p:cNvPr id="38" name="Straight Connector 37"/>
          <p:cNvCxnSpPr/>
          <p:nvPr userDrawn="1"/>
        </p:nvCxnSpPr>
        <p:spPr>
          <a:xfrm>
            <a:off x="353867" y="3376008"/>
            <a:ext cx="8460000" cy="0"/>
          </a:xfrm>
          <a:prstGeom prst="line">
            <a:avLst/>
          </a:prstGeom>
          <a:ln w="12700" cmpd="sng">
            <a:solidFill>
              <a:schemeClr val="bg1"/>
            </a:solidFill>
          </a:ln>
        </p:spPr>
        <p:style>
          <a:lnRef idx="1">
            <a:schemeClr val="accent1"/>
          </a:lnRef>
          <a:fillRef idx="0">
            <a:schemeClr val="accent1"/>
          </a:fillRef>
          <a:effectRef idx="0">
            <a:schemeClr val="accent1"/>
          </a:effectRef>
          <a:fontRef idx="minor">
            <a:schemeClr val="tx1"/>
          </a:fontRef>
        </p:style>
      </p:cxnSp>
      <p:pic>
        <p:nvPicPr>
          <p:cNvPr id="33" name="Picture 32" descr="cookie_white.png"/>
          <p:cNvPicPr>
            <a:picLocks noChangeAspect="1"/>
          </p:cNvPicPr>
          <p:nvPr userDrawn="1"/>
        </p:nvPicPr>
        <p:blipFill rotWithShape="1">
          <a:blip r:embed="rId2" cstate="screen">
            <a:alphaModFix amt="16000"/>
            <a:extLst>
              <a:ext uri="{28A0092B-C50C-407E-A947-70E740481C1C}">
                <a14:useLocalDpi xmlns:a14="http://schemas.microsoft.com/office/drawing/2010/main"/>
              </a:ext>
            </a:extLst>
          </a:blip>
          <a:srcRect/>
          <a:stretch/>
        </p:blipFill>
        <p:spPr>
          <a:xfrm flipH="1">
            <a:off x="5149029" y="2289839"/>
            <a:ext cx="4020091" cy="2880000"/>
          </a:xfrm>
          <a:prstGeom prst="rect">
            <a:avLst/>
          </a:prstGeom>
        </p:spPr>
      </p:pic>
      <p:cxnSp>
        <p:nvCxnSpPr>
          <p:cNvPr id="39" name="Straight Connector 38"/>
          <p:cNvCxnSpPr/>
          <p:nvPr userDrawn="1"/>
        </p:nvCxnSpPr>
        <p:spPr>
          <a:xfrm>
            <a:off x="353867" y="470176"/>
            <a:ext cx="8460000" cy="0"/>
          </a:xfrm>
          <a:prstGeom prst="line">
            <a:avLst/>
          </a:prstGeom>
          <a:ln w="6350"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40" name="Text Placeholder 2"/>
          <p:cNvSpPr>
            <a:spLocks noGrp="1"/>
          </p:cNvSpPr>
          <p:nvPr>
            <p:ph type="body" sz="quarter" idx="25" hasCustomPrompt="1"/>
          </p:nvPr>
        </p:nvSpPr>
        <p:spPr>
          <a:xfrm>
            <a:off x="6202363" y="4807465"/>
            <a:ext cx="1160462" cy="341313"/>
          </a:xfrm>
          <a:prstGeom prst="rect">
            <a:avLst/>
          </a:prstGeom>
        </p:spPr>
        <p:txBody>
          <a:bodyPr anchor="ctr"/>
          <a:lstStyle>
            <a:lvl1pPr marL="0" indent="0" algn="ctr">
              <a:buNone/>
              <a:defRPr sz="800">
                <a:solidFill>
                  <a:schemeClr val="bg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grpSp>
        <p:nvGrpSpPr>
          <p:cNvPr id="29" name="Group 28"/>
          <p:cNvGrpSpPr/>
          <p:nvPr userDrawn="1"/>
        </p:nvGrpSpPr>
        <p:grpSpPr>
          <a:xfrm>
            <a:off x="7686461" y="4906654"/>
            <a:ext cx="1124815" cy="151147"/>
            <a:chOff x="7686461" y="4581466"/>
            <a:chExt cx="1124815" cy="151147"/>
          </a:xfrm>
          <a:solidFill>
            <a:schemeClr val="bg1"/>
          </a:solidFill>
        </p:grpSpPr>
        <p:sp>
          <p:nvSpPr>
            <p:cNvPr id="41"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42"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43"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44"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45"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46"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47"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48"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49"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0"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2"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3"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4"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5"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6"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grpSp>
      <p:sp>
        <p:nvSpPr>
          <p:cNvPr id="28"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solidFill>
                  <a:schemeClr val="tx2">
                    <a:lumMod val="75000"/>
                  </a:schemeClr>
                </a:solidFill>
                <a:latin typeface="+mn-lt"/>
              </a:rPr>
              <a:t>Private and Confidental</a:t>
            </a:r>
            <a:endParaRPr lang="pt-BR" sz="500" dirty="0">
              <a:solidFill>
                <a:schemeClr val="tx2">
                  <a:lumMod val="75000"/>
                </a:schemeClr>
              </a:solidFill>
              <a:latin typeface="+mn-lt"/>
            </a:endParaRPr>
          </a:p>
        </p:txBody>
      </p:sp>
    </p:spTree>
    <p:extLst>
      <p:ext uri="{BB962C8B-B14F-4D97-AF65-F5344CB8AC3E}">
        <p14:creationId xmlns:p14="http://schemas.microsoft.com/office/powerpoint/2010/main" val="2025146623"/>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_Sky">
    <p:bg>
      <p:bgPr>
        <a:solidFill>
          <a:schemeClr val="bg1"/>
        </a:solidFill>
        <a:effectLst/>
      </p:bgPr>
    </p:bg>
    <p:spTree>
      <p:nvGrpSpPr>
        <p:cNvPr id="1" name=""/>
        <p:cNvGrpSpPr/>
        <p:nvPr/>
      </p:nvGrpSpPr>
      <p:grpSpPr>
        <a:xfrm>
          <a:off x="0" y="0"/>
          <a:ext cx="0" cy="0"/>
          <a:chOff x="0" y="0"/>
          <a:chExt cx="0" cy="0"/>
        </a:xfrm>
      </p:grpSpPr>
      <p:sp>
        <p:nvSpPr>
          <p:cNvPr id="31" name="Rectangle 30"/>
          <p:cNvSpPr/>
          <p:nvPr userDrawn="1"/>
        </p:nvSpPr>
        <p:spPr>
          <a:xfrm>
            <a:off x="0" y="0"/>
            <a:ext cx="9144000" cy="5148263"/>
          </a:xfrm>
          <a:prstGeom prst="rect">
            <a:avLst/>
          </a:prstGeom>
          <a:solidFill>
            <a:schemeClr val="accent1"/>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en-GB" sz="1050" smtClean="0">
              <a:solidFill>
                <a:schemeClr val="bg1"/>
              </a:solidFill>
              <a:latin typeface="Arial" panose="020B0604020202020204" pitchFamily="34" charset="0"/>
              <a:cs typeface="Arial" panose="020B0604020202020204" pitchFamily="34" charset="0"/>
            </a:endParaRPr>
          </a:p>
        </p:txBody>
      </p:sp>
      <p:cxnSp>
        <p:nvCxnSpPr>
          <p:cNvPr id="27" name="Straight Connector 26"/>
          <p:cNvCxnSpPr/>
          <p:nvPr userDrawn="1"/>
        </p:nvCxnSpPr>
        <p:spPr>
          <a:xfrm>
            <a:off x="353867" y="4801146"/>
            <a:ext cx="8460000" cy="0"/>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sp>
        <p:nvSpPr>
          <p:cNvPr id="67"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chemeClr val="bg1"/>
                </a:solidFill>
                <a:latin typeface="+mn-lt"/>
              </a:defRPr>
            </a:lvl1pPr>
          </a:lstStyle>
          <a:p>
            <a:fld id="{19AB4E72-7858-48F1-A40D-12FF09E4BFB8}" type="slidenum">
              <a:rPr lang="en-GB" smtClean="0"/>
              <a:pPr/>
              <a:t>‹Nº›</a:t>
            </a:fld>
            <a:endParaRPr lang="en-GB"/>
          </a:p>
        </p:txBody>
      </p:sp>
      <p:sp>
        <p:nvSpPr>
          <p:cNvPr id="36" name="Title 1"/>
          <p:cNvSpPr>
            <a:spLocks noGrp="1"/>
          </p:cNvSpPr>
          <p:nvPr>
            <p:ph type="ctrTitle" hasCustomPrompt="1"/>
          </p:nvPr>
        </p:nvSpPr>
        <p:spPr>
          <a:xfrm>
            <a:off x="353867" y="2831617"/>
            <a:ext cx="8460000" cy="443198"/>
          </a:xfrm>
          <a:prstGeom prst="rect">
            <a:avLst/>
          </a:prstGeom>
        </p:spPr>
        <p:txBody>
          <a:bodyPr lIns="0" tIns="0" rIns="0" bIns="0" anchor="b"/>
          <a:lstStyle>
            <a:lvl1pPr algn="ctr">
              <a:lnSpc>
                <a:spcPct val="90000"/>
              </a:lnSpc>
              <a:defRPr sz="3200" b="0">
                <a:solidFill>
                  <a:schemeClr val="bg1"/>
                </a:solidFill>
              </a:defRPr>
            </a:lvl1pPr>
          </a:lstStyle>
          <a:p>
            <a:r>
              <a:rPr lang="en-US" dirty="0" smtClean="0"/>
              <a:t>Click to edit Master title Style</a:t>
            </a:r>
            <a:endParaRPr lang="en-US" dirty="0"/>
          </a:p>
        </p:txBody>
      </p:sp>
      <p:sp>
        <p:nvSpPr>
          <p:cNvPr id="37" name="Subtitle 2"/>
          <p:cNvSpPr>
            <a:spLocks noGrp="1"/>
          </p:cNvSpPr>
          <p:nvPr>
            <p:ph type="subTitle" idx="1" hasCustomPrompt="1"/>
          </p:nvPr>
        </p:nvSpPr>
        <p:spPr>
          <a:xfrm>
            <a:off x="353867" y="3474100"/>
            <a:ext cx="8460000" cy="202165"/>
          </a:xfrm>
          <a:prstGeom prst="rect">
            <a:avLst/>
          </a:prstGeom>
        </p:spPr>
        <p:txBody>
          <a:bodyPr lIns="0" tIns="0" rIns="0" bIns="0">
            <a:noAutofit/>
          </a:bodyPr>
          <a:lstStyle>
            <a:lvl1pPr marL="0" indent="0" algn="ctr">
              <a:buNone/>
              <a:defRPr sz="14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cxnSp>
        <p:nvCxnSpPr>
          <p:cNvPr id="38" name="Straight Connector 37"/>
          <p:cNvCxnSpPr/>
          <p:nvPr userDrawn="1"/>
        </p:nvCxnSpPr>
        <p:spPr>
          <a:xfrm>
            <a:off x="353867" y="3376008"/>
            <a:ext cx="8460000" cy="0"/>
          </a:xfrm>
          <a:prstGeom prst="line">
            <a:avLst/>
          </a:prstGeom>
          <a:ln w="12700" cmpd="sng">
            <a:solidFill>
              <a:schemeClr val="bg1"/>
            </a:solidFill>
          </a:ln>
        </p:spPr>
        <p:style>
          <a:lnRef idx="1">
            <a:schemeClr val="accent1"/>
          </a:lnRef>
          <a:fillRef idx="0">
            <a:schemeClr val="accent1"/>
          </a:fillRef>
          <a:effectRef idx="0">
            <a:schemeClr val="accent1"/>
          </a:effectRef>
          <a:fontRef idx="minor">
            <a:schemeClr val="tx1"/>
          </a:fontRef>
        </p:style>
      </p:cxnSp>
      <p:pic>
        <p:nvPicPr>
          <p:cNvPr id="33" name="Picture 32" descr="cookie_white.png"/>
          <p:cNvPicPr>
            <a:picLocks noChangeAspect="1"/>
          </p:cNvPicPr>
          <p:nvPr userDrawn="1"/>
        </p:nvPicPr>
        <p:blipFill rotWithShape="1">
          <a:blip r:embed="rId2" cstate="screen">
            <a:alphaModFix amt="16000"/>
            <a:extLst>
              <a:ext uri="{28A0092B-C50C-407E-A947-70E740481C1C}">
                <a14:useLocalDpi xmlns:a14="http://schemas.microsoft.com/office/drawing/2010/main"/>
              </a:ext>
            </a:extLst>
          </a:blip>
          <a:srcRect/>
          <a:stretch/>
        </p:blipFill>
        <p:spPr>
          <a:xfrm flipH="1">
            <a:off x="5149029" y="2289839"/>
            <a:ext cx="4020091" cy="2880000"/>
          </a:xfrm>
          <a:prstGeom prst="rect">
            <a:avLst/>
          </a:prstGeom>
        </p:spPr>
      </p:pic>
      <p:cxnSp>
        <p:nvCxnSpPr>
          <p:cNvPr id="39" name="Straight Connector 38"/>
          <p:cNvCxnSpPr/>
          <p:nvPr userDrawn="1"/>
        </p:nvCxnSpPr>
        <p:spPr>
          <a:xfrm>
            <a:off x="353867" y="470176"/>
            <a:ext cx="8460000" cy="0"/>
          </a:xfrm>
          <a:prstGeom prst="line">
            <a:avLst/>
          </a:prstGeom>
          <a:ln w="6350"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40" name="Text Placeholder 2"/>
          <p:cNvSpPr>
            <a:spLocks noGrp="1"/>
          </p:cNvSpPr>
          <p:nvPr>
            <p:ph type="body" sz="quarter" idx="25" hasCustomPrompt="1"/>
          </p:nvPr>
        </p:nvSpPr>
        <p:spPr>
          <a:xfrm>
            <a:off x="6202363" y="4807465"/>
            <a:ext cx="1160462" cy="341313"/>
          </a:xfrm>
          <a:prstGeom prst="rect">
            <a:avLst/>
          </a:prstGeom>
        </p:spPr>
        <p:txBody>
          <a:bodyPr anchor="ctr"/>
          <a:lstStyle>
            <a:lvl1pPr marL="0" indent="0" algn="ctr">
              <a:buNone/>
              <a:defRPr sz="800">
                <a:solidFill>
                  <a:schemeClr val="bg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grpSp>
        <p:nvGrpSpPr>
          <p:cNvPr id="29" name="Group 28"/>
          <p:cNvGrpSpPr/>
          <p:nvPr userDrawn="1"/>
        </p:nvGrpSpPr>
        <p:grpSpPr>
          <a:xfrm>
            <a:off x="7686461" y="4906654"/>
            <a:ext cx="1124815" cy="151147"/>
            <a:chOff x="7686461" y="4581466"/>
            <a:chExt cx="1124815" cy="151147"/>
          </a:xfrm>
          <a:solidFill>
            <a:schemeClr val="bg1"/>
          </a:solidFill>
        </p:grpSpPr>
        <p:sp>
          <p:nvSpPr>
            <p:cNvPr id="41"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42"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43"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44"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45"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46"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47"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48"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49"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0"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2"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3"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4"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5"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6"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grpSp>
      <p:sp>
        <p:nvSpPr>
          <p:cNvPr id="28"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solidFill>
                  <a:schemeClr val="accent1">
                    <a:lumMod val="75000"/>
                  </a:schemeClr>
                </a:solidFill>
                <a:latin typeface="+mn-lt"/>
              </a:rPr>
              <a:t>Private and Confidental</a:t>
            </a:r>
            <a:endParaRPr lang="pt-BR" sz="500" dirty="0">
              <a:solidFill>
                <a:schemeClr val="accent1">
                  <a:lumMod val="75000"/>
                </a:schemeClr>
              </a:solidFill>
              <a:latin typeface="+mn-lt"/>
            </a:endParaRPr>
          </a:p>
        </p:txBody>
      </p:sp>
    </p:spTree>
    <p:extLst>
      <p:ext uri="{BB962C8B-B14F-4D97-AF65-F5344CB8AC3E}">
        <p14:creationId xmlns:p14="http://schemas.microsoft.com/office/powerpoint/2010/main" val="1385973551"/>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vider_Slate_1">
    <p:bg>
      <p:bgPr>
        <a:solidFill>
          <a:schemeClr val="bg1"/>
        </a:solidFill>
        <a:effectLst/>
      </p:bgPr>
    </p:bg>
    <p:spTree>
      <p:nvGrpSpPr>
        <p:cNvPr id="1" name=""/>
        <p:cNvGrpSpPr/>
        <p:nvPr/>
      </p:nvGrpSpPr>
      <p:grpSpPr>
        <a:xfrm>
          <a:off x="0" y="0"/>
          <a:ext cx="0" cy="0"/>
          <a:chOff x="0" y="0"/>
          <a:chExt cx="0" cy="0"/>
        </a:xfrm>
      </p:grpSpPr>
      <p:sp>
        <p:nvSpPr>
          <p:cNvPr id="31" name="Rectangle 30"/>
          <p:cNvSpPr/>
          <p:nvPr userDrawn="1"/>
        </p:nvSpPr>
        <p:spPr>
          <a:xfrm>
            <a:off x="0" y="0"/>
            <a:ext cx="9144000" cy="5148263"/>
          </a:xfrm>
          <a:prstGeom prst="rect">
            <a:avLst/>
          </a:prstGeom>
          <a:solidFill>
            <a:srgbClr val="C3C5C8"/>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en-GB" sz="1050" smtClean="0">
              <a:solidFill>
                <a:schemeClr val="bg1"/>
              </a:solidFill>
              <a:latin typeface="Arial" panose="020B0604020202020204" pitchFamily="34" charset="0"/>
              <a:cs typeface="Arial" panose="020B0604020202020204" pitchFamily="34" charset="0"/>
            </a:endParaRPr>
          </a:p>
        </p:txBody>
      </p:sp>
      <p:cxnSp>
        <p:nvCxnSpPr>
          <p:cNvPr id="27" name="Straight Connector 26"/>
          <p:cNvCxnSpPr/>
          <p:nvPr userDrawn="1"/>
        </p:nvCxnSpPr>
        <p:spPr>
          <a:xfrm>
            <a:off x="353867" y="4801146"/>
            <a:ext cx="8460000" cy="0"/>
          </a:xfrm>
          <a:prstGeom prst="line">
            <a:avLst/>
          </a:prstGeom>
          <a:ln w="12700">
            <a:solidFill>
              <a:srgbClr val="4B4E53"/>
            </a:solidFill>
            <a:miter lim="800000"/>
          </a:ln>
        </p:spPr>
        <p:style>
          <a:lnRef idx="1">
            <a:schemeClr val="accent1"/>
          </a:lnRef>
          <a:fillRef idx="0">
            <a:schemeClr val="accent1"/>
          </a:fillRef>
          <a:effectRef idx="0">
            <a:schemeClr val="accent1"/>
          </a:effectRef>
          <a:fontRef idx="minor">
            <a:schemeClr val="tx1"/>
          </a:fontRef>
        </p:style>
      </p:cxnSp>
      <p:sp>
        <p:nvSpPr>
          <p:cNvPr id="67"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chemeClr val="bg1"/>
                </a:solidFill>
                <a:latin typeface="+mn-lt"/>
              </a:defRPr>
            </a:lvl1pPr>
          </a:lstStyle>
          <a:p>
            <a:fld id="{19AB4E72-7858-48F1-A40D-12FF09E4BFB8}" type="slidenum">
              <a:rPr lang="en-GB" smtClean="0"/>
              <a:pPr/>
              <a:t>‹Nº›</a:t>
            </a:fld>
            <a:endParaRPr lang="en-GB"/>
          </a:p>
        </p:txBody>
      </p:sp>
      <p:sp>
        <p:nvSpPr>
          <p:cNvPr id="36" name="Title 1"/>
          <p:cNvSpPr>
            <a:spLocks noGrp="1"/>
          </p:cNvSpPr>
          <p:nvPr>
            <p:ph type="ctrTitle" hasCustomPrompt="1"/>
          </p:nvPr>
        </p:nvSpPr>
        <p:spPr>
          <a:xfrm>
            <a:off x="353867" y="2831617"/>
            <a:ext cx="8460000" cy="443198"/>
          </a:xfrm>
          <a:prstGeom prst="rect">
            <a:avLst/>
          </a:prstGeom>
        </p:spPr>
        <p:txBody>
          <a:bodyPr lIns="0" tIns="0" rIns="0" bIns="0" anchor="b"/>
          <a:lstStyle>
            <a:lvl1pPr algn="ctr">
              <a:lnSpc>
                <a:spcPct val="90000"/>
              </a:lnSpc>
              <a:defRPr sz="3200" b="0">
                <a:solidFill>
                  <a:srgbClr val="4B4E53"/>
                </a:solidFill>
              </a:defRPr>
            </a:lvl1pPr>
          </a:lstStyle>
          <a:p>
            <a:r>
              <a:rPr lang="en-US" dirty="0" smtClean="0"/>
              <a:t>Click to edit Master title Style</a:t>
            </a:r>
            <a:endParaRPr lang="en-US" dirty="0"/>
          </a:p>
        </p:txBody>
      </p:sp>
      <p:sp>
        <p:nvSpPr>
          <p:cNvPr id="37" name="Subtitle 2"/>
          <p:cNvSpPr>
            <a:spLocks noGrp="1"/>
          </p:cNvSpPr>
          <p:nvPr>
            <p:ph type="subTitle" idx="1" hasCustomPrompt="1"/>
          </p:nvPr>
        </p:nvSpPr>
        <p:spPr>
          <a:xfrm>
            <a:off x="353867" y="3474100"/>
            <a:ext cx="8460000" cy="202165"/>
          </a:xfrm>
          <a:prstGeom prst="rect">
            <a:avLst/>
          </a:prstGeom>
        </p:spPr>
        <p:txBody>
          <a:bodyPr lIns="0" tIns="0" rIns="0" bIns="0">
            <a:noAutofit/>
          </a:bodyPr>
          <a:lstStyle>
            <a:lvl1pPr marL="0" indent="0" algn="ctr">
              <a:buNone/>
              <a:defRPr sz="1400">
                <a:solidFill>
                  <a:srgbClr val="4B4E53"/>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cxnSp>
        <p:nvCxnSpPr>
          <p:cNvPr id="38" name="Straight Connector 37"/>
          <p:cNvCxnSpPr/>
          <p:nvPr userDrawn="1"/>
        </p:nvCxnSpPr>
        <p:spPr>
          <a:xfrm>
            <a:off x="353867" y="3376008"/>
            <a:ext cx="8460000" cy="0"/>
          </a:xfrm>
          <a:prstGeom prst="line">
            <a:avLst/>
          </a:prstGeom>
          <a:ln w="12700" cmpd="sng">
            <a:solidFill>
              <a:srgbClr val="4B4E53"/>
            </a:solidFill>
          </a:ln>
        </p:spPr>
        <p:style>
          <a:lnRef idx="1">
            <a:schemeClr val="accent1"/>
          </a:lnRef>
          <a:fillRef idx="0">
            <a:schemeClr val="accent1"/>
          </a:fillRef>
          <a:effectRef idx="0">
            <a:schemeClr val="accent1"/>
          </a:effectRef>
          <a:fontRef idx="minor">
            <a:schemeClr val="tx1"/>
          </a:fontRef>
        </p:style>
      </p:cxnSp>
      <p:pic>
        <p:nvPicPr>
          <p:cNvPr id="33" name="Picture 32" descr="cookie_white.png"/>
          <p:cNvPicPr>
            <a:picLocks noChangeAspect="1"/>
          </p:cNvPicPr>
          <p:nvPr userDrawn="1"/>
        </p:nvPicPr>
        <p:blipFill rotWithShape="1">
          <a:blip r:embed="rId2" cstate="screen">
            <a:alphaModFix amt="16000"/>
            <a:extLst>
              <a:ext uri="{28A0092B-C50C-407E-A947-70E740481C1C}">
                <a14:useLocalDpi xmlns:a14="http://schemas.microsoft.com/office/drawing/2010/main"/>
              </a:ext>
            </a:extLst>
          </a:blip>
          <a:srcRect/>
          <a:stretch/>
        </p:blipFill>
        <p:spPr>
          <a:xfrm flipH="1">
            <a:off x="5149029" y="2289839"/>
            <a:ext cx="4020091" cy="2880000"/>
          </a:xfrm>
          <a:prstGeom prst="rect">
            <a:avLst/>
          </a:prstGeom>
        </p:spPr>
      </p:pic>
      <p:cxnSp>
        <p:nvCxnSpPr>
          <p:cNvPr id="39" name="Straight Connector 38"/>
          <p:cNvCxnSpPr/>
          <p:nvPr userDrawn="1"/>
        </p:nvCxnSpPr>
        <p:spPr>
          <a:xfrm>
            <a:off x="353867" y="470176"/>
            <a:ext cx="8460000" cy="0"/>
          </a:xfrm>
          <a:prstGeom prst="line">
            <a:avLst/>
          </a:prstGeom>
          <a:ln w="6350" cmpd="sng">
            <a:solidFill>
              <a:srgbClr val="4B4E53"/>
            </a:solidFill>
          </a:ln>
        </p:spPr>
        <p:style>
          <a:lnRef idx="1">
            <a:schemeClr val="accent1"/>
          </a:lnRef>
          <a:fillRef idx="0">
            <a:schemeClr val="accent1"/>
          </a:fillRef>
          <a:effectRef idx="0">
            <a:schemeClr val="accent1"/>
          </a:effectRef>
          <a:fontRef idx="minor">
            <a:schemeClr val="tx1"/>
          </a:fontRef>
        </p:style>
      </p:cxnSp>
      <p:sp>
        <p:nvSpPr>
          <p:cNvPr id="40" name="Text Placeholder 2"/>
          <p:cNvSpPr>
            <a:spLocks noGrp="1"/>
          </p:cNvSpPr>
          <p:nvPr>
            <p:ph type="body" sz="quarter" idx="25" hasCustomPrompt="1"/>
          </p:nvPr>
        </p:nvSpPr>
        <p:spPr>
          <a:xfrm>
            <a:off x="6202363" y="4807465"/>
            <a:ext cx="1160462" cy="341313"/>
          </a:xfrm>
          <a:prstGeom prst="rect">
            <a:avLst/>
          </a:prstGeom>
        </p:spPr>
        <p:txBody>
          <a:bodyPr anchor="ctr"/>
          <a:lstStyle>
            <a:lvl1pPr marL="0" indent="0" algn="ctr">
              <a:buNone/>
              <a:defRPr sz="800">
                <a:solidFill>
                  <a:schemeClr val="bg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sp>
        <p:nvSpPr>
          <p:cNvPr id="29"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solidFill>
                  <a:schemeClr val="bg1">
                    <a:lumMod val="65000"/>
                  </a:schemeClr>
                </a:solidFill>
                <a:latin typeface="+mn-lt"/>
              </a:rPr>
              <a:t>Private and Confidental</a:t>
            </a:r>
            <a:endParaRPr lang="pt-BR" sz="500" dirty="0">
              <a:solidFill>
                <a:schemeClr val="bg1">
                  <a:lumMod val="65000"/>
                </a:schemeClr>
              </a:solidFill>
              <a:latin typeface="+mn-lt"/>
            </a:endParaRPr>
          </a:p>
        </p:txBody>
      </p:sp>
      <p:grpSp>
        <p:nvGrpSpPr>
          <p:cNvPr id="51" name="Group 50"/>
          <p:cNvGrpSpPr/>
          <p:nvPr userDrawn="1"/>
        </p:nvGrpSpPr>
        <p:grpSpPr>
          <a:xfrm>
            <a:off x="7681625" y="4907921"/>
            <a:ext cx="1124815" cy="156007"/>
            <a:chOff x="7881997" y="6590903"/>
            <a:chExt cx="1124815" cy="156007"/>
          </a:xfrm>
          <a:solidFill>
            <a:schemeClr val="tx1">
              <a:lumMod val="75000"/>
              <a:lumOff val="25000"/>
            </a:schemeClr>
          </a:solidFill>
        </p:grpSpPr>
        <p:sp>
          <p:nvSpPr>
            <p:cNvPr id="56" name="Freeform 55"/>
            <p:cNvSpPr>
              <a:spLocks/>
            </p:cNvSpPr>
            <p:nvPr/>
          </p:nvSpPr>
          <p:spPr bwMode="auto">
            <a:xfrm>
              <a:off x="7881997" y="6590903"/>
              <a:ext cx="100255" cy="156007"/>
            </a:xfrm>
            <a:custGeom>
              <a:avLst/>
              <a:gdLst>
                <a:gd name="T0" fmla="*/ 87 w 87"/>
                <a:gd name="T1" fmla="*/ 15 h 135"/>
                <a:gd name="T2" fmla="*/ 87 w 87"/>
                <a:gd name="T3" fmla="*/ 44 h 135"/>
                <a:gd name="T4" fmla="*/ 72 w 87"/>
                <a:gd name="T5" fmla="*/ 29 h 135"/>
                <a:gd name="T6" fmla="*/ 56 w 87"/>
                <a:gd name="T7" fmla="*/ 28 h 135"/>
                <a:gd name="T8" fmla="*/ 57 w 87"/>
                <a:gd name="T9" fmla="*/ 44 h 135"/>
                <a:gd name="T10" fmla="*/ 87 w 87"/>
                <a:gd name="T11" fmla="*/ 73 h 135"/>
                <a:gd name="T12" fmla="*/ 87 w 87"/>
                <a:gd name="T13" fmla="*/ 102 h 135"/>
                <a:gd name="T14" fmla="*/ 43 w 87"/>
                <a:gd name="T15" fmla="*/ 58 h 135"/>
                <a:gd name="T16" fmla="*/ 27 w 87"/>
                <a:gd name="T17" fmla="*/ 57 h 135"/>
                <a:gd name="T18" fmla="*/ 28 w 87"/>
                <a:gd name="T19" fmla="*/ 73 h 135"/>
                <a:gd name="T20" fmla="*/ 76 w 87"/>
                <a:gd name="T21" fmla="*/ 120 h 135"/>
                <a:gd name="T22" fmla="*/ 62 w 87"/>
                <a:gd name="T23" fmla="*/ 135 h 135"/>
                <a:gd name="T24" fmla="*/ 14 w 87"/>
                <a:gd name="T25" fmla="*/ 87 h 135"/>
                <a:gd name="T26" fmla="*/ 13 w 87"/>
                <a:gd name="T27" fmla="*/ 43 h 135"/>
                <a:gd name="T28" fmla="*/ 34 w 87"/>
                <a:gd name="T29" fmla="*/ 35 h 135"/>
                <a:gd name="T30" fmla="*/ 42 w 87"/>
                <a:gd name="T31" fmla="*/ 13 h 135"/>
                <a:gd name="T32" fmla="*/ 86 w 87"/>
                <a:gd name="T33" fmla="*/ 15 h 135"/>
                <a:gd name="T34" fmla="*/ 87 w 87"/>
                <a:gd name="T35" fmla="*/ 1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7" h="135">
                  <a:moveTo>
                    <a:pt x="87" y="15"/>
                  </a:moveTo>
                  <a:cubicBezTo>
                    <a:pt x="87" y="44"/>
                    <a:pt x="87" y="44"/>
                    <a:pt x="87" y="44"/>
                  </a:cubicBezTo>
                  <a:cubicBezTo>
                    <a:pt x="72" y="29"/>
                    <a:pt x="72" y="29"/>
                    <a:pt x="72" y="29"/>
                  </a:cubicBezTo>
                  <a:cubicBezTo>
                    <a:pt x="66" y="24"/>
                    <a:pt x="60" y="24"/>
                    <a:pt x="56" y="28"/>
                  </a:cubicBezTo>
                  <a:cubicBezTo>
                    <a:pt x="52" y="32"/>
                    <a:pt x="52" y="38"/>
                    <a:pt x="57" y="44"/>
                  </a:cubicBezTo>
                  <a:cubicBezTo>
                    <a:pt x="87" y="73"/>
                    <a:pt x="87" y="73"/>
                    <a:pt x="87" y="73"/>
                  </a:cubicBezTo>
                  <a:cubicBezTo>
                    <a:pt x="87" y="102"/>
                    <a:pt x="87" y="102"/>
                    <a:pt x="87" y="102"/>
                  </a:cubicBezTo>
                  <a:cubicBezTo>
                    <a:pt x="43" y="58"/>
                    <a:pt x="43" y="58"/>
                    <a:pt x="43" y="58"/>
                  </a:cubicBezTo>
                  <a:cubicBezTo>
                    <a:pt x="37" y="53"/>
                    <a:pt x="31" y="53"/>
                    <a:pt x="27" y="57"/>
                  </a:cubicBezTo>
                  <a:cubicBezTo>
                    <a:pt x="23" y="60"/>
                    <a:pt x="23" y="67"/>
                    <a:pt x="28" y="73"/>
                  </a:cubicBezTo>
                  <a:cubicBezTo>
                    <a:pt x="76" y="120"/>
                    <a:pt x="76" y="120"/>
                    <a:pt x="76" y="120"/>
                  </a:cubicBezTo>
                  <a:cubicBezTo>
                    <a:pt x="62" y="135"/>
                    <a:pt x="62" y="135"/>
                    <a:pt x="62" y="135"/>
                  </a:cubicBezTo>
                  <a:cubicBezTo>
                    <a:pt x="14" y="87"/>
                    <a:pt x="14" y="87"/>
                    <a:pt x="14" y="87"/>
                  </a:cubicBezTo>
                  <a:cubicBezTo>
                    <a:pt x="0" y="73"/>
                    <a:pt x="1" y="54"/>
                    <a:pt x="13" y="43"/>
                  </a:cubicBezTo>
                  <a:cubicBezTo>
                    <a:pt x="21" y="35"/>
                    <a:pt x="30" y="34"/>
                    <a:pt x="34" y="35"/>
                  </a:cubicBezTo>
                  <a:cubicBezTo>
                    <a:pt x="33" y="31"/>
                    <a:pt x="34" y="22"/>
                    <a:pt x="42" y="13"/>
                  </a:cubicBezTo>
                  <a:cubicBezTo>
                    <a:pt x="54" y="2"/>
                    <a:pt x="73" y="0"/>
                    <a:pt x="86" y="15"/>
                  </a:cubicBezTo>
                  <a:lnTo>
                    <a:pt x="87" y="15"/>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EC881D"/>
                </a:solidFill>
              </a:endParaRPr>
            </a:p>
          </p:txBody>
        </p:sp>
        <p:sp>
          <p:nvSpPr>
            <p:cNvPr id="57" name="Freeform 56"/>
            <p:cNvSpPr>
              <a:spLocks/>
            </p:cNvSpPr>
            <p:nvPr/>
          </p:nvSpPr>
          <p:spPr bwMode="auto">
            <a:xfrm>
              <a:off x="7982252" y="6590903"/>
              <a:ext cx="100744" cy="156007"/>
            </a:xfrm>
            <a:custGeom>
              <a:avLst/>
              <a:gdLst>
                <a:gd name="T0" fmla="*/ 0 w 87"/>
                <a:gd name="T1" fmla="*/ 44 h 135"/>
                <a:gd name="T2" fmla="*/ 0 w 87"/>
                <a:gd name="T3" fmla="*/ 15 h 135"/>
                <a:gd name="T4" fmla="*/ 1 w 87"/>
                <a:gd name="T5" fmla="*/ 15 h 135"/>
                <a:gd name="T6" fmla="*/ 44 w 87"/>
                <a:gd name="T7" fmla="*/ 13 h 135"/>
                <a:gd name="T8" fmla="*/ 53 w 87"/>
                <a:gd name="T9" fmla="*/ 35 h 135"/>
                <a:gd name="T10" fmla="*/ 74 w 87"/>
                <a:gd name="T11" fmla="*/ 43 h 135"/>
                <a:gd name="T12" fmla="*/ 73 w 87"/>
                <a:gd name="T13" fmla="*/ 87 h 135"/>
                <a:gd name="T14" fmla="*/ 25 w 87"/>
                <a:gd name="T15" fmla="*/ 135 h 135"/>
                <a:gd name="T16" fmla="*/ 11 w 87"/>
                <a:gd name="T17" fmla="*/ 120 h 135"/>
                <a:gd name="T18" fmla="*/ 58 w 87"/>
                <a:gd name="T19" fmla="*/ 73 h 135"/>
                <a:gd name="T20" fmla="*/ 60 w 87"/>
                <a:gd name="T21" fmla="*/ 57 h 135"/>
                <a:gd name="T22" fmla="*/ 44 w 87"/>
                <a:gd name="T23" fmla="*/ 58 h 135"/>
                <a:gd name="T24" fmla="*/ 0 w 87"/>
                <a:gd name="T25" fmla="*/ 102 h 135"/>
                <a:gd name="T26" fmla="*/ 0 w 87"/>
                <a:gd name="T27" fmla="*/ 73 h 135"/>
                <a:gd name="T28" fmla="*/ 29 w 87"/>
                <a:gd name="T29" fmla="*/ 44 h 135"/>
                <a:gd name="T30" fmla="*/ 31 w 87"/>
                <a:gd name="T31" fmla="*/ 28 h 135"/>
                <a:gd name="T32" fmla="*/ 15 w 87"/>
                <a:gd name="T33" fmla="*/ 29 h 135"/>
                <a:gd name="T34" fmla="*/ 0 w 87"/>
                <a:gd name="T35" fmla="*/ 44 h 135"/>
                <a:gd name="T36" fmla="*/ 0 w 87"/>
                <a:gd name="T37" fmla="*/ 15 h 135"/>
                <a:gd name="T38" fmla="*/ 0 w 87"/>
                <a:gd name="T39" fmla="*/ 44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7" h="135">
                  <a:moveTo>
                    <a:pt x="0" y="44"/>
                  </a:moveTo>
                  <a:cubicBezTo>
                    <a:pt x="0" y="15"/>
                    <a:pt x="0" y="15"/>
                    <a:pt x="0" y="15"/>
                  </a:cubicBezTo>
                  <a:cubicBezTo>
                    <a:pt x="1" y="15"/>
                    <a:pt x="1" y="15"/>
                    <a:pt x="1" y="15"/>
                  </a:cubicBezTo>
                  <a:cubicBezTo>
                    <a:pt x="15" y="0"/>
                    <a:pt x="33" y="2"/>
                    <a:pt x="44" y="13"/>
                  </a:cubicBezTo>
                  <a:cubicBezTo>
                    <a:pt x="53" y="22"/>
                    <a:pt x="53" y="31"/>
                    <a:pt x="53" y="35"/>
                  </a:cubicBezTo>
                  <a:cubicBezTo>
                    <a:pt x="57" y="34"/>
                    <a:pt x="66" y="35"/>
                    <a:pt x="74" y="43"/>
                  </a:cubicBezTo>
                  <a:cubicBezTo>
                    <a:pt x="85" y="54"/>
                    <a:pt x="87" y="73"/>
                    <a:pt x="73" y="87"/>
                  </a:cubicBezTo>
                  <a:cubicBezTo>
                    <a:pt x="25" y="135"/>
                    <a:pt x="25" y="135"/>
                    <a:pt x="25" y="135"/>
                  </a:cubicBezTo>
                  <a:cubicBezTo>
                    <a:pt x="11" y="120"/>
                    <a:pt x="11" y="120"/>
                    <a:pt x="11" y="120"/>
                  </a:cubicBezTo>
                  <a:cubicBezTo>
                    <a:pt x="58" y="73"/>
                    <a:pt x="58" y="73"/>
                    <a:pt x="58" y="73"/>
                  </a:cubicBezTo>
                  <a:cubicBezTo>
                    <a:pt x="64" y="67"/>
                    <a:pt x="63" y="60"/>
                    <a:pt x="60" y="57"/>
                  </a:cubicBezTo>
                  <a:cubicBezTo>
                    <a:pt x="56" y="53"/>
                    <a:pt x="49" y="53"/>
                    <a:pt x="44" y="58"/>
                  </a:cubicBezTo>
                  <a:cubicBezTo>
                    <a:pt x="0" y="102"/>
                    <a:pt x="0" y="102"/>
                    <a:pt x="0" y="102"/>
                  </a:cubicBezTo>
                  <a:cubicBezTo>
                    <a:pt x="0" y="73"/>
                    <a:pt x="0" y="73"/>
                    <a:pt x="0" y="73"/>
                  </a:cubicBezTo>
                  <a:cubicBezTo>
                    <a:pt x="29" y="44"/>
                    <a:pt x="29" y="44"/>
                    <a:pt x="29" y="44"/>
                  </a:cubicBezTo>
                  <a:cubicBezTo>
                    <a:pt x="35" y="38"/>
                    <a:pt x="34" y="32"/>
                    <a:pt x="31" y="28"/>
                  </a:cubicBezTo>
                  <a:cubicBezTo>
                    <a:pt x="27" y="24"/>
                    <a:pt x="20" y="24"/>
                    <a:pt x="15" y="29"/>
                  </a:cubicBezTo>
                  <a:cubicBezTo>
                    <a:pt x="0" y="44"/>
                    <a:pt x="0" y="44"/>
                    <a:pt x="0" y="44"/>
                  </a:cubicBezTo>
                  <a:cubicBezTo>
                    <a:pt x="0" y="15"/>
                    <a:pt x="0" y="15"/>
                    <a:pt x="0" y="15"/>
                  </a:cubicBezTo>
                  <a:lnTo>
                    <a:pt x="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EC881D"/>
                </a:solidFill>
              </a:endParaRPr>
            </a:p>
          </p:txBody>
        </p:sp>
        <p:sp>
          <p:nvSpPr>
            <p:cNvPr id="58" name="Freeform 57"/>
            <p:cNvSpPr>
              <a:spLocks/>
            </p:cNvSpPr>
            <p:nvPr/>
          </p:nvSpPr>
          <p:spPr bwMode="auto">
            <a:xfrm>
              <a:off x="8124566" y="6620735"/>
              <a:ext cx="97811" cy="99278"/>
            </a:xfrm>
            <a:custGeom>
              <a:avLst/>
              <a:gdLst>
                <a:gd name="T0" fmla="*/ 70 w 85"/>
                <a:gd name="T1" fmla="*/ 86 h 86"/>
                <a:gd name="T2" fmla="*/ 70 w 85"/>
                <a:gd name="T3" fmla="*/ 35 h 86"/>
                <a:gd name="T4" fmla="*/ 70 w 85"/>
                <a:gd name="T5" fmla="*/ 26 h 86"/>
                <a:gd name="T6" fmla="*/ 70 w 85"/>
                <a:gd name="T7" fmla="*/ 26 h 86"/>
                <a:gd name="T8" fmla="*/ 65 w 85"/>
                <a:gd name="T9" fmla="*/ 35 h 86"/>
                <a:gd name="T10" fmla="*/ 47 w 85"/>
                <a:gd name="T11" fmla="*/ 62 h 86"/>
                <a:gd name="T12" fmla="*/ 39 w 85"/>
                <a:gd name="T13" fmla="*/ 62 h 86"/>
                <a:gd name="T14" fmla="*/ 20 w 85"/>
                <a:gd name="T15" fmla="*/ 34 h 86"/>
                <a:gd name="T16" fmla="*/ 15 w 85"/>
                <a:gd name="T17" fmla="*/ 26 h 86"/>
                <a:gd name="T18" fmla="*/ 15 w 85"/>
                <a:gd name="T19" fmla="*/ 26 h 86"/>
                <a:gd name="T20" fmla="*/ 15 w 85"/>
                <a:gd name="T21" fmla="*/ 35 h 86"/>
                <a:gd name="T22" fmla="*/ 15 w 85"/>
                <a:gd name="T23" fmla="*/ 86 h 86"/>
                <a:gd name="T24" fmla="*/ 0 w 85"/>
                <a:gd name="T25" fmla="*/ 86 h 86"/>
                <a:gd name="T26" fmla="*/ 0 w 85"/>
                <a:gd name="T27" fmla="*/ 0 h 86"/>
                <a:gd name="T28" fmla="*/ 14 w 85"/>
                <a:gd name="T29" fmla="*/ 0 h 86"/>
                <a:gd name="T30" fmla="*/ 38 w 85"/>
                <a:gd name="T31" fmla="*/ 35 h 86"/>
                <a:gd name="T32" fmla="*/ 43 w 85"/>
                <a:gd name="T33" fmla="*/ 44 h 86"/>
                <a:gd name="T34" fmla="*/ 44 w 85"/>
                <a:gd name="T35" fmla="*/ 44 h 86"/>
                <a:gd name="T36" fmla="*/ 49 w 85"/>
                <a:gd name="T37" fmla="*/ 34 h 86"/>
                <a:gd name="T38" fmla="*/ 70 w 85"/>
                <a:gd name="T39" fmla="*/ 0 h 86"/>
                <a:gd name="T40" fmla="*/ 85 w 85"/>
                <a:gd name="T41" fmla="*/ 0 h 86"/>
                <a:gd name="T42" fmla="*/ 85 w 85"/>
                <a:gd name="T43" fmla="*/ 86 h 86"/>
                <a:gd name="T44" fmla="*/ 70 w 85"/>
                <a:gd name="T4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5" h="86">
                  <a:moveTo>
                    <a:pt x="70" y="86"/>
                  </a:moveTo>
                  <a:cubicBezTo>
                    <a:pt x="70" y="35"/>
                    <a:pt x="70" y="35"/>
                    <a:pt x="70" y="35"/>
                  </a:cubicBezTo>
                  <a:cubicBezTo>
                    <a:pt x="70" y="32"/>
                    <a:pt x="70" y="29"/>
                    <a:pt x="70" y="26"/>
                  </a:cubicBezTo>
                  <a:cubicBezTo>
                    <a:pt x="70" y="26"/>
                    <a:pt x="70" y="26"/>
                    <a:pt x="70" y="26"/>
                  </a:cubicBezTo>
                  <a:cubicBezTo>
                    <a:pt x="69" y="29"/>
                    <a:pt x="66" y="32"/>
                    <a:pt x="65" y="35"/>
                  </a:cubicBezTo>
                  <a:cubicBezTo>
                    <a:pt x="47" y="62"/>
                    <a:pt x="47" y="62"/>
                    <a:pt x="47" y="62"/>
                  </a:cubicBezTo>
                  <a:cubicBezTo>
                    <a:pt x="39" y="62"/>
                    <a:pt x="39" y="62"/>
                    <a:pt x="39" y="62"/>
                  </a:cubicBezTo>
                  <a:cubicBezTo>
                    <a:pt x="20" y="34"/>
                    <a:pt x="20" y="34"/>
                    <a:pt x="20" y="34"/>
                  </a:cubicBezTo>
                  <a:cubicBezTo>
                    <a:pt x="19" y="32"/>
                    <a:pt x="17" y="29"/>
                    <a:pt x="15" y="26"/>
                  </a:cubicBezTo>
                  <a:cubicBezTo>
                    <a:pt x="15" y="26"/>
                    <a:pt x="15" y="26"/>
                    <a:pt x="15" y="26"/>
                  </a:cubicBezTo>
                  <a:cubicBezTo>
                    <a:pt x="15" y="29"/>
                    <a:pt x="15" y="32"/>
                    <a:pt x="15" y="35"/>
                  </a:cubicBezTo>
                  <a:cubicBezTo>
                    <a:pt x="15" y="86"/>
                    <a:pt x="15" y="86"/>
                    <a:pt x="15" y="86"/>
                  </a:cubicBezTo>
                  <a:cubicBezTo>
                    <a:pt x="0" y="86"/>
                    <a:pt x="0" y="86"/>
                    <a:pt x="0" y="86"/>
                  </a:cubicBezTo>
                  <a:cubicBezTo>
                    <a:pt x="0" y="0"/>
                    <a:pt x="0" y="0"/>
                    <a:pt x="0" y="0"/>
                  </a:cubicBezTo>
                  <a:cubicBezTo>
                    <a:pt x="14" y="0"/>
                    <a:pt x="14" y="0"/>
                    <a:pt x="14" y="0"/>
                  </a:cubicBezTo>
                  <a:cubicBezTo>
                    <a:pt x="38" y="35"/>
                    <a:pt x="38" y="35"/>
                    <a:pt x="38" y="35"/>
                  </a:cubicBezTo>
                  <a:cubicBezTo>
                    <a:pt x="40" y="38"/>
                    <a:pt x="42" y="41"/>
                    <a:pt x="43" y="44"/>
                  </a:cubicBezTo>
                  <a:cubicBezTo>
                    <a:pt x="44" y="44"/>
                    <a:pt x="44" y="44"/>
                    <a:pt x="44" y="44"/>
                  </a:cubicBezTo>
                  <a:cubicBezTo>
                    <a:pt x="45" y="41"/>
                    <a:pt x="46" y="38"/>
                    <a:pt x="49" y="34"/>
                  </a:cubicBezTo>
                  <a:cubicBezTo>
                    <a:pt x="70" y="0"/>
                    <a:pt x="70" y="0"/>
                    <a:pt x="70" y="0"/>
                  </a:cubicBezTo>
                  <a:cubicBezTo>
                    <a:pt x="85" y="0"/>
                    <a:pt x="85" y="0"/>
                    <a:pt x="85" y="0"/>
                  </a:cubicBezTo>
                  <a:cubicBezTo>
                    <a:pt x="85" y="86"/>
                    <a:pt x="85" y="86"/>
                    <a:pt x="85" y="86"/>
                  </a:cubicBezTo>
                  <a:lnTo>
                    <a:pt x="70" y="86"/>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EC881D"/>
                </a:solidFill>
              </a:endParaRPr>
            </a:p>
          </p:txBody>
        </p:sp>
        <p:sp>
          <p:nvSpPr>
            <p:cNvPr id="59" name="Freeform 58"/>
            <p:cNvSpPr>
              <a:spLocks noEditPoints="1"/>
            </p:cNvSpPr>
            <p:nvPr/>
          </p:nvSpPr>
          <p:spPr bwMode="auto">
            <a:xfrm>
              <a:off x="8239982" y="6623181"/>
              <a:ext cx="20540" cy="98300"/>
            </a:xfrm>
            <a:custGeom>
              <a:avLst/>
              <a:gdLst>
                <a:gd name="T0" fmla="*/ 1 w 18"/>
                <a:gd name="T1" fmla="*/ 27 h 85"/>
                <a:gd name="T2" fmla="*/ 16 w 18"/>
                <a:gd name="T3" fmla="*/ 27 h 85"/>
                <a:gd name="T4" fmla="*/ 16 w 18"/>
                <a:gd name="T5" fmla="*/ 74 h 85"/>
                <a:gd name="T6" fmla="*/ 1 w 18"/>
                <a:gd name="T7" fmla="*/ 85 h 85"/>
                <a:gd name="T8" fmla="*/ 1 w 18"/>
                <a:gd name="T9" fmla="*/ 27 h 85"/>
                <a:gd name="T10" fmla="*/ 9 w 18"/>
                <a:gd name="T11" fmla="*/ 18 h 85"/>
                <a:gd name="T12" fmla="*/ 0 w 18"/>
                <a:gd name="T13" fmla="*/ 9 h 85"/>
                <a:gd name="T14" fmla="*/ 9 w 18"/>
                <a:gd name="T15" fmla="*/ 0 h 85"/>
                <a:gd name="T16" fmla="*/ 18 w 18"/>
                <a:gd name="T17" fmla="*/ 9 h 85"/>
                <a:gd name="T18" fmla="*/ 9 w 18"/>
                <a:gd name="T19" fmla="*/ 1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85">
                  <a:moveTo>
                    <a:pt x="1" y="27"/>
                  </a:moveTo>
                  <a:cubicBezTo>
                    <a:pt x="16" y="27"/>
                    <a:pt x="16" y="27"/>
                    <a:pt x="16" y="27"/>
                  </a:cubicBezTo>
                  <a:cubicBezTo>
                    <a:pt x="16" y="74"/>
                    <a:pt x="16" y="74"/>
                    <a:pt x="16" y="74"/>
                  </a:cubicBezTo>
                  <a:cubicBezTo>
                    <a:pt x="16" y="85"/>
                    <a:pt x="1" y="85"/>
                    <a:pt x="1" y="85"/>
                  </a:cubicBezTo>
                  <a:lnTo>
                    <a:pt x="1" y="27"/>
                  </a:lnTo>
                  <a:close/>
                  <a:moveTo>
                    <a:pt x="9" y="18"/>
                  </a:moveTo>
                  <a:cubicBezTo>
                    <a:pt x="4" y="18"/>
                    <a:pt x="0" y="14"/>
                    <a:pt x="0" y="9"/>
                  </a:cubicBezTo>
                  <a:cubicBezTo>
                    <a:pt x="0" y="4"/>
                    <a:pt x="4" y="0"/>
                    <a:pt x="9" y="0"/>
                  </a:cubicBezTo>
                  <a:cubicBezTo>
                    <a:pt x="14" y="0"/>
                    <a:pt x="18" y="4"/>
                    <a:pt x="18" y="9"/>
                  </a:cubicBezTo>
                  <a:cubicBezTo>
                    <a:pt x="18" y="14"/>
                    <a:pt x="14" y="18"/>
                    <a:pt x="9" y="18"/>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EC881D"/>
                </a:solidFill>
              </a:endParaRPr>
            </a:p>
          </p:txBody>
        </p:sp>
        <p:sp>
          <p:nvSpPr>
            <p:cNvPr id="60" name="Freeform 59"/>
            <p:cNvSpPr>
              <a:spLocks/>
            </p:cNvSpPr>
            <p:nvPr/>
          </p:nvSpPr>
          <p:spPr bwMode="auto">
            <a:xfrm>
              <a:off x="8276660" y="6620735"/>
              <a:ext cx="16627" cy="100745"/>
            </a:xfrm>
            <a:custGeom>
              <a:avLst/>
              <a:gdLst>
                <a:gd name="T0" fmla="*/ 0 w 14"/>
                <a:gd name="T1" fmla="*/ 0 h 87"/>
                <a:gd name="T2" fmla="*/ 14 w 14"/>
                <a:gd name="T3" fmla="*/ 0 h 87"/>
                <a:gd name="T4" fmla="*/ 14 w 14"/>
                <a:gd name="T5" fmla="*/ 76 h 87"/>
                <a:gd name="T6" fmla="*/ 0 w 14"/>
                <a:gd name="T7" fmla="*/ 87 h 87"/>
                <a:gd name="T8" fmla="*/ 0 w 14"/>
                <a:gd name="T9" fmla="*/ 0 h 87"/>
              </a:gdLst>
              <a:ahLst/>
              <a:cxnLst>
                <a:cxn ang="0">
                  <a:pos x="T0" y="T1"/>
                </a:cxn>
                <a:cxn ang="0">
                  <a:pos x="T2" y="T3"/>
                </a:cxn>
                <a:cxn ang="0">
                  <a:pos x="T4" y="T5"/>
                </a:cxn>
                <a:cxn ang="0">
                  <a:pos x="T6" y="T7"/>
                </a:cxn>
                <a:cxn ang="0">
                  <a:pos x="T8" y="T9"/>
                </a:cxn>
              </a:cxnLst>
              <a:rect l="0" t="0" r="r" b="b"/>
              <a:pathLst>
                <a:path w="14" h="87">
                  <a:moveTo>
                    <a:pt x="0" y="0"/>
                  </a:moveTo>
                  <a:cubicBezTo>
                    <a:pt x="14" y="0"/>
                    <a:pt x="14" y="0"/>
                    <a:pt x="14" y="0"/>
                  </a:cubicBezTo>
                  <a:cubicBezTo>
                    <a:pt x="14" y="76"/>
                    <a:pt x="14" y="76"/>
                    <a:pt x="14" y="76"/>
                  </a:cubicBezTo>
                  <a:cubicBezTo>
                    <a:pt x="14" y="87"/>
                    <a:pt x="0" y="87"/>
                    <a:pt x="0" y="87"/>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EC881D"/>
                </a:solidFill>
              </a:endParaRPr>
            </a:p>
          </p:txBody>
        </p:sp>
        <p:sp>
          <p:nvSpPr>
            <p:cNvPr id="61" name="Freeform 60"/>
            <p:cNvSpPr>
              <a:spLocks/>
            </p:cNvSpPr>
            <p:nvPr/>
          </p:nvSpPr>
          <p:spPr bwMode="auto">
            <a:xfrm>
              <a:off x="8310405" y="6620735"/>
              <a:ext cx="16138" cy="100745"/>
            </a:xfrm>
            <a:custGeom>
              <a:avLst/>
              <a:gdLst>
                <a:gd name="T0" fmla="*/ 0 w 14"/>
                <a:gd name="T1" fmla="*/ 0 h 87"/>
                <a:gd name="T2" fmla="*/ 14 w 14"/>
                <a:gd name="T3" fmla="*/ 0 h 87"/>
                <a:gd name="T4" fmla="*/ 14 w 14"/>
                <a:gd name="T5" fmla="*/ 76 h 87"/>
                <a:gd name="T6" fmla="*/ 0 w 14"/>
                <a:gd name="T7" fmla="*/ 87 h 87"/>
                <a:gd name="T8" fmla="*/ 0 w 14"/>
                <a:gd name="T9" fmla="*/ 0 h 87"/>
              </a:gdLst>
              <a:ahLst/>
              <a:cxnLst>
                <a:cxn ang="0">
                  <a:pos x="T0" y="T1"/>
                </a:cxn>
                <a:cxn ang="0">
                  <a:pos x="T2" y="T3"/>
                </a:cxn>
                <a:cxn ang="0">
                  <a:pos x="T4" y="T5"/>
                </a:cxn>
                <a:cxn ang="0">
                  <a:pos x="T6" y="T7"/>
                </a:cxn>
                <a:cxn ang="0">
                  <a:pos x="T8" y="T9"/>
                </a:cxn>
              </a:cxnLst>
              <a:rect l="0" t="0" r="r" b="b"/>
              <a:pathLst>
                <a:path w="14" h="87">
                  <a:moveTo>
                    <a:pt x="0" y="0"/>
                  </a:moveTo>
                  <a:cubicBezTo>
                    <a:pt x="14" y="0"/>
                    <a:pt x="14" y="0"/>
                    <a:pt x="14" y="0"/>
                  </a:cubicBezTo>
                  <a:cubicBezTo>
                    <a:pt x="14" y="76"/>
                    <a:pt x="14" y="76"/>
                    <a:pt x="14" y="76"/>
                  </a:cubicBezTo>
                  <a:cubicBezTo>
                    <a:pt x="14" y="87"/>
                    <a:pt x="0" y="87"/>
                    <a:pt x="0" y="87"/>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EC881D"/>
                </a:solidFill>
              </a:endParaRPr>
            </a:p>
          </p:txBody>
        </p:sp>
        <p:sp>
          <p:nvSpPr>
            <p:cNvPr id="62" name="Freeform 61"/>
            <p:cNvSpPr>
              <a:spLocks/>
            </p:cNvSpPr>
            <p:nvPr/>
          </p:nvSpPr>
          <p:spPr bwMode="auto">
            <a:xfrm>
              <a:off x="8335836" y="6654479"/>
              <a:ext cx="104167" cy="70423"/>
            </a:xfrm>
            <a:custGeom>
              <a:avLst/>
              <a:gdLst>
                <a:gd name="T0" fmla="*/ 15 w 90"/>
                <a:gd name="T1" fmla="*/ 0 h 61"/>
                <a:gd name="T2" fmla="*/ 27 w 90"/>
                <a:gd name="T3" fmla="*/ 39 h 61"/>
                <a:gd name="T4" fmla="*/ 27 w 90"/>
                <a:gd name="T5" fmla="*/ 39 h 61"/>
                <a:gd name="T6" fmla="*/ 40 w 90"/>
                <a:gd name="T7" fmla="*/ 0 h 61"/>
                <a:gd name="T8" fmla="*/ 51 w 90"/>
                <a:gd name="T9" fmla="*/ 0 h 61"/>
                <a:gd name="T10" fmla="*/ 64 w 90"/>
                <a:gd name="T11" fmla="*/ 39 h 61"/>
                <a:gd name="T12" fmla="*/ 64 w 90"/>
                <a:gd name="T13" fmla="*/ 39 h 61"/>
                <a:gd name="T14" fmla="*/ 76 w 90"/>
                <a:gd name="T15" fmla="*/ 0 h 61"/>
                <a:gd name="T16" fmla="*/ 90 w 90"/>
                <a:gd name="T17" fmla="*/ 0 h 61"/>
                <a:gd name="T18" fmla="*/ 73 w 90"/>
                <a:gd name="T19" fmla="*/ 47 h 61"/>
                <a:gd name="T20" fmla="*/ 58 w 90"/>
                <a:gd name="T21" fmla="*/ 58 h 61"/>
                <a:gd name="T22" fmla="*/ 45 w 90"/>
                <a:gd name="T23" fmla="*/ 19 h 61"/>
                <a:gd name="T24" fmla="*/ 45 w 90"/>
                <a:gd name="T25" fmla="*/ 19 h 61"/>
                <a:gd name="T26" fmla="*/ 36 w 90"/>
                <a:gd name="T27" fmla="*/ 47 h 61"/>
                <a:gd name="T28" fmla="*/ 21 w 90"/>
                <a:gd name="T29" fmla="*/ 58 h 61"/>
                <a:gd name="T30" fmla="*/ 0 w 90"/>
                <a:gd name="T31" fmla="*/ 0 h 61"/>
                <a:gd name="T32" fmla="*/ 15 w 90"/>
                <a:gd name="T33"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61">
                  <a:moveTo>
                    <a:pt x="15" y="0"/>
                  </a:moveTo>
                  <a:cubicBezTo>
                    <a:pt x="27" y="39"/>
                    <a:pt x="27" y="39"/>
                    <a:pt x="27" y="39"/>
                  </a:cubicBezTo>
                  <a:cubicBezTo>
                    <a:pt x="27" y="39"/>
                    <a:pt x="27" y="39"/>
                    <a:pt x="27" y="39"/>
                  </a:cubicBezTo>
                  <a:cubicBezTo>
                    <a:pt x="40" y="0"/>
                    <a:pt x="40" y="0"/>
                    <a:pt x="40" y="0"/>
                  </a:cubicBezTo>
                  <a:cubicBezTo>
                    <a:pt x="51" y="0"/>
                    <a:pt x="51" y="0"/>
                    <a:pt x="51" y="0"/>
                  </a:cubicBezTo>
                  <a:cubicBezTo>
                    <a:pt x="64" y="39"/>
                    <a:pt x="64" y="39"/>
                    <a:pt x="64" y="39"/>
                  </a:cubicBezTo>
                  <a:cubicBezTo>
                    <a:pt x="64" y="39"/>
                    <a:pt x="64" y="39"/>
                    <a:pt x="64" y="39"/>
                  </a:cubicBezTo>
                  <a:cubicBezTo>
                    <a:pt x="76" y="0"/>
                    <a:pt x="76" y="0"/>
                    <a:pt x="76" y="0"/>
                  </a:cubicBezTo>
                  <a:cubicBezTo>
                    <a:pt x="90" y="0"/>
                    <a:pt x="90" y="0"/>
                    <a:pt x="90" y="0"/>
                  </a:cubicBezTo>
                  <a:cubicBezTo>
                    <a:pt x="73" y="47"/>
                    <a:pt x="73" y="47"/>
                    <a:pt x="73" y="47"/>
                  </a:cubicBezTo>
                  <a:cubicBezTo>
                    <a:pt x="73" y="47"/>
                    <a:pt x="69" y="61"/>
                    <a:pt x="58" y="58"/>
                  </a:cubicBezTo>
                  <a:cubicBezTo>
                    <a:pt x="45" y="19"/>
                    <a:pt x="45" y="19"/>
                    <a:pt x="45" y="19"/>
                  </a:cubicBezTo>
                  <a:cubicBezTo>
                    <a:pt x="45" y="19"/>
                    <a:pt x="45" y="19"/>
                    <a:pt x="45" y="19"/>
                  </a:cubicBezTo>
                  <a:cubicBezTo>
                    <a:pt x="36" y="47"/>
                    <a:pt x="36" y="47"/>
                    <a:pt x="36" y="47"/>
                  </a:cubicBezTo>
                  <a:cubicBezTo>
                    <a:pt x="36" y="47"/>
                    <a:pt x="32" y="61"/>
                    <a:pt x="21" y="58"/>
                  </a:cubicBezTo>
                  <a:cubicBezTo>
                    <a:pt x="0" y="0"/>
                    <a:pt x="0" y="0"/>
                    <a:pt x="0" y="0"/>
                  </a:cubicBezTo>
                  <a:lnTo>
                    <a:pt x="15"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EC881D"/>
                </a:solidFill>
              </a:endParaRPr>
            </a:p>
          </p:txBody>
        </p:sp>
        <p:sp>
          <p:nvSpPr>
            <p:cNvPr id="63" name="Freeform 62"/>
            <p:cNvSpPr>
              <a:spLocks noEditPoints="1"/>
            </p:cNvSpPr>
            <p:nvPr/>
          </p:nvSpPr>
          <p:spPr bwMode="auto">
            <a:xfrm>
              <a:off x="8441960" y="6653012"/>
              <a:ext cx="59175" cy="68467"/>
            </a:xfrm>
            <a:custGeom>
              <a:avLst/>
              <a:gdLst>
                <a:gd name="T0" fmla="*/ 35 w 51"/>
                <a:gd name="T1" fmla="*/ 32 h 59"/>
                <a:gd name="T2" fmla="*/ 26 w 51"/>
                <a:gd name="T3" fmla="*/ 32 h 59"/>
                <a:gd name="T4" fmla="*/ 15 w 51"/>
                <a:gd name="T5" fmla="*/ 40 h 59"/>
                <a:gd name="T6" fmla="*/ 24 w 51"/>
                <a:gd name="T7" fmla="*/ 48 h 59"/>
                <a:gd name="T8" fmla="*/ 35 w 51"/>
                <a:gd name="T9" fmla="*/ 44 h 59"/>
                <a:gd name="T10" fmla="*/ 35 w 51"/>
                <a:gd name="T11" fmla="*/ 32 h 59"/>
                <a:gd name="T12" fmla="*/ 38 w 51"/>
                <a:gd name="T13" fmla="*/ 59 h 59"/>
                <a:gd name="T14" fmla="*/ 36 w 51"/>
                <a:gd name="T15" fmla="*/ 53 h 59"/>
                <a:gd name="T16" fmla="*/ 19 w 51"/>
                <a:gd name="T17" fmla="*/ 59 h 59"/>
                <a:gd name="T18" fmla="*/ 0 w 51"/>
                <a:gd name="T19" fmla="*/ 41 h 59"/>
                <a:gd name="T20" fmla="*/ 24 w 51"/>
                <a:gd name="T21" fmla="*/ 22 h 59"/>
                <a:gd name="T22" fmla="*/ 35 w 51"/>
                <a:gd name="T23" fmla="*/ 22 h 59"/>
                <a:gd name="T24" fmla="*/ 35 w 51"/>
                <a:gd name="T25" fmla="*/ 20 h 59"/>
                <a:gd name="T26" fmla="*/ 23 w 51"/>
                <a:gd name="T27" fmla="*/ 11 h 59"/>
                <a:gd name="T28" fmla="*/ 9 w 51"/>
                <a:gd name="T29" fmla="*/ 15 h 59"/>
                <a:gd name="T30" fmla="*/ 4 w 51"/>
                <a:gd name="T31" fmla="*/ 6 h 59"/>
                <a:gd name="T32" fmla="*/ 27 w 51"/>
                <a:gd name="T33" fmla="*/ 0 h 59"/>
                <a:gd name="T34" fmla="*/ 49 w 51"/>
                <a:gd name="T35" fmla="*/ 20 h 59"/>
                <a:gd name="T36" fmla="*/ 49 w 51"/>
                <a:gd name="T37" fmla="*/ 43 h 59"/>
                <a:gd name="T38" fmla="*/ 51 w 51"/>
                <a:gd name="T39" fmla="*/ 59 h 59"/>
                <a:gd name="T40" fmla="*/ 38 w 51"/>
                <a:gd name="T41"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59">
                  <a:moveTo>
                    <a:pt x="35" y="32"/>
                  </a:moveTo>
                  <a:cubicBezTo>
                    <a:pt x="26" y="32"/>
                    <a:pt x="26" y="32"/>
                    <a:pt x="26" y="32"/>
                  </a:cubicBezTo>
                  <a:cubicBezTo>
                    <a:pt x="18" y="32"/>
                    <a:pt x="15" y="35"/>
                    <a:pt x="15" y="40"/>
                  </a:cubicBezTo>
                  <a:cubicBezTo>
                    <a:pt x="15" y="45"/>
                    <a:pt x="18" y="48"/>
                    <a:pt x="24" y="48"/>
                  </a:cubicBezTo>
                  <a:cubicBezTo>
                    <a:pt x="29" y="48"/>
                    <a:pt x="33" y="46"/>
                    <a:pt x="35" y="44"/>
                  </a:cubicBezTo>
                  <a:lnTo>
                    <a:pt x="35" y="32"/>
                  </a:lnTo>
                  <a:close/>
                  <a:moveTo>
                    <a:pt x="38" y="59"/>
                  </a:moveTo>
                  <a:cubicBezTo>
                    <a:pt x="36" y="53"/>
                    <a:pt x="36" y="53"/>
                    <a:pt x="36" y="53"/>
                  </a:cubicBezTo>
                  <a:cubicBezTo>
                    <a:pt x="32" y="57"/>
                    <a:pt x="27" y="59"/>
                    <a:pt x="19" y="59"/>
                  </a:cubicBezTo>
                  <a:cubicBezTo>
                    <a:pt x="9" y="59"/>
                    <a:pt x="0" y="52"/>
                    <a:pt x="0" y="41"/>
                  </a:cubicBezTo>
                  <a:cubicBezTo>
                    <a:pt x="0" y="29"/>
                    <a:pt x="10" y="23"/>
                    <a:pt x="24" y="22"/>
                  </a:cubicBezTo>
                  <a:cubicBezTo>
                    <a:pt x="35" y="22"/>
                    <a:pt x="35" y="22"/>
                    <a:pt x="35" y="22"/>
                  </a:cubicBezTo>
                  <a:cubicBezTo>
                    <a:pt x="35" y="20"/>
                    <a:pt x="35" y="20"/>
                    <a:pt x="35" y="20"/>
                  </a:cubicBezTo>
                  <a:cubicBezTo>
                    <a:pt x="35" y="13"/>
                    <a:pt x="30" y="11"/>
                    <a:pt x="23" y="11"/>
                  </a:cubicBezTo>
                  <a:cubicBezTo>
                    <a:pt x="17" y="11"/>
                    <a:pt x="13" y="13"/>
                    <a:pt x="9" y="15"/>
                  </a:cubicBezTo>
                  <a:cubicBezTo>
                    <a:pt x="4" y="6"/>
                    <a:pt x="4" y="6"/>
                    <a:pt x="4" y="6"/>
                  </a:cubicBezTo>
                  <a:cubicBezTo>
                    <a:pt x="12" y="1"/>
                    <a:pt x="19" y="0"/>
                    <a:pt x="27" y="0"/>
                  </a:cubicBezTo>
                  <a:cubicBezTo>
                    <a:pt x="41" y="0"/>
                    <a:pt x="49" y="5"/>
                    <a:pt x="49" y="20"/>
                  </a:cubicBezTo>
                  <a:cubicBezTo>
                    <a:pt x="49" y="43"/>
                    <a:pt x="49" y="43"/>
                    <a:pt x="49" y="43"/>
                  </a:cubicBezTo>
                  <a:cubicBezTo>
                    <a:pt x="49" y="51"/>
                    <a:pt x="50" y="57"/>
                    <a:pt x="51" y="59"/>
                  </a:cubicBezTo>
                  <a:lnTo>
                    <a:pt x="38" y="59"/>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EC881D"/>
                </a:solidFill>
              </a:endParaRPr>
            </a:p>
          </p:txBody>
        </p:sp>
        <p:sp>
          <p:nvSpPr>
            <p:cNvPr id="64" name="Freeform 63"/>
            <p:cNvSpPr>
              <a:spLocks/>
            </p:cNvSpPr>
            <p:nvPr/>
          </p:nvSpPr>
          <p:spPr bwMode="auto">
            <a:xfrm>
              <a:off x="8513849" y="6653012"/>
              <a:ext cx="43525" cy="68467"/>
            </a:xfrm>
            <a:custGeom>
              <a:avLst/>
              <a:gdLst>
                <a:gd name="T0" fmla="*/ 0 w 38"/>
                <a:gd name="T1" fmla="*/ 1 h 59"/>
                <a:gd name="T2" fmla="*/ 13 w 38"/>
                <a:gd name="T3" fmla="*/ 1 h 59"/>
                <a:gd name="T4" fmla="*/ 14 w 38"/>
                <a:gd name="T5" fmla="*/ 7 h 59"/>
                <a:gd name="T6" fmla="*/ 30 w 38"/>
                <a:gd name="T7" fmla="*/ 0 h 59"/>
                <a:gd name="T8" fmla="*/ 38 w 38"/>
                <a:gd name="T9" fmla="*/ 2 h 59"/>
                <a:gd name="T10" fmla="*/ 33 w 38"/>
                <a:gd name="T11" fmla="*/ 14 h 59"/>
                <a:gd name="T12" fmla="*/ 26 w 38"/>
                <a:gd name="T13" fmla="*/ 12 h 59"/>
                <a:gd name="T14" fmla="*/ 15 w 38"/>
                <a:gd name="T15" fmla="*/ 18 h 59"/>
                <a:gd name="T16" fmla="*/ 15 w 38"/>
                <a:gd name="T17" fmla="*/ 48 h 59"/>
                <a:gd name="T18" fmla="*/ 0 w 38"/>
                <a:gd name="T19" fmla="*/ 59 h 59"/>
                <a:gd name="T20" fmla="*/ 0 w 38"/>
                <a:gd name="T21" fmla="*/ 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59">
                  <a:moveTo>
                    <a:pt x="0" y="1"/>
                  </a:moveTo>
                  <a:cubicBezTo>
                    <a:pt x="13" y="1"/>
                    <a:pt x="13" y="1"/>
                    <a:pt x="13" y="1"/>
                  </a:cubicBezTo>
                  <a:cubicBezTo>
                    <a:pt x="14" y="7"/>
                    <a:pt x="14" y="7"/>
                    <a:pt x="14" y="7"/>
                  </a:cubicBezTo>
                  <a:cubicBezTo>
                    <a:pt x="20" y="2"/>
                    <a:pt x="25" y="0"/>
                    <a:pt x="30" y="0"/>
                  </a:cubicBezTo>
                  <a:cubicBezTo>
                    <a:pt x="33" y="0"/>
                    <a:pt x="36" y="0"/>
                    <a:pt x="38" y="2"/>
                  </a:cubicBezTo>
                  <a:cubicBezTo>
                    <a:pt x="33" y="14"/>
                    <a:pt x="33" y="14"/>
                    <a:pt x="33" y="14"/>
                  </a:cubicBezTo>
                  <a:cubicBezTo>
                    <a:pt x="30" y="13"/>
                    <a:pt x="28" y="12"/>
                    <a:pt x="26" y="12"/>
                  </a:cubicBezTo>
                  <a:cubicBezTo>
                    <a:pt x="23" y="12"/>
                    <a:pt x="19" y="14"/>
                    <a:pt x="15" y="18"/>
                  </a:cubicBezTo>
                  <a:cubicBezTo>
                    <a:pt x="15" y="48"/>
                    <a:pt x="15" y="48"/>
                    <a:pt x="15" y="48"/>
                  </a:cubicBezTo>
                  <a:cubicBezTo>
                    <a:pt x="15" y="59"/>
                    <a:pt x="0" y="59"/>
                    <a:pt x="0" y="59"/>
                  </a:cubicBezTo>
                  <a:lnTo>
                    <a:pt x="0" y="1"/>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EC881D"/>
                </a:solidFill>
              </a:endParaRPr>
            </a:p>
          </p:txBody>
        </p:sp>
        <p:sp>
          <p:nvSpPr>
            <p:cNvPr id="65" name="Freeform 64"/>
            <p:cNvSpPr>
              <a:spLocks noEditPoints="1"/>
            </p:cNvSpPr>
            <p:nvPr/>
          </p:nvSpPr>
          <p:spPr bwMode="auto">
            <a:xfrm>
              <a:off x="8559820" y="6620735"/>
              <a:ext cx="62598" cy="100745"/>
            </a:xfrm>
            <a:custGeom>
              <a:avLst/>
              <a:gdLst>
                <a:gd name="T0" fmla="*/ 39 w 54"/>
                <a:gd name="T1" fmla="*/ 40 h 87"/>
                <a:gd name="T2" fmla="*/ 32 w 54"/>
                <a:gd name="T3" fmla="*/ 39 h 87"/>
                <a:gd name="T4" fmla="*/ 15 w 54"/>
                <a:gd name="T5" fmla="*/ 57 h 87"/>
                <a:gd name="T6" fmla="*/ 32 w 54"/>
                <a:gd name="T7" fmla="*/ 75 h 87"/>
                <a:gd name="T8" fmla="*/ 39 w 54"/>
                <a:gd name="T9" fmla="*/ 75 h 87"/>
                <a:gd name="T10" fmla="*/ 39 w 54"/>
                <a:gd name="T11" fmla="*/ 40 h 87"/>
                <a:gd name="T12" fmla="*/ 31 w 54"/>
                <a:gd name="T13" fmla="*/ 87 h 87"/>
                <a:gd name="T14" fmla="*/ 0 w 54"/>
                <a:gd name="T15" fmla="*/ 58 h 87"/>
                <a:gd name="T16" fmla="*/ 32 w 54"/>
                <a:gd name="T17" fmla="*/ 28 h 87"/>
                <a:gd name="T18" fmla="*/ 39 w 54"/>
                <a:gd name="T19" fmla="*/ 28 h 87"/>
                <a:gd name="T20" fmla="*/ 39 w 54"/>
                <a:gd name="T21" fmla="*/ 0 h 87"/>
                <a:gd name="T22" fmla="*/ 54 w 54"/>
                <a:gd name="T23" fmla="*/ 0 h 87"/>
                <a:gd name="T24" fmla="*/ 54 w 54"/>
                <a:gd name="T25" fmla="*/ 83 h 87"/>
                <a:gd name="T26" fmla="*/ 31 w 54"/>
                <a:gd name="T2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87">
                  <a:moveTo>
                    <a:pt x="39" y="40"/>
                  </a:moveTo>
                  <a:cubicBezTo>
                    <a:pt x="37" y="39"/>
                    <a:pt x="35" y="39"/>
                    <a:pt x="32" y="39"/>
                  </a:cubicBezTo>
                  <a:cubicBezTo>
                    <a:pt x="22" y="39"/>
                    <a:pt x="15" y="46"/>
                    <a:pt x="15" y="57"/>
                  </a:cubicBezTo>
                  <a:cubicBezTo>
                    <a:pt x="15" y="68"/>
                    <a:pt x="21" y="75"/>
                    <a:pt x="32" y="75"/>
                  </a:cubicBezTo>
                  <a:cubicBezTo>
                    <a:pt x="35" y="75"/>
                    <a:pt x="37" y="75"/>
                    <a:pt x="39" y="75"/>
                  </a:cubicBezTo>
                  <a:lnTo>
                    <a:pt x="39" y="40"/>
                  </a:lnTo>
                  <a:close/>
                  <a:moveTo>
                    <a:pt x="31" y="87"/>
                  </a:moveTo>
                  <a:cubicBezTo>
                    <a:pt x="14" y="87"/>
                    <a:pt x="0" y="77"/>
                    <a:pt x="0" y="58"/>
                  </a:cubicBezTo>
                  <a:cubicBezTo>
                    <a:pt x="0" y="40"/>
                    <a:pt x="13" y="28"/>
                    <a:pt x="32" y="28"/>
                  </a:cubicBezTo>
                  <a:cubicBezTo>
                    <a:pt x="35" y="28"/>
                    <a:pt x="37" y="28"/>
                    <a:pt x="39" y="28"/>
                  </a:cubicBezTo>
                  <a:cubicBezTo>
                    <a:pt x="39" y="0"/>
                    <a:pt x="39" y="0"/>
                    <a:pt x="39" y="0"/>
                  </a:cubicBezTo>
                  <a:cubicBezTo>
                    <a:pt x="54" y="0"/>
                    <a:pt x="54" y="0"/>
                    <a:pt x="54" y="0"/>
                  </a:cubicBezTo>
                  <a:cubicBezTo>
                    <a:pt x="54" y="83"/>
                    <a:pt x="54" y="83"/>
                    <a:pt x="54" y="83"/>
                  </a:cubicBezTo>
                  <a:cubicBezTo>
                    <a:pt x="48" y="86"/>
                    <a:pt x="41" y="87"/>
                    <a:pt x="31" y="87"/>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EC881D"/>
                </a:solidFill>
              </a:endParaRPr>
            </a:p>
          </p:txBody>
        </p:sp>
        <p:sp>
          <p:nvSpPr>
            <p:cNvPr id="80" name="Freeform 79"/>
            <p:cNvSpPr>
              <a:spLocks noEditPoints="1"/>
            </p:cNvSpPr>
            <p:nvPr/>
          </p:nvSpPr>
          <p:spPr bwMode="auto">
            <a:xfrm>
              <a:off x="8641003" y="6620735"/>
              <a:ext cx="65533" cy="99278"/>
            </a:xfrm>
            <a:custGeom>
              <a:avLst/>
              <a:gdLst>
                <a:gd name="T0" fmla="*/ 28 w 57"/>
                <a:gd name="T1" fmla="*/ 49 h 86"/>
                <a:gd name="T2" fmla="*/ 16 w 57"/>
                <a:gd name="T3" fmla="*/ 49 h 86"/>
                <a:gd name="T4" fmla="*/ 16 w 57"/>
                <a:gd name="T5" fmla="*/ 73 h 86"/>
                <a:gd name="T6" fmla="*/ 26 w 57"/>
                <a:gd name="T7" fmla="*/ 73 h 86"/>
                <a:gd name="T8" fmla="*/ 41 w 57"/>
                <a:gd name="T9" fmla="*/ 60 h 86"/>
                <a:gd name="T10" fmla="*/ 28 w 57"/>
                <a:gd name="T11" fmla="*/ 49 h 86"/>
                <a:gd name="T12" fmla="*/ 25 w 57"/>
                <a:gd name="T13" fmla="*/ 13 h 86"/>
                <a:gd name="T14" fmla="*/ 16 w 57"/>
                <a:gd name="T15" fmla="*/ 13 h 86"/>
                <a:gd name="T16" fmla="*/ 16 w 57"/>
                <a:gd name="T17" fmla="*/ 36 h 86"/>
                <a:gd name="T18" fmla="*/ 24 w 57"/>
                <a:gd name="T19" fmla="*/ 36 h 86"/>
                <a:gd name="T20" fmla="*/ 36 w 57"/>
                <a:gd name="T21" fmla="*/ 24 h 86"/>
                <a:gd name="T22" fmla="*/ 25 w 57"/>
                <a:gd name="T23" fmla="*/ 13 h 86"/>
                <a:gd name="T24" fmla="*/ 27 w 57"/>
                <a:gd name="T25" fmla="*/ 86 h 86"/>
                <a:gd name="T26" fmla="*/ 0 w 57"/>
                <a:gd name="T27" fmla="*/ 86 h 86"/>
                <a:gd name="T28" fmla="*/ 0 w 57"/>
                <a:gd name="T29" fmla="*/ 0 h 86"/>
                <a:gd name="T30" fmla="*/ 27 w 57"/>
                <a:gd name="T31" fmla="*/ 0 h 86"/>
                <a:gd name="T32" fmla="*/ 52 w 57"/>
                <a:gd name="T33" fmla="*/ 22 h 86"/>
                <a:gd name="T34" fmla="*/ 42 w 57"/>
                <a:gd name="T35" fmla="*/ 40 h 86"/>
                <a:gd name="T36" fmla="*/ 42 w 57"/>
                <a:gd name="T37" fmla="*/ 41 h 86"/>
                <a:gd name="T38" fmla="*/ 57 w 57"/>
                <a:gd name="T39" fmla="*/ 60 h 86"/>
                <a:gd name="T40" fmla="*/ 27 w 57"/>
                <a:gd name="T4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7" h="86">
                  <a:moveTo>
                    <a:pt x="28" y="49"/>
                  </a:moveTo>
                  <a:cubicBezTo>
                    <a:pt x="16" y="49"/>
                    <a:pt x="16" y="49"/>
                    <a:pt x="16" y="49"/>
                  </a:cubicBezTo>
                  <a:cubicBezTo>
                    <a:pt x="16" y="73"/>
                    <a:pt x="16" y="73"/>
                    <a:pt x="16" y="73"/>
                  </a:cubicBezTo>
                  <a:cubicBezTo>
                    <a:pt x="26" y="73"/>
                    <a:pt x="26" y="73"/>
                    <a:pt x="26" y="73"/>
                  </a:cubicBezTo>
                  <a:cubicBezTo>
                    <a:pt x="36" y="73"/>
                    <a:pt x="41" y="68"/>
                    <a:pt x="41" y="60"/>
                  </a:cubicBezTo>
                  <a:cubicBezTo>
                    <a:pt x="41" y="54"/>
                    <a:pt x="36" y="49"/>
                    <a:pt x="28" y="49"/>
                  </a:cubicBezTo>
                  <a:moveTo>
                    <a:pt x="25" y="13"/>
                  </a:moveTo>
                  <a:cubicBezTo>
                    <a:pt x="16" y="13"/>
                    <a:pt x="16" y="13"/>
                    <a:pt x="16" y="13"/>
                  </a:cubicBezTo>
                  <a:cubicBezTo>
                    <a:pt x="16" y="36"/>
                    <a:pt x="16" y="36"/>
                    <a:pt x="16" y="36"/>
                  </a:cubicBezTo>
                  <a:cubicBezTo>
                    <a:pt x="24" y="36"/>
                    <a:pt x="24" y="36"/>
                    <a:pt x="24" y="36"/>
                  </a:cubicBezTo>
                  <a:cubicBezTo>
                    <a:pt x="31" y="36"/>
                    <a:pt x="36" y="31"/>
                    <a:pt x="36" y="24"/>
                  </a:cubicBezTo>
                  <a:cubicBezTo>
                    <a:pt x="36" y="18"/>
                    <a:pt x="32" y="13"/>
                    <a:pt x="25" y="13"/>
                  </a:cubicBezTo>
                  <a:moveTo>
                    <a:pt x="27" y="86"/>
                  </a:moveTo>
                  <a:cubicBezTo>
                    <a:pt x="0" y="86"/>
                    <a:pt x="0" y="86"/>
                    <a:pt x="0" y="86"/>
                  </a:cubicBezTo>
                  <a:cubicBezTo>
                    <a:pt x="0" y="0"/>
                    <a:pt x="0" y="0"/>
                    <a:pt x="0" y="0"/>
                  </a:cubicBezTo>
                  <a:cubicBezTo>
                    <a:pt x="27" y="0"/>
                    <a:pt x="27" y="0"/>
                    <a:pt x="27" y="0"/>
                  </a:cubicBezTo>
                  <a:cubicBezTo>
                    <a:pt x="47" y="0"/>
                    <a:pt x="52" y="12"/>
                    <a:pt x="52" y="22"/>
                  </a:cubicBezTo>
                  <a:cubicBezTo>
                    <a:pt x="52" y="31"/>
                    <a:pt x="49" y="36"/>
                    <a:pt x="42" y="40"/>
                  </a:cubicBezTo>
                  <a:cubicBezTo>
                    <a:pt x="42" y="41"/>
                    <a:pt x="42" y="41"/>
                    <a:pt x="42" y="41"/>
                  </a:cubicBezTo>
                  <a:cubicBezTo>
                    <a:pt x="53" y="42"/>
                    <a:pt x="57" y="50"/>
                    <a:pt x="57" y="60"/>
                  </a:cubicBezTo>
                  <a:cubicBezTo>
                    <a:pt x="57" y="73"/>
                    <a:pt x="49" y="86"/>
                    <a:pt x="27" y="8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EC881D"/>
                </a:solidFill>
              </a:endParaRPr>
            </a:p>
          </p:txBody>
        </p:sp>
        <p:sp>
          <p:nvSpPr>
            <p:cNvPr id="81" name="Freeform 80"/>
            <p:cNvSpPr>
              <a:spLocks/>
            </p:cNvSpPr>
            <p:nvPr/>
          </p:nvSpPr>
          <p:spPr bwMode="auto">
            <a:xfrm>
              <a:off x="8719251" y="6653012"/>
              <a:ext cx="44014" cy="68467"/>
            </a:xfrm>
            <a:custGeom>
              <a:avLst/>
              <a:gdLst>
                <a:gd name="T0" fmla="*/ 0 w 38"/>
                <a:gd name="T1" fmla="*/ 1 h 59"/>
                <a:gd name="T2" fmla="*/ 12 w 38"/>
                <a:gd name="T3" fmla="*/ 1 h 59"/>
                <a:gd name="T4" fmla="*/ 14 w 38"/>
                <a:gd name="T5" fmla="*/ 7 h 59"/>
                <a:gd name="T6" fmla="*/ 30 w 38"/>
                <a:gd name="T7" fmla="*/ 0 h 59"/>
                <a:gd name="T8" fmla="*/ 38 w 38"/>
                <a:gd name="T9" fmla="*/ 2 h 59"/>
                <a:gd name="T10" fmla="*/ 33 w 38"/>
                <a:gd name="T11" fmla="*/ 14 h 59"/>
                <a:gd name="T12" fmla="*/ 26 w 38"/>
                <a:gd name="T13" fmla="*/ 12 h 59"/>
                <a:gd name="T14" fmla="*/ 15 w 38"/>
                <a:gd name="T15" fmla="*/ 18 h 59"/>
                <a:gd name="T16" fmla="*/ 15 w 38"/>
                <a:gd name="T17" fmla="*/ 48 h 59"/>
                <a:gd name="T18" fmla="*/ 0 w 38"/>
                <a:gd name="T19" fmla="*/ 59 h 59"/>
                <a:gd name="T20" fmla="*/ 0 w 38"/>
                <a:gd name="T21" fmla="*/ 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59">
                  <a:moveTo>
                    <a:pt x="0" y="1"/>
                  </a:moveTo>
                  <a:cubicBezTo>
                    <a:pt x="12" y="1"/>
                    <a:pt x="12" y="1"/>
                    <a:pt x="12" y="1"/>
                  </a:cubicBezTo>
                  <a:cubicBezTo>
                    <a:pt x="14" y="7"/>
                    <a:pt x="14" y="7"/>
                    <a:pt x="14" y="7"/>
                  </a:cubicBezTo>
                  <a:cubicBezTo>
                    <a:pt x="20" y="2"/>
                    <a:pt x="24" y="0"/>
                    <a:pt x="30" y="0"/>
                  </a:cubicBezTo>
                  <a:cubicBezTo>
                    <a:pt x="33" y="0"/>
                    <a:pt x="36" y="0"/>
                    <a:pt x="38" y="2"/>
                  </a:cubicBezTo>
                  <a:cubicBezTo>
                    <a:pt x="33" y="14"/>
                    <a:pt x="33" y="14"/>
                    <a:pt x="33" y="14"/>
                  </a:cubicBezTo>
                  <a:cubicBezTo>
                    <a:pt x="30" y="13"/>
                    <a:pt x="28" y="12"/>
                    <a:pt x="26" y="12"/>
                  </a:cubicBezTo>
                  <a:cubicBezTo>
                    <a:pt x="22" y="12"/>
                    <a:pt x="19" y="14"/>
                    <a:pt x="15" y="18"/>
                  </a:cubicBezTo>
                  <a:cubicBezTo>
                    <a:pt x="15" y="48"/>
                    <a:pt x="15" y="48"/>
                    <a:pt x="15" y="48"/>
                  </a:cubicBezTo>
                  <a:cubicBezTo>
                    <a:pt x="15" y="59"/>
                    <a:pt x="0" y="59"/>
                    <a:pt x="0" y="59"/>
                  </a:cubicBez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EC881D"/>
                </a:solidFill>
              </a:endParaRPr>
            </a:p>
          </p:txBody>
        </p:sp>
        <p:sp>
          <p:nvSpPr>
            <p:cNvPr id="82" name="Freeform 81"/>
            <p:cNvSpPr>
              <a:spLocks noEditPoints="1"/>
            </p:cNvSpPr>
            <p:nvPr/>
          </p:nvSpPr>
          <p:spPr bwMode="auto">
            <a:xfrm>
              <a:off x="8764243" y="6653012"/>
              <a:ext cx="67000" cy="68467"/>
            </a:xfrm>
            <a:custGeom>
              <a:avLst/>
              <a:gdLst>
                <a:gd name="T0" fmla="*/ 29 w 58"/>
                <a:gd name="T1" fmla="*/ 11 h 59"/>
                <a:gd name="T2" fmla="*/ 15 w 58"/>
                <a:gd name="T3" fmla="*/ 29 h 59"/>
                <a:gd name="T4" fmla="*/ 29 w 58"/>
                <a:gd name="T5" fmla="*/ 48 h 59"/>
                <a:gd name="T6" fmla="*/ 43 w 58"/>
                <a:gd name="T7" fmla="*/ 29 h 59"/>
                <a:gd name="T8" fmla="*/ 29 w 58"/>
                <a:gd name="T9" fmla="*/ 11 h 59"/>
                <a:gd name="T10" fmla="*/ 50 w 58"/>
                <a:gd name="T11" fmla="*/ 51 h 59"/>
                <a:gd name="T12" fmla="*/ 29 w 58"/>
                <a:gd name="T13" fmla="*/ 59 h 59"/>
                <a:gd name="T14" fmla="*/ 9 w 58"/>
                <a:gd name="T15" fmla="*/ 52 h 59"/>
                <a:gd name="T16" fmla="*/ 0 w 58"/>
                <a:gd name="T17" fmla="*/ 30 h 59"/>
                <a:gd name="T18" fmla="*/ 9 w 58"/>
                <a:gd name="T19" fmla="*/ 8 h 59"/>
                <a:gd name="T20" fmla="*/ 29 w 58"/>
                <a:gd name="T21" fmla="*/ 0 h 59"/>
                <a:gd name="T22" fmla="*/ 50 w 58"/>
                <a:gd name="T23" fmla="*/ 8 h 59"/>
                <a:gd name="T24" fmla="*/ 58 w 58"/>
                <a:gd name="T25" fmla="*/ 29 h 59"/>
                <a:gd name="T26" fmla="*/ 50 w 58"/>
                <a:gd name="T27" fmla="*/ 5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59">
                  <a:moveTo>
                    <a:pt x="29" y="11"/>
                  </a:moveTo>
                  <a:cubicBezTo>
                    <a:pt x="20" y="11"/>
                    <a:pt x="15" y="19"/>
                    <a:pt x="15" y="29"/>
                  </a:cubicBezTo>
                  <a:cubicBezTo>
                    <a:pt x="15" y="41"/>
                    <a:pt x="20" y="48"/>
                    <a:pt x="29" y="48"/>
                  </a:cubicBezTo>
                  <a:cubicBezTo>
                    <a:pt x="38" y="48"/>
                    <a:pt x="43" y="40"/>
                    <a:pt x="43" y="29"/>
                  </a:cubicBezTo>
                  <a:cubicBezTo>
                    <a:pt x="43" y="18"/>
                    <a:pt x="38" y="11"/>
                    <a:pt x="29" y="11"/>
                  </a:cubicBezTo>
                  <a:moveTo>
                    <a:pt x="50" y="51"/>
                  </a:moveTo>
                  <a:cubicBezTo>
                    <a:pt x="45" y="56"/>
                    <a:pt x="38" y="59"/>
                    <a:pt x="29" y="59"/>
                  </a:cubicBezTo>
                  <a:cubicBezTo>
                    <a:pt x="21" y="59"/>
                    <a:pt x="14" y="57"/>
                    <a:pt x="9" y="52"/>
                  </a:cubicBezTo>
                  <a:cubicBezTo>
                    <a:pt x="3" y="47"/>
                    <a:pt x="0" y="39"/>
                    <a:pt x="0" y="30"/>
                  </a:cubicBezTo>
                  <a:cubicBezTo>
                    <a:pt x="0" y="21"/>
                    <a:pt x="3" y="13"/>
                    <a:pt x="9" y="8"/>
                  </a:cubicBezTo>
                  <a:cubicBezTo>
                    <a:pt x="14" y="3"/>
                    <a:pt x="21" y="0"/>
                    <a:pt x="29" y="0"/>
                  </a:cubicBezTo>
                  <a:cubicBezTo>
                    <a:pt x="38" y="0"/>
                    <a:pt x="45" y="3"/>
                    <a:pt x="50" y="8"/>
                  </a:cubicBezTo>
                  <a:cubicBezTo>
                    <a:pt x="55" y="13"/>
                    <a:pt x="58" y="21"/>
                    <a:pt x="58" y="29"/>
                  </a:cubicBezTo>
                  <a:cubicBezTo>
                    <a:pt x="58" y="38"/>
                    <a:pt x="55" y="46"/>
                    <a:pt x="50" y="5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EC881D"/>
                </a:solidFill>
              </a:endParaRPr>
            </a:p>
          </p:txBody>
        </p:sp>
        <p:sp>
          <p:nvSpPr>
            <p:cNvPr id="83" name="Freeform 82"/>
            <p:cNvSpPr>
              <a:spLocks/>
            </p:cNvSpPr>
            <p:nvPr/>
          </p:nvSpPr>
          <p:spPr bwMode="auto">
            <a:xfrm>
              <a:off x="8833688" y="6654479"/>
              <a:ext cx="104167" cy="70423"/>
            </a:xfrm>
            <a:custGeom>
              <a:avLst/>
              <a:gdLst>
                <a:gd name="T0" fmla="*/ 15 w 90"/>
                <a:gd name="T1" fmla="*/ 0 h 61"/>
                <a:gd name="T2" fmla="*/ 27 w 90"/>
                <a:gd name="T3" fmla="*/ 39 h 61"/>
                <a:gd name="T4" fmla="*/ 27 w 90"/>
                <a:gd name="T5" fmla="*/ 39 h 61"/>
                <a:gd name="T6" fmla="*/ 40 w 90"/>
                <a:gd name="T7" fmla="*/ 0 h 61"/>
                <a:gd name="T8" fmla="*/ 51 w 90"/>
                <a:gd name="T9" fmla="*/ 0 h 61"/>
                <a:gd name="T10" fmla="*/ 64 w 90"/>
                <a:gd name="T11" fmla="*/ 39 h 61"/>
                <a:gd name="T12" fmla="*/ 64 w 90"/>
                <a:gd name="T13" fmla="*/ 39 h 61"/>
                <a:gd name="T14" fmla="*/ 76 w 90"/>
                <a:gd name="T15" fmla="*/ 0 h 61"/>
                <a:gd name="T16" fmla="*/ 90 w 90"/>
                <a:gd name="T17" fmla="*/ 0 h 61"/>
                <a:gd name="T18" fmla="*/ 73 w 90"/>
                <a:gd name="T19" fmla="*/ 47 h 61"/>
                <a:gd name="T20" fmla="*/ 58 w 90"/>
                <a:gd name="T21" fmla="*/ 58 h 61"/>
                <a:gd name="T22" fmla="*/ 45 w 90"/>
                <a:gd name="T23" fmla="*/ 19 h 61"/>
                <a:gd name="T24" fmla="*/ 44 w 90"/>
                <a:gd name="T25" fmla="*/ 19 h 61"/>
                <a:gd name="T26" fmla="*/ 35 w 90"/>
                <a:gd name="T27" fmla="*/ 47 h 61"/>
                <a:gd name="T28" fmla="*/ 20 w 90"/>
                <a:gd name="T29" fmla="*/ 58 h 61"/>
                <a:gd name="T30" fmla="*/ 0 w 90"/>
                <a:gd name="T31" fmla="*/ 0 h 61"/>
                <a:gd name="T32" fmla="*/ 15 w 90"/>
                <a:gd name="T33"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61">
                  <a:moveTo>
                    <a:pt x="15" y="0"/>
                  </a:moveTo>
                  <a:cubicBezTo>
                    <a:pt x="27" y="39"/>
                    <a:pt x="27" y="39"/>
                    <a:pt x="27" y="39"/>
                  </a:cubicBezTo>
                  <a:cubicBezTo>
                    <a:pt x="27" y="39"/>
                    <a:pt x="27" y="39"/>
                    <a:pt x="27" y="39"/>
                  </a:cubicBezTo>
                  <a:cubicBezTo>
                    <a:pt x="40" y="0"/>
                    <a:pt x="40" y="0"/>
                    <a:pt x="40" y="0"/>
                  </a:cubicBezTo>
                  <a:cubicBezTo>
                    <a:pt x="51" y="0"/>
                    <a:pt x="51" y="0"/>
                    <a:pt x="51" y="0"/>
                  </a:cubicBezTo>
                  <a:cubicBezTo>
                    <a:pt x="64" y="39"/>
                    <a:pt x="64" y="39"/>
                    <a:pt x="64" y="39"/>
                  </a:cubicBezTo>
                  <a:cubicBezTo>
                    <a:pt x="64" y="39"/>
                    <a:pt x="64" y="39"/>
                    <a:pt x="64" y="39"/>
                  </a:cubicBezTo>
                  <a:cubicBezTo>
                    <a:pt x="76" y="0"/>
                    <a:pt x="76" y="0"/>
                    <a:pt x="76" y="0"/>
                  </a:cubicBezTo>
                  <a:cubicBezTo>
                    <a:pt x="90" y="0"/>
                    <a:pt x="90" y="0"/>
                    <a:pt x="90" y="0"/>
                  </a:cubicBezTo>
                  <a:cubicBezTo>
                    <a:pt x="73" y="47"/>
                    <a:pt x="73" y="47"/>
                    <a:pt x="73" y="47"/>
                  </a:cubicBezTo>
                  <a:cubicBezTo>
                    <a:pt x="73" y="47"/>
                    <a:pt x="69" y="61"/>
                    <a:pt x="58" y="58"/>
                  </a:cubicBezTo>
                  <a:cubicBezTo>
                    <a:pt x="45" y="19"/>
                    <a:pt x="45" y="19"/>
                    <a:pt x="45" y="19"/>
                  </a:cubicBezTo>
                  <a:cubicBezTo>
                    <a:pt x="44" y="19"/>
                    <a:pt x="44" y="19"/>
                    <a:pt x="44" y="19"/>
                  </a:cubicBezTo>
                  <a:cubicBezTo>
                    <a:pt x="35" y="47"/>
                    <a:pt x="35" y="47"/>
                    <a:pt x="35" y="47"/>
                  </a:cubicBezTo>
                  <a:cubicBezTo>
                    <a:pt x="35" y="47"/>
                    <a:pt x="31" y="61"/>
                    <a:pt x="20" y="58"/>
                  </a:cubicBezTo>
                  <a:cubicBezTo>
                    <a:pt x="0" y="0"/>
                    <a:pt x="0" y="0"/>
                    <a:pt x="0" y="0"/>
                  </a:cubicBez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EC881D"/>
                </a:solidFill>
              </a:endParaRPr>
            </a:p>
          </p:txBody>
        </p:sp>
        <p:sp>
          <p:nvSpPr>
            <p:cNvPr id="84" name="Freeform 83"/>
            <p:cNvSpPr>
              <a:spLocks/>
            </p:cNvSpPr>
            <p:nvPr/>
          </p:nvSpPr>
          <p:spPr bwMode="auto">
            <a:xfrm>
              <a:off x="8947148" y="6653012"/>
              <a:ext cx="59664" cy="68467"/>
            </a:xfrm>
            <a:custGeom>
              <a:avLst/>
              <a:gdLst>
                <a:gd name="T0" fmla="*/ 52 w 52"/>
                <a:gd name="T1" fmla="*/ 20 h 59"/>
                <a:gd name="T2" fmla="*/ 52 w 52"/>
                <a:gd name="T3" fmla="*/ 48 h 59"/>
                <a:gd name="T4" fmla="*/ 38 w 52"/>
                <a:gd name="T5" fmla="*/ 59 h 59"/>
                <a:gd name="T6" fmla="*/ 38 w 52"/>
                <a:gd name="T7" fmla="*/ 24 h 59"/>
                <a:gd name="T8" fmla="*/ 29 w 52"/>
                <a:gd name="T9" fmla="*/ 12 h 59"/>
                <a:gd name="T10" fmla="*/ 15 w 52"/>
                <a:gd name="T11" fmla="*/ 18 h 59"/>
                <a:gd name="T12" fmla="*/ 15 w 52"/>
                <a:gd name="T13" fmla="*/ 48 h 59"/>
                <a:gd name="T14" fmla="*/ 0 w 52"/>
                <a:gd name="T15" fmla="*/ 59 h 59"/>
                <a:gd name="T16" fmla="*/ 0 w 52"/>
                <a:gd name="T17" fmla="*/ 1 h 59"/>
                <a:gd name="T18" fmla="*/ 13 w 52"/>
                <a:gd name="T19" fmla="*/ 1 h 59"/>
                <a:gd name="T20" fmla="*/ 14 w 52"/>
                <a:gd name="T21" fmla="*/ 7 h 59"/>
                <a:gd name="T22" fmla="*/ 34 w 52"/>
                <a:gd name="T23" fmla="*/ 0 h 59"/>
                <a:gd name="T24" fmla="*/ 52 w 52"/>
                <a:gd name="T25"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 h="59">
                  <a:moveTo>
                    <a:pt x="52" y="20"/>
                  </a:moveTo>
                  <a:cubicBezTo>
                    <a:pt x="52" y="48"/>
                    <a:pt x="52" y="48"/>
                    <a:pt x="52" y="48"/>
                  </a:cubicBezTo>
                  <a:cubicBezTo>
                    <a:pt x="52" y="59"/>
                    <a:pt x="38" y="59"/>
                    <a:pt x="38" y="59"/>
                  </a:cubicBezTo>
                  <a:cubicBezTo>
                    <a:pt x="38" y="24"/>
                    <a:pt x="38" y="24"/>
                    <a:pt x="38" y="24"/>
                  </a:cubicBezTo>
                  <a:cubicBezTo>
                    <a:pt x="38" y="19"/>
                    <a:pt x="37" y="12"/>
                    <a:pt x="29" y="12"/>
                  </a:cubicBezTo>
                  <a:cubicBezTo>
                    <a:pt x="24" y="12"/>
                    <a:pt x="19" y="15"/>
                    <a:pt x="15" y="18"/>
                  </a:cubicBezTo>
                  <a:cubicBezTo>
                    <a:pt x="15" y="48"/>
                    <a:pt x="15" y="48"/>
                    <a:pt x="15" y="48"/>
                  </a:cubicBezTo>
                  <a:cubicBezTo>
                    <a:pt x="15" y="59"/>
                    <a:pt x="0" y="59"/>
                    <a:pt x="0" y="59"/>
                  </a:cubicBezTo>
                  <a:cubicBezTo>
                    <a:pt x="0" y="1"/>
                    <a:pt x="0" y="1"/>
                    <a:pt x="0" y="1"/>
                  </a:cubicBezTo>
                  <a:cubicBezTo>
                    <a:pt x="13" y="1"/>
                    <a:pt x="13" y="1"/>
                    <a:pt x="13" y="1"/>
                  </a:cubicBezTo>
                  <a:cubicBezTo>
                    <a:pt x="14" y="7"/>
                    <a:pt x="14" y="7"/>
                    <a:pt x="14" y="7"/>
                  </a:cubicBezTo>
                  <a:cubicBezTo>
                    <a:pt x="20" y="2"/>
                    <a:pt x="27" y="0"/>
                    <a:pt x="34" y="0"/>
                  </a:cubicBezTo>
                  <a:cubicBezTo>
                    <a:pt x="43" y="0"/>
                    <a:pt x="52" y="5"/>
                    <a:pt x="52" y="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EC881D"/>
                </a:solidFill>
              </a:endParaRPr>
            </a:p>
          </p:txBody>
        </p:sp>
      </p:grpSp>
    </p:spTree>
    <p:extLst>
      <p:ext uri="{BB962C8B-B14F-4D97-AF65-F5344CB8AC3E}">
        <p14:creationId xmlns:p14="http://schemas.microsoft.com/office/powerpoint/2010/main" val="4073557859"/>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_Slate_2">
    <p:bg>
      <p:bgPr>
        <a:solidFill>
          <a:schemeClr val="bg1"/>
        </a:solidFill>
        <a:effectLst/>
      </p:bgPr>
    </p:bg>
    <p:spTree>
      <p:nvGrpSpPr>
        <p:cNvPr id="1" name=""/>
        <p:cNvGrpSpPr/>
        <p:nvPr/>
      </p:nvGrpSpPr>
      <p:grpSpPr>
        <a:xfrm>
          <a:off x="0" y="0"/>
          <a:ext cx="0" cy="0"/>
          <a:chOff x="0" y="0"/>
          <a:chExt cx="0" cy="0"/>
        </a:xfrm>
      </p:grpSpPr>
      <p:sp>
        <p:nvSpPr>
          <p:cNvPr id="31" name="Rectangle 30"/>
          <p:cNvSpPr/>
          <p:nvPr userDrawn="1"/>
        </p:nvSpPr>
        <p:spPr>
          <a:xfrm>
            <a:off x="0" y="0"/>
            <a:ext cx="9144000" cy="5148263"/>
          </a:xfrm>
          <a:prstGeom prst="rect">
            <a:avLst/>
          </a:prstGeom>
          <a:solidFill>
            <a:srgbClr val="8A8A8D"/>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en-GB" sz="1050" smtClean="0">
              <a:solidFill>
                <a:schemeClr val="bg1"/>
              </a:solidFill>
              <a:latin typeface="Arial" panose="020B0604020202020204" pitchFamily="34" charset="0"/>
              <a:cs typeface="Arial" panose="020B0604020202020204" pitchFamily="34" charset="0"/>
            </a:endParaRPr>
          </a:p>
        </p:txBody>
      </p:sp>
      <p:cxnSp>
        <p:nvCxnSpPr>
          <p:cNvPr id="27" name="Straight Connector 26"/>
          <p:cNvCxnSpPr/>
          <p:nvPr userDrawn="1"/>
        </p:nvCxnSpPr>
        <p:spPr>
          <a:xfrm>
            <a:off x="353867" y="4801146"/>
            <a:ext cx="8460000" cy="0"/>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sp>
        <p:nvSpPr>
          <p:cNvPr id="67"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chemeClr val="bg1"/>
                </a:solidFill>
                <a:latin typeface="+mn-lt"/>
              </a:defRPr>
            </a:lvl1pPr>
          </a:lstStyle>
          <a:p>
            <a:fld id="{19AB4E72-7858-48F1-A40D-12FF09E4BFB8}" type="slidenum">
              <a:rPr lang="en-GB" smtClean="0"/>
              <a:pPr/>
              <a:t>‹Nº›</a:t>
            </a:fld>
            <a:endParaRPr lang="en-GB"/>
          </a:p>
        </p:txBody>
      </p:sp>
      <p:sp>
        <p:nvSpPr>
          <p:cNvPr id="36" name="Title 1"/>
          <p:cNvSpPr>
            <a:spLocks noGrp="1"/>
          </p:cNvSpPr>
          <p:nvPr>
            <p:ph type="ctrTitle" hasCustomPrompt="1"/>
          </p:nvPr>
        </p:nvSpPr>
        <p:spPr>
          <a:xfrm>
            <a:off x="353867" y="2831617"/>
            <a:ext cx="8460000" cy="443198"/>
          </a:xfrm>
          <a:prstGeom prst="rect">
            <a:avLst/>
          </a:prstGeom>
        </p:spPr>
        <p:txBody>
          <a:bodyPr lIns="0" tIns="0" rIns="0" bIns="0" anchor="b"/>
          <a:lstStyle>
            <a:lvl1pPr algn="ctr">
              <a:lnSpc>
                <a:spcPct val="90000"/>
              </a:lnSpc>
              <a:defRPr sz="3200" b="0">
                <a:solidFill>
                  <a:schemeClr val="bg1"/>
                </a:solidFill>
              </a:defRPr>
            </a:lvl1pPr>
          </a:lstStyle>
          <a:p>
            <a:r>
              <a:rPr lang="en-US" dirty="0" smtClean="0"/>
              <a:t>Click to edit Master title Style</a:t>
            </a:r>
            <a:endParaRPr lang="en-US" dirty="0"/>
          </a:p>
        </p:txBody>
      </p:sp>
      <p:sp>
        <p:nvSpPr>
          <p:cNvPr id="37" name="Subtitle 2"/>
          <p:cNvSpPr>
            <a:spLocks noGrp="1"/>
          </p:cNvSpPr>
          <p:nvPr>
            <p:ph type="subTitle" idx="1" hasCustomPrompt="1"/>
          </p:nvPr>
        </p:nvSpPr>
        <p:spPr>
          <a:xfrm>
            <a:off x="353867" y="3474100"/>
            <a:ext cx="8460000" cy="202165"/>
          </a:xfrm>
          <a:prstGeom prst="rect">
            <a:avLst/>
          </a:prstGeom>
        </p:spPr>
        <p:txBody>
          <a:bodyPr lIns="0" tIns="0" rIns="0" bIns="0">
            <a:noAutofit/>
          </a:bodyPr>
          <a:lstStyle>
            <a:lvl1pPr marL="0" indent="0" algn="ctr">
              <a:buNone/>
              <a:defRPr sz="1400">
                <a:solidFill>
                  <a:schemeClr val="tx2">
                    <a:lumMod val="60000"/>
                    <a:lumOff val="40000"/>
                  </a:schemeClr>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cxnSp>
        <p:nvCxnSpPr>
          <p:cNvPr id="38" name="Straight Connector 37"/>
          <p:cNvCxnSpPr/>
          <p:nvPr userDrawn="1"/>
        </p:nvCxnSpPr>
        <p:spPr>
          <a:xfrm>
            <a:off x="353867" y="3376008"/>
            <a:ext cx="8460000" cy="0"/>
          </a:xfrm>
          <a:prstGeom prst="line">
            <a:avLst/>
          </a:prstGeom>
          <a:ln w="12700" cmpd="sng">
            <a:solidFill>
              <a:schemeClr val="bg1"/>
            </a:solidFill>
          </a:ln>
        </p:spPr>
        <p:style>
          <a:lnRef idx="1">
            <a:schemeClr val="accent1"/>
          </a:lnRef>
          <a:fillRef idx="0">
            <a:schemeClr val="accent1"/>
          </a:fillRef>
          <a:effectRef idx="0">
            <a:schemeClr val="accent1"/>
          </a:effectRef>
          <a:fontRef idx="minor">
            <a:schemeClr val="tx1"/>
          </a:fontRef>
        </p:style>
      </p:cxnSp>
      <p:pic>
        <p:nvPicPr>
          <p:cNvPr id="33" name="Picture 32" descr="cookie_white.png"/>
          <p:cNvPicPr>
            <a:picLocks noChangeAspect="1"/>
          </p:cNvPicPr>
          <p:nvPr userDrawn="1"/>
        </p:nvPicPr>
        <p:blipFill rotWithShape="1">
          <a:blip r:embed="rId2" cstate="screen">
            <a:alphaModFix amt="16000"/>
            <a:extLst>
              <a:ext uri="{28A0092B-C50C-407E-A947-70E740481C1C}">
                <a14:useLocalDpi xmlns:a14="http://schemas.microsoft.com/office/drawing/2010/main"/>
              </a:ext>
            </a:extLst>
          </a:blip>
          <a:srcRect/>
          <a:stretch/>
        </p:blipFill>
        <p:spPr>
          <a:xfrm flipH="1">
            <a:off x="5149029" y="2289839"/>
            <a:ext cx="4020091" cy="2880000"/>
          </a:xfrm>
          <a:prstGeom prst="rect">
            <a:avLst/>
          </a:prstGeom>
        </p:spPr>
      </p:pic>
      <p:cxnSp>
        <p:nvCxnSpPr>
          <p:cNvPr id="39" name="Straight Connector 38"/>
          <p:cNvCxnSpPr/>
          <p:nvPr userDrawn="1"/>
        </p:nvCxnSpPr>
        <p:spPr>
          <a:xfrm>
            <a:off x="353867" y="470176"/>
            <a:ext cx="8460000" cy="0"/>
          </a:xfrm>
          <a:prstGeom prst="line">
            <a:avLst/>
          </a:prstGeom>
          <a:ln w="6350" cmpd="sng">
            <a:solidFill>
              <a:srgbClr val="FFFFFF"/>
            </a:solidFill>
          </a:ln>
        </p:spPr>
        <p:style>
          <a:lnRef idx="1">
            <a:schemeClr val="accent1"/>
          </a:lnRef>
          <a:fillRef idx="0">
            <a:schemeClr val="accent1"/>
          </a:fillRef>
          <a:effectRef idx="0">
            <a:schemeClr val="accent1"/>
          </a:effectRef>
          <a:fontRef idx="minor">
            <a:schemeClr val="tx1"/>
          </a:fontRef>
        </p:style>
      </p:cxnSp>
      <p:grpSp>
        <p:nvGrpSpPr>
          <p:cNvPr id="28" name="Group 27"/>
          <p:cNvGrpSpPr/>
          <p:nvPr userDrawn="1"/>
        </p:nvGrpSpPr>
        <p:grpSpPr>
          <a:xfrm>
            <a:off x="7681625" y="4907921"/>
            <a:ext cx="1124815" cy="156007"/>
            <a:chOff x="7881997" y="6590903"/>
            <a:chExt cx="1124815" cy="156007"/>
          </a:xfrm>
          <a:solidFill>
            <a:schemeClr val="bg1"/>
          </a:solidFill>
        </p:grpSpPr>
        <p:sp>
          <p:nvSpPr>
            <p:cNvPr id="30" name="Freeform 29"/>
            <p:cNvSpPr>
              <a:spLocks/>
            </p:cNvSpPr>
            <p:nvPr/>
          </p:nvSpPr>
          <p:spPr bwMode="auto">
            <a:xfrm>
              <a:off x="7881997" y="6590903"/>
              <a:ext cx="100255" cy="156007"/>
            </a:xfrm>
            <a:custGeom>
              <a:avLst/>
              <a:gdLst>
                <a:gd name="T0" fmla="*/ 87 w 87"/>
                <a:gd name="T1" fmla="*/ 15 h 135"/>
                <a:gd name="T2" fmla="*/ 87 w 87"/>
                <a:gd name="T3" fmla="*/ 44 h 135"/>
                <a:gd name="T4" fmla="*/ 72 w 87"/>
                <a:gd name="T5" fmla="*/ 29 h 135"/>
                <a:gd name="T6" fmla="*/ 56 w 87"/>
                <a:gd name="T7" fmla="*/ 28 h 135"/>
                <a:gd name="T8" fmla="*/ 57 w 87"/>
                <a:gd name="T9" fmla="*/ 44 h 135"/>
                <a:gd name="T10" fmla="*/ 87 w 87"/>
                <a:gd name="T11" fmla="*/ 73 h 135"/>
                <a:gd name="T12" fmla="*/ 87 w 87"/>
                <a:gd name="T13" fmla="*/ 102 h 135"/>
                <a:gd name="T14" fmla="*/ 43 w 87"/>
                <a:gd name="T15" fmla="*/ 58 h 135"/>
                <a:gd name="T16" fmla="*/ 27 w 87"/>
                <a:gd name="T17" fmla="*/ 57 h 135"/>
                <a:gd name="T18" fmla="*/ 28 w 87"/>
                <a:gd name="T19" fmla="*/ 73 h 135"/>
                <a:gd name="T20" fmla="*/ 76 w 87"/>
                <a:gd name="T21" fmla="*/ 120 h 135"/>
                <a:gd name="T22" fmla="*/ 62 w 87"/>
                <a:gd name="T23" fmla="*/ 135 h 135"/>
                <a:gd name="T24" fmla="*/ 14 w 87"/>
                <a:gd name="T25" fmla="*/ 87 h 135"/>
                <a:gd name="T26" fmla="*/ 13 w 87"/>
                <a:gd name="T27" fmla="*/ 43 h 135"/>
                <a:gd name="T28" fmla="*/ 34 w 87"/>
                <a:gd name="T29" fmla="*/ 35 h 135"/>
                <a:gd name="T30" fmla="*/ 42 w 87"/>
                <a:gd name="T31" fmla="*/ 13 h 135"/>
                <a:gd name="T32" fmla="*/ 86 w 87"/>
                <a:gd name="T33" fmla="*/ 15 h 135"/>
                <a:gd name="T34" fmla="*/ 87 w 87"/>
                <a:gd name="T35" fmla="*/ 1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7" h="135">
                  <a:moveTo>
                    <a:pt x="87" y="15"/>
                  </a:moveTo>
                  <a:cubicBezTo>
                    <a:pt x="87" y="44"/>
                    <a:pt x="87" y="44"/>
                    <a:pt x="87" y="44"/>
                  </a:cubicBezTo>
                  <a:cubicBezTo>
                    <a:pt x="72" y="29"/>
                    <a:pt x="72" y="29"/>
                    <a:pt x="72" y="29"/>
                  </a:cubicBezTo>
                  <a:cubicBezTo>
                    <a:pt x="66" y="24"/>
                    <a:pt x="60" y="24"/>
                    <a:pt x="56" y="28"/>
                  </a:cubicBezTo>
                  <a:cubicBezTo>
                    <a:pt x="52" y="32"/>
                    <a:pt x="52" y="38"/>
                    <a:pt x="57" y="44"/>
                  </a:cubicBezTo>
                  <a:cubicBezTo>
                    <a:pt x="87" y="73"/>
                    <a:pt x="87" y="73"/>
                    <a:pt x="87" y="73"/>
                  </a:cubicBezTo>
                  <a:cubicBezTo>
                    <a:pt x="87" y="102"/>
                    <a:pt x="87" y="102"/>
                    <a:pt x="87" y="102"/>
                  </a:cubicBezTo>
                  <a:cubicBezTo>
                    <a:pt x="43" y="58"/>
                    <a:pt x="43" y="58"/>
                    <a:pt x="43" y="58"/>
                  </a:cubicBezTo>
                  <a:cubicBezTo>
                    <a:pt x="37" y="53"/>
                    <a:pt x="31" y="53"/>
                    <a:pt x="27" y="57"/>
                  </a:cubicBezTo>
                  <a:cubicBezTo>
                    <a:pt x="23" y="60"/>
                    <a:pt x="23" y="67"/>
                    <a:pt x="28" y="73"/>
                  </a:cubicBezTo>
                  <a:cubicBezTo>
                    <a:pt x="76" y="120"/>
                    <a:pt x="76" y="120"/>
                    <a:pt x="76" y="120"/>
                  </a:cubicBezTo>
                  <a:cubicBezTo>
                    <a:pt x="62" y="135"/>
                    <a:pt x="62" y="135"/>
                    <a:pt x="62" y="135"/>
                  </a:cubicBezTo>
                  <a:cubicBezTo>
                    <a:pt x="14" y="87"/>
                    <a:pt x="14" y="87"/>
                    <a:pt x="14" y="87"/>
                  </a:cubicBezTo>
                  <a:cubicBezTo>
                    <a:pt x="0" y="73"/>
                    <a:pt x="1" y="54"/>
                    <a:pt x="13" y="43"/>
                  </a:cubicBezTo>
                  <a:cubicBezTo>
                    <a:pt x="21" y="35"/>
                    <a:pt x="30" y="34"/>
                    <a:pt x="34" y="35"/>
                  </a:cubicBezTo>
                  <a:cubicBezTo>
                    <a:pt x="33" y="31"/>
                    <a:pt x="34" y="22"/>
                    <a:pt x="42" y="13"/>
                  </a:cubicBezTo>
                  <a:cubicBezTo>
                    <a:pt x="54" y="2"/>
                    <a:pt x="73" y="0"/>
                    <a:pt x="86" y="15"/>
                  </a:cubicBezTo>
                  <a:lnTo>
                    <a:pt x="87" y="15"/>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EC881D"/>
                </a:solidFill>
              </a:endParaRPr>
            </a:p>
          </p:txBody>
        </p:sp>
        <p:sp>
          <p:nvSpPr>
            <p:cNvPr id="32" name="Freeform 31"/>
            <p:cNvSpPr>
              <a:spLocks/>
            </p:cNvSpPr>
            <p:nvPr/>
          </p:nvSpPr>
          <p:spPr bwMode="auto">
            <a:xfrm>
              <a:off x="7982252" y="6590903"/>
              <a:ext cx="100744" cy="156007"/>
            </a:xfrm>
            <a:custGeom>
              <a:avLst/>
              <a:gdLst>
                <a:gd name="T0" fmla="*/ 0 w 87"/>
                <a:gd name="T1" fmla="*/ 44 h 135"/>
                <a:gd name="T2" fmla="*/ 0 w 87"/>
                <a:gd name="T3" fmla="*/ 15 h 135"/>
                <a:gd name="T4" fmla="*/ 1 w 87"/>
                <a:gd name="T5" fmla="*/ 15 h 135"/>
                <a:gd name="T6" fmla="*/ 44 w 87"/>
                <a:gd name="T7" fmla="*/ 13 h 135"/>
                <a:gd name="T8" fmla="*/ 53 w 87"/>
                <a:gd name="T9" fmla="*/ 35 h 135"/>
                <a:gd name="T10" fmla="*/ 74 w 87"/>
                <a:gd name="T11" fmla="*/ 43 h 135"/>
                <a:gd name="T12" fmla="*/ 73 w 87"/>
                <a:gd name="T13" fmla="*/ 87 h 135"/>
                <a:gd name="T14" fmla="*/ 25 w 87"/>
                <a:gd name="T15" fmla="*/ 135 h 135"/>
                <a:gd name="T16" fmla="*/ 11 w 87"/>
                <a:gd name="T17" fmla="*/ 120 h 135"/>
                <a:gd name="T18" fmla="*/ 58 w 87"/>
                <a:gd name="T19" fmla="*/ 73 h 135"/>
                <a:gd name="T20" fmla="*/ 60 w 87"/>
                <a:gd name="T21" fmla="*/ 57 h 135"/>
                <a:gd name="T22" fmla="*/ 44 w 87"/>
                <a:gd name="T23" fmla="*/ 58 h 135"/>
                <a:gd name="T24" fmla="*/ 0 w 87"/>
                <a:gd name="T25" fmla="*/ 102 h 135"/>
                <a:gd name="T26" fmla="*/ 0 w 87"/>
                <a:gd name="T27" fmla="*/ 73 h 135"/>
                <a:gd name="T28" fmla="*/ 29 w 87"/>
                <a:gd name="T29" fmla="*/ 44 h 135"/>
                <a:gd name="T30" fmla="*/ 31 w 87"/>
                <a:gd name="T31" fmla="*/ 28 h 135"/>
                <a:gd name="T32" fmla="*/ 15 w 87"/>
                <a:gd name="T33" fmla="*/ 29 h 135"/>
                <a:gd name="T34" fmla="*/ 0 w 87"/>
                <a:gd name="T35" fmla="*/ 44 h 135"/>
                <a:gd name="T36" fmla="*/ 0 w 87"/>
                <a:gd name="T37" fmla="*/ 15 h 135"/>
                <a:gd name="T38" fmla="*/ 0 w 87"/>
                <a:gd name="T39" fmla="*/ 44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7" h="135">
                  <a:moveTo>
                    <a:pt x="0" y="44"/>
                  </a:moveTo>
                  <a:cubicBezTo>
                    <a:pt x="0" y="15"/>
                    <a:pt x="0" y="15"/>
                    <a:pt x="0" y="15"/>
                  </a:cubicBezTo>
                  <a:cubicBezTo>
                    <a:pt x="1" y="15"/>
                    <a:pt x="1" y="15"/>
                    <a:pt x="1" y="15"/>
                  </a:cubicBezTo>
                  <a:cubicBezTo>
                    <a:pt x="15" y="0"/>
                    <a:pt x="33" y="2"/>
                    <a:pt x="44" y="13"/>
                  </a:cubicBezTo>
                  <a:cubicBezTo>
                    <a:pt x="53" y="22"/>
                    <a:pt x="53" y="31"/>
                    <a:pt x="53" y="35"/>
                  </a:cubicBezTo>
                  <a:cubicBezTo>
                    <a:pt x="57" y="34"/>
                    <a:pt x="66" y="35"/>
                    <a:pt x="74" y="43"/>
                  </a:cubicBezTo>
                  <a:cubicBezTo>
                    <a:pt x="85" y="54"/>
                    <a:pt x="87" y="73"/>
                    <a:pt x="73" y="87"/>
                  </a:cubicBezTo>
                  <a:cubicBezTo>
                    <a:pt x="25" y="135"/>
                    <a:pt x="25" y="135"/>
                    <a:pt x="25" y="135"/>
                  </a:cubicBezTo>
                  <a:cubicBezTo>
                    <a:pt x="11" y="120"/>
                    <a:pt x="11" y="120"/>
                    <a:pt x="11" y="120"/>
                  </a:cubicBezTo>
                  <a:cubicBezTo>
                    <a:pt x="58" y="73"/>
                    <a:pt x="58" y="73"/>
                    <a:pt x="58" y="73"/>
                  </a:cubicBezTo>
                  <a:cubicBezTo>
                    <a:pt x="64" y="67"/>
                    <a:pt x="63" y="60"/>
                    <a:pt x="60" y="57"/>
                  </a:cubicBezTo>
                  <a:cubicBezTo>
                    <a:pt x="56" y="53"/>
                    <a:pt x="49" y="53"/>
                    <a:pt x="44" y="58"/>
                  </a:cubicBezTo>
                  <a:cubicBezTo>
                    <a:pt x="0" y="102"/>
                    <a:pt x="0" y="102"/>
                    <a:pt x="0" y="102"/>
                  </a:cubicBezTo>
                  <a:cubicBezTo>
                    <a:pt x="0" y="73"/>
                    <a:pt x="0" y="73"/>
                    <a:pt x="0" y="73"/>
                  </a:cubicBezTo>
                  <a:cubicBezTo>
                    <a:pt x="29" y="44"/>
                    <a:pt x="29" y="44"/>
                    <a:pt x="29" y="44"/>
                  </a:cubicBezTo>
                  <a:cubicBezTo>
                    <a:pt x="35" y="38"/>
                    <a:pt x="34" y="32"/>
                    <a:pt x="31" y="28"/>
                  </a:cubicBezTo>
                  <a:cubicBezTo>
                    <a:pt x="27" y="24"/>
                    <a:pt x="20" y="24"/>
                    <a:pt x="15" y="29"/>
                  </a:cubicBezTo>
                  <a:cubicBezTo>
                    <a:pt x="0" y="44"/>
                    <a:pt x="0" y="44"/>
                    <a:pt x="0" y="44"/>
                  </a:cubicBezTo>
                  <a:cubicBezTo>
                    <a:pt x="0" y="15"/>
                    <a:pt x="0" y="15"/>
                    <a:pt x="0" y="15"/>
                  </a:cubicBezTo>
                  <a:lnTo>
                    <a:pt x="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EC881D"/>
                </a:solidFill>
              </a:endParaRPr>
            </a:p>
          </p:txBody>
        </p:sp>
        <p:sp>
          <p:nvSpPr>
            <p:cNvPr id="34" name="Freeform 33"/>
            <p:cNvSpPr>
              <a:spLocks/>
            </p:cNvSpPr>
            <p:nvPr/>
          </p:nvSpPr>
          <p:spPr bwMode="auto">
            <a:xfrm>
              <a:off x="8124566" y="6620735"/>
              <a:ext cx="97811" cy="99278"/>
            </a:xfrm>
            <a:custGeom>
              <a:avLst/>
              <a:gdLst>
                <a:gd name="T0" fmla="*/ 70 w 85"/>
                <a:gd name="T1" fmla="*/ 86 h 86"/>
                <a:gd name="T2" fmla="*/ 70 w 85"/>
                <a:gd name="T3" fmla="*/ 35 h 86"/>
                <a:gd name="T4" fmla="*/ 70 w 85"/>
                <a:gd name="T5" fmla="*/ 26 h 86"/>
                <a:gd name="T6" fmla="*/ 70 w 85"/>
                <a:gd name="T7" fmla="*/ 26 h 86"/>
                <a:gd name="T8" fmla="*/ 65 w 85"/>
                <a:gd name="T9" fmla="*/ 35 h 86"/>
                <a:gd name="T10" fmla="*/ 47 w 85"/>
                <a:gd name="T11" fmla="*/ 62 h 86"/>
                <a:gd name="T12" fmla="*/ 39 w 85"/>
                <a:gd name="T13" fmla="*/ 62 h 86"/>
                <a:gd name="T14" fmla="*/ 20 w 85"/>
                <a:gd name="T15" fmla="*/ 34 h 86"/>
                <a:gd name="T16" fmla="*/ 15 w 85"/>
                <a:gd name="T17" fmla="*/ 26 h 86"/>
                <a:gd name="T18" fmla="*/ 15 w 85"/>
                <a:gd name="T19" fmla="*/ 26 h 86"/>
                <a:gd name="T20" fmla="*/ 15 w 85"/>
                <a:gd name="T21" fmla="*/ 35 h 86"/>
                <a:gd name="T22" fmla="*/ 15 w 85"/>
                <a:gd name="T23" fmla="*/ 86 h 86"/>
                <a:gd name="T24" fmla="*/ 0 w 85"/>
                <a:gd name="T25" fmla="*/ 86 h 86"/>
                <a:gd name="T26" fmla="*/ 0 w 85"/>
                <a:gd name="T27" fmla="*/ 0 h 86"/>
                <a:gd name="T28" fmla="*/ 14 w 85"/>
                <a:gd name="T29" fmla="*/ 0 h 86"/>
                <a:gd name="T30" fmla="*/ 38 w 85"/>
                <a:gd name="T31" fmla="*/ 35 h 86"/>
                <a:gd name="T32" fmla="*/ 43 w 85"/>
                <a:gd name="T33" fmla="*/ 44 h 86"/>
                <a:gd name="T34" fmla="*/ 44 w 85"/>
                <a:gd name="T35" fmla="*/ 44 h 86"/>
                <a:gd name="T36" fmla="*/ 49 w 85"/>
                <a:gd name="T37" fmla="*/ 34 h 86"/>
                <a:gd name="T38" fmla="*/ 70 w 85"/>
                <a:gd name="T39" fmla="*/ 0 h 86"/>
                <a:gd name="T40" fmla="*/ 85 w 85"/>
                <a:gd name="T41" fmla="*/ 0 h 86"/>
                <a:gd name="T42" fmla="*/ 85 w 85"/>
                <a:gd name="T43" fmla="*/ 86 h 86"/>
                <a:gd name="T44" fmla="*/ 70 w 85"/>
                <a:gd name="T4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5" h="86">
                  <a:moveTo>
                    <a:pt x="70" y="86"/>
                  </a:moveTo>
                  <a:cubicBezTo>
                    <a:pt x="70" y="35"/>
                    <a:pt x="70" y="35"/>
                    <a:pt x="70" y="35"/>
                  </a:cubicBezTo>
                  <a:cubicBezTo>
                    <a:pt x="70" y="32"/>
                    <a:pt x="70" y="29"/>
                    <a:pt x="70" y="26"/>
                  </a:cubicBezTo>
                  <a:cubicBezTo>
                    <a:pt x="70" y="26"/>
                    <a:pt x="70" y="26"/>
                    <a:pt x="70" y="26"/>
                  </a:cubicBezTo>
                  <a:cubicBezTo>
                    <a:pt x="69" y="29"/>
                    <a:pt x="66" y="32"/>
                    <a:pt x="65" y="35"/>
                  </a:cubicBezTo>
                  <a:cubicBezTo>
                    <a:pt x="47" y="62"/>
                    <a:pt x="47" y="62"/>
                    <a:pt x="47" y="62"/>
                  </a:cubicBezTo>
                  <a:cubicBezTo>
                    <a:pt x="39" y="62"/>
                    <a:pt x="39" y="62"/>
                    <a:pt x="39" y="62"/>
                  </a:cubicBezTo>
                  <a:cubicBezTo>
                    <a:pt x="20" y="34"/>
                    <a:pt x="20" y="34"/>
                    <a:pt x="20" y="34"/>
                  </a:cubicBezTo>
                  <a:cubicBezTo>
                    <a:pt x="19" y="32"/>
                    <a:pt x="17" y="29"/>
                    <a:pt x="15" y="26"/>
                  </a:cubicBezTo>
                  <a:cubicBezTo>
                    <a:pt x="15" y="26"/>
                    <a:pt x="15" y="26"/>
                    <a:pt x="15" y="26"/>
                  </a:cubicBezTo>
                  <a:cubicBezTo>
                    <a:pt x="15" y="29"/>
                    <a:pt x="15" y="32"/>
                    <a:pt x="15" y="35"/>
                  </a:cubicBezTo>
                  <a:cubicBezTo>
                    <a:pt x="15" y="86"/>
                    <a:pt x="15" y="86"/>
                    <a:pt x="15" y="86"/>
                  </a:cubicBezTo>
                  <a:cubicBezTo>
                    <a:pt x="0" y="86"/>
                    <a:pt x="0" y="86"/>
                    <a:pt x="0" y="86"/>
                  </a:cubicBezTo>
                  <a:cubicBezTo>
                    <a:pt x="0" y="0"/>
                    <a:pt x="0" y="0"/>
                    <a:pt x="0" y="0"/>
                  </a:cubicBezTo>
                  <a:cubicBezTo>
                    <a:pt x="14" y="0"/>
                    <a:pt x="14" y="0"/>
                    <a:pt x="14" y="0"/>
                  </a:cubicBezTo>
                  <a:cubicBezTo>
                    <a:pt x="38" y="35"/>
                    <a:pt x="38" y="35"/>
                    <a:pt x="38" y="35"/>
                  </a:cubicBezTo>
                  <a:cubicBezTo>
                    <a:pt x="40" y="38"/>
                    <a:pt x="42" y="41"/>
                    <a:pt x="43" y="44"/>
                  </a:cubicBezTo>
                  <a:cubicBezTo>
                    <a:pt x="44" y="44"/>
                    <a:pt x="44" y="44"/>
                    <a:pt x="44" y="44"/>
                  </a:cubicBezTo>
                  <a:cubicBezTo>
                    <a:pt x="45" y="41"/>
                    <a:pt x="46" y="38"/>
                    <a:pt x="49" y="34"/>
                  </a:cubicBezTo>
                  <a:cubicBezTo>
                    <a:pt x="70" y="0"/>
                    <a:pt x="70" y="0"/>
                    <a:pt x="70" y="0"/>
                  </a:cubicBezTo>
                  <a:cubicBezTo>
                    <a:pt x="85" y="0"/>
                    <a:pt x="85" y="0"/>
                    <a:pt x="85" y="0"/>
                  </a:cubicBezTo>
                  <a:cubicBezTo>
                    <a:pt x="85" y="86"/>
                    <a:pt x="85" y="86"/>
                    <a:pt x="85" y="86"/>
                  </a:cubicBezTo>
                  <a:lnTo>
                    <a:pt x="70" y="86"/>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EC881D"/>
                </a:solidFill>
              </a:endParaRPr>
            </a:p>
          </p:txBody>
        </p:sp>
        <p:sp>
          <p:nvSpPr>
            <p:cNvPr id="35" name="Freeform 34"/>
            <p:cNvSpPr>
              <a:spLocks noEditPoints="1"/>
            </p:cNvSpPr>
            <p:nvPr/>
          </p:nvSpPr>
          <p:spPr bwMode="auto">
            <a:xfrm>
              <a:off x="8239982" y="6623181"/>
              <a:ext cx="20540" cy="98300"/>
            </a:xfrm>
            <a:custGeom>
              <a:avLst/>
              <a:gdLst>
                <a:gd name="T0" fmla="*/ 1 w 18"/>
                <a:gd name="T1" fmla="*/ 27 h 85"/>
                <a:gd name="T2" fmla="*/ 16 w 18"/>
                <a:gd name="T3" fmla="*/ 27 h 85"/>
                <a:gd name="T4" fmla="*/ 16 w 18"/>
                <a:gd name="T5" fmla="*/ 74 h 85"/>
                <a:gd name="T6" fmla="*/ 1 w 18"/>
                <a:gd name="T7" fmla="*/ 85 h 85"/>
                <a:gd name="T8" fmla="*/ 1 w 18"/>
                <a:gd name="T9" fmla="*/ 27 h 85"/>
                <a:gd name="T10" fmla="*/ 9 w 18"/>
                <a:gd name="T11" fmla="*/ 18 h 85"/>
                <a:gd name="T12" fmla="*/ 0 w 18"/>
                <a:gd name="T13" fmla="*/ 9 h 85"/>
                <a:gd name="T14" fmla="*/ 9 w 18"/>
                <a:gd name="T15" fmla="*/ 0 h 85"/>
                <a:gd name="T16" fmla="*/ 18 w 18"/>
                <a:gd name="T17" fmla="*/ 9 h 85"/>
                <a:gd name="T18" fmla="*/ 9 w 18"/>
                <a:gd name="T19" fmla="*/ 1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85">
                  <a:moveTo>
                    <a:pt x="1" y="27"/>
                  </a:moveTo>
                  <a:cubicBezTo>
                    <a:pt x="16" y="27"/>
                    <a:pt x="16" y="27"/>
                    <a:pt x="16" y="27"/>
                  </a:cubicBezTo>
                  <a:cubicBezTo>
                    <a:pt x="16" y="74"/>
                    <a:pt x="16" y="74"/>
                    <a:pt x="16" y="74"/>
                  </a:cubicBezTo>
                  <a:cubicBezTo>
                    <a:pt x="16" y="85"/>
                    <a:pt x="1" y="85"/>
                    <a:pt x="1" y="85"/>
                  </a:cubicBezTo>
                  <a:lnTo>
                    <a:pt x="1" y="27"/>
                  </a:lnTo>
                  <a:close/>
                  <a:moveTo>
                    <a:pt x="9" y="18"/>
                  </a:moveTo>
                  <a:cubicBezTo>
                    <a:pt x="4" y="18"/>
                    <a:pt x="0" y="14"/>
                    <a:pt x="0" y="9"/>
                  </a:cubicBezTo>
                  <a:cubicBezTo>
                    <a:pt x="0" y="4"/>
                    <a:pt x="4" y="0"/>
                    <a:pt x="9" y="0"/>
                  </a:cubicBezTo>
                  <a:cubicBezTo>
                    <a:pt x="14" y="0"/>
                    <a:pt x="18" y="4"/>
                    <a:pt x="18" y="9"/>
                  </a:cubicBezTo>
                  <a:cubicBezTo>
                    <a:pt x="18" y="14"/>
                    <a:pt x="14" y="18"/>
                    <a:pt x="9" y="18"/>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EC881D"/>
                </a:solidFill>
              </a:endParaRPr>
            </a:p>
          </p:txBody>
        </p:sp>
        <p:sp>
          <p:nvSpPr>
            <p:cNvPr id="51" name="Freeform 50"/>
            <p:cNvSpPr>
              <a:spLocks/>
            </p:cNvSpPr>
            <p:nvPr/>
          </p:nvSpPr>
          <p:spPr bwMode="auto">
            <a:xfrm>
              <a:off x="8276660" y="6620735"/>
              <a:ext cx="16627" cy="100745"/>
            </a:xfrm>
            <a:custGeom>
              <a:avLst/>
              <a:gdLst>
                <a:gd name="T0" fmla="*/ 0 w 14"/>
                <a:gd name="T1" fmla="*/ 0 h 87"/>
                <a:gd name="T2" fmla="*/ 14 w 14"/>
                <a:gd name="T3" fmla="*/ 0 h 87"/>
                <a:gd name="T4" fmla="*/ 14 w 14"/>
                <a:gd name="T5" fmla="*/ 76 h 87"/>
                <a:gd name="T6" fmla="*/ 0 w 14"/>
                <a:gd name="T7" fmla="*/ 87 h 87"/>
                <a:gd name="T8" fmla="*/ 0 w 14"/>
                <a:gd name="T9" fmla="*/ 0 h 87"/>
              </a:gdLst>
              <a:ahLst/>
              <a:cxnLst>
                <a:cxn ang="0">
                  <a:pos x="T0" y="T1"/>
                </a:cxn>
                <a:cxn ang="0">
                  <a:pos x="T2" y="T3"/>
                </a:cxn>
                <a:cxn ang="0">
                  <a:pos x="T4" y="T5"/>
                </a:cxn>
                <a:cxn ang="0">
                  <a:pos x="T6" y="T7"/>
                </a:cxn>
                <a:cxn ang="0">
                  <a:pos x="T8" y="T9"/>
                </a:cxn>
              </a:cxnLst>
              <a:rect l="0" t="0" r="r" b="b"/>
              <a:pathLst>
                <a:path w="14" h="87">
                  <a:moveTo>
                    <a:pt x="0" y="0"/>
                  </a:moveTo>
                  <a:cubicBezTo>
                    <a:pt x="14" y="0"/>
                    <a:pt x="14" y="0"/>
                    <a:pt x="14" y="0"/>
                  </a:cubicBezTo>
                  <a:cubicBezTo>
                    <a:pt x="14" y="76"/>
                    <a:pt x="14" y="76"/>
                    <a:pt x="14" y="76"/>
                  </a:cubicBezTo>
                  <a:cubicBezTo>
                    <a:pt x="14" y="87"/>
                    <a:pt x="0" y="87"/>
                    <a:pt x="0" y="87"/>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EC881D"/>
                </a:solidFill>
              </a:endParaRPr>
            </a:p>
          </p:txBody>
        </p:sp>
        <p:sp>
          <p:nvSpPr>
            <p:cNvPr id="56" name="Freeform 55"/>
            <p:cNvSpPr>
              <a:spLocks/>
            </p:cNvSpPr>
            <p:nvPr/>
          </p:nvSpPr>
          <p:spPr bwMode="auto">
            <a:xfrm>
              <a:off x="8310405" y="6620735"/>
              <a:ext cx="16138" cy="100745"/>
            </a:xfrm>
            <a:custGeom>
              <a:avLst/>
              <a:gdLst>
                <a:gd name="T0" fmla="*/ 0 w 14"/>
                <a:gd name="T1" fmla="*/ 0 h 87"/>
                <a:gd name="T2" fmla="*/ 14 w 14"/>
                <a:gd name="T3" fmla="*/ 0 h 87"/>
                <a:gd name="T4" fmla="*/ 14 w 14"/>
                <a:gd name="T5" fmla="*/ 76 h 87"/>
                <a:gd name="T6" fmla="*/ 0 w 14"/>
                <a:gd name="T7" fmla="*/ 87 h 87"/>
                <a:gd name="T8" fmla="*/ 0 w 14"/>
                <a:gd name="T9" fmla="*/ 0 h 87"/>
              </a:gdLst>
              <a:ahLst/>
              <a:cxnLst>
                <a:cxn ang="0">
                  <a:pos x="T0" y="T1"/>
                </a:cxn>
                <a:cxn ang="0">
                  <a:pos x="T2" y="T3"/>
                </a:cxn>
                <a:cxn ang="0">
                  <a:pos x="T4" y="T5"/>
                </a:cxn>
                <a:cxn ang="0">
                  <a:pos x="T6" y="T7"/>
                </a:cxn>
                <a:cxn ang="0">
                  <a:pos x="T8" y="T9"/>
                </a:cxn>
              </a:cxnLst>
              <a:rect l="0" t="0" r="r" b="b"/>
              <a:pathLst>
                <a:path w="14" h="87">
                  <a:moveTo>
                    <a:pt x="0" y="0"/>
                  </a:moveTo>
                  <a:cubicBezTo>
                    <a:pt x="14" y="0"/>
                    <a:pt x="14" y="0"/>
                    <a:pt x="14" y="0"/>
                  </a:cubicBezTo>
                  <a:cubicBezTo>
                    <a:pt x="14" y="76"/>
                    <a:pt x="14" y="76"/>
                    <a:pt x="14" y="76"/>
                  </a:cubicBezTo>
                  <a:cubicBezTo>
                    <a:pt x="14" y="87"/>
                    <a:pt x="0" y="87"/>
                    <a:pt x="0" y="87"/>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EC881D"/>
                </a:solidFill>
              </a:endParaRPr>
            </a:p>
          </p:txBody>
        </p:sp>
        <p:sp>
          <p:nvSpPr>
            <p:cNvPr id="57" name="Freeform 56"/>
            <p:cNvSpPr>
              <a:spLocks/>
            </p:cNvSpPr>
            <p:nvPr/>
          </p:nvSpPr>
          <p:spPr bwMode="auto">
            <a:xfrm>
              <a:off x="8335836" y="6654479"/>
              <a:ext cx="104167" cy="70423"/>
            </a:xfrm>
            <a:custGeom>
              <a:avLst/>
              <a:gdLst>
                <a:gd name="T0" fmla="*/ 15 w 90"/>
                <a:gd name="T1" fmla="*/ 0 h 61"/>
                <a:gd name="T2" fmla="*/ 27 w 90"/>
                <a:gd name="T3" fmla="*/ 39 h 61"/>
                <a:gd name="T4" fmla="*/ 27 w 90"/>
                <a:gd name="T5" fmla="*/ 39 h 61"/>
                <a:gd name="T6" fmla="*/ 40 w 90"/>
                <a:gd name="T7" fmla="*/ 0 h 61"/>
                <a:gd name="T8" fmla="*/ 51 w 90"/>
                <a:gd name="T9" fmla="*/ 0 h 61"/>
                <a:gd name="T10" fmla="*/ 64 w 90"/>
                <a:gd name="T11" fmla="*/ 39 h 61"/>
                <a:gd name="T12" fmla="*/ 64 w 90"/>
                <a:gd name="T13" fmla="*/ 39 h 61"/>
                <a:gd name="T14" fmla="*/ 76 w 90"/>
                <a:gd name="T15" fmla="*/ 0 h 61"/>
                <a:gd name="T16" fmla="*/ 90 w 90"/>
                <a:gd name="T17" fmla="*/ 0 h 61"/>
                <a:gd name="T18" fmla="*/ 73 w 90"/>
                <a:gd name="T19" fmla="*/ 47 h 61"/>
                <a:gd name="T20" fmla="*/ 58 w 90"/>
                <a:gd name="T21" fmla="*/ 58 h 61"/>
                <a:gd name="T22" fmla="*/ 45 w 90"/>
                <a:gd name="T23" fmla="*/ 19 h 61"/>
                <a:gd name="T24" fmla="*/ 45 w 90"/>
                <a:gd name="T25" fmla="*/ 19 h 61"/>
                <a:gd name="T26" fmla="*/ 36 w 90"/>
                <a:gd name="T27" fmla="*/ 47 h 61"/>
                <a:gd name="T28" fmla="*/ 21 w 90"/>
                <a:gd name="T29" fmla="*/ 58 h 61"/>
                <a:gd name="T30" fmla="*/ 0 w 90"/>
                <a:gd name="T31" fmla="*/ 0 h 61"/>
                <a:gd name="T32" fmla="*/ 15 w 90"/>
                <a:gd name="T33"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61">
                  <a:moveTo>
                    <a:pt x="15" y="0"/>
                  </a:moveTo>
                  <a:cubicBezTo>
                    <a:pt x="27" y="39"/>
                    <a:pt x="27" y="39"/>
                    <a:pt x="27" y="39"/>
                  </a:cubicBezTo>
                  <a:cubicBezTo>
                    <a:pt x="27" y="39"/>
                    <a:pt x="27" y="39"/>
                    <a:pt x="27" y="39"/>
                  </a:cubicBezTo>
                  <a:cubicBezTo>
                    <a:pt x="40" y="0"/>
                    <a:pt x="40" y="0"/>
                    <a:pt x="40" y="0"/>
                  </a:cubicBezTo>
                  <a:cubicBezTo>
                    <a:pt x="51" y="0"/>
                    <a:pt x="51" y="0"/>
                    <a:pt x="51" y="0"/>
                  </a:cubicBezTo>
                  <a:cubicBezTo>
                    <a:pt x="64" y="39"/>
                    <a:pt x="64" y="39"/>
                    <a:pt x="64" y="39"/>
                  </a:cubicBezTo>
                  <a:cubicBezTo>
                    <a:pt x="64" y="39"/>
                    <a:pt x="64" y="39"/>
                    <a:pt x="64" y="39"/>
                  </a:cubicBezTo>
                  <a:cubicBezTo>
                    <a:pt x="76" y="0"/>
                    <a:pt x="76" y="0"/>
                    <a:pt x="76" y="0"/>
                  </a:cubicBezTo>
                  <a:cubicBezTo>
                    <a:pt x="90" y="0"/>
                    <a:pt x="90" y="0"/>
                    <a:pt x="90" y="0"/>
                  </a:cubicBezTo>
                  <a:cubicBezTo>
                    <a:pt x="73" y="47"/>
                    <a:pt x="73" y="47"/>
                    <a:pt x="73" y="47"/>
                  </a:cubicBezTo>
                  <a:cubicBezTo>
                    <a:pt x="73" y="47"/>
                    <a:pt x="69" y="61"/>
                    <a:pt x="58" y="58"/>
                  </a:cubicBezTo>
                  <a:cubicBezTo>
                    <a:pt x="45" y="19"/>
                    <a:pt x="45" y="19"/>
                    <a:pt x="45" y="19"/>
                  </a:cubicBezTo>
                  <a:cubicBezTo>
                    <a:pt x="45" y="19"/>
                    <a:pt x="45" y="19"/>
                    <a:pt x="45" y="19"/>
                  </a:cubicBezTo>
                  <a:cubicBezTo>
                    <a:pt x="36" y="47"/>
                    <a:pt x="36" y="47"/>
                    <a:pt x="36" y="47"/>
                  </a:cubicBezTo>
                  <a:cubicBezTo>
                    <a:pt x="36" y="47"/>
                    <a:pt x="32" y="61"/>
                    <a:pt x="21" y="58"/>
                  </a:cubicBezTo>
                  <a:cubicBezTo>
                    <a:pt x="0" y="0"/>
                    <a:pt x="0" y="0"/>
                    <a:pt x="0" y="0"/>
                  </a:cubicBezTo>
                  <a:lnTo>
                    <a:pt x="15"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EC881D"/>
                </a:solidFill>
              </a:endParaRPr>
            </a:p>
          </p:txBody>
        </p:sp>
        <p:sp>
          <p:nvSpPr>
            <p:cNvPr id="58" name="Freeform 57"/>
            <p:cNvSpPr>
              <a:spLocks noEditPoints="1"/>
            </p:cNvSpPr>
            <p:nvPr/>
          </p:nvSpPr>
          <p:spPr bwMode="auto">
            <a:xfrm>
              <a:off x="8441960" y="6653012"/>
              <a:ext cx="59175" cy="68467"/>
            </a:xfrm>
            <a:custGeom>
              <a:avLst/>
              <a:gdLst>
                <a:gd name="T0" fmla="*/ 35 w 51"/>
                <a:gd name="T1" fmla="*/ 32 h 59"/>
                <a:gd name="T2" fmla="*/ 26 w 51"/>
                <a:gd name="T3" fmla="*/ 32 h 59"/>
                <a:gd name="T4" fmla="*/ 15 w 51"/>
                <a:gd name="T5" fmla="*/ 40 h 59"/>
                <a:gd name="T6" fmla="*/ 24 w 51"/>
                <a:gd name="T7" fmla="*/ 48 h 59"/>
                <a:gd name="T8" fmla="*/ 35 w 51"/>
                <a:gd name="T9" fmla="*/ 44 h 59"/>
                <a:gd name="T10" fmla="*/ 35 w 51"/>
                <a:gd name="T11" fmla="*/ 32 h 59"/>
                <a:gd name="T12" fmla="*/ 38 w 51"/>
                <a:gd name="T13" fmla="*/ 59 h 59"/>
                <a:gd name="T14" fmla="*/ 36 w 51"/>
                <a:gd name="T15" fmla="*/ 53 h 59"/>
                <a:gd name="T16" fmla="*/ 19 w 51"/>
                <a:gd name="T17" fmla="*/ 59 h 59"/>
                <a:gd name="T18" fmla="*/ 0 w 51"/>
                <a:gd name="T19" fmla="*/ 41 h 59"/>
                <a:gd name="T20" fmla="*/ 24 w 51"/>
                <a:gd name="T21" fmla="*/ 22 h 59"/>
                <a:gd name="T22" fmla="*/ 35 w 51"/>
                <a:gd name="T23" fmla="*/ 22 h 59"/>
                <a:gd name="T24" fmla="*/ 35 w 51"/>
                <a:gd name="T25" fmla="*/ 20 h 59"/>
                <a:gd name="T26" fmla="*/ 23 w 51"/>
                <a:gd name="T27" fmla="*/ 11 h 59"/>
                <a:gd name="T28" fmla="*/ 9 w 51"/>
                <a:gd name="T29" fmla="*/ 15 h 59"/>
                <a:gd name="T30" fmla="*/ 4 w 51"/>
                <a:gd name="T31" fmla="*/ 6 h 59"/>
                <a:gd name="T32" fmla="*/ 27 w 51"/>
                <a:gd name="T33" fmla="*/ 0 h 59"/>
                <a:gd name="T34" fmla="*/ 49 w 51"/>
                <a:gd name="T35" fmla="*/ 20 h 59"/>
                <a:gd name="T36" fmla="*/ 49 w 51"/>
                <a:gd name="T37" fmla="*/ 43 h 59"/>
                <a:gd name="T38" fmla="*/ 51 w 51"/>
                <a:gd name="T39" fmla="*/ 59 h 59"/>
                <a:gd name="T40" fmla="*/ 38 w 51"/>
                <a:gd name="T41"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59">
                  <a:moveTo>
                    <a:pt x="35" y="32"/>
                  </a:moveTo>
                  <a:cubicBezTo>
                    <a:pt x="26" y="32"/>
                    <a:pt x="26" y="32"/>
                    <a:pt x="26" y="32"/>
                  </a:cubicBezTo>
                  <a:cubicBezTo>
                    <a:pt x="18" y="32"/>
                    <a:pt x="15" y="35"/>
                    <a:pt x="15" y="40"/>
                  </a:cubicBezTo>
                  <a:cubicBezTo>
                    <a:pt x="15" y="45"/>
                    <a:pt x="18" y="48"/>
                    <a:pt x="24" y="48"/>
                  </a:cubicBezTo>
                  <a:cubicBezTo>
                    <a:pt x="29" y="48"/>
                    <a:pt x="33" y="46"/>
                    <a:pt x="35" y="44"/>
                  </a:cubicBezTo>
                  <a:lnTo>
                    <a:pt x="35" y="32"/>
                  </a:lnTo>
                  <a:close/>
                  <a:moveTo>
                    <a:pt x="38" y="59"/>
                  </a:moveTo>
                  <a:cubicBezTo>
                    <a:pt x="36" y="53"/>
                    <a:pt x="36" y="53"/>
                    <a:pt x="36" y="53"/>
                  </a:cubicBezTo>
                  <a:cubicBezTo>
                    <a:pt x="32" y="57"/>
                    <a:pt x="27" y="59"/>
                    <a:pt x="19" y="59"/>
                  </a:cubicBezTo>
                  <a:cubicBezTo>
                    <a:pt x="9" y="59"/>
                    <a:pt x="0" y="52"/>
                    <a:pt x="0" y="41"/>
                  </a:cubicBezTo>
                  <a:cubicBezTo>
                    <a:pt x="0" y="29"/>
                    <a:pt x="10" y="23"/>
                    <a:pt x="24" y="22"/>
                  </a:cubicBezTo>
                  <a:cubicBezTo>
                    <a:pt x="35" y="22"/>
                    <a:pt x="35" y="22"/>
                    <a:pt x="35" y="22"/>
                  </a:cubicBezTo>
                  <a:cubicBezTo>
                    <a:pt x="35" y="20"/>
                    <a:pt x="35" y="20"/>
                    <a:pt x="35" y="20"/>
                  </a:cubicBezTo>
                  <a:cubicBezTo>
                    <a:pt x="35" y="13"/>
                    <a:pt x="30" y="11"/>
                    <a:pt x="23" y="11"/>
                  </a:cubicBezTo>
                  <a:cubicBezTo>
                    <a:pt x="17" y="11"/>
                    <a:pt x="13" y="13"/>
                    <a:pt x="9" y="15"/>
                  </a:cubicBezTo>
                  <a:cubicBezTo>
                    <a:pt x="4" y="6"/>
                    <a:pt x="4" y="6"/>
                    <a:pt x="4" y="6"/>
                  </a:cubicBezTo>
                  <a:cubicBezTo>
                    <a:pt x="12" y="1"/>
                    <a:pt x="19" y="0"/>
                    <a:pt x="27" y="0"/>
                  </a:cubicBezTo>
                  <a:cubicBezTo>
                    <a:pt x="41" y="0"/>
                    <a:pt x="49" y="5"/>
                    <a:pt x="49" y="20"/>
                  </a:cubicBezTo>
                  <a:cubicBezTo>
                    <a:pt x="49" y="43"/>
                    <a:pt x="49" y="43"/>
                    <a:pt x="49" y="43"/>
                  </a:cubicBezTo>
                  <a:cubicBezTo>
                    <a:pt x="49" y="51"/>
                    <a:pt x="50" y="57"/>
                    <a:pt x="51" y="59"/>
                  </a:cubicBezTo>
                  <a:lnTo>
                    <a:pt x="38" y="59"/>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EC881D"/>
                </a:solidFill>
              </a:endParaRPr>
            </a:p>
          </p:txBody>
        </p:sp>
        <p:sp>
          <p:nvSpPr>
            <p:cNvPr id="59" name="Freeform 58"/>
            <p:cNvSpPr>
              <a:spLocks/>
            </p:cNvSpPr>
            <p:nvPr/>
          </p:nvSpPr>
          <p:spPr bwMode="auto">
            <a:xfrm>
              <a:off x="8513849" y="6653012"/>
              <a:ext cx="43525" cy="68467"/>
            </a:xfrm>
            <a:custGeom>
              <a:avLst/>
              <a:gdLst>
                <a:gd name="T0" fmla="*/ 0 w 38"/>
                <a:gd name="T1" fmla="*/ 1 h 59"/>
                <a:gd name="T2" fmla="*/ 13 w 38"/>
                <a:gd name="T3" fmla="*/ 1 h 59"/>
                <a:gd name="T4" fmla="*/ 14 w 38"/>
                <a:gd name="T5" fmla="*/ 7 h 59"/>
                <a:gd name="T6" fmla="*/ 30 w 38"/>
                <a:gd name="T7" fmla="*/ 0 h 59"/>
                <a:gd name="T8" fmla="*/ 38 w 38"/>
                <a:gd name="T9" fmla="*/ 2 h 59"/>
                <a:gd name="T10" fmla="*/ 33 w 38"/>
                <a:gd name="T11" fmla="*/ 14 h 59"/>
                <a:gd name="T12" fmla="*/ 26 w 38"/>
                <a:gd name="T13" fmla="*/ 12 h 59"/>
                <a:gd name="T14" fmla="*/ 15 w 38"/>
                <a:gd name="T15" fmla="*/ 18 h 59"/>
                <a:gd name="T16" fmla="*/ 15 w 38"/>
                <a:gd name="T17" fmla="*/ 48 h 59"/>
                <a:gd name="T18" fmla="*/ 0 w 38"/>
                <a:gd name="T19" fmla="*/ 59 h 59"/>
                <a:gd name="T20" fmla="*/ 0 w 38"/>
                <a:gd name="T21" fmla="*/ 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59">
                  <a:moveTo>
                    <a:pt x="0" y="1"/>
                  </a:moveTo>
                  <a:cubicBezTo>
                    <a:pt x="13" y="1"/>
                    <a:pt x="13" y="1"/>
                    <a:pt x="13" y="1"/>
                  </a:cubicBezTo>
                  <a:cubicBezTo>
                    <a:pt x="14" y="7"/>
                    <a:pt x="14" y="7"/>
                    <a:pt x="14" y="7"/>
                  </a:cubicBezTo>
                  <a:cubicBezTo>
                    <a:pt x="20" y="2"/>
                    <a:pt x="25" y="0"/>
                    <a:pt x="30" y="0"/>
                  </a:cubicBezTo>
                  <a:cubicBezTo>
                    <a:pt x="33" y="0"/>
                    <a:pt x="36" y="0"/>
                    <a:pt x="38" y="2"/>
                  </a:cubicBezTo>
                  <a:cubicBezTo>
                    <a:pt x="33" y="14"/>
                    <a:pt x="33" y="14"/>
                    <a:pt x="33" y="14"/>
                  </a:cubicBezTo>
                  <a:cubicBezTo>
                    <a:pt x="30" y="13"/>
                    <a:pt x="28" y="12"/>
                    <a:pt x="26" y="12"/>
                  </a:cubicBezTo>
                  <a:cubicBezTo>
                    <a:pt x="23" y="12"/>
                    <a:pt x="19" y="14"/>
                    <a:pt x="15" y="18"/>
                  </a:cubicBezTo>
                  <a:cubicBezTo>
                    <a:pt x="15" y="48"/>
                    <a:pt x="15" y="48"/>
                    <a:pt x="15" y="48"/>
                  </a:cubicBezTo>
                  <a:cubicBezTo>
                    <a:pt x="15" y="59"/>
                    <a:pt x="0" y="59"/>
                    <a:pt x="0" y="59"/>
                  </a:cubicBezTo>
                  <a:lnTo>
                    <a:pt x="0" y="1"/>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EC881D"/>
                </a:solidFill>
              </a:endParaRPr>
            </a:p>
          </p:txBody>
        </p:sp>
        <p:sp>
          <p:nvSpPr>
            <p:cNvPr id="60" name="Freeform 59"/>
            <p:cNvSpPr>
              <a:spLocks noEditPoints="1"/>
            </p:cNvSpPr>
            <p:nvPr/>
          </p:nvSpPr>
          <p:spPr bwMode="auto">
            <a:xfrm>
              <a:off x="8559820" y="6620735"/>
              <a:ext cx="62598" cy="100745"/>
            </a:xfrm>
            <a:custGeom>
              <a:avLst/>
              <a:gdLst>
                <a:gd name="T0" fmla="*/ 39 w 54"/>
                <a:gd name="T1" fmla="*/ 40 h 87"/>
                <a:gd name="T2" fmla="*/ 32 w 54"/>
                <a:gd name="T3" fmla="*/ 39 h 87"/>
                <a:gd name="T4" fmla="*/ 15 w 54"/>
                <a:gd name="T5" fmla="*/ 57 h 87"/>
                <a:gd name="T6" fmla="*/ 32 w 54"/>
                <a:gd name="T7" fmla="*/ 75 h 87"/>
                <a:gd name="T8" fmla="*/ 39 w 54"/>
                <a:gd name="T9" fmla="*/ 75 h 87"/>
                <a:gd name="T10" fmla="*/ 39 w 54"/>
                <a:gd name="T11" fmla="*/ 40 h 87"/>
                <a:gd name="T12" fmla="*/ 31 w 54"/>
                <a:gd name="T13" fmla="*/ 87 h 87"/>
                <a:gd name="T14" fmla="*/ 0 w 54"/>
                <a:gd name="T15" fmla="*/ 58 h 87"/>
                <a:gd name="T16" fmla="*/ 32 w 54"/>
                <a:gd name="T17" fmla="*/ 28 h 87"/>
                <a:gd name="T18" fmla="*/ 39 w 54"/>
                <a:gd name="T19" fmla="*/ 28 h 87"/>
                <a:gd name="T20" fmla="*/ 39 w 54"/>
                <a:gd name="T21" fmla="*/ 0 h 87"/>
                <a:gd name="T22" fmla="*/ 54 w 54"/>
                <a:gd name="T23" fmla="*/ 0 h 87"/>
                <a:gd name="T24" fmla="*/ 54 w 54"/>
                <a:gd name="T25" fmla="*/ 83 h 87"/>
                <a:gd name="T26" fmla="*/ 31 w 54"/>
                <a:gd name="T2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87">
                  <a:moveTo>
                    <a:pt x="39" y="40"/>
                  </a:moveTo>
                  <a:cubicBezTo>
                    <a:pt x="37" y="39"/>
                    <a:pt x="35" y="39"/>
                    <a:pt x="32" y="39"/>
                  </a:cubicBezTo>
                  <a:cubicBezTo>
                    <a:pt x="22" y="39"/>
                    <a:pt x="15" y="46"/>
                    <a:pt x="15" y="57"/>
                  </a:cubicBezTo>
                  <a:cubicBezTo>
                    <a:pt x="15" y="68"/>
                    <a:pt x="21" y="75"/>
                    <a:pt x="32" y="75"/>
                  </a:cubicBezTo>
                  <a:cubicBezTo>
                    <a:pt x="35" y="75"/>
                    <a:pt x="37" y="75"/>
                    <a:pt x="39" y="75"/>
                  </a:cubicBezTo>
                  <a:lnTo>
                    <a:pt x="39" y="40"/>
                  </a:lnTo>
                  <a:close/>
                  <a:moveTo>
                    <a:pt x="31" y="87"/>
                  </a:moveTo>
                  <a:cubicBezTo>
                    <a:pt x="14" y="87"/>
                    <a:pt x="0" y="77"/>
                    <a:pt x="0" y="58"/>
                  </a:cubicBezTo>
                  <a:cubicBezTo>
                    <a:pt x="0" y="40"/>
                    <a:pt x="13" y="28"/>
                    <a:pt x="32" y="28"/>
                  </a:cubicBezTo>
                  <a:cubicBezTo>
                    <a:pt x="35" y="28"/>
                    <a:pt x="37" y="28"/>
                    <a:pt x="39" y="28"/>
                  </a:cubicBezTo>
                  <a:cubicBezTo>
                    <a:pt x="39" y="0"/>
                    <a:pt x="39" y="0"/>
                    <a:pt x="39" y="0"/>
                  </a:cubicBezTo>
                  <a:cubicBezTo>
                    <a:pt x="54" y="0"/>
                    <a:pt x="54" y="0"/>
                    <a:pt x="54" y="0"/>
                  </a:cubicBezTo>
                  <a:cubicBezTo>
                    <a:pt x="54" y="83"/>
                    <a:pt x="54" y="83"/>
                    <a:pt x="54" y="83"/>
                  </a:cubicBezTo>
                  <a:cubicBezTo>
                    <a:pt x="48" y="86"/>
                    <a:pt x="41" y="87"/>
                    <a:pt x="31" y="87"/>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EC881D"/>
                </a:solidFill>
              </a:endParaRPr>
            </a:p>
          </p:txBody>
        </p:sp>
        <p:sp>
          <p:nvSpPr>
            <p:cNvPr id="61" name="Freeform 60"/>
            <p:cNvSpPr>
              <a:spLocks noEditPoints="1"/>
            </p:cNvSpPr>
            <p:nvPr/>
          </p:nvSpPr>
          <p:spPr bwMode="auto">
            <a:xfrm>
              <a:off x="8641003" y="6620735"/>
              <a:ext cx="65533" cy="99278"/>
            </a:xfrm>
            <a:custGeom>
              <a:avLst/>
              <a:gdLst>
                <a:gd name="T0" fmla="*/ 28 w 57"/>
                <a:gd name="T1" fmla="*/ 49 h 86"/>
                <a:gd name="T2" fmla="*/ 16 w 57"/>
                <a:gd name="T3" fmla="*/ 49 h 86"/>
                <a:gd name="T4" fmla="*/ 16 w 57"/>
                <a:gd name="T5" fmla="*/ 73 h 86"/>
                <a:gd name="T6" fmla="*/ 26 w 57"/>
                <a:gd name="T7" fmla="*/ 73 h 86"/>
                <a:gd name="T8" fmla="*/ 41 w 57"/>
                <a:gd name="T9" fmla="*/ 60 h 86"/>
                <a:gd name="T10" fmla="*/ 28 w 57"/>
                <a:gd name="T11" fmla="*/ 49 h 86"/>
                <a:gd name="T12" fmla="*/ 25 w 57"/>
                <a:gd name="T13" fmla="*/ 13 h 86"/>
                <a:gd name="T14" fmla="*/ 16 w 57"/>
                <a:gd name="T15" fmla="*/ 13 h 86"/>
                <a:gd name="T16" fmla="*/ 16 w 57"/>
                <a:gd name="T17" fmla="*/ 36 h 86"/>
                <a:gd name="T18" fmla="*/ 24 w 57"/>
                <a:gd name="T19" fmla="*/ 36 h 86"/>
                <a:gd name="T20" fmla="*/ 36 w 57"/>
                <a:gd name="T21" fmla="*/ 24 h 86"/>
                <a:gd name="T22" fmla="*/ 25 w 57"/>
                <a:gd name="T23" fmla="*/ 13 h 86"/>
                <a:gd name="T24" fmla="*/ 27 w 57"/>
                <a:gd name="T25" fmla="*/ 86 h 86"/>
                <a:gd name="T26" fmla="*/ 0 w 57"/>
                <a:gd name="T27" fmla="*/ 86 h 86"/>
                <a:gd name="T28" fmla="*/ 0 w 57"/>
                <a:gd name="T29" fmla="*/ 0 h 86"/>
                <a:gd name="T30" fmla="*/ 27 w 57"/>
                <a:gd name="T31" fmla="*/ 0 h 86"/>
                <a:gd name="T32" fmla="*/ 52 w 57"/>
                <a:gd name="T33" fmla="*/ 22 h 86"/>
                <a:gd name="T34" fmla="*/ 42 w 57"/>
                <a:gd name="T35" fmla="*/ 40 h 86"/>
                <a:gd name="T36" fmla="*/ 42 w 57"/>
                <a:gd name="T37" fmla="*/ 41 h 86"/>
                <a:gd name="T38" fmla="*/ 57 w 57"/>
                <a:gd name="T39" fmla="*/ 60 h 86"/>
                <a:gd name="T40" fmla="*/ 27 w 57"/>
                <a:gd name="T4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7" h="86">
                  <a:moveTo>
                    <a:pt x="28" y="49"/>
                  </a:moveTo>
                  <a:cubicBezTo>
                    <a:pt x="16" y="49"/>
                    <a:pt x="16" y="49"/>
                    <a:pt x="16" y="49"/>
                  </a:cubicBezTo>
                  <a:cubicBezTo>
                    <a:pt x="16" y="73"/>
                    <a:pt x="16" y="73"/>
                    <a:pt x="16" y="73"/>
                  </a:cubicBezTo>
                  <a:cubicBezTo>
                    <a:pt x="26" y="73"/>
                    <a:pt x="26" y="73"/>
                    <a:pt x="26" y="73"/>
                  </a:cubicBezTo>
                  <a:cubicBezTo>
                    <a:pt x="36" y="73"/>
                    <a:pt x="41" y="68"/>
                    <a:pt x="41" y="60"/>
                  </a:cubicBezTo>
                  <a:cubicBezTo>
                    <a:pt x="41" y="54"/>
                    <a:pt x="36" y="49"/>
                    <a:pt x="28" y="49"/>
                  </a:cubicBezTo>
                  <a:moveTo>
                    <a:pt x="25" y="13"/>
                  </a:moveTo>
                  <a:cubicBezTo>
                    <a:pt x="16" y="13"/>
                    <a:pt x="16" y="13"/>
                    <a:pt x="16" y="13"/>
                  </a:cubicBezTo>
                  <a:cubicBezTo>
                    <a:pt x="16" y="36"/>
                    <a:pt x="16" y="36"/>
                    <a:pt x="16" y="36"/>
                  </a:cubicBezTo>
                  <a:cubicBezTo>
                    <a:pt x="24" y="36"/>
                    <a:pt x="24" y="36"/>
                    <a:pt x="24" y="36"/>
                  </a:cubicBezTo>
                  <a:cubicBezTo>
                    <a:pt x="31" y="36"/>
                    <a:pt x="36" y="31"/>
                    <a:pt x="36" y="24"/>
                  </a:cubicBezTo>
                  <a:cubicBezTo>
                    <a:pt x="36" y="18"/>
                    <a:pt x="32" y="13"/>
                    <a:pt x="25" y="13"/>
                  </a:cubicBezTo>
                  <a:moveTo>
                    <a:pt x="27" y="86"/>
                  </a:moveTo>
                  <a:cubicBezTo>
                    <a:pt x="0" y="86"/>
                    <a:pt x="0" y="86"/>
                    <a:pt x="0" y="86"/>
                  </a:cubicBezTo>
                  <a:cubicBezTo>
                    <a:pt x="0" y="0"/>
                    <a:pt x="0" y="0"/>
                    <a:pt x="0" y="0"/>
                  </a:cubicBezTo>
                  <a:cubicBezTo>
                    <a:pt x="27" y="0"/>
                    <a:pt x="27" y="0"/>
                    <a:pt x="27" y="0"/>
                  </a:cubicBezTo>
                  <a:cubicBezTo>
                    <a:pt x="47" y="0"/>
                    <a:pt x="52" y="12"/>
                    <a:pt x="52" y="22"/>
                  </a:cubicBezTo>
                  <a:cubicBezTo>
                    <a:pt x="52" y="31"/>
                    <a:pt x="49" y="36"/>
                    <a:pt x="42" y="40"/>
                  </a:cubicBezTo>
                  <a:cubicBezTo>
                    <a:pt x="42" y="41"/>
                    <a:pt x="42" y="41"/>
                    <a:pt x="42" y="41"/>
                  </a:cubicBezTo>
                  <a:cubicBezTo>
                    <a:pt x="53" y="42"/>
                    <a:pt x="57" y="50"/>
                    <a:pt x="57" y="60"/>
                  </a:cubicBezTo>
                  <a:cubicBezTo>
                    <a:pt x="57" y="73"/>
                    <a:pt x="49" y="86"/>
                    <a:pt x="27" y="8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EC881D"/>
                </a:solidFill>
              </a:endParaRPr>
            </a:p>
          </p:txBody>
        </p:sp>
        <p:sp>
          <p:nvSpPr>
            <p:cNvPr id="62" name="Freeform 61"/>
            <p:cNvSpPr>
              <a:spLocks/>
            </p:cNvSpPr>
            <p:nvPr/>
          </p:nvSpPr>
          <p:spPr bwMode="auto">
            <a:xfrm>
              <a:off x="8719251" y="6653012"/>
              <a:ext cx="44014" cy="68467"/>
            </a:xfrm>
            <a:custGeom>
              <a:avLst/>
              <a:gdLst>
                <a:gd name="T0" fmla="*/ 0 w 38"/>
                <a:gd name="T1" fmla="*/ 1 h 59"/>
                <a:gd name="T2" fmla="*/ 12 w 38"/>
                <a:gd name="T3" fmla="*/ 1 h 59"/>
                <a:gd name="T4" fmla="*/ 14 w 38"/>
                <a:gd name="T5" fmla="*/ 7 h 59"/>
                <a:gd name="T6" fmla="*/ 30 w 38"/>
                <a:gd name="T7" fmla="*/ 0 h 59"/>
                <a:gd name="T8" fmla="*/ 38 w 38"/>
                <a:gd name="T9" fmla="*/ 2 h 59"/>
                <a:gd name="T10" fmla="*/ 33 w 38"/>
                <a:gd name="T11" fmla="*/ 14 h 59"/>
                <a:gd name="T12" fmla="*/ 26 w 38"/>
                <a:gd name="T13" fmla="*/ 12 h 59"/>
                <a:gd name="T14" fmla="*/ 15 w 38"/>
                <a:gd name="T15" fmla="*/ 18 h 59"/>
                <a:gd name="T16" fmla="*/ 15 w 38"/>
                <a:gd name="T17" fmla="*/ 48 h 59"/>
                <a:gd name="T18" fmla="*/ 0 w 38"/>
                <a:gd name="T19" fmla="*/ 59 h 59"/>
                <a:gd name="T20" fmla="*/ 0 w 38"/>
                <a:gd name="T21" fmla="*/ 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59">
                  <a:moveTo>
                    <a:pt x="0" y="1"/>
                  </a:moveTo>
                  <a:cubicBezTo>
                    <a:pt x="12" y="1"/>
                    <a:pt x="12" y="1"/>
                    <a:pt x="12" y="1"/>
                  </a:cubicBezTo>
                  <a:cubicBezTo>
                    <a:pt x="14" y="7"/>
                    <a:pt x="14" y="7"/>
                    <a:pt x="14" y="7"/>
                  </a:cubicBezTo>
                  <a:cubicBezTo>
                    <a:pt x="20" y="2"/>
                    <a:pt x="24" y="0"/>
                    <a:pt x="30" y="0"/>
                  </a:cubicBezTo>
                  <a:cubicBezTo>
                    <a:pt x="33" y="0"/>
                    <a:pt x="36" y="0"/>
                    <a:pt x="38" y="2"/>
                  </a:cubicBezTo>
                  <a:cubicBezTo>
                    <a:pt x="33" y="14"/>
                    <a:pt x="33" y="14"/>
                    <a:pt x="33" y="14"/>
                  </a:cubicBezTo>
                  <a:cubicBezTo>
                    <a:pt x="30" y="13"/>
                    <a:pt x="28" y="12"/>
                    <a:pt x="26" y="12"/>
                  </a:cubicBezTo>
                  <a:cubicBezTo>
                    <a:pt x="22" y="12"/>
                    <a:pt x="19" y="14"/>
                    <a:pt x="15" y="18"/>
                  </a:cubicBezTo>
                  <a:cubicBezTo>
                    <a:pt x="15" y="48"/>
                    <a:pt x="15" y="48"/>
                    <a:pt x="15" y="48"/>
                  </a:cubicBezTo>
                  <a:cubicBezTo>
                    <a:pt x="15" y="59"/>
                    <a:pt x="0" y="59"/>
                    <a:pt x="0" y="59"/>
                  </a:cubicBez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EC881D"/>
                </a:solidFill>
              </a:endParaRPr>
            </a:p>
          </p:txBody>
        </p:sp>
        <p:sp>
          <p:nvSpPr>
            <p:cNvPr id="63" name="Freeform 62"/>
            <p:cNvSpPr>
              <a:spLocks noEditPoints="1"/>
            </p:cNvSpPr>
            <p:nvPr/>
          </p:nvSpPr>
          <p:spPr bwMode="auto">
            <a:xfrm>
              <a:off x="8764243" y="6653012"/>
              <a:ext cx="67000" cy="68467"/>
            </a:xfrm>
            <a:custGeom>
              <a:avLst/>
              <a:gdLst>
                <a:gd name="T0" fmla="*/ 29 w 58"/>
                <a:gd name="T1" fmla="*/ 11 h 59"/>
                <a:gd name="T2" fmla="*/ 15 w 58"/>
                <a:gd name="T3" fmla="*/ 29 h 59"/>
                <a:gd name="T4" fmla="*/ 29 w 58"/>
                <a:gd name="T5" fmla="*/ 48 h 59"/>
                <a:gd name="T6" fmla="*/ 43 w 58"/>
                <a:gd name="T7" fmla="*/ 29 h 59"/>
                <a:gd name="T8" fmla="*/ 29 w 58"/>
                <a:gd name="T9" fmla="*/ 11 h 59"/>
                <a:gd name="T10" fmla="*/ 50 w 58"/>
                <a:gd name="T11" fmla="*/ 51 h 59"/>
                <a:gd name="T12" fmla="*/ 29 w 58"/>
                <a:gd name="T13" fmla="*/ 59 h 59"/>
                <a:gd name="T14" fmla="*/ 9 w 58"/>
                <a:gd name="T15" fmla="*/ 52 h 59"/>
                <a:gd name="T16" fmla="*/ 0 w 58"/>
                <a:gd name="T17" fmla="*/ 30 h 59"/>
                <a:gd name="T18" fmla="*/ 9 w 58"/>
                <a:gd name="T19" fmla="*/ 8 h 59"/>
                <a:gd name="T20" fmla="*/ 29 w 58"/>
                <a:gd name="T21" fmla="*/ 0 h 59"/>
                <a:gd name="T22" fmla="*/ 50 w 58"/>
                <a:gd name="T23" fmla="*/ 8 h 59"/>
                <a:gd name="T24" fmla="*/ 58 w 58"/>
                <a:gd name="T25" fmla="*/ 29 h 59"/>
                <a:gd name="T26" fmla="*/ 50 w 58"/>
                <a:gd name="T27" fmla="*/ 5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59">
                  <a:moveTo>
                    <a:pt x="29" y="11"/>
                  </a:moveTo>
                  <a:cubicBezTo>
                    <a:pt x="20" y="11"/>
                    <a:pt x="15" y="19"/>
                    <a:pt x="15" y="29"/>
                  </a:cubicBezTo>
                  <a:cubicBezTo>
                    <a:pt x="15" y="41"/>
                    <a:pt x="20" y="48"/>
                    <a:pt x="29" y="48"/>
                  </a:cubicBezTo>
                  <a:cubicBezTo>
                    <a:pt x="38" y="48"/>
                    <a:pt x="43" y="40"/>
                    <a:pt x="43" y="29"/>
                  </a:cubicBezTo>
                  <a:cubicBezTo>
                    <a:pt x="43" y="18"/>
                    <a:pt x="38" y="11"/>
                    <a:pt x="29" y="11"/>
                  </a:cubicBezTo>
                  <a:moveTo>
                    <a:pt x="50" y="51"/>
                  </a:moveTo>
                  <a:cubicBezTo>
                    <a:pt x="45" y="56"/>
                    <a:pt x="38" y="59"/>
                    <a:pt x="29" y="59"/>
                  </a:cubicBezTo>
                  <a:cubicBezTo>
                    <a:pt x="21" y="59"/>
                    <a:pt x="14" y="57"/>
                    <a:pt x="9" y="52"/>
                  </a:cubicBezTo>
                  <a:cubicBezTo>
                    <a:pt x="3" y="47"/>
                    <a:pt x="0" y="39"/>
                    <a:pt x="0" y="30"/>
                  </a:cubicBezTo>
                  <a:cubicBezTo>
                    <a:pt x="0" y="21"/>
                    <a:pt x="3" y="13"/>
                    <a:pt x="9" y="8"/>
                  </a:cubicBezTo>
                  <a:cubicBezTo>
                    <a:pt x="14" y="3"/>
                    <a:pt x="21" y="0"/>
                    <a:pt x="29" y="0"/>
                  </a:cubicBezTo>
                  <a:cubicBezTo>
                    <a:pt x="38" y="0"/>
                    <a:pt x="45" y="3"/>
                    <a:pt x="50" y="8"/>
                  </a:cubicBezTo>
                  <a:cubicBezTo>
                    <a:pt x="55" y="13"/>
                    <a:pt x="58" y="21"/>
                    <a:pt x="58" y="29"/>
                  </a:cubicBezTo>
                  <a:cubicBezTo>
                    <a:pt x="58" y="38"/>
                    <a:pt x="55" y="46"/>
                    <a:pt x="50" y="5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EC881D"/>
                </a:solidFill>
              </a:endParaRPr>
            </a:p>
          </p:txBody>
        </p:sp>
        <p:sp>
          <p:nvSpPr>
            <p:cNvPr id="64" name="Freeform 63"/>
            <p:cNvSpPr>
              <a:spLocks/>
            </p:cNvSpPr>
            <p:nvPr/>
          </p:nvSpPr>
          <p:spPr bwMode="auto">
            <a:xfrm>
              <a:off x="8833688" y="6654479"/>
              <a:ext cx="104167" cy="70423"/>
            </a:xfrm>
            <a:custGeom>
              <a:avLst/>
              <a:gdLst>
                <a:gd name="T0" fmla="*/ 15 w 90"/>
                <a:gd name="T1" fmla="*/ 0 h 61"/>
                <a:gd name="T2" fmla="*/ 27 w 90"/>
                <a:gd name="T3" fmla="*/ 39 h 61"/>
                <a:gd name="T4" fmla="*/ 27 w 90"/>
                <a:gd name="T5" fmla="*/ 39 h 61"/>
                <a:gd name="T6" fmla="*/ 40 w 90"/>
                <a:gd name="T7" fmla="*/ 0 h 61"/>
                <a:gd name="T8" fmla="*/ 51 w 90"/>
                <a:gd name="T9" fmla="*/ 0 h 61"/>
                <a:gd name="T10" fmla="*/ 64 w 90"/>
                <a:gd name="T11" fmla="*/ 39 h 61"/>
                <a:gd name="T12" fmla="*/ 64 w 90"/>
                <a:gd name="T13" fmla="*/ 39 h 61"/>
                <a:gd name="T14" fmla="*/ 76 w 90"/>
                <a:gd name="T15" fmla="*/ 0 h 61"/>
                <a:gd name="T16" fmla="*/ 90 w 90"/>
                <a:gd name="T17" fmla="*/ 0 h 61"/>
                <a:gd name="T18" fmla="*/ 73 w 90"/>
                <a:gd name="T19" fmla="*/ 47 h 61"/>
                <a:gd name="T20" fmla="*/ 58 w 90"/>
                <a:gd name="T21" fmla="*/ 58 h 61"/>
                <a:gd name="T22" fmla="*/ 45 w 90"/>
                <a:gd name="T23" fmla="*/ 19 h 61"/>
                <a:gd name="T24" fmla="*/ 44 w 90"/>
                <a:gd name="T25" fmla="*/ 19 h 61"/>
                <a:gd name="T26" fmla="*/ 35 w 90"/>
                <a:gd name="T27" fmla="*/ 47 h 61"/>
                <a:gd name="T28" fmla="*/ 20 w 90"/>
                <a:gd name="T29" fmla="*/ 58 h 61"/>
                <a:gd name="T30" fmla="*/ 0 w 90"/>
                <a:gd name="T31" fmla="*/ 0 h 61"/>
                <a:gd name="T32" fmla="*/ 15 w 90"/>
                <a:gd name="T33"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61">
                  <a:moveTo>
                    <a:pt x="15" y="0"/>
                  </a:moveTo>
                  <a:cubicBezTo>
                    <a:pt x="27" y="39"/>
                    <a:pt x="27" y="39"/>
                    <a:pt x="27" y="39"/>
                  </a:cubicBezTo>
                  <a:cubicBezTo>
                    <a:pt x="27" y="39"/>
                    <a:pt x="27" y="39"/>
                    <a:pt x="27" y="39"/>
                  </a:cubicBezTo>
                  <a:cubicBezTo>
                    <a:pt x="40" y="0"/>
                    <a:pt x="40" y="0"/>
                    <a:pt x="40" y="0"/>
                  </a:cubicBezTo>
                  <a:cubicBezTo>
                    <a:pt x="51" y="0"/>
                    <a:pt x="51" y="0"/>
                    <a:pt x="51" y="0"/>
                  </a:cubicBezTo>
                  <a:cubicBezTo>
                    <a:pt x="64" y="39"/>
                    <a:pt x="64" y="39"/>
                    <a:pt x="64" y="39"/>
                  </a:cubicBezTo>
                  <a:cubicBezTo>
                    <a:pt x="64" y="39"/>
                    <a:pt x="64" y="39"/>
                    <a:pt x="64" y="39"/>
                  </a:cubicBezTo>
                  <a:cubicBezTo>
                    <a:pt x="76" y="0"/>
                    <a:pt x="76" y="0"/>
                    <a:pt x="76" y="0"/>
                  </a:cubicBezTo>
                  <a:cubicBezTo>
                    <a:pt x="90" y="0"/>
                    <a:pt x="90" y="0"/>
                    <a:pt x="90" y="0"/>
                  </a:cubicBezTo>
                  <a:cubicBezTo>
                    <a:pt x="73" y="47"/>
                    <a:pt x="73" y="47"/>
                    <a:pt x="73" y="47"/>
                  </a:cubicBezTo>
                  <a:cubicBezTo>
                    <a:pt x="73" y="47"/>
                    <a:pt x="69" y="61"/>
                    <a:pt x="58" y="58"/>
                  </a:cubicBezTo>
                  <a:cubicBezTo>
                    <a:pt x="45" y="19"/>
                    <a:pt x="45" y="19"/>
                    <a:pt x="45" y="19"/>
                  </a:cubicBezTo>
                  <a:cubicBezTo>
                    <a:pt x="44" y="19"/>
                    <a:pt x="44" y="19"/>
                    <a:pt x="44" y="19"/>
                  </a:cubicBezTo>
                  <a:cubicBezTo>
                    <a:pt x="35" y="47"/>
                    <a:pt x="35" y="47"/>
                    <a:pt x="35" y="47"/>
                  </a:cubicBezTo>
                  <a:cubicBezTo>
                    <a:pt x="35" y="47"/>
                    <a:pt x="31" y="61"/>
                    <a:pt x="20" y="58"/>
                  </a:cubicBezTo>
                  <a:cubicBezTo>
                    <a:pt x="0" y="0"/>
                    <a:pt x="0" y="0"/>
                    <a:pt x="0" y="0"/>
                  </a:cubicBez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EC881D"/>
                </a:solidFill>
              </a:endParaRPr>
            </a:p>
          </p:txBody>
        </p:sp>
        <p:sp>
          <p:nvSpPr>
            <p:cNvPr id="65" name="Freeform 64"/>
            <p:cNvSpPr>
              <a:spLocks/>
            </p:cNvSpPr>
            <p:nvPr/>
          </p:nvSpPr>
          <p:spPr bwMode="auto">
            <a:xfrm>
              <a:off x="8947148" y="6653012"/>
              <a:ext cx="59664" cy="68467"/>
            </a:xfrm>
            <a:custGeom>
              <a:avLst/>
              <a:gdLst>
                <a:gd name="T0" fmla="*/ 52 w 52"/>
                <a:gd name="T1" fmla="*/ 20 h 59"/>
                <a:gd name="T2" fmla="*/ 52 w 52"/>
                <a:gd name="T3" fmla="*/ 48 h 59"/>
                <a:gd name="T4" fmla="*/ 38 w 52"/>
                <a:gd name="T5" fmla="*/ 59 h 59"/>
                <a:gd name="T6" fmla="*/ 38 w 52"/>
                <a:gd name="T7" fmla="*/ 24 h 59"/>
                <a:gd name="T8" fmla="*/ 29 w 52"/>
                <a:gd name="T9" fmla="*/ 12 h 59"/>
                <a:gd name="T10" fmla="*/ 15 w 52"/>
                <a:gd name="T11" fmla="*/ 18 h 59"/>
                <a:gd name="T12" fmla="*/ 15 w 52"/>
                <a:gd name="T13" fmla="*/ 48 h 59"/>
                <a:gd name="T14" fmla="*/ 0 w 52"/>
                <a:gd name="T15" fmla="*/ 59 h 59"/>
                <a:gd name="T16" fmla="*/ 0 w 52"/>
                <a:gd name="T17" fmla="*/ 1 h 59"/>
                <a:gd name="T18" fmla="*/ 13 w 52"/>
                <a:gd name="T19" fmla="*/ 1 h 59"/>
                <a:gd name="T20" fmla="*/ 14 w 52"/>
                <a:gd name="T21" fmla="*/ 7 h 59"/>
                <a:gd name="T22" fmla="*/ 34 w 52"/>
                <a:gd name="T23" fmla="*/ 0 h 59"/>
                <a:gd name="T24" fmla="*/ 52 w 52"/>
                <a:gd name="T25"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 h="59">
                  <a:moveTo>
                    <a:pt x="52" y="20"/>
                  </a:moveTo>
                  <a:cubicBezTo>
                    <a:pt x="52" y="48"/>
                    <a:pt x="52" y="48"/>
                    <a:pt x="52" y="48"/>
                  </a:cubicBezTo>
                  <a:cubicBezTo>
                    <a:pt x="52" y="59"/>
                    <a:pt x="38" y="59"/>
                    <a:pt x="38" y="59"/>
                  </a:cubicBezTo>
                  <a:cubicBezTo>
                    <a:pt x="38" y="24"/>
                    <a:pt x="38" y="24"/>
                    <a:pt x="38" y="24"/>
                  </a:cubicBezTo>
                  <a:cubicBezTo>
                    <a:pt x="38" y="19"/>
                    <a:pt x="37" y="12"/>
                    <a:pt x="29" y="12"/>
                  </a:cubicBezTo>
                  <a:cubicBezTo>
                    <a:pt x="24" y="12"/>
                    <a:pt x="19" y="15"/>
                    <a:pt x="15" y="18"/>
                  </a:cubicBezTo>
                  <a:cubicBezTo>
                    <a:pt x="15" y="48"/>
                    <a:pt x="15" y="48"/>
                    <a:pt x="15" y="48"/>
                  </a:cubicBezTo>
                  <a:cubicBezTo>
                    <a:pt x="15" y="59"/>
                    <a:pt x="0" y="59"/>
                    <a:pt x="0" y="59"/>
                  </a:cubicBezTo>
                  <a:cubicBezTo>
                    <a:pt x="0" y="1"/>
                    <a:pt x="0" y="1"/>
                    <a:pt x="0" y="1"/>
                  </a:cubicBezTo>
                  <a:cubicBezTo>
                    <a:pt x="13" y="1"/>
                    <a:pt x="13" y="1"/>
                    <a:pt x="13" y="1"/>
                  </a:cubicBezTo>
                  <a:cubicBezTo>
                    <a:pt x="14" y="7"/>
                    <a:pt x="14" y="7"/>
                    <a:pt x="14" y="7"/>
                  </a:cubicBezTo>
                  <a:cubicBezTo>
                    <a:pt x="20" y="2"/>
                    <a:pt x="27" y="0"/>
                    <a:pt x="34" y="0"/>
                  </a:cubicBezTo>
                  <a:cubicBezTo>
                    <a:pt x="43" y="0"/>
                    <a:pt x="52" y="5"/>
                    <a:pt x="52" y="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EC881D"/>
                </a:solidFill>
              </a:endParaRPr>
            </a:p>
          </p:txBody>
        </p:sp>
      </p:grpSp>
      <p:sp>
        <p:nvSpPr>
          <p:cNvPr id="40" name="Text Placeholder 2"/>
          <p:cNvSpPr>
            <a:spLocks noGrp="1"/>
          </p:cNvSpPr>
          <p:nvPr>
            <p:ph type="body" sz="quarter" idx="25" hasCustomPrompt="1"/>
          </p:nvPr>
        </p:nvSpPr>
        <p:spPr>
          <a:xfrm>
            <a:off x="6202363" y="4807465"/>
            <a:ext cx="1160462" cy="341313"/>
          </a:xfrm>
          <a:prstGeom prst="rect">
            <a:avLst/>
          </a:prstGeom>
        </p:spPr>
        <p:txBody>
          <a:bodyPr anchor="ctr"/>
          <a:lstStyle>
            <a:lvl1pPr marL="0" indent="0" algn="ctr">
              <a:buNone/>
              <a:defRPr sz="800">
                <a:solidFill>
                  <a:schemeClr val="bg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sp>
        <p:nvSpPr>
          <p:cNvPr id="29"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solidFill>
                  <a:schemeClr val="bg1">
                    <a:lumMod val="65000"/>
                  </a:schemeClr>
                </a:solidFill>
                <a:latin typeface="+mn-lt"/>
              </a:rPr>
              <a:t>Private and Confidental</a:t>
            </a:r>
            <a:endParaRPr lang="pt-BR" sz="500" dirty="0">
              <a:solidFill>
                <a:schemeClr val="bg1">
                  <a:lumMod val="65000"/>
                </a:schemeClr>
              </a:solidFill>
              <a:latin typeface="+mn-lt"/>
            </a:endParaRPr>
          </a:p>
        </p:txBody>
      </p:sp>
    </p:spTree>
    <p:extLst>
      <p:ext uri="{BB962C8B-B14F-4D97-AF65-F5344CB8AC3E}">
        <p14:creationId xmlns:p14="http://schemas.microsoft.com/office/powerpoint/2010/main" val="2561921085"/>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vider_Slate_3">
    <p:bg>
      <p:bgPr>
        <a:solidFill>
          <a:schemeClr val="bg1"/>
        </a:solidFill>
        <a:effectLst/>
      </p:bgPr>
    </p:bg>
    <p:spTree>
      <p:nvGrpSpPr>
        <p:cNvPr id="1" name=""/>
        <p:cNvGrpSpPr/>
        <p:nvPr/>
      </p:nvGrpSpPr>
      <p:grpSpPr>
        <a:xfrm>
          <a:off x="0" y="0"/>
          <a:ext cx="0" cy="0"/>
          <a:chOff x="0" y="0"/>
          <a:chExt cx="0" cy="0"/>
        </a:xfrm>
      </p:grpSpPr>
      <p:sp>
        <p:nvSpPr>
          <p:cNvPr id="31" name="Rectangle 30"/>
          <p:cNvSpPr/>
          <p:nvPr userDrawn="1"/>
        </p:nvSpPr>
        <p:spPr>
          <a:xfrm>
            <a:off x="0" y="0"/>
            <a:ext cx="9144000" cy="5148263"/>
          </a:xfrm>
          <a:prstGeom prst="rect">
            <a:avLst/>
          </a:prstGeom>
          <a:solidFill>
            <a:srgbClr val="4B4E53"/>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en-GB" sz="1050" smtClean="0">
              <a:solidFill>
                <a:schemeClr val="bg1"/>
              </a:solidFill>
              <a:latin typeface="Arial" panose="020B0604020202020204" pitchFamily="34" charset="0"/>
              <a:cs typeface="Arial" panose="020B0604020202020204" pitchFamily="34" charset="0"/>
            </a:endParaRPr>
          </a:p>
        </p:txBody>
      </p:sp>
      <p:cxnSp>
        <p:nvCxnSpPr>
          <p:cNvPr id="27" name="Straight Connector 26"/>
          <p:cNvCxnSpPr/>
          <p:nvPr userDrawn="1"/>
        </p:nvCxnSpPr>
        <p:spPr>
          <a:xfrm>
            <a:off x="353867" y="4801146"/>
            <a:ext cx="8460000" cy="0"/>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sp>
        <p:nvSpPr>
          <p:cNvPr id="67"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chemeClr val="bg1"/>
                </a:solidFill>
                <a:latin typeface="+mn-lt"/>
              </a:defRPr>
            </a:lvl1pPr>
          </a:lstStyle>
          <a:p>
            <a:fld id="{19AB4E72-7858-48F1-A40D-12FF09E4BFB8}" type="slidenum">
              <a:rPr lang="en-GB" smtClean="0"/>
              <a:pPr/>
              <a:t>‹Nº›</a:t>
            </a:fld>
            <a:endParaRPr lang="en-GB"/>
          </a:p>
        </p:txBody>
      </p:sp>
      <p:sp>
        <p:nvSpPr>
          <p:cNvPr id="36" name="Title 1"/>
          <p:cNvSpPr>
            <a:spLocks noGrp="1"/>
          </p:cNvSpPr>
          <p:nvPr>
            <p:ph type="ctrTitle" hasCustomPrompt="1"/>
          </p:nvPr>
        </p:nvSpPr>
        <p:spPr>
          <a:xfrm>
            <a:off x="353867" y="2831617"/>
            <a:ext cx="8460000" cy="443198"/>
          </a:xfrm>
          <a:prstGeom prst="rect">
            <a:avLst/>
          </a:prstGeom>
        </p:spPr>
        <p:txBody>
          <a:bodyPr lIns="0" tIns="0" rIns="0" bIns="0" anchor="b"/>
          <a:lstStyle>
            <a:lvl1pPr algn="ctr">
              <a:lnSpc>
                <a:spcPct val="90000"/>
              </a:lnSpc>
              <a:defRPr sz="3200" b="0">
                <a:solidFill>
                  <a:schemeClr val="bg1"/>
                </a:solidFill>
              </a:defRPr>
            </a:lvl1pPr>
          </a:lstStyle>
          <a:p>
            <a:r>
              <a:rPr lang="en-US" dirty="0" smtClean="0"/>
              <a:t>Click to edit Master title Style</a:t>
            </a:r>
            <a:endParaRPr lang="en-US" dirty="0"/>
          </a:p>
        </p:txBody>
      </p:sp>
      <p:sp>
        <p:nvSpPr>
          <p:cNvPr id="37" name="Subtitle 2"/>
          <p:cNvSpPr>
            <a:spLocks noGrp="1"/>
          </p:cNvSpPr>
          <p:nvPr>
            <p:ph type="subTitle" idx="1" hasCustomPrompt="1"/>
          </p:nvPr>
        </p:nvSpPr>
        <p:spPr>
          <a:xfrm>
            <a:off x="353867" y="3474100"/>
            <a:ext cx="8460000" cy="202165"/>
          </a:xfrm>
          <a:prstGeom prst="rect">
            <a:avLst/>
          </a:prstGeom>
        </p:spPr>
        <p:txBody>
          <a:bodyPr lIns="0" tIns="0" rIns="0" bIns="0">
            <a:noAutofit/>
          </a:bodyPr>
          <a:lstStyle>
            <a:lvl1pPr marL="0" indent="0" algn="ctr">
              <a:buNone/>
              <a:defRPr sz="1400">
                <a:solidFill>
                  <a:schemeClr val="tx2"/>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cxnSp>
        <p:nvCxnSpPr>
          <p:cNvPr id="38" name="Straight Connector 37"/>
          <p:cNvCxnSpPr/>
          <p:nvPr userDrawn="1"/>
        </p:nvCxnSpPr>
        <p:spPr>
          <a:xfrm>
            <a:off x="353867" y="3376008"/>
            <a:ext cx="8460000" cy="0"/>
          </a:xfrm>
          <a:prstGeom prst="line">
            <a:avLst/>
          </a:prstGeom>
          <a:ln w="12700" cmpd="sng">
            <a:solidFill>
              <a:schemeClr val="bg1"/>
            </a:solidFill>
          </a:ln>
        </p:spPr>
        <p:style>
          <a:lnRef idx="1">
            <a:schemeClr val="accent1"/>
          </a:lnRef>
          <a:fillRef idx="0">
            <a:schemeClr val="accent1"/>
          </a:fillRef>
          <a:effectRef idx="0">
            <a:schemeClr val="accent1"/>
          </a:effectRef>
          <a:fontRef idx="minor">
            <a:schemeClr val="tx1"/>
          </a:fontRef>
        </p:style>
      </p:cxnSp>
      <p:pic>
        <p:nvPicPr>
          <p:cNvPr id="33" name="Picture 32" descr="cookie_white.png"/>
          <p:cNvPicPr>
            <a:picLocks noChangeAspect="1"/>
          </p:cNvPicPr>
          <p:nvPr userDrawn="1"/>
        </p:nvPicPr>
        <p:blipFill rotWithShape="1">
          <a:blip r:embed="rId2" cstate="screen">
            <a:alphaModFix amt="16000"/>
            <a:extLst>
              <a:ext uri="{28A0092B-C50C-407E-A947-70E740481C1C}">
                <a14:useLocalDpi xmlns:a14="http://schemas.microsoft.com/office/drawing/2010/main"/>
              </a:ext>
            </a:extLst>
          </a:blip>
          <a:srcRect/>
          <a:stretch/>
        </p:blipFill>
        <p:spPr>
          <a:xfrm flipH="1">
            <a:off x="5149029" y="2289839"/>
            <a:ext cx="4020091" cy="2880000"/>
          </a:xfrm>
          <a:prstGeom prst="rect">
            <a:avLst/>
          </a:prstGeom>
        </p:spPr>
      </p:pic>
      <p:cxnSp>
        <p:nvCxnSpPr>
          <p:cNvPr id="39" name="Straight Connector 38"/>
          <p:cNvCxnSpPr/>
          <p:nvPr userDrawn="1"/>
        </p:nvCxnSpPr>
        <p:spPr>
          <a:xfrm>
            <a:off x="353867" y="470176"/>
            <a:ext cx="8460000" cy="0"/>
          </a:xfrm>
          <a:prstGeom prst="line">
            <a:avLst/>
          </a:prstGeom>
          <a:ln w="6350" cmpd="sng">
            <a:solidFill>
              <a:srgbClr val="FFFFFF"/>
            </a:solidFill>
          </a:ln>
        </p:spPr>
        <p:style>
          <a:lnRef idx="1">
            <a:schemeClr val="accent1"/>
          </a:lnRef>
          <a:fillRef idx="0">
            <a:schemeClr val="accent1"/>
          </a:fillRef>
          <a:effectRef idx="0">
            <a:schemeClr val="accent1"/>
          </a:effectRef>
          <a:fontRef idx="minor">
            <a:schemeClr val="tx1"/>
          </a:fontRef>
        </p:style>
      </p:cxnSp>
      <p:grpSp>
        <p:nvGrpSpPr>
          <p:cNvPr id="28" name="Group 27"/>
          <p:cNvGrpSpPr/>
          <p:nvPr userDrawn="1"/>
        </p:nvGrpSpPr>
        <p:grpSpPr>
          <a:xfrm>
            <a:off x="7681625" y="4907921"/>
            <a:ext cx="1124815" cy="156007"/>
            <a:chOff x="7881997" y="6590903"/>
            <a:chExt cx="1124815" cy="156007"/>
          </a:xfrm>
          <a:solidFill>
            <a:schemeClr val="bg1"/>
          </a:solidFill>
        </p:grpSpPr>
        <p:sp>
          <p:nvSpPr>
            <p:cNvPr id="30" name="Freeform 29"/>
            <p:cNvSpPr>
              <a:spLocks/>
            </p:cNvSpPr>
            <p:nvPr/>
          </p:nvSpPr>
          <p:spPr bwMode="auto">
            <a:xfrm>
              <a:off x="7881997" y="6590903"/>
              <a:ext cx="100255" cy="156007"/>
            </a:xfrm>
            <a:custGeom>
              <a:avLst/>
              <a:gdLst>
                <a:gd name="T0" fmla="*/ 87 w 87"/>
                <a:gd name="T1" fmla="*/ 15 h 135"/>
                <a:gd name="T2" fmla="*/ 87 w 87"/>
                <a:gd name="T3" fmla="*/ 44 h 135"/>
                <a:gd name="T4" fmla="*/ 72 w 87"/>
                <a:gd name="T5" fmla="*/ 29 h 135"/>
                <a:gd name="T6" fmla="*/ 56 w 87"/>
                <a:gd name="T7" fmla="*/ 28 h 135"/>
                <a:gd name="T8" fmla="*/ 57 w 87"/>
                <a:gd name="T9" fmla="*/ 44 h 135"/>
                <a:gd name="T10" fmla="*/ 87 w 87"/>
                <a:gd name="T11" fmla="*/ 73 h 135"/>
                <a:gd name="T12" fmla="*/ 87 w 87"/>
                <a:gd name="T13" fmla="*/ 102 h 135"/>
                <a:gd name="T14" fmla="*/ 43 w 87"/>
                <a:gd name="T15" fmla="*/ 58 h 135"/>
                <a:gd name="T16" fmla="*/ 27 w 87"/>
                <a:gd name="T17" fmla="*/ 57 h 135"/>
                <a:gd name="T18" fmla="*/ 28 w 87"/>
                <a:gd name="T19" fmla="*/ 73 h 135"/>
                <a:gd name="T20" fmla="*/ 76 w 87"/>
                <a:gd name="T21" fmla="*/ 120 h 135"/>
                <a:gd name="T22" fmla="*/ 62 w 87"/>
                <a:gd name="T23" fmla="*/ 135 h 135"/>
                <a:gd name="T24" fmla="*/ 14 w 87"/>
                <a:gd name="T25" fmla="*/ 87 h 135"/>
                <a:gd name="T26" fmla="*/ 13 w 87"/>
                <a:gd name="T27" fmla="*/ 43 h 135"/>
                <a:gd name="T28" fmla="*/ 34 w 87"/>
                <a:gd name="T29" fmla="*/ 35 h 135"/>
                <a:gd name="T30" fmla="*/ 42 w 87"/>
                <a:gd name="T31" fmla="*/ 13 h 135"/>
                <a:gd name="T32" fmla="*/ 86 w 87"/>
                <a:gd name="T33" fmla="*/ 15 h 135"/>
                <a:gd name="T34" fmla="*/ 87 w 87"/>
                <a:gd name="T35" fmla="*/ 1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7" h="135">
                  <a:moveTo>
                    <a:pt x="87" y="15"/>
                  </a:moveTo>
                  <a:cubicBezTo>
                    <a:pt x="87" y="44"/>
                    <a:pt x="87" y="44"/>
                    <a:pt x="87" y="44"/>
                  </a:cubicBezTo>
                  <a:cubicBezTo>
                    <a:pt x="72" y="29"/>
                    <a:pt x="72" y="29"/>
                    <a:pt x="72" y="29"/>
                  </a:cubicBezTo>
                  <a:cubicBezTo>
                    <a:pt x="66" y="24"/>
                    <a:pt x="60" y="24"/>
                    <a:pt x="56" y="28"/>
                  </a:cubicBezTo>
                  <a:cubicBezTo>
                    <a:pt x="52" y="32"/>
                    <a:pt x="52" y="38"/>
                    <a:pt x="57" y="44"/>
                  </a:cubicBezTo>
                  <a:cubicBezTo>
                    <a:pt x="87" y="73"/>
                    <a:pt x="87" y="73"/>
                    <a:pt x="87" y="73"/>
                  </a:cubicBezTo>
                  <a:cubicBezTo>
                    <a:pt x="87" y="102"/>
                    <a:pt x="87" y="102"/>
                    <a:pt x="87" y="102"/>
                  </a:cubicBezTo>
                  <a:cubicBezTo>
                    <a:pt x="43" y="58"/>
                    <a:pt x="43" y="58"/>
                    <a:pt x="43" y="58"/>
                  </a:cubicBezTo>
                  <a:cubicBezTo>
                    <a:pt x="37" y="53"/>
                    <a:pt x="31" y="53"/>
                    <a:pt x="27" y="57"/>
                  </a:cubicBezTo>
                  <a:cubicBezTo>
                    <a:pt x="23" y="60"/>
                    <a:pt x="23" y="67"/>
                    <a:pt x="28" y="73"/>
                  </a:cubicBezTo>
                  <a:cubicBezTo>
                    <a:pt x="76" y="120"/>
                    <a:pt x="76" y="120"/>
                    <a:pt x="76" y="120"/>
                  </a:cubicBezTo>
                  <a:cubicBezTo>
                    <a:pt x="62" y="135"/>
                    <a:pt x="62" y="135"/>
                    <a:pt x="62" y="135"/>
                  </a:cubicBezTo>
                  <a:cubicBezTo>
                    <a:pt x="14" y="87"/>
                    <a:pt x="14" y="87"/>
                    <a:pt x="14" y="87"/>
                  </a:cubicBezTo>
                  <a:cubicBezTo>
                    <a:pt x="0" y="73"/>
                    <a:pt x="1" y="54"/>
                    <a:pt x="13" y="43"/>
                  </a:cubicBezTo>
                  <a:cubicBezTo>
                    <a:pt x="21" y="35"/>
                    <a:pt x="30" y="34"/>
                    <a:pt x="34" y="35"/>
                  </a:cubicBezTo>
                  <a:cubicBezTo>
                    <a:pt x="33" y="31"/>
                    <a:pt x="34" y="22"/>
                    <a:pt x="42" y="13"/>
                  </a:cubicBezTo>
                  <a:cubicBezTo>
                    <a:pt x="54" y="2"/>
                    <a:pt x="73" y="0"/>
                    <a:pt x="86" y="15"/>
                  </a:cubicBezTo>
                  <a:lnTo>
                    <a:pt x="87" y="15"/>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EC881D"/>
                </a:solidFill>
              </a:endParaRPr>
            </a:p>
          </p:txBody>
        </p:sp>
        <p:sp>
          <p:nvSpPr>
            <p:cNvPr id="32" name="Freeform 31"/>
            <p:cNvSpPr>
              <a:spLocks/>
            </p:cNvSpPr>
            <p:nvPr/>
          </p:nvSpPr>
          <p:spPr bwMode="auto">
            <a:xfrm>
              <a:off x="7982252" y="6590903"/>
              <a:ext cx="100744" cy="156007"/>
            </a:xfrm>
            <a:custGeom>
              <a:avLst/>
              <a:gdLst>
                <a:gd name="T0" fmla="*/ 0 w 87"/>
                <a:gd name="T1" fmla="*/ 44 h 135"/>
                <a:gd name="T2" fmla="*/ 0 w 87"/>
                <a:gd name="T3" fmla="*/ 15 h 135"/>
                <a:gd name="T4" fmla="*/ 1 w 87"/>
                <a:gd name="T5" fmla="*/ 15 h 135"/>
                <a:gd name="T6" fmla="*/ 44 w 87"/>
                <a:gd name="T7" fmla="*/ 13 h 135"/>
                <a:gd name="T8" fmla="*/ 53 w 87"/>
                <a:gd name="T9" fmla="*/ 35 h 135"/>
                <a:gd name="T10" fmla="*/ 74 w 87"/>
                <a:gd name="T11" fmla="*/ 43 h 135"/>
                <a:gd name="T12" fmla="*/ 73 w 87"/>
                <a:gd name="T13" fmla="*/ 87 h 135"/>
                <a:gd name="T14" fmla="*/ 25 w 87"/>
                <a:gd name="T15" fmla="*/ 135 h 135"/>
                <a:gd name="T16" fmla="*/ 11 w 87"/>
                <a:gd name="T17" fmla="*/ 120 h 135"/>
                <a:gd name="T18" fmla="*/ 58 w 87"/>
                <a:gd name="T19" fmla="*/ 73 h 135"/>
                <a:gd name="T20" fmla="*/ 60 w 87"/>
                <a:gd name="T21" fmla="*/ 57 h 135"/>
                <a:gd name="T22" fmla="*/ 44 w 87"/>
                <a:gd name="T23" fmla="*/ 58 h 135"/>
                <a:gd name="T24" fmla="*/ 0 w 87"/>
                <a:gd name="T25" fmla="*/ 102 h 135"/>
                <a:gd name="T26" fmla="*/ 0 w 87"/>
                <a:gd name="T27" fmla="*/ 73 h 135"/>
                <a:gd name="T28" fmla="*/ 29 w 87"/>
                <a:gd name="T29" fmla="*/ 44 h 135"/>
                <a:gd name="T30" fmla="*/ 31 w 87"/>
                <a:gd name="T31" fmla="*/ 28 h 135"/>
                <a:gd name="T32" fmla="*/ 15 w 87"/>
                <a:gd name="T33" fmla="*/ 29 h 135"/>
                <a:gd name="T34" fmla="*/ 0 w 87"/>
                <a:gd name="T35" fmla="*/ 44 h 135"/>
                <a:gd name="T36" fmla="*/ 0 w 87"/>
                <a:gd name="T37" fmla="*/ 15 h 135"/>
                <a:gd name="T38" fmla="*/ 0 w 87"/>
                <a:gd name="T39" fmla="*/ 44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7" h="135">
                  <a:moveTo>
                    <a:pt x="0" y="44"/>
                  </a:moveTo>
                  <a:cubicBezTo>
                    <a:pt x="0" y="15"/>
                    <a:pt x="0" y="15"/>
                    <a:pt x="0" y="15"/>
                  </a:cubicBezTo>
                  <a:cubicBezTo>
                    <a:pt x="1" y="15"/>
                    <a:pt x="1" y="15"/>
                    <a:pt x="1" y="15"/>
                  </a:cubicBezTo>
                  <a:cubicBezTo>
                    <a:pt x="15" y="0"/>
                    <a:pt x="33" y="2"/>
                    <a:pt x="44" y="13"/>
                  </a:cubicBezTo>
                  <a:cubicBezTo>
                    <a:pt x="53" y="22"/>
                    <a:pt x="53" y="31"/>
                    <a:pt x="53" y="35"/>
                  </a:cubicBezTo>
                  <a:cubicBezTo>
                    <a:pt x="57" y="34"/>
                    <a:pt x="66" y="35"/>
                    <a:pt x="74" y="43"/>
                  </a:cubicBezTo>
                  <a:cubicBezTo>
                    <a:pt x="85" y="54"/>
                    <a:pt x="87" y="73"/>
                    <a:pt x="73" y="87"/>
                  </a:cubicBezTo>
                  <a:cubicBezTo>
                    <a:pt x="25" y="135"/>
                    <a:pt x="25" y="135"/>
                    <a:pt x="25" y="135"/>
                  </a:cubicBezTo>
                  <a:cubicBezTo>
                    <a:pt x="11" y="120"/>
                    <a:pt x="11" y="120"/>
                    <a:pt x="11" y="120"/>
                  </a:cubicBezTo>
                  <a:cubicBezTo>
                    <a:pt x="58" y="73"/>
                    <a:pt x="58" y="73"/>
                    <a:pt x="58" y="73"/>
                  </a:cubicBezTo>
                  <a:cubicBezTo>
                    <a:pt x="64" y="67"/>
                    <a:pt x="63" y="60"/>
                    <a:pt x="60" y="57"/>
                  </a:cubicBezTo>
                  <a:cubicBezTo>
                    <a:pt x="56" y="53"/>
                    <a:pt x="49" y="53"/>
                    <a:pt x="44" y="58"/>
                  </a:cubicBezTo>
                  <a:cubicBezTo>
                    <a:pt x="0" y="102"/>
                    <a:pt x="0" y="102"/>
                    <a:pt x="0" y="102"/>
                  </a:cubicBezTo>
                  <a:cubicBezTo>
                    <a:pt x="0" y="73"/>
                    <a:pt x="0" y="73"/>
                    <a:pt x="0" y="73"/>
                  </a:cubicBezTo>
                  <a:cubicBezTo>
                    <a:pt x="29" y="44"/>
                    <a:pt x="29" y="44"/>
                    <a:pt x="29" y="44"/>
                  </a:cubicBezTo>
                  <a:cubicBezTo>
                    <a:pt x="35" y="38"/>
                    <a:pt x="34" y="32"/>
                    <a:pt x="31" y="28"/>
                  </a:cubicBezTo>
                  <a:cubicBezTo>
                    <a:pt x="27" y="24"/>
                    <a:pt x="20" y="24"/>
                    <a:pt x="15" y="29"/>
                  </a:cubicBezTo>
                  <a:cubicBezTo>
                    <a:pt x="0" y="44"/>
                    <a:pt x="0" y="44"/>
                    <a:pt x="0" y="44"/>
                  </a:cubicBezTo>
                  <a:cubicBezTo>
                    <a:pt x="0" y="15"/>
                    <a:pt x="0" y="15"/>
                    <a:pt x="0" y="15"/>
                  </a:cubicBezTo>
                  <a:lnTo>
                    <a:pt x="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EC881D"/>
                </a:solidFill>
              </a:endParaRPr>
            </a:p>
          </p:txBody>
        </p:sp>
        <p:sp>
          <p:nvSpPr>
            <p:cNvPr id="34" name="Freeform 33"/>
            <p:cNvSpPr>
              <a:spLocks/>
            </p:cNvSpPr>
            <p:nvPr/>
          </p:nvSpPr>
          <p:spPr bwMode="auto">
            <a:xfrm>
              <a:off x="8124566" y="6620735"/>
              <a:ext cx="97811" cy="99278"/>
            </a:xfrm>
            <a:custGeom>
              <a:avLst/>
              <a:gdLst>
                <a:gd name="T0" fmla="*/ 70 w 85"/>
                <a:gd name="T1" fmla="*/ 86 h 86"/>
                <a:gd name="T2" fmla="*/ 70 w 85"/>
                <a:gd name="T3" fmla="*/ 35 h 86"/>
                <a:gd name="T4" fmla="*/ 70 w 85"/>
                <a:gd name="T5" fmla="*/ 26 h 86"/>
                <a:gd name="T6" fmla="*/ 70 w 85"/>
                <a:gd name="T7" fmla="*/ 26 h 86"/>
                <a:gd name="T8" fmla="*/ 65 w 85"/>
                <a:gd name="T9" fmla="*/ 35 h 86"/>
                <a:gd name="T10" fmla="*/ 47 w 85"/>
                <a:gd name="T11" fmla="*/ 62 h 86"/>
                <a:gd name="T12" fmla="*/ 39 w 85"/>
                <a:gd name="T13" fmla="*/ 62 h 86"/>
                <a:gd name="T14" fmla="*/ 20 w 85"/>
                <a:gd name="T15" fmla="*/ 34 h 86"/>
                <a:gd name="T16" fmla="*/ 15 w 85"/>
                <a:gd name="T17" fmla="*/ 26 h 86"/>
                <a:gd name="T18" fmla="*/ 15 w 85"/>
                <a:gd name="T19" fmla="*/ 26 h 86"/>
                <a:gd name="T20" fmla="*/ 15 w 85"/>
                <a:gd name="T21" fmla="*/ 35 h 86"/>
                <a:gd name="T22" fmla="*/ 15 w 85"/>
                <a:gd name="T23" fmla="*/ 86 h 86"/>
                <a:gd name="T24" fmla="*/ 0 w 85"/>
                <a:gd name="T25" fmla="*/ 86 h 86"/>
                <a:gd name="T26" fmla="*/ 0 w 85"/>
                <a:gd name="T27" fmla="*/ 0 h 86"/>
                <a:gd name="T28" fmla="*/ 14 w 85"/>
                <a:gd name="T29" fmla="*/ 0 h 86"/>
                <a:gd name="T30" fmla="*/ 38 w 85"/>
                <a:gd name="T31" fmla="*/ 35 h 86"/>
                <a:gd name="T32" fmla="*/ 43 w 85"/>
                <a:gd name="T33" fmla="*/ 44 h 86"/>
                <a:gd name="T34" fmla="*/ 44 w 85"/>
                <a:gd name="T35" fmla="*/ 44 h 86"/>
                <a:gd name="T36" fmla="*/ 49 w 85"/>
                <a:gd name="T37" fmla="*/ 34 h 86"/>
                <a:gd name="T38" fmla="*/ 70 w 85"/>
                <a:gd name="T39" fmla="*/ 0 h 86"/>
                <a:gd name="T40" fmla="*/ 85 w 85"/>
                <a:gd name="T41" fmla="*/ 0 h 86"/>
                <a:gd name="T42" fmla="*/ 85 w 85"/>
                <a:gd name="T43" fmla="*/ 86 h 86"/>
                <a:gd name="T44" fmla="*/ 70 w 85"/>
                <a:gd name="T4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5" h="86">
                  <a:moveTo>
                    <a:pt x="70" y="86"/>
                  </a:moveTo>
                  <a:cubicBezTo>
                    <a:pt x="70" y="35"/>
                    <a:pt x="70" y="35"/>
                    <a:pt x="70" y="35"/>
                  </a:cubicBezTo>
                  <a:cubicBezTo>
                    <a:pt x="70" y="32"/>
                    <a:pt x="70" y="29"/>
                    <a:pt x="70" y="26"/>
                  </a:cubicBezTo>
                  <a:cubicBezTo>
                    <a:pt x="70" y="26"/>
                    <a:pt x="70" y="26"/>
                    <a:pt x="70" y="26"/>
                  </a:cubicBezTo>
                  <a:cubicBezTo>
                    <a:pt x="69" y="29"/>
                    <a:pt x="66" y="32"/>
                    <a:pt x="65" y="35"/>
                  </a:cubicBezTo>
                  <a:cubicBezTo>
                    <a:pt x="47" y="62"/>
                    <a:pt x="47" y="62"/>
                    <a:pt x="47" y="62"/>
                  </a:cubicBezTo>
                  <a:cubicBezTo>
                    <a:pt x="39" y="62"/>
                    <a:pt x="39" y="62"/>
                    <a:pt x="39" y="62"/>
                  </a:cubicBezTo>
                  <a:cubicBezTo>
                    <a:pt x="20" y="34"/>
                    <a:pt x="20" y="34"/>
                    <a:pt x="20" y="34"/>
                  </a:cubicBezTo>
                  <a:cubicBezTo>
                    <a:pt x="19" y="32"/>
                    <a:pt x="17" y="29"/>
                    <a:pt x="15" y="26"/>
                  </a:cubicBezTo>
                  <a:cubicBezTo>
                    <a:pt x="15" y="26"/>
                    <a:pt x="15" y="26"/>
                    <a:pt x="15" y="26"/>
                  </a:cubicBezTo>
                  <a:cubicBezTo>
                    <a:pt x="15" y="29"/>
                    <a:pt x="15" y="32"/>
                    <a:pt x="15" y="35"/>
                  </a:cubicBezTo>
                  <a:cubicBezTo>
                    <a:pt x="15" y="86"/>
                    <a:pt x="15" y="86"/>
                    <a:pt x="15" y="86"/>
                  </a:cubicBezTo>
                  <a:cubicBezTo>
                    <a:pt x="0" y="86"/>
                    <a:pt x="0" y="86"/>
                    <a:pt x="0" y="86"/>
                  </a:cubicBezTo>
                  <a:cubicBezTo>
                    <a:pt x="0" y="0"/>
                    <a:pt x="0" y="0"/>
                    <a:pt x="0" y="0"/>
                  </a:cubicBezTo>
                  <a:cubicBezTo>
                    <a:pt x="14" y="0"/>
                    <a:pt x="14" y="0"/>
                    <a:pt x="14" y="0"/>
                  </a:cubicBezTo>
                  <a:cubicBezTo>
                    <a:pt x="38" y="35"/>
                    <a:pt x="38" y="35"/>
                    <a:pt x="38" y="35"/>
                  </a:cubicBezTo>
                  <a:cubicBezTo>
                    <a:pt x="40" y="38"/>
                    <a:pt x="42" y="41"/>
                    <a:pt x="43" y="44"/>
                  </a:cubicBezTo>
                  <a:cubicBezTo>
                    <a:pt x="44" y="44"/>
                    <a:pt x="44" y="44"/>
                    <a:pt x="44" y="44"/>
                  </a:cubicBezTo>
                  <a:cubicBezTo>
                    <a:pt x="45" y="41"/>
                    <a:pt x="46" y="38"/>
                    <a:pt x="49" y="34"/>
                  </a:cubicBezTo>
                  <a:cubicBezTo>
                    <a:pt x="70" y="0"/>
                    <a:pt x="70" y="0"/>
                    <a:pt x="70" y="0"/>
                  </a:cubicBezTo>
                  <a:cubicBezTo>
                    <a:pt x="85" y="0"/>
                    <a:pt x="85" y="0"/>
                    <a:pt x="85" y="0"/>
                  </a:cubicBezTo>
                  <a:cubicBezTo>
                    <a:pt x="85" y="86"/>
                    <a:pt x="85" y="86"/>
                    <a:pt x="85" y="86"/>
                  </a:cubicBezTo>
                  <a:lnTo>
                    <a:pt x="70" y="86"/>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EC881D"/>
                </a:solidFill>
              </a:endParaRPr>
            </a:p>
          </p:txBody>
        </p:sp>
        <p:sp>
          <p:nvSpPr>
            <p:cNvPr id="35" name="Freeform 34"/>
            <p:cNvSpPr>
              <a:spLocks noEditPoints="1"/>
            </p:cNvSpPr>
            <p:nvPr/>
          </p:nvSpPr>
          <p:spPr bwMode="auto">
            <a:xfrm>
              <a:off x="8239982" y="6623181"/>
              <a:ext cx="20540" cy="98300"/>
            </a:xfrm>
            <a:custGeom>
              <a:avLst/>
              <a:gdLst>
                <a:gd name="T0" fmla="*/ 1 w 18"/>
                <a:gd name="T1" fmla="*/ 27 h 85"/>
                <a:gd name="T2" fmla="*/ 16 w 18"/>
                <a:gd name="T3" fmla="*/ 27 h 85"/>
                <a:gd name="T4" fmla="*/ 16 w 18"/>
                <a:gd name="T5" fmla="*/ 74 h 85"/>
                <a:gd name="T6" fmla="*/ 1 w 18"/>
                <a:gd name="T7" fmla="*/ 85 h 85"/>
                <a:gd name="T8" fmla="*/ 1 w 18"/>
                <a:gd name="T9" fmla="*/ 27 h 85"/>
                <a:gd name="T10" fmla="*/ 9 w 18"/>
                <a:gd name="T11" fmla="*/ 18 h 85"/>
                <a:gd name="T12" fmla="*/ 0 w 18"/>
                <a:gd name="T13" fmla="*/ 9 h 85"/>
                <a:gd name="T14" fmla="*/ 9 w 18"/>
                <a:gd name="T15" fmla="*/ 0 h 85"/>
                <a:gd name="T16" fmla="*/ 18 w 18"/>
                <a:gd name="T17" fmla="*/ 9 h 85"/>
                <a:gd name="T18" fmla="*/ 9 w 18"/>
                <a:gd name="T19" fmla="*/ 1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85">
                  <a:moveTo>
                    <a:pt x="1" y="27"/>
                  </a:moveTo>
                  <a:cubicBezTo>
                    <a:pt x="16" y="27"/>
                    <a:pt x="16" y="27"/>
                    <a:pt x="16" y="27"/>
                  </a:cubicBezTo>
                  <a:cubicBezTo>
                    <a:pt x="16" y="74"/>
                    <a:pt x="16" y="74"/>
                    <a:pt x="16" y="74"/>
                  </a:cubicBezTo>
                  <a:cubicBezTo>
                    <a:pt x="16" y="85"/>
                    <a:pt x="1" y="85"/>
                    <a:pt x="1" y="85"/>
                  </a:cubicBezTo>
                  <a:lnTo>
                    <a:pt x="1" y="27"/>
                  </a:lnTo>
                  <a:close/>
                  <a:moveTo>
                    <a:pt x="9" y="18"/>
                  </a:moveTo>
                  <a:cubicBezTo>
                    <a:pt x="4" y="18"/>
                    <a:pt x="0" y="14"/>
                    <a:pt x="0" y="9"/>
                  </a:cubicBezTo>
                  <a:cubicBezTo>
                    <a:pt x="0" y="4"/>
                    <a:pt x="4" y="0"/>
                    <a:pt x="9" y="0"/>
                  </a:cubicBezTo>
                  <a:cubicBezTo>
                    <a:pt x="14" y="0"/>
                    <a:pt x="18" y="4"/>
                    <a:pt x="18" y="9"/>
                  </a:cubicBezTo>
                  <a:cubicBezTo>
                    <a:pt x="18" y="14"/>
                    <a:pt x="14" y="18"/>
                    <a:pt x="9" y="18"/>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EC881D"/>
                </a:solidFill>
              </a:endParaRPr>
            </a:p>
          </p:txBody>
        </p:sp>
        <p:sp>
          <p:nvSpPr>
            <p:cNvPr id="51" name="Freeform 50"/>
            <p:cNvSpPr>
              <a:spLocks/>
            </p:cNvSpPr>
            <p:nvPr/>
          </p:nvSpPr>
          <p:spPr bwMode="auto">
            <a:xfrm>
              <a:off x="8276660" y="6620735"/>
              <a:ext cx="16627" cy="100745"/>
            </a:xfrm>
            <a:custGeom>
              <a:avLst/>
              <a:gdLst>
                <a:gd name="T0" fmla="*/ 0 w 14"/>
                <a:gd name="T1" fmla="*/ 0 h 87"/>
                <a:gd name="T2" fmla="*/ 14 w 14"/>
                <a:gd name="T3" fmla="*/ 0 h 87"/>
                <a:gd name="T4" fmla="*/ 14 w 14"/>
                <a:gd name="T5" fmla="*/ 76 h 87"/>
                <a:gd name="T6" fmla="*/ 0 w 14"/>
                <a:gd name="T7" fmla="*/ 87 h 87"/>
                <a:gd name="T8" fmla="*/ 0 w 14"/>
                <a:gd name="T9" fmla="*/ 0 h 87"/>
              </a:gdLst>
              <a:ahLst/>
              <a:cxnLst>
                <a:cxn ang="0">
                  <a:pos x="T0" y="T1"/>
                </a:cxn>
                <a:cxn ang="0">
                  <a:pos x="T2" y="T3"/>
                </a:cxn>
                <a:cxn ang="0">
                  <a:pos x="T4" y="T5"/>
                </a:cxn>
                <a:cxn ang="0">
                  <a:pos x="T6" y="T7"/>
                </a:cxn>
                <a:cxn ang="0">
                  <a:pos x="T8" y="T9"/>
                </a:cxn>
              </a:cxnLst>
              <a:rect l="0" t="0" r="r" b="b"/>
              <a:pathLst>
                <a:path w="14" h="87">
                  <a:moveTo>
                    <a:pt x="0" y="0"/>
                  </a:moveTo>
                  <a:cubicBezTo>
                    <a:pt x="14" y="0"/>
                    <a:pt x="14" y="0"/>
                    <a:pt x="14" y="0"/>
                  </a:cubicBezTo>
                  <a:cubicBezTo>
                    <a:pt x="14" y="76"/>
                    <a:pt x="14" y="76"/>
                    <a:pt x="14" y="76"/>
                  </a:cubicBezTo>
                  <a:cubicBezTo>
                    <a:pt x="14" y="87"/>
                    <a:pt x="0" y="87"/>
                    <a:pt x="0" y="87"/>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EC881D"/>
                </a:solidFill>
              </a:endParaRPr>
            </a:p>
          </p:txBody>
        </p:sp>
        <p:sp>
          <p:nvSpPr>
            <p:cNvPr id="56" name="Freeform 55"/>
            <p:cNvSpPr>
              <a:spLocks/>
            </p:cNvSpPr>
            <p:nvPr/>
          </p:nvSpPr>
          <p:spPr bwMode="auto">
            <a:xfrm>
              <a:off x="8310405" y="6620735"/>
              <a:ext cx="16138" cy="100745"/>
            </a:xfrm>
            <a:custGeom>
              <a:avLst/>
              <a:gdLst>
                <a:gd name="T0" fmla="*/ 0 w 14"/>
                <a:gd name="T1" fmla="*/ 0 h 87"/>
                <a:gd name="T2" fmla="*/ 14 w 14"/>
                <a:gd name="T3" fmla="*/ 0 h 87"/>
                <a:gd name="T4" fmla="*/ 14 w 14"/>
                <a:gd name="T5" fmla="*/ 76 h 87"/>
                <a:gd name="T6" fmla="*/ 0 w 14"/>
                <a:gd name="T7" fmla="*/ 87 h 87"/>
                <a:gd name="T8" fmla="*/ 0 w 14"/>
                <a:gd name="T9" fmla="*/ 0 h 87"/>
              </a:gdLst>
              <a:ahLst/>
              <a:cxnLst>
                <a:cxn ang="0">
                  <a:pos x="T0" y="T1"/>
                </a:cxn>
                <a:cxn ang="0">
                  <a:pos x="T2" y="T3"/>
                </a:cxn>
                <a:cxn ang="0">
                  <a:pos x="T4" y="T5"/>
                </a:cxn>
                <a:cxn ang="0">
                  <a:pos x="T6" y="T7"/>
                </a:cxn>
                <a:cxn ang="0">
                  <a:pos x="T8" y="T9"/>
                </a:cxn>
              </a:cxnLst>
              <a:rect l="0" t="0" r="r" b="b"/>
              <a:pathLst>
                <a:path w="14" h="87">
                  <a:moveTo>
                    <a:pt x="0" y="0"/>
                  </a:moveTo>
                  <a:cubicBezTo>
                    <a:pt x="14" y="0"/>
                    <a:pt x="14" y="0"/>
                    <a:pt x="14" y="0"/>
                  </a:cubicBezTo>
                  <a:cubicBezTo>
                    <a:pt x="14" y="76"/>
                    <a:pt x="14" y="76"/>
                    <a:pt x="14" y="76"/>
                  </a:cubicBezTo>
                  <a:cubicBezTo>
                    <a:pt x="14" y="87"/>
                    <a:pt x="0" y="87"/>
                    <a:pt x="0" y="87"/>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EC881D"/>
                </a:solidFill>
              </a:endParaRPr>
            </a:p>
          </p:txBody>
        </p:sp>
        <p:sp>
          <p:nvSpPr>
            <p:cNvPr id="57" name="Freeform 56"/>
            <p:cNvSpPr>
              <a:spLocks/>
            </p:cNvSpPr>
            <p:nvPr/>
          </p:nvSpPr>
          <p:spPr bwMode="auto">
            <a:xfrm>
              <a:off x="8335836" y="6654479"/>
              <a:ext cx="104167" cy="70423"/>
            </a:xfrm>
            <a:custGeom>
              <a:avLst/>
              <a:gdLst>
                <a:gd name="T0" fmla="*/ 15 w 90"/>
                <a:gd name="T1" fmla="*/ 0 h 61"/>
                <a:gd name="T2" fmla="*/ 27 w 90"/>
                <a:gd name="T3" fmla="*/ 39 h 61"/>
                <a:gd name="T4" fmla="*/ 27 w 90"/>
                <a:gd name="T5" fmla="*/ 39 h 61"/>
                <a:gd name="T6" fmla="*/ 40 w 90"/>
                <a:gd name="T7" fmla="*/ 0 h 61"/>
                <a:gd name="T8" fmla="*/ 51 w 90"/>
                <a:gd name="T9" fmla="*/ 0 h 61"/>
                <a:gd name="T10" fmla="*/ 64 w 90"/>
                <a:gd name="T11" fmla="*/ 39 h 61"/>
                <a:gd name="T12" fmla="*/ 64 w 90"/>
                <a:gd name="T13" fmla="*/ 39 h 61"/>
                <a:gd name="T14" fmla="*/ 76 w 90"/>
                <a:gd name="T15" fmla="*/ 0 h 61"/>
                <a:gd name="T16" fmla="*/ 90 w 90"/>
                <a:gd name="T17" fmla="*/ 0 h 61"/>
                <a:gd name="T18" fmla="*/ 73 w 90"/>
                <a:gd name="T19" fmla="*/ 47 h 61"/>
                <a:gd name="T20" fmla="*/ 58 w 90"/>
                <a:gd name="T21" fmla="*/ 58 h 61"/>
                <a:gd name="T22" fmla="*/ 45 w 90"/>
                <a:gd name="T23" fmla="*/ 19 h 61"/>
                <a:gd name="T24" fmla="*/ 45 w 90"/>
                <a:gd name="T25" fmla="*/ 19 h 61"/>
                <a:gd name="T26" fmla="*/ 36 w 90"/>
                <a:gd name="T27" fmla="*/ 47 h 61"/>
                <a:gd name="T28" fmla="*/ 21 w 90"/>
                <a:gd name="T29" fmla="*/ 58 h 61"/>
                <a:gd name="T30" fmla="*/ 0 w 90"/>
                <a:gd name="T31" fmla="*/ 0 h 61"/>
                <a:gd name="T32" fmla="*/ 15 w 90"/>
                <a:gd name="T33"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61">
                  <a:moveTo>
                    <a:pt x="15" y="0"/>
                  </a:moveTo>
                  <a:cubicBezTo>
                    <a:pt x="27" y="39"/>
                    <a:pt x="27" y="39"/>
                    <a:pt x="27" y="39"/>
                  </a:cubicBezTo>
                  <a:cubicBezTo>
                    <a:pt x="27" y="39"/>
                    <a:pt x="27" y="39"/>
                    <a:pt x="27" y="39"/>
                  </a:cubicBezTo>
                  <a:cubicBezTo>
                    <a:pt x="40" y="0"/>
                    <a:pt x="40" y="0"/>
                    <a:pt x="40" y="0"/>
                  </a:cubicBezTo>
                  <a:cubicBezTo>
                    <a:pt x="51" y="0"/>
                    <a:pt x="51" y="0"/>
                    <a:pt x="51" y="0"/>
                  </a:cubicBezTo>
                  <a:cubicBezTo>
                    <a:pt x="64" y="39"/>
                    <a:pt x="64" y="39"/>
                    <a:pt x="64" y="39"/>
                  </a:cubicBezTo>
                  <a:cubicBezTo>
                    <a:pt x="64" y="39"/>
                    <a:pt x="64" y="39"/>
                    <a:pt x="64" y="39"/>
                  </a:cubicBezTo>
                  <a:cubicBezTo>
                    <a:pt x="76" y="0"/>
                    <a:pt x="76" y="0"/>
                    <a:pt x="76" y="0"/>
                  </a:cubicBezTo>
                  <a:cubicBezTo>
                    <a:pt x="90" y="0"/>
                    <a:pt x="90" y="0"/>
                    <a:pt x="90" y="0"/>
                  </a:cubicBezTo>
                  <a:cubicBezTo>
                    <a:pt x="73" y="47"/>
                    <a:pt x="73" y="47"/>
                    <a:pt x="73" y="47"/>
                  </a:cubicBezTo>
                  <a:cubicBezTo>
                    <a:pt x="73" y="47"/>
                    <a:pt x="69" y="61"/>
                    <a:pt x="58" y="58"/>
                  </a:cubicBezTo>
                  <a:cubicBezTo>
                    <a:pt x="45" y="19"/>
                    <a:pt x="45" y="19"/>
                    <a:pt x="45" y="19"/>
                  </a:cubicBezTo>
                  <a:cubicBezTo>
                    <a:pt x="45" y="19"/>
                    <a:pt x="45" y="19"/>
                    <a:pt x="45" y="19"/>
                  </a:cubicBezTo>
                  <a:cubicBezTo>
                    <a:pt x="36" y="47"/>
                    <a:pt x="36" y="47"/>
                    <a:pt x="36" y="47"/>
                  </a:cubicBezTo>
                  <a:cubicBezTo>
                    <a:pt x="36" y="47"/>
                    <a:pt x="32" y="61"/>
                    <a:pt x="21" y="58"/>
                  </a:cubicBezTo>
                  <a:cubicBezTo>
                    <a:pt x="0" y="0"/>
                    <a:pt x="0" y="0"/>
                    <a:pt x="0" y="0"/>
                  </a:cubicBezTo>
                  <a:lnTo>
                    <a:pt x="15"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EC881D"/>
                </a:solidFill>
              </a:endParaRPr>
            </a:p>
          </p:txBody>
        </p:sp>
        <p:sp>
          <p:nvSpPr>
            <p:cNvPr id="58" name="Freeform 57"/>
            <p:cNvSpPr>
              <a:spLocks noEditPoints="1"/>
            </p:cNvSpPr>
            <p:nvPr/>
          </p:nvSpPr>
          <p:spPr bwMode="auto">
            <a:xfrm>
              <a:off x="8441960" y="6653012"/>
              <a:ext cx="59175" cy="68467"/>
            </a:xfrm>
            <a:custGeom>
              <a:avLst/>
              <a:gdLst>
                <a:gd name="T0" fmla="*/ 35 w 51"/>
                <a:gd name="T1" fmla="*/ 32 h 59"/>
                <a:gd name="T2" fmla="*/ 26 w 51"/>
                <a:gd name="T3" fmla="*/ 32 h 59"/>
                <a:gd name="T4" fmla="*/ 15 w 51"/>
                <a:gd name="T5" fmla="*/ 40 h 59"/>
                <a:gd name="T6" fmla="*/ 24 w 51"/>
                <a:gd name="T7" fmla="*/ 48 h 59"/>
                <a:gd name="T8" fmla="*/ 35 w 51"/>
                <a:gd name="T9" fmla="*/ 44 h 59"/>
                <a:gd name="T10" fmla="*/ 35 w 51"/>
                <a:gd name="T11" fmla="*/ 32 h 59"/>
                <a:gd name="T12" fmla="*/ 38 w 51"/>
                <a:gd name="T13" fmla="*/ 59 h 59"/>
                <a:gd name="T14" fmla="*/ 36 w 51"/>
                <a:gd name="T15" fmla="*/ 53 h 59"/>
                <a:gd name="T16" fmla="*/ 19 w 51"/>
                <a:gd name="T17" fmla="*/ 59 h 59"/>
                <a:gd name="T18" fmla="*/ 0 w 51"/>
                <a:gd name="T19" fmla="*/ 41 h 59"/>
                <a:gd name="T20" fmla="*/ 24 w 51"/>
                <a:gd name="T21" fmla="*/ 22 h 59"/>
                <a:gd name="T22" fmla="*/ 35 w 51"/>
                <a:gd name="T23" fmla="*/ 22 h 59"/>
                <a:gd name="T24" fmla="*/ 35 w 51"/>
                <a:gd name="T25" fmla="*/ 20 h 59"/>
                <a:gd name="T26" fmla="*/ 23 w 51"/>
                <a:gd name="T27" fmla="*/ 11 h 59"/>
                <a:gd name="T28" fmla="*/ 9 w 51"/>
                <a:gd name="T29" fmla="*/ 15 h 59"/>
                <a:gd name="T30" fmla="*/ 4 w 51"/>
                <a:gd name="T31" fmla="*/ 6 h 59"/>
                <a:gd name="T32" fmla="*/ 27 w 51"/>
                <a:gd name="T33" fmla="*/ 0 h 59"/>
                <a:gd name="T34" fmla="*/ 49 w 51"/>
                <a:gd name="T35" fmla="*/ 20 h 59"/>
                <a:gd name="T36" fmla="*/ 49 w 51"/>
                <a:gd name="T37" fmla="*/ 43 h 59"/>
                <a:gd name="T38" fmla="*/ 51 w 51"/>
                <a:gd name="T39" fmla="*/ 59 h 59"/>
                <a:gd name="T40" fmla="*/ 38 w 51"/>
                <a:gd name="T41"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59">
                  <a:moveTo>
                    <a:pt x="35" y="32"/>
                  </a:moveTo>
                  <a:cubicBezTo>
                    <a:pt x="26" y="32"/>
                    <a:pt x="26" y="32"/>
                    <a:pt x="26" y="32"/>
                  </a:cubicBezTo>
                  <a:cubicBezTo>
                    <a:pt x="18" y="32"/>
                    <a:pt x="15" y="35"/>
                    <a:pt x="15" y="40"/>
                  </a:cubicBezTo>
                  <a:cubicBezTo>
                    <a:pt x="15" y="45"/>
                    <a:pt x="18" y="48"/>
                    <a:pt x="24" y="48"/>
                  </a:cubicBezTo>
                  <a:cubicBezTo>
                    <a:pt x="29" y="48"/>
                    <a:pt x="33" y="46"/>
                    <a:pt x="35" y="44"/>
                  </a:cubicBezTo>
                  <a:lnTo>
                    <a:pt x="35" y="32"/>
                  </a:lnTo>
                  <a:close/>
                  <a:moveTo>
                    <a:pt x="38" y="59"/>
                  </a:moveTo>
                  <a:cubicBezTo>
                    <a:pt x="36" y="53"/>
                    <a:pt x="36" y="53"/>
                    <a:pt x="36" y="53"/>
                  </a:cubicBezTo>
                  <a:cubicBezTo>
                    <a:pt x="32" y="57"/>
                    <a:pt x="27" y="59"/>
                    <a:pt x="19" y="59"/>
                  </a:cubicBezTo>
                  <a:cubicBezTo>
                    <a:pt x="9" y="59"/>
                    <a:pt x="0" y="52"/>
                    <a:pt x="0" y="41"/>
                  </a:cubicBezTo>
                  <a:cubicBezTo>
                    <a:pt x="0" y="29"/>
                    <a:pt x="10" y="23"/>
                    <a:pt x="24" y="22"/>
                  </a:cubicBezTo>
                  <a:cubicBezTo>
                    <a:pt x="35" y="22"/>
                    <a:pt x="35" y="22"/>
                    <a:pt x="35" y="22"/>
                  </a:cubicBezTo>
                  <a:cubicBezTo>
                    <a:pt x="35" y="20"/>
                    <a:pt x="35" y="20"/>
                    <a:pt x="35" y="20"/>
                  </a:cubicBezTo>
                  <a:cubicBezTo>
                    <a:pt x="35" y="13"/>
                    <a:pt x="30" y="11"/>
                    <a:pt x="23" y="11"/>
                  </a:cubicBezTo>
                  <a:cubicBezTo>
                    <a:pt x="17" y="11"/>
                    <a:pt x="13" y="13"/>
                    <a:pt x="9" y="15"/>
                  </a:cubicBezTo>
                  <a:cubicBezTo>
                    <a:pt x="4" y="6"/>
                    <a:pt x="4" y="6"/>
                    <a:pt x="4" y="6"/>
                  </a:cubicBezTo>
                  <a:cubicBezTo>
                    <a:pt x="12" y="1"/>
                    <a:pt x="19" y="0"/>
                    <a:pt x="27" y="0"/>
                  </a:cubicBezTo>
                  <a:cubicBezTo>
                    <a:pt x="41" y="0"/>
                    <a:pt x="49" y="5"/>
                    <a:pt x="49" y="20"/>
                  </a:cubicBezTo>
                  <a:cubicBezTo>
                    <a:pt x="49" y="43"/>
                    <a:pt x="49" y="43"/>
                    <a:pt x="49" y="43"/>
                  </a:cubicBezTo>
                  <a:cubicBezTo>
                    <a:pt x="49" y="51"/>
                    <a:pt x="50" y="57"/>
                    <a:pt x="51" y="59"/>
                  </a:cubicBezTo>
                  <a:lnTo>
                    <a:pt x="38" y="59"/>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EC881D"/>
                </a:solidFill>
              </a:endParaRPr>
            </a:p>
          </p:txBody>
        </p:sp>
        <p:sp>
          <p:nvSpPr>
            <p:cNvPr id="59" name="Freeform 58"/>
            <p:cNvSpPr>
              <a:spLocks/>
            </p:cNvSpPr>
            <p:nvPr/>
          </p:nvSpPr>
          <p:spPr bwMode="auto">
            <a:xfrm>
              <a:off x="8513849" y="6653012"/>
              <a:ext cx="43525" cy="68467"/>
            </a:xfrm>
            <a:custGeom>
              <a:avLst/>
              <a:gdLst>
                <a:gd name="T0" fmla="*/ 0 w 38"/>
                <a:gd name="T1" fmla="*/ 1 h 59"/>
                <a:gd name="T2" fmla="*/ 13 w 38"/>
                <a:gd name="T3" fmla="*/ 1 h 59"/>
                <a:gd name="T4" fmla="*/ 14 w 38"/>
                <a:gd name="T5" fmla="*/ 7 h 59"/>
                <a:gd name="T6" fmla="*/ 30 w 38"/>
                <a:gd name="T7" fmla="*/ 0 h 59"/>
                <a:gd name="T8" fmla="*/ 38 w 38"/>
                <a:gd name="T9" fmla="*/ 2 h 59"/>
                <a:gd name="T10" fmla="*/ 33 w 38"/>
                <a:gd name="T11" fmla="*/ 14 h 59"/>
                <a:gd name="T12" fmla="*/ 26 w 38"/>
                <a:gd name="T13" fmla="*/ 12 h 59"/>
                <a:gd name="T14" fmla="*/ 15 w 38"/>
                <a:gd name="T15" fmla="*/ 18 h 59"/>
                <a:gd name="T16" fmla="*/ 15 w 38"/>
                <a:gd name="T17" fmla="*/ 48 h 59"/>
                <a:gd name="T18" fmla="*/ 0 w 38"/>
                <a:gd name="T19" fmla="*/ 59 h 59"/>
                <a:gd name="T20" fmla="*/ 0 w 38"/>
                <a:gd name="T21" fmla="*/ 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59">
                  <a:moveTo>
                    <a:pt x="0" y="1"/>
                  </a:moveTo>
                  <a:cubicBezTo>
                    <a:pt x="13" y="1"/>
                    <a:pt x="13" y="1"/>
                    <a:pt x="13" y="1"/>
                  </a:cubicBezTo>
                  <a:cubicBezTo>
                    <a:pt x="14" y="7"/>
                    <a:pt x="14" y="7"/>
                    <a:pt x="14" y="7"/>
                  </a:cubicBezTo>
                  <a:cubicBezTo>
                    <a:pt x="20" y="2"/>
                    <a:pt x="25" y="0"/>
                    <a:pt x="30" y="0"/>
                  </a:cubicBezTo>
                  <a:cubicBezTo>
                    <a:pt x="33" y="0"/>
                    <a:pt x="36" y="0"/>
                    <a:pt x="38" y="2"/>
                  </a:cubicBezTo>
                  <a:cubicBezTo>
                    <a:pt x="33" y="14"/>
                    <a:pt x="33" y="14"/>
                    <a:pt x="33" y="14"/>
                  </a:cubicBezTo>
                  <a:cubicBezTo>
                    <a:pt x="30" y="13"/>
                    <a:pt x="28" y="12"/>
                    <a:pt x="26" y="12"/>
                  </a:cubicBezTo>
                  <a:cubicBezTo>
                    <a:pt x="23" y="12"/>
                    <a:pt x="19" y="14"/>
                    <a:pt x="15" y="18"/>
                  </a:cubicBezTo>
                  <a:cubicBezTo>
                    <a:pt x="15" y="48"/>
                    <a:pt x="15" y="48"/>
                    <a:pt x="15" y="48"/>
                  </a:cubicBezTo>
                  <a:cubicBezTo>
                    <a:pt x="15" y="59"/>
                    <a:pt x="0" y="59"/>
                    <a:pt x="0" y="59"/>
                  </a:cubicBezTo>
                  <a:lnTo>
                    <a:pt x="0" y="1"/>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EC881D"/>
                </a:solidFill>
              </a:endParaRPr>
            </a:p>
          </p:txBody>
        </p:sp>
        <p:sp>
          <p:nvSpPr>
            <p:cNvPr id="60" name="Freeform 59"/>
            <p:cNvSpPr>
              <a:spLocks noEditPoints="1"/>
            </p:cNvSpPr>
            <p:nvPr/>
          </p:nvSpPr>
          <p:spPr bwMode="auto">
            <a:xfrm>
              <a:off x="8559820" y="6620735"/>
              <a:ext cx="62598" cy="100745"/>
            </a:xfrm>
            <a:custGeom>
              <a:avLst/>
              <a:gdLst>
                <a:gd name="T0" fmla="*/ 39 w 54"/>
                <a:gd name="T1" fmla="*/ 40 h 87"/>
                <a:gd name="T2" fmla="*/ 32 w 54"/>
                <a:gd name="T3" fmla="*/ 39 h 87"/>
                <a:gd name="T4" fmla="*/ 15 w 54"/>
                <a:gd name="T5" fmla="*/ 57 h 87"/>
                <a:gd name="T6" fmla="*/ 32 w 54"/>
                <a:gd name="T7" fmla="*/ 75 h 87"/>
                <a:gd name="T8" fmla="*/ 39 w 54"/>
                <a:gd name="T9" fmla="*/ 75 h 87"/>
                <a:gd name="T10" fmla="*/ 39 w 54"/>
                <a:gd name="T11" fmla="*/ 40 h 87"/>
                <a:gd name="T12" fmla="*/ 31 w 54"/>
                <a:gd name="T13" fmla="*/ 87 h 87"/>
                <a:gd name="T14" fmla="*/ 0 w 54"/>
                <a:gd name="T15" fmla="*/ 58 h 87"/>
                <a:gd name="T16" fmla="*/ 32 w 54"/>
                <a:gd name="T17" fmla="*/ 28 h 87"/>
                <a:gd name="T18" fmla="*/ 39 w 54"/>
                <a:gd name="T19" fmla="*/ 28 h 87"/>
                <a:gd name="T20" fmla="*/ 39 w 54"/>
                <a:gd name="T21" fmla="*/ 0 h 87"/>
                <a:gd name="T22" fmla="*/ 54 w 54"/>
                <a:gd name="T23" fmla="*/ 0 h 87"/>
                <a:gd name="T24" fmla="*/ 54 w 54"/>
                <a:gd name="T25" fmla="*/ 83 h 87"/>
                <a:gd name="T26" fmla="*/ 31 w 54"/>
                <a:gd name="T2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87">
                  <a:moveTo>
                    <a:pt x="39" y="40"/>
                  </a:moveTo>
                  <a:cubicBezTo>
                    <a:pt x="37" y="39"/>
                    <a:pt x="35" y="39"/>
                    <a:pt x="32" y="39"/>
                  </a:cubicBezTo>
                  <a:cubicBezTo>
                    <a:pt x="22" y="39"/>
                    <a:pt x="15" y="46"/>
                    <a:pt x="15" y="57"/>
                  </a:cubicBezTo>
                  <a:cubicBezTo>
                    <a:pt x="15" y="68"/>
                    <a:pt x="21" y="75"/>
                    <a:pt x="32" y="75"/>
                  </a:cubicBezTo>
                  <a:cubicBezTo>
                    <a:pt x="35" y="75"/>
                    <a:pt x="37" y="75"/>
                    <a:pt x="39" y="75"/>
                  </a:cubicBezTo>
                  <a:lnTo>
                    <a:pt x="39" y="40"/>
                  </a:lnTo>
                  <a:close/>
                  <a:moveTo>
                    <a:pt x="31" y="87"/>
                  </a:moveTo>
                  <a:cubicBezTo>
                    <a:pt x="14" y="87"/>
                    <a:pt x="0" y="77"/>
                    <a:pt x="0" y="58"/>
                  </a:cubicBezTo>
                  <a:cubicBezTo>
                    <a:pt x="0" y="40"/>
                    <a:pt x="13" y="28"/>
                    <a:pt x="32" y="28"/>
                  </a:cubicBezTo>
                  <a:cubicBezTo>
                    <a:pt x="35" y="28"/>
                    <a:pt x="37" y="28"/>
                    <a:pt x="39" y="28"/>
                  </a:cubicBezTo>
                  <a:cubicBezTo>
                    <a:pt x="39" y="0"/>
                    <a:pt x="39" y="0"/>
                    <a:pt x="39" y="0"/>
                  </a:cubicBezTo>
                  <a:cubicBezTo>
                    <a:pt x="54" y="0"/>
                    <a:pt x="54" y="0"/>
                    <a:pt x="54" y="0"/>
                  </a:cubicBezTo>
                  <a:cubicBezTo>
                    <a:pt x="54" y="83"/>
                    <a:pt x="54" y="83"/>
                    <a:pt x="54" y="83"/>
                  </a:cubicBezTo>
                  <a:cubicBezTo>
                    <a:pt x="48" y="86"/>
                    <a:pt x="41" y="87"/>
                    <a:pt x="31" y="87"/>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EC881D"/>
                </a:solidFill>
              </a:endParaRPr>
            </a:p>
          </p:txBody>
        </p:sp>
        <p:sp>
          <p:nvSpPr>
            <p:cNvPr id="61" name="Freeform 60"/>
            <p:cNvSpPr>
              <a:spLocks noEditPoints="1"/>
            </p:cNvSpPr>
            <p:nvPr/>
          </p:nvSpPr>
          <p:spPr bwMode="auto">
            <a:xfrm>
              <a:off x="8641003" y="6620735"/>
              <a:ext cx="65533" cy="99278"/>
            </a:xfrm>
            <a:custGeom>
              <a:avLst/>
              <a:gdLst>
                <a:gd name="T0" fmla="*/ 28 w 57"/>
                <a:gd name="T1" fmla="*/ 49 h 86"/>
                <a:gd name="T2" fmla="*/ 16 w 57"/>
                <a:gd name="T3" fmla="*/ 49 h 86"/>
                <a:gd name="T4" fmla="*/ 16 w 57"/>
                <a:gd name="T5" fmla="*/ 73 h 86"/>
                <a:gd name="T6" fmla="*/ 26 w 57"/>
                <a:gd name="T7" fmla="*/ 73 h 86"/>
                <a:gd name="T8" fmla="*/ 41 w 57"/>
                <a:gd name="T9" fmla="*/ 60 h 86"/>
                <a:gd name="T10" fmla="*/ 28 w 57"/>
                <a:gd name="T11" fmla="*/ 49 h 86"/>
                <a:gd name="T12" fmla="*/ 25 w 57"/>
                <a:gd name="T13" fmla="*/ 13 h 86"/>
                <a:gd name="T14" fmla="*/ 16 w 57"/>
                <a:gd name="T15" fmla="*/ 13 h 86"/>
                <a:gd name="T16" fmla="*/ 16 w 57"/>
                <a:gd name="T17" fmla="*/ 36 h 86"/>
                <a:gd name="T18" fmla="*/ 24 w 57"/>
                <a:gd name="T19" fmla="*/ 36 h 86"/>
                <a:gd name="T20" fmla="*/ 36 w 57"/>
                <a:gd name="T21" fmla="*/ 24 h 86"/>
                <a:gd name="T22" fmla="*/ 25 w 57"/>
                <a:gd name="T23" fmla="*/ 13 h 86"/>
                <a:gd name="T24" fmla="*/ 27 w 57"/>
                <a:gd name="T25" fmla="*/ 86 h 86"/>
                <a:gd name="T26" fmla="*/ 0 w 57"/>
                <a:gd name="T27" fmla="*/ 86 h 86"/>
                <a:gd name="T28" fmla="*/ 0 w 57"/>
                <a:gd name="T29" fmla="*/ 0 h 86"/>
                <a:gd name="T30" fmla="*/ 27 w 57"/>
                <a:gd name="T31" fmla="*/ 0 h 86"/>
                <a:gd name="T32" fmla="*/ 52 w 57"/>
                <a:gd name="T33" fmla="*/ 22 h 86"/>
                <a:gd name="T34" fmla="*/ 42 w 57"/>
                <a:gd name="T35" fmla="*/ 40 h 86"/>
                <a:gd name="T36" fmla="*/ 42 w 57"/>
                <a:gd name="T37" fmla="*/ 41 h 86"/>
                <a:gd name="T38" fmla="*/ 57 w 57"/>
                <a:gd name="T39" fmla="*/ 60 h 86"/>
                <a:gd name="T40" fmla="*/ 27 w 57"/>
                <a:gd name="T4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7" h="86">
                  <a:moveTo>
                    <a:pt x="28" y="49"/>
                  </a:moveTo>
                  <a:cubicBezTo>
                    <a:pt x="16" y="49"/>
                    <a:pt x="16" y="49"/>
                    <a:pt x="16" y="49"/>
                  </a:cubicBezTo>
                  <a:cubicBezTo>
                    <a:pt x="16" y="73"/>
                    <a:pt x="16" y="73"/>
                    <a:pt x="16" y="73"/>
                  </a:cubicBezTo>
                  <a:cubicBezTo>
                    <a:pt x="26" y="73"/>
                    <a:pt x="26" y="73"/>
                    <a:pt x="26" y="73"/>
                  </a:cubicBezTo>
                  <a:cubicBezTo>
                    <a:pt x="36" y="73"/>
                    <a:pt x="41" y="68"/>
                    <a:pt x="41" y="60"/>
                  </a:cubicBezTo>
                  <a:cubicBezTo>
                    <a:pt x="41" y="54"/>
                    <a:pt x="36" y="49"/>
                    <a:pt x="28" y="49"/>
                  </a:cubicBezTo>
                  <a:moveTo>
                    <a:pt x="25" y="13"/>
                  </a:moveTo>
                  <a:cubicBezTo>
                    <a:pt x="16" y="13"/>
                    <a:pt x="16" y="13"/>
                    <a:pt x="16" y="13"/>
                  </a:cubicBezTo>
                  <a:cubicBezTo>
                    <a:pt x="16" y="36"/>
                    <a:pt x="16" y="36"/>
                    <a:pt x="16" y="36"/>
                  </a:cubicBezTo>
                  <a:cubicBezTo>
                    <a:pt x="24" y="36"/>
                    <a:pt x="24" y="36"/>
                    <a:pt x="24" y="36"/>
                  </a:cubicBezTo>
                  <a:cubicBezTo>
                    <a:pt x="31" y="36"/>
                    <a:pt x="36" y="31"/>
                    <a:pt x="36" y="24"/>
                  </a:cubicBezTo>
                  <a:cubicBezTo>
                    <a:pt x="36" y="18"/>
                    <a:pt x="32" y="13"/>
                    <a:pt x="25" y="13"/>
                  </a:cubicBezTo>
                  <a:moveTo>
                    <a:pt x="27" y="86"/>
                  </a:moveTo>
                  <a:cubicBezTo>
                    <a:pt x="0" y="86"/>
                    <a:pt x="0" y="86"/>
                    <a:pt x="0" y="86"/>
                  </a:cubicBezTo>
                  <a:cubicBezTo>
                    <a:pt x="0" y="0"/>
                    <a:pt x="0" y="0"/>
                    <a:pt x="0" y="0"/>
                  </a:cubicBezTo>
                  <a:cubicBezTo>
                    <a:pt x="27" y="0"/>
                    <a:pt x="27" y="0"/>
                    <a:pt x="27" y="0"/>
                  </a:cubicBezTo>
                  <a:cubicBezTo>
                    <a:pt x="47" y="0"/>
                    <a:pt x="52" y="12"/>
                    <a:pt x="52" y="22"/>
                  </a:cubicBezTo>
                  <a:cubicBezTo>
                    <a:pt x="52" y="31"/>
                    <a:pt x="49" y="36"/>
                    <a:pt x="42" y="40"/>
                  </a:cubicBezTo>
                  <a:cubicBezTo>
                    <a:pt x="42" y="41"/>
                    <a:pt x="42" y="41"/>
                    <a:pt x="42" y="41"/>
                  </a:cubicBezTo>
                  <a:cubicBezTo>
                    <a:pt x="53" y="42"/>
                    <a:pt x="57" y="50"/>
                    <a:pt x="57" y="60"/>
                  </a:cubicBezTo>
                  <a:cubicBezTo>
                    <a:pt x="57" y="73"/>
                    <a:pt x="49" y="86"/>
                    <a:pt x="27" y="8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EC881D"/>
                </a:solidFill>
              </a:endParaRPr>
            </a:p>
          </p:txBody>
        </p:sp>
        <p:sp>
          <p:nvSpPr>
            <p:cNvPr id="62" name="Freeform 61"/>
            <p:cNvSpPr>
              <a:spLocks/>
            </p:cNvSpPr>
            <p:nvPr/>
          </p:nvSpPr>
          <p:spPr bwMode="auto">
            <a:xfrm>
              <a:off x="8719251" y="6653012"/>
              <a:ext cx="44014" cy="68467"/>
            </a:xfrm>
            <a:custGeom>
              <a:avLst/>
              <a:gdLst>
                <a:gd name="T0" fmla="*/ 0 w 38"/>
                <a:gd name="T1" fmla="*/ 1 h 59"/>
                <a:gd name="T2" fmla="*/ 12 w 38"/>
                <a:gd name="T3" fmla="*/ 1 h 59"/>
                <a:gd name="T4" fmla="*/ 14 w 38"/>
                <a:gd name="T5" fmla="*/ 7 h 59"/>
                <a:gd name="T6" fmla="*/ 30 w 38"/>
                <a:gd name="T7" fmla="*/ 0 h 59"/>
                <a:gd name="T8" fmla="*/ 38 w 38"/>
                <a:gd name="T9" fmla="*/ 2 h 59"/>
                <a:gd name="T10" fmla="*/ 33 w 38"/>
                <a:gd name="T11" fmla="*/ 14 h 59"/>
                <a:gd name="T12" fmla="*/ 26 w 38"/>
                <a:gd name="T13" fmla="*/ 12 h 59"/>
                <a:gd name="T14" fmla="*/ 15 w 38"/>
                <a:gd name="T15" fmla="*/ 18 h 59"/>
                <a:gd name="T16" fmla="*/ 15 w 38"/>
                <a:gd name="T17" fmla="*/ 48 h 59"/>
                <a:gd name="T18" fmla="*/ 0 w 38"/>
                <a:gd name="T19" fmla="*/ 59 h 59"/>
                <a:gd name="T20" fmla="*/ 0 w 38"/>
                <a:gd name="T21" fmla="*/ 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59">
                  <a:moveTo>
                    <a:pt x="0" y="1"/>
                  </a:moveTo>
                  <a:cubicBezTo>
                    <a:pt x="12" y="1"/>
                    <a:pt x="12" y="1"/>
                    <a:pt x="12" y="1"/>
                  </a:cubicBezTo>
                  <a:cubicBezTo>
                    <a:pt x="14" y="7"/>
                    <a:pt x="14" y="7"/>
                    <a:pt x="14" y="7"/>
                  </a:cubicBezTo>
                  <a:cubicBezTo>
                    <a:pt x="20" y="2"/>
                    <a:pt x="24" y="0"/>
                    <a:pt x="30" y="0"/>
                  </a:cubicBezTo>
                  <a:cubicBezTo>
                    <a:pt x="33" y="0"/>
                    <a:pt x="36" y="0"/>
                    <a:pt x="38" y="2"/>
                  </a:cubicBezTo>
                  <a:cubicBezTo>
                    <a:pt x="33" y="14"/>
                    <a:pt x="33" y="14"/>
                    <a:pt x="33" y="14"/>
                  </a:cubicBezTo>
                  <a:cubicBezTo>
                    <a:pt x="30" y="13"/>
                    <a:pt x="28" y="12"/>
                    <a:pt x="26" y="12"/>
                  </a:cubicBezTo>
                  <a:cubicBezTo>
                    <a:pt x="22" y="12"/>
                    <a:pt x="19" y="14"/>
                    <a:pt x="15" y="18"/>
                  </a:cubicBezTo>
                  <a:cubicBezTo>
                    <a:pt x="15" y="48"/>
                    <a:pt x="15" y="48"/>
                    <a:pt x="15" y="48"/>
                  </a:cubicBezTo>
                  <a:cubicBezTo>
                    <a:pt x="15" y="59"/>
                    <a:pt x="0" y="59"/>
                    <a:pt x="0" y="59"/>
                  </a:cubicBez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EC881D"/>
                </a:solidFill>
              </a:endParaRPr>
            </a:p>
          </p:txBody>
        </p:sp>
        <p:sp>
          <p:nvSpPr>
            <p:cNvPr id="63" name="Freeform 62"/>
            <p:cNvSpPr>
              <a:spLocks noEditPoints="1"/>
            </p:cNvSpPr>
            <p:nvPr/>
          </p:nvSpPr>
          <p:spPr bwMode="auto">
            <a:xfrm>
              <a:off x="8764243" y="6653012"/>
              <a:ext cx="67000" cy="68467"/>
            </a:xfrm>
            <a:custGeom>
              <a:avLst/>
              <a:gdLst>
                <a:gd name="T0" fmla="*/ 29 w 58"/>
                <a:gd name="T1" fmla="*/ 11 h 59"/>
                <a:gd name="T2" fmla="*/ 15 w 58"/>
                <a:gd name="T3" fmla="*/ 29 h 59"/>
                <a:gd name="T4" fmla="*/ 29 w 58"/>
                <a:gd name="T5" fmla="*/ 48 h 59"/>
                <a:gd name="T6" fmla="*/ 43 w 58"/>
                <a:gd name="T7" fmla="*/ 29 h 59"/>
                <a:gd name="T8" fmla="*/ 29 w 58"/>
                <a:gd name="T9" fmla="*/ 11 h 59"/>
                <a:gd name="T10" fmla="*/ 50 w 58"/>
                <a:gd name="T11" fmla="*/ 51 h 59"/>
                <a:gd name="T12" fmla="*/ 29 w 58"/>
                <a:gd name="T13" fmla="*/ 59 h 59"/>
                <a:gd name="T14" fmla="*/ 9 w 58"/>
                <a:gd name="T15" fmla="*/ 52 h 59"/>
                <a:gd name="T16" fmla="*/ 0 w 58"/>
                <a:gd name="T17" fmla="*/ 30 h 59"/>
                <a:gd name="T18" fmla="*/ 9 w 58"/>
                <a:gd name="T19" fmla="*/ 8 h 59"/>
                <a:gd name="T20" fmla="*/ 29 w 58"/>
                <a:gd name="T21" fmla="*/ 0 h 59"/>
                <a:gd name="T22" fmla="*/ 50 w 58"/>
                <a:gd name="T23" fmla="*/ 8 h 59"/>
                <a:gd name="T24" fmla="*/ 58 w 58"/>
                <a:gd name="T25" fmla="*/ 29 h 59"/>
                <a:gd name="T26" fmla="*/ 50 w 58"/>
                <a:gd name="T27" fmla="*/ 5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59">
                  <a:moveTo>
                    <a:pt x="29" y="11"/>
                  </a:moveTo>
                  <a:cubicBezTo>
                    <a:pt x="20" y="11"/>
                    <a:pt x="15" y="19"/>
                    <a:pt x="15" y="29"/>
                  </a:cubicBezTo>
                  <a:cubicBezTo>
                    <a:pt x="15" y="41"/>
                    <a:pt x="20" y="48"/>
                    <a:pt x="29" y="48"/>
                  </a:cubicBezTo>
                  <a:cubicBezTo>
                    <a:pt x="38" y="48"/>
                    <a:pt x="43" y="40"/>
                    <a:pt x="43" y="29"/>
                  </a:cubicBezTo>
                  <a:cubicBezTo>
                    <a:pt x="43" y="18"/>
                    <a:pt x="38" y="11"/>
                    <a:pt x="29" y="11"/>
                  </a:cubicBezTo>
                  <a:moveTo>
                    <a:pt x="50" y="51"/>
                  </a:moveTo>
                  <a:cubicBezTo>
                    <a:pt x="45" y="56"/>
                    <a:pt x="38" y="59"/>
                    <a:pt x="29" y="59"/>
                  </a:cubicBezTo>
                  <a:cubicBezTo>
                    <a:pt x="21" y="59"/>
                    <a:pt x="14" y="57"/>
                    <a:pt x="9" y="52"/>
                  </a:cubicBezTo>
                  <a:cubicBezTo>
                    <a:pt x="3" y="47"/>
                    <a:pt x="0" y="39"/>
                    <a:pt x="0" y="30"/>
                  </a:cubicBezTo>
                  <a:cubicBezTo>
                    <a:pt x="0" y="21"/>
                    <a:pt x="3" y="13"/>
                    <a:pt x="9" y="8"/>
                  </a:cubicBezTo>
                  <a:cubicBezTo>
                    <a:pt x="14" y="3"/>
                    <a:pt x="21" y="0"/>
                    <a:pt x="29" y="0"/>
                  </a:cubicBezTo>
                  <a:cubicBezTo>
                    <a:pt x="38" y="0"/>
                    <a:pt x="45" y="3"/>
                    <a:pt x="50" y="8"/>
                  </a:cubicBezTo>
                  <a:cubicBezTo>
                    <a:pt x="55" y="13"/>
                    <a:pt x="58" y="21"/>
                    <a:pt x="58" y="29"/>
                  </a:cubicBezTo>
                  <a:cubicBezTo>
                    <a:pt x="58" y="38"/>
                    <a:pt x="55" y="46"/>
                    <a:pt x="50" y="5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EC881D"/>
                </a:solidFill>
              </a:endParaRPr>
            </a:p>
          </p:txBody>
        </p:sp>
        <p:sp>
          <p:nvSpPr>
            <p:cNvPr id="64" name="Freeform 63"/>
            <p:cNvSpPr>
              <a:spLocks/>
            </p:cNvSpPr>
            <p:nvPr/>
          </p:nvSpPr>
          <p:spPr bwMode="auto">
            <a:xfrm>
              <a:off x="8833688" y="6654479"/>
              <a:ext cx="104167" cy="70423"/>
            </a:xfrm>
            <a:custGeom>
              <a:avLst/>
              <a:gdLst>
                <a:gd name="T0" fmla="*/ 15 w 90"/>
                <a:gd name="T1" fmla="*/ 0 h 61"/>
                <a:gd name="T2" fmla="*/ 27 w 90"/>
                <a:gd name="T3" fmla="*/ 39 h 61"/>
                <a:gd name="T4" fmla="*/ 27 w 90"/>
                <a:gd name="T5" fmla="*/ 39 h 61"/>
                <a:gd name="T6" fmla="*/ 40 w 90"/>
                <a:gd name="T7" fmla="*/ 0 h 61"/>
                <a:gd name="T8" fmla="*/ 51 w 90"/>
                <a:gd name="T9" fmla="*/ 0 h 61"/>
                <a:gd name="T10" fmla="*/ 64 w 90"/>
                <a:gd name="T11" fmla="*/ 39 h 61"/>
                <a:gd name="T12" fmla="*/ 64 w 90"/>
                <a:gd name="T13" fmla="*/ 39 h 61"/>
                <a:gd name="T14" fmla="*/ 76 w 90"/>
                <a:gd name="T15" fmla="*/ 0 h 61"/>
                <a:gd name="T16" fmla="*/ 90 w 90"/>
                <a:gd name="T17" fmla="*/ 0 h 61"/>
                <a:gd name="T18" fmla="*/ 73 w 90"/>
                <a:gd name="T19" fmla="*/ 47 h 61"/>
                <a:gd name="T20" fmla="*/ 58 w 90"/>
                <a:gd name="T21" fmla="*/ 58 h 61"/>
                <a:gd name="T22" fmla="*/ 45 w 90"/>
                <a:gd name="T23" fmla="*/ 19 h 61"/>
                <a:gd name="T24" fmla="*/ 44 w 90"/>
                <a:gd name="T25" fmla="*/ 19 h 61"/>
                <a:gd name="T26" fmla="*/ 35 w 90"/>
                <a:gd name="T27" fmla="*/ 47 h 61"/>
                <a:gd name="T28" fmla="*/ 20 w 90"/>
                <a:gd name="T29" fmla="*/ 58 h 61"/>
                <a:gd name="T30" fmla="*/ 0 w 90"/>
                <a:gd name="T31" fmla="*/ 0 h 61"/>
                <a:gd name="T32" fmla="*/ 15 w 90"/>
                <a:gd name="T33"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61">
                  <a:moveTo>
                    <a:pt x="15" y="0"/>
                  </a:moveTo>
                  <a:cubicBezTo>
                    <a:pt x="27" y="39"/>
                    <a:pt x="27" y="39"/>
                    <a:pt x="27" y="39"/>
                  </a:cubicBezTo>
                  <a:cubicBezTo>
                    <a:pt x="27" y="39"/>
                    <a:pt x="27" y="39"/>
                    <a:pt x="27" y="39"/>
                  </a:cubicBezTo>
                  <a:cubicBezTo>
                    <a:pt x="40" y="0"/>
                    <a:pt x="40" y="0"/>
                    <a:pt x="40" y="0"/>
                  </a:cubicBezTo>
                  <a:cubicBezTo>
                    <a:pt x="51" y="0"/>
                    <a:pt x="51" y="0"/>
                    <a:pt x="51" y="0"/>
                  </a:cubicBezTo>
                  <a:cubicBezTo>
                    <a:pt x="64" y="39"/>
                    <a:pt x="64" y="39"/>
                    <a:pt x="64" y="39"/>
                  </a:cubicBezTo>
                  <a:cubicBezTo>
                    <a:pt x="64" y="39"/>
                    <a:pt x="64" y="39"/>
                    <a:pt x="64" y="39"/>
                  </a:cubicBezTo>
                  <a:cubicBezTo>
                    <a:pt x="76" y="0"/>
                    <a:pt x="76" y="0"/>
                    <a:pt x="76" y="0"/>
                  </a:cubicBezTo>
                  <a:cubicBezTo>
                    <a:pt x="90" y="0"/>
                    <a:pt x="90" y="0"/>
                    <a:pt x="90" y="0"/>
                  </a:cubicBezTo>
                  <a:cubicBezTo>
                    <a:pt x="73" y="47"/>
                    <a:pt x="73" y="47"/>
                    <a:pt x="73" y="47"/>
                  </a:cubicBezTo>
                  <a:cubicBezTo>
                    <a:pt x="73" y="47"/>
                    <a:pt x="69" y="61"/>
                    <a:pt x="58" y="58"/>
                  </a:cubicBezTo>
                  <a:cubicBezTo>
                    <a:pt x="45" y="19"/>
                    <a:pt x="45" y="19"/>
                    <a:pt x="45" y="19"/>
                  </a:cubicBezTo>
                  <a:cubicBezTo>
                    <a:pt x="44" y="19"/>
                    <a:pt x="44" y="19"/>
                    <a:pt x="44" y="19"/>
                  </a:cubicBezTo>
                  <a:cubicBezTo>
                    <a:pt x="35" y="47"/>
                    <a:pt x="35" y="47"/>
                    <a:pt x="35" y="47"/>
                  </a:cubicBezTo>
                  <a:cubicBezTo>
                    <a:pt x="35" y="47"/>
                    <a:pt x="31" y="61"/>
                    <a:pt x="20" y="58"/>
                  </a:cubicBezTo>
                  <a:cubicBezTo>
                    <a:pt x="0" y="0"/>
                    <a:pt x="0" y="0"/>
                    <a:pt x="0" y="0"/>
                  </a:cubicBez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EC881D"/>
                </a:solidFill>
              </a:endParaRPr>
            </a:p>
          </p:txBody>
        </p:sp>
        <p:sp>
          <p:nvSpPr>
            <p:cNvPr id="65" name="Freeform 64"/>
            <p:cNvSpPr>
              <a:spLocks/>
            </p:cNvSpPr>
            <p:nvPr/>
          </p:nvSpPr>
          <p:spPr bwMode="auto">
            <a:xfrm>
              <a:off x="8947148" y="6653012"/>
              <a:ext cx="59664" cy="68467"/>
            </a:xfrm>
            <a:custGeom>
              <a:avLst/>
              <a:gdLst>
                <a:gd name="T0" fmla="*/ 52 w 52"/>
                <a:gd name="T1" fmla="*/ 20 h 59"/>
                <a:gd name="T2" fmla="*/ 52 w 52"/>
                <a:gd name="T3" fmla="*/ 48 h 59"/>
                <a:gd name="T4" fmla="*/ 38 w 52"/>
                <a:gd name="T5" fmla="*/ 59 h 59"/>
                <a:gd name="T6" fmla="*/ 38 w 52"/>
                <a:gd name="T7" fmla="*/ 24 h 59"/>
                <a:gd name="T8" fmla="*/ 29 w 52"/>
                <a:gd name="T9" fmla="*/ 12 h 59"/>
                <a:gd name="T10" fmla="*/ 15 w 52"/>
                <a:gd name="T11" fmla="*/ 18 h 59"/>
                <a:gd name="T12" fmla="*/ 15 w 52"/>
                <a:gd name="T13" fmla="*/ 48 h 59"/>
                <a:gd name="T14" fmla="*/ 0 w 52"/>
                <a:gd name="T15" fmla="*/ 59 h 59"/>
                <a:gd name="T16" fmla="*/ 0 w 52"/>
                <a:gd name="T17" fmla="*/ 1 h 59"/>
                <a:gd name="T18" fmla="*/ 13 w 52"/>
                <a:gd name="T19" fmla="*/ 1 h 59"/>
                <a:gd name="T20" fmla="*/ 14 w 52"/>
                <a:gd name="T21" fmla="*/ 7 h 59"/>
                <a:gd name="T22" fmla="*/ 34 w 52"/>
                <a:gd name="T23" fmla="*/ 0 h 59"/>
                <a:gd name="T24" fmla="*/ 52 w 52"/>
                <a:gd name="T25"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 h="59">
                  <a:moveTo>
                    <a:pt x="52" y="20"/>
                  </a:moveTo>
                  <a:cubicBezTo>
                    <a:pt x="52" y="48"/>
                    <a:pt x="52" y="48"/>
                    <a:pt x="52" y="48"/>
                  </a:cubicBezTo>
                  <a:cubicBezTo>
                    <a:pt x="52" y="59"/>
                    <a:pt x="38" y="59"/>
                    <a:pt x="38" y="59"/>
                  </a:cubicBezTo>
                  <a:cubicBezTo>
                    <a:pt x="38" y="24"/>
                    <a:pt x="38" y="24"/>
                    <a:pt x="38" y="24"/>
                  </a:cubicBezTo>
                  <a:cubicBezTo>
                    <a:pt x="38" y="19"/>
                    <a:pt x="37" y="12"/>
                    <a:pt x="29" y="12"/>
                  </a:cubicBezTo>
                  <a:cubicBezTo>
                    <a:pt x="24" y="12"/>
                    <a:pt x="19" y="15"/>
                    <a:pt x="15" y="18"/>
                  </a:cubicBezTo>
                  <a:cubicBezTo>
                    <a:pt x="15" y="48"/>
                    <a:pt x="15" y="48"/>
                    <a:pt x="15" y="48"/>
                  </a:cubicBezTo>
                  <a:cubicBezTo>
                    <a:pt x="15" y="59"/>
                    <a:pt x="0" y="59"/>
                    <a:pt x="0" y="59"/>
                  </a:cubicBezTo>
                  <a:cubicBezTo>
                    <a:pt x="0" y="1"/>
                    <a:pt x="0" y="1"/>
                    <a:pt x="0" y="1"/>
                  </a:cubicBezTo>
                  <a:cubicBezTo>
                    <a:pt x="13" y="1"/>
                    <a:pt x="13" y="1"/>
                    <a:pt x="13" y="1"/>
                  </a:cubicBezTo>
                  <a:cubicBezTo>
                    <a:pt x="14" y="7"/>
                    <a:pt x="14" y="7"/>
                    <a:pt x="14" y="7"/>
                  </a:cubicBezTo>
                  <a:cubicBezTo>
                    <a:pt x="20" y="2"/>
                    <a:pt x="27" y="0"/>
                    <a:pt x="34" y="0"/>
                  </a:cubicBezTo>
                  <a:cubicBezTo>
                    <a:pt x="43" y="0"/>
                    <a:pt x="52" y="5"/>
                    <a:pt x="52" y="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EC881D"/>
                </a:solidFill>
              </a:endParaRPr>
            </a:p>
          </p:txBody>
        </p:sp>
      </p:grpSp>
      <p:sp>
        <p:nvSpPr>
          <p:cNvPr id="40" name="Text Placeholder 2"/>
          <p:cNvSpPr>
            <a:spLocks noGrp="1"/>
          </p:cNvSpPr>
          <p:nvPr>
            <p:ph type="body" sz="quarter" idx="25" hasCustomPrompt="1"/>
          </p:nvPr>
        </p:nvSpPr>
        <p:spPr>
          <a:xfrm>
            <a:off x="6202363" y="4807465"/>
            <a:ext cx="1160462" cy="341313"/>
          </a:xfrm>
          <a:prstGeom prst="rect">
            <a:avLst/>
          </a:prstGeom>
        </p:spPr>
        <p:txBody>
          <a:bodyPr anchor="ctr"/>
          <a:lstStyle>
            <a:lvl1pPr marL="0" indent="0" algn="ctr">
              <a:buNone/>
              <a:defRPr sz="800">
                <a:solidFill>
                  <a:schemeClr val="bg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sp>
        <p:nvSpPr>
          <p:cNvPr id="29"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solidFill>
                  <a:schemeClr val="tx1">
                    <a:lumMod val="50000"/>
                    <a:lumOff val="50000"/>
                  </a:schemeClr>
                </a:solidFill>
                <a:latin typeface="+mn-lt"/>
              </a:rPr>
              <a:t>Private and Confidental</a:t>
            </a:r>
            <a:endParaRPr lang="pt-BR" sz="500" dirty="0">
              <a:solidFill>
                <a:schemeClr val="tx1">
                  <a:lumMod val="50000"/>
                  <a:lumOff val="50000"/>
                </a:schemeClr>
              </a:solidFill>
              <a:latin typeface="+mn-lt"/>
            </a:endParaRPr>
          </a:p>
        </p:txBody>
      </p:sp>
    </p:spTree>
    <p:extLst>
      <p:ext uri="{BB962C8B-B14F-4D97-AF65-F5344CB8AC3E}">
        <p14:creationId xmlns:p14="http://schemas.microsoft.com/office/powerpoint/2010/main" val="2181162470"/>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_MB_Leaf">
    <p:bg>
      <p:bgPr>
        <a:solidFill>
          <a:schemeClr val="bg1"/>
        </a:solidFill>
        <a:effectLst/>
      </p:bgPr>
    </p:bg>
    <p:spTree>
      <p:nvGrpSpPr>
        <p:cNvPr id="1" name=""/>
        <p:cNvGrpSpPr/>
        <p:nvPr/>
      </p:nvGrpSpPr>
      <p:grpSpPr>
        <a:xfrm>
          <a:off x="0" y="0"/>
          <a:ext cx="0" cy="0"/>
          <a:chOff x="0" y="0"/>
          <a:chExt cx="0" cy="0"/>
        </a:xfrm>
      </p:grpSpPr>
      <p:sp>
        <p:nvSpPr>
          <p:cNvPr id="31" name="Rectangle 30"/>
          <p:cNvSpPr/>
          <p:nvPr userDrawn="1"/>
        </p:nvSpPr>
        <p:spPr>
          <a:xfrm>
            <a:off x="0" y="0"/>
            <a:ext cx="9144000" cy="5148263"/>
          </a:xfrm>
          <a:prstGeom prst="rect">
            <a:avLst/>
          </a:prstGeom>
          <a:solidFill>
            <a:schemeClr val="tx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en-GB" sz="1050" smtClean="0">
              <a:solidFill>
                <a:schemeClr val="bg1"/>
              </a:solidFill>
              <a:latin typeface="Arial" panose="020B0604020202020204" pitchFamily="34" charset="0"/>
              <a:cs typeface="Arial" panose="020B0604020202020204" pitchFamily="34" charset="0"/>
            </a:endParaRPr>
          </a:p>
        </p:txBody>
      </p:sp>
      <p:pic>
        <p:nvPicPr>
          <p:cNvPr id="33" name="Picture 32" descr="cookie_white.png"/>
          <p:cNvPicPr>
            <a:picLocks noChangeAspect="1"/>
          </p:cNvPicPr>
          <p:nvPr userDrawn="1"/>
        </p:nvPicPr>
        <p:blipFill rotWithShape="1">
          <a:blip r:embed="rId2" cstate="screen">
            <a:alphaModFix amt="16000"/>
            <a:extLst>
              <a:ext uri="{28A0092B-C50C-407E-A947-70E740481C1C}">
                <a14:useLocalDpi xmlns:a14="http://schemas.microsoft.com/office/drawing/2010/main"/>
              </a:ext>
            </a:extLst>
          </a:blip>
          <a:srcRect/>
          <a:stretch/>
        </p:blipFill>
        <p:spPr>
          <a:xfrm flipH="1">
            <a:off x="5149029" y="2289839"/>
            <a:ext cx="4020091" cy="2880000"/>
          </a:xfrm>
          <a:prstGeom prst="rect">
            <a:avLst/>
          </a:prstGeom>
        </p:spPr>
      </p:pic>
      <p:cxnSp>
        <p:nvCxnSpPr>
          <p:cNvPr id="32" name="Straight Connector 31"/>
          <p:cNvCxnSpPr/>
          <p:nvPr userDrawn="1"/>
        </p:nvCxnSpPr>
        <p:spPr>
          <a:xfrm>
            <a:off x="343365" y="470176"/>
            <a:ext cx="8460000" cy="0"/>
          </a:xfrm>
          <a:prstGeom prst="line">
            <a:avLst/>
          </a:prstGeom>
          <a:ln w="6350" cmpd="sng">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343365" y="4801146"/>
            <a:ext cx="8460000" cy="0"/>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sp>
        <p:nvSpPr>
          <p:cNvPr id="67"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rgbClr val="FFFFFF"/>
                </a:solidFill>
                <a:latin typeface="+mn-lt"/>
              </a:defRPr>
            </a:lvl1pPr>
          </a:lstStyle>
          <a:p>
            <a:fld id="{19AB4E72-7858-48F1-A40D-12FF09E4BFB8}" type="slidenum">
              <a:rPr lang="en-GB" smtClean="0"/>
              <a:pPr/>
              <a:t>‹Nº›</a:t>
            </a:fld>
            <a:endParaRPr lang="en-GB"/>
          </a:p>
        </p:txBody>
      </p:sp>
      <p:sp>
        <p:nvSpPr>
          <p:cNvPr id="36" name="Title 1"/>
          <p:cNvSpPr>
            <a:spLocks noGrp="1"/>
          </p:cNvSpPr>
          <p:nvPr>
            <p:ph type="ctrTitle" hasCustomPrompt="1"/>
          </p:nvPr>
        </p:nvSpPr>
        <p:spPr>
          <a:xfrm>
            <a:off x="343365" y="2867487"/>
            <a:ext cx="8460000" cy="443198"/>
          </a:xfrm>
          <a:prstGeom prst="rect">
            <a:avLst/>
          </a:prstGeom>
        </p:spPr>
        <p:txBody>
          <a:bodyPr lIns="0" tIns="0" rIns="0" bIns="0" anchor="b"/>
          <a:lstStyle>
            <a:lvl1pPr>
              <a:lnSpc>
                <a:spcPct val="90000"/>
              </a:lnSpc>
              <a:defRPr sz="3200" b="0">
                <a:solidFill>
                  <a:schemeClr val="bg1"/>
                </a:solidFill>
              </a:defRPr>
            </a:lvl1pPr>
          </a:lstStyle>
          <a:p>
            <a:r>
              <a:rPr lang="en-US" dirty="0" smtClean="0"/>
              <a:t>Click to edit Master title Style</a:t>
            </a:r>
            <a:endParaRPr lang="en-US" dirty="0"/>
          </a:p>
        </p:txBody>
      </p:sp>
      <p:sp>
        <p:nvSpPr>
          <p:cNvPr id="37" name="Subtitle 2"/>
          <p:cNvSpPr>
            <a:spLocks noGrp="1"/>
          </p:cNvSpPr>
          <p:nvPr>
            <p:ph type="subTitle" idx="1" hasCustomPrompt="1"/>
          </p:nvPr>
        </p:nvSpPr>
        <p:spPr>
          <a:xfrm>
            <a:off x="343364" y="3474100"/>
            <a:ext cx="8460000" cy="202165"/>
          </a:xfrm>
          <a:prstGeom prst="rect">
            <a:avLst/>
          </a:prstGeom>
        </p:spPr>
        <p:txBody>
          <a:bodyPr lIns="0" tIns="0" rIns="0" bIns="0">
            <a:noAutofit/>
          </a:bodyPr>
          <a:lstStyle>
            <a:lvl1pPr marL="0" indent="0" algn="l">
              <a:buNone/>
              <a:defRPr sz="14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cxnSp>
        <p:nvCxnSpPr>
          <p:cNvPr id="38" name="Straight Connector 37"/>
          <p:cNvCxnSpPr/>
          <p:nvPr userDrawn="1"/>
        </p:nvCxnSpPr>
        <p:spPr>
          <a:xfrm>
            <a:off x="346086" y="3395058"/>
            <a:ext cx="8460000" cy="0"/>
          </a:xfrm>
          <a:prstGeom prst="line">
            <a:avLst/>
          </a:prstGeom>
          <a:ln w="12700" cmpd="sng">
            <a:solidFill>
              <a:schemeClr val="bg1"/>
            </a:solidFill>
          </a:ln>
        </p:spPr>
        <p:style>
          <a:lnRef idx="1">
            <a:schemeClr val="accent1"/>
          </a:lnRef>
          <a:fillRef idx="0">
            <a:schemeClr val="accent1"/>
          </a:fillRef>
          <a:effectRef idx="0">
            <a:schemeClr val="accent1"/>
          </a:effectRef>
          <a:fontRef idx="minor">
            <a:schemeClr val="tx1"/>
          </a:fontRef>
        </p:style>
      </p:cxnSp>
      <p:grpSp>
        <p:nvGrpSpPr>
          <p:cNvPr id="75" name="Group 74"/>
          <p:cNvGrpSpPr/>
          <p:nvPr userDrawn="1"/>
        </p:nvGrpSpPr>
        <p:grpSpPr>
          <a:xfrm>
            <a:off x="6222147" y="4864376"/>
            <a:ext cx="1123200" cy="233974"/>
            <a:chOff x="7665803" y="4864376"/>
            <a:chExt cx="1123200" cy="233974"/>
          </a:xfrm>
          <a:solidFill>
            <a:schemeClr val="bg1"/>
          </a:solidFill>
        </p:grpSpPr>
        <p:sp>
          <p:nvSpPr>
            <p:cNvPr id="76" name="Freeform 6"/>
            <p:cNvSpPr>
              <a:spLocks/>
            </p:cNvSpPr>
            <p:nvPr userDrawn="1"/>
          </p:nvSpPr>
          <p:spPr bwMode="auto">
            <a:xfrm>
              <a:off x="8119644" y="4924717"/>
              <a:ext cx="103102" cy="66806"/>
            </a:xfrm>
            <a:custGeom>
              <a:avLst/>
              <a:gdLst>
                <a:gd name="T0" fmla="*/ 111 w 136"/>
                <a:gd name="T1" fmla="*/ 72 h 92"/>
                <a:gd name="T2" fmla="*/ 87 w 136"/>
                <a:gd name="T3" fmla="*/ 88 h 92"/>
                <a:gd name="T4" fmla="*/ 68 w 136"/>
                <a:gd name="T5" fmla="*/ 28 h 92"/>
                <a:gd name="T6" fmla="*/ 67 w 136"/>
                <a:gd name="T7" fmla="*/ 28 h 92"/>
                <a:gd name="T8" fmla="*/ 53 w 136"/>
                <a:gd name="T9" fmla="*/ 72 h 92"/>
                <a:gd name="T10" fmla="*/ 31 w 136"/>
                <a:gd name="T11" fmla="*/ 88 h 92"/>
                <a:gd name="T12" fmla="*/ 0 w 136"/>
                <a:gd name="T13" fmla="*/ 0 h 92"/>
                <a:gd name="T14" fmla="*/ 22 w 136"/>
                <a:gd name="T15" fmla="*/ 0 h 92"/>
                <a:gd name="T16" fmla="*/ 41 w 136"/>
                <a:gd name="T17" fmla="*/ 60 h 92"/>
                <a:gd name="T18" fmla="*/ 41 w 136"/>
                <a:gd name="T19" fmla="*/ 60 h 92"/>
                <a:gd name="T20" fmla="*/ 60 w 136"/>
                <a:gd name="T21" fmla="*/ 0 h 92"/>
                <a:gd name="T22" fmla="*/ 77 w 136"/>
                <a:gd name="T23" fmla="*/ 0 h 92"/>
                <a:gd name="T24" fmla="*/ 96 w 136"/>
                <a:gd name="T25" fmla="*/ 60 h 92"/>
                <a:gd name="T26" fmla="*/ 97 w 136"/>
                <a:gd name="T27" fmla="*/ 60 h 92"/>
                <a:gd name="T28" fmla="*/ 115 w 136"/>
                <a:gd name="T29" fmla="*/ 0 h 92"/>
                <a:gd name="T30" fmla="*/ 136 w 136"/>
                <a:gd name="T31" fmla="*/ 0 h 92"/>
                <a:gd name="T32" fmla="*/ 111 w 136"/>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 h="92">
                  <a:moveTo>
                    <a:pt x="111" y="72"/>
                  </a:moveTo>
                  <a:cubicBezTo>
                    <a:pt x="103" y="92"/>
                    <a:pt x="87" y="88"/>
                    <a:pt x="87" y="88"/>
                  </a:cubicBezTo>
                  <a:cubicBezTo>
                    <a:pt x="68" y="28"/>
                    <a:pt x="68" y="28"/>
                    <a:pt x="68" y="28"/>
                  </a:cubicBezTo>
                  <a:cubicBezTo>
                    <a:pt x="67" y="28"/>
                    <a:pt x="67" y="28"/>
                    <a:pt x="67" y="28"/>
                  </a:cubicBezTo>
                  <a:cubicBezTo>
                    <a:pt x="67" y="28"/>
                    <a:pt x="58"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6" y="60"/>
                    <a:pt x="96" y="60"/>
                    <a:pt x="96" y="60"/>
                  </a:cubicBezTo>
                  <a:cubicBezTo>
                    <a:pt x="97" y="60"/>
                    <a:pt x="97" y="60"/>
                    <a:pt x="97" y="60"/>
                  </a:cubicBezTo>
                  <a:cubicBezTo>
                    <a:pt x="115" y="0"/>
                    <a:pt x="115" y="0"/>
                    <a:pt x="115" y="0"/>
                  </a:cubicBezTo>
                  <a:cubicBezTo>
                    <a:pt x="136" y="0"/>
                    <a:pt x="136" y="0"/>
                    <a:pt x="136" y="0"/>
                  </a:cubicBezTo>
                  <a:cubicBezTo>
                    <a:pt x="136"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7" name="Freeform 7"/>
            <p:cNvSpPr>
              <a:spLocks noEditPoints="1"/>
            </p:cNvSpPr>
            <p:nvPr userDrawn="1"/>
          </p:nvSpPr>
          <p:spPr bwMode="auto">
            <a:xfrm>
              <a:off x="8225958" y="4923177"/>
              <a:ext cx="57493" cy="66190"/>
            </a:xfrm>
            <a:custGeom>
              <a:avLst/>
              <a:gdLst>
                <a:gd name="T0" fmla="*/ 57 w 76"/>
                <a:gd name="T1" fmla="*/ 90 h 91"/>
                <a:gd name="T2" fmla="*/ 53 w 76"/>
                <a:gd name="T3" fmla="*/ 81 h 91"/>
                <a:gd name="T4" fmla="*/ 28 w 76"/>
                <a:gd name="T5" fmla="*/ 91 h 91"/>
                <a:gd name="T6" fmla="*/ 0 w 76"/>
                <a:gd name="T7" fmla="*/ 63 h 91"/>
                <a:gd name="T8" fmla="*/ 36 w 76"/>
                <a:gd name="T9" fmla="*/ 34 h 91"/>
                <a:gd name="T10" fmla="*/ 51 w 76"/>
                <a:gd name="T11" fmla="*/ 34 h 91"/>
                <a:gd name="T12" fmla="*/ 51 w 76"/>
                <a:gd name="T13" fmla="*/ 31 h 91"/>
                <a:gd name="T14" fmla="*/ 35 w 76"/>
                <a:gd name="T15" fmla="*/ 17 h 91"/>
                <a:gd name="T16" fmla="*/ 12 w 76"/>
                <a:gd name="T17" fmla="*/ 23 h 91"/>
                <a:gd name="T18" fmla="*/ 5 w 76"/>
                <a:gd name="T19" fmla="*/ 9 h 91"/>
                <a:gd name="T20" fmla="*/ 39 w 76"/>
                <a:gd name="T21" fmla="*/ 0 h 91"/>
                <a:gd name="T22" fmla="*/ 74 w 76"/>
                <a:gd name="T23" fmla="*/ 31 h 91"/>
                <a:gd name="T24" fmla="*/ 74 w 76"/>
                <a:gd name="T25" fmla="*/ 66 h 91"/>
                <a:gd name="T26" fmla="*/ 76 w 76"/>
                <a:gd name="T27" fmla="*/ 90 h 91"/>
                <a:gd name="T28" fmla="*/ 57 w 76"/>
                <a:gd name="T29" fmla="*/ 90 h 91"/>
                <a:gd name="T30" fmla="*/ 51 w 76"/>
                <a:gd name="T31" fmla="*/ 49 h 91"/>
                <a:gd name="T32" fmla="*/ 39 w 76"/>
                <a:gd name="T33" fmla="*/ 49 h 91"/>
                <a:gd name="T34" fmla="*/ 22 w 76"/>
                <a:gd name="T35" fmla="*/ 61 h 91"/>
                <a:gd name="T36" fmla="*/ 36 w 76"/>
                <a:gd name="T37" fmla="*/ 73 h 91"/>
                <a:gd name="T38" fmla="*/ 51 w 76"/>
                <a:gd name="T39" fmla="*/ 68 h 91"/>
                <a:gd name="T40" fmla="*/ 51 w 76"/>
                <a:gd name="T41" fmla="*/ 4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91">
                  <a:moveTo>
                    <a:pt x="57" y="90"/>
                  </a:moveTo>
                  <a:cubicBezTo>
                    <a:pt x="53" y="81"/>
                    <a:pt x="53" y="81"/>
                    <a:pt x="53" y="81"/>
                  </a:cubicBezTo>
                  <a:cubicBezTo>
                    <a:pt x="48" y="86"/>
                    <a:pt x="40" y="91"/>
                    <a:pt x="28" y="91"/>
                  </a:cubicBezTo>
                  <a:cubicBezTo>
                    <a:pt x="12" y="91"/>
                    <a:pt x="0" y="80"/>
                    <a:pt x="0" y="63"/>
                  </a:cubicBezTo>
                  <a:cubicBezTo>
                    <a:pt x="0" y="45"/>
                    <a:pt x="14" y="35"/>
                    <a:pt x="36" y="34"/>
                  </a:cubicBezTo>
                  <a:cubicBezTo>
                    <a:pt x="51" y="34"/>
                    <a:pt x="51" y="34"/>
                    <a:pt x="51" y="34"/>
                  </a:cubicBezTo>
                  <a:cubicBezTo>
                    <a:pt x="51" y="33"/>
                    <a:pt x="51" y="32"/>
                    <a:pt x="51" y="31"/>
                  </a:cubicBezTo>
                  <a:cubicBezTo>
                    <a:pt x="51" y="21"/>
                    <a:pt x="44" y="17"/>
                    <a:pt x="35" y="17"/>
                  </a:cubicBezTo>
                  <a:cubicBezTo>
                    <a:pt x="25" y="17"/>
                    <a:pt x="18" y="20"/>
                    <a:pt x="12" y="23"/>
                  </a:cubicBezTo>
                  <a:cubicBezTo>
                    <a:pt x="5" y="9"/>
                    <a:pt x="5" y="9"/>
                    <a:pt x="5" y="9"/>
                  </a:cubicBezTo>
                  <a:cubicBezTo>
                    <a:pt x="17" y="2"/>
                    <a:pt x="28" y="0"/>
                    <a:pt x="39" y="0"/>
                  </a:cubicBezTo>
                  <a:cubicBezTo>
                    <a:pt x="61" y="0"/>
                    <a:pt x="74" y="9"/>
                    <a:pt x="74" y="31"/>
                  </a:cubicBezTo>
                  <a:cubicBezTo>
                    <a:pt x="74" y="66"/>
                    <a:pt x="74" y="66"/>
                    <a:pt x="74" y="66"/>
                  </a:cubicBezTo>
                  <a:cubicBezTo>
                    <a:pt x="74" y="78"/>
                    <a:pt x="75" y="86"/>
                    <a:pt x="76" y="90"/>
                  </a:cubicBezTo>
                  <a:lnTo>
                    <a:pt x="57" y="90"/>
                  </a:lnTo>
                  <a:close/>
                  <a:moveTo>
                    <a:pt x="51" y="49"/>
                  </a:moveTo>
                  <a:cubicBezTo>
                    <a:pt x="39" y="49"/>
                    <a:pt x="39" y="49"/>
                    <a:pt x="39" y="49"/>
                  </a:cubicBezTo>
                  <a:cubicBezTo>
                    <a:pt x="27" y="50"/>
                    <a:pt x="22" y="54"/>
                    <a:pt x="22" y="61"/>
                  </a:cubicBezTo>
                  <a:cubicBezTo>
                    <a:pt x="22" y="68"/>
                    <a:pt x="27" y="73"/>
                    <a:pt x="36" y="73"/>
                  </a:cubicBezTo>
                  <a:cubicBezTo>
                    <a:pt x="44" y="73"/>
                    <a:pt x="49" y="70"/>
                    <a:pt x="51" y="68"/>
                  </a:cubicBezTo>
                  <a:lnTo>
                    <a:pt x="51" y="4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8" name="Freeform 8"/>
            <p:cNvSpPr>
              <a:spLocks noEditPoints="1"/>
            </p:cNvSpPr>
            <p:nvPr userDrawn="1"/>
          </p:nvSpPr>
          <p:spPr bwMode="auto">
            <a:xfrm>
              <a:off x="8342550" y="4892699"/>
              <a:ext cx="62311" cy="96668"/>
            </a:xfrm>
            <a:custGeom>
              <a:avLst/>
              <a:gdLst>
                <a:gd name="T0" fmla="*/ 47 w 82"/>
                <a:gd name="T1" fmla="*/ 133 h 133"/>
                <a:gd name="T2" fmla="*/ 0 w 82"/>
                <a:gd name="T3" fmla="*/ 88 h 133"/>
                <a:gd name="T4" fmla="*/ 48 w 82"/>
                <a:gd name="T5" fmla="*/ 42 h 133"/>
                <a:gd name="T6" fmla="*/ 59 w 82"/>
                <a:gd name="T7" fmla="*/ 42 h 133"/>
                <a:gd name="T8" fmla="*/ 60 w 82"/>
                <a:gd name="T9" fmla="*/ 0 h 133"/>
                <a:gd name="T10" fmla="*/ 82 w 82"/>
                <a:gd name="T11" fmla="*/ 0 h 133"/>
                <a:gd name="T12" fmla="*/ 81 w 82"/>
                <a:gd name="T13" fmla="*/ 126 h 133"/>
                <a:gd name="T14" fmla="*/ 47 w 82"/>
                <a:gd name="T15" fmla="*/ 133 h 133"/>
                <a:gd name="T16" fmla="*/ 59 w 82"/>
                <a:gd name="T17" fmla="*/ 60 h 133"/>
                <a:gd name="T18" fmla="*/ 49 w 82"/>
                <a:gd name="T19" fmla="*/ 59 h 133"/>
                <a:gd name="T20" fmla="*/ 22 w 82"/>
                <a:gd name="T21" fmla="*/ 87 h 133"/>
                <a:gd name="T22" fmla="*/ 49 w 82"/>
                <a:gd name="T23" fmla="*/ 114 h 133"/>
                <a:gd name="T24" fmla="*/ 59 w 82"/>
                <a:gd name="T25" fmla="*/ 113 h 133"/>
                <a:gd name="T26" fmla="*/ 59 w 82"/>
                <a:gd name="T27" fmla="*/ 6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3">
                  <a:moveTo>
                    <a:pt x="47" y="133"/>
                  </a:moveTo>
                  <a:cubicBezTo>
                    <a:pt x="21" y="133"/>
                    <a:pt x="0" y="117"/>
                    <a:pt x="0" y="88"/>
                  </a:cubicBezTo>
                  <a:cubicBezTo>
                    <a:pt x="0" y="61"/>
                    <a:pt x="20" y="42"/>
                    <a:pt x="48" y="42"/>
                  </a:cubicBezTo>
                  <a:cubicBezTo>
                    <a:pt x="52" y="42"/>
                    <a:pt x="56" y="42"/>
                    <a:pt x="59" y="42"/>
                  </a:cubicBezTo>
                  <a:cubicBezTo>
                    <a:pt x="60" y="0"/>
                    <a:pt x="60" y="0"/>
                    <a:pt x="60" y="0"/>
                  </a:cubicBezTo>
                  <a:cubicBezTo>
                    <a:pt x="82" y="0"/>
                    <a:pt x="82" y="0"/>
                    <a:pt x="82" y="0"/>
                  </a:cubicBezTo>
                  <a:cubicBezTo>
                    <a:pt x="81" y="126"/>
                    <a:pt x="81" y="126"/>
                    <a:pt x="81" y="126"/>
                  </a:cubicBezTo>
                  <a:cubicBezTo>
                    <a:pt x="73" y="130"/>
                    <a:pt x="62" y="133"/>
                    <a:pt x="47" y="133"/>
                  </a:cubicBezTo>
                  <a:close/>
                  <a:moveTo>
                    <a:pt x="59" y="60"/>
                  </a:moveTo>
                  <a:cubicBezTo>
                    <a:pt x="56" y="60"/>
                    <a:pt x="54" y="59"/>
                    <a:pt x="49" y="59"/>
                  </a:cubicBezTo>
                  <a:cubicBezTo>
                    <a:pt x="33" y="59"/>
                    <a:pt x="22" y="70"/>
                    <a:pt x="22" y="87"/>
                  </a:cubicBezTo>
                  <a:cubicBezTo>
                    <a:pt x="22" y="103"/>
                    <a:pt x="32" y="114"/>
                    <a:pt x="49" y="114"/>
                  </a:cubicBezTo>
                  <a:cubicBezTo>
                    <a:pt x="53" y="114"/>
                    <a:pt x="57" y="114"/>
                    <a:pt x="59" y="113"/>
                  </a:cubicBezTo>
                  <a:lnTo>
                    <a:pt x="59" y="60"/>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9" name="Freeform 9"/>
            <p:cNvSpPr>
              <a:spLocks/>
            </p:cNvSpPr>
            <p:nvPr userDrawn="1"/>
          </p:nvSpPr>
          <p:spPr bwMode="auto">
            <a:xfrm>
              <a:off x="8093949"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0" name="Freeform 10"/>
            <p:cNvSpPr>
              <a:spLocks/>
            </p:cNvSpPr>
            <p:nvPr userDrawn="1"/>
          </p:nvSpPr>
          <p:spPr bwMode="auto">
            <a:xfrm>
              <a:off x="8060545"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1" name="Freeform 11"/>
            <p:cNvSpPr>
              <a:spLocks/>
            </p:cNvSpPr>
            <p:nvPr userDrawn="1"/>
          </p:nvSpPr>
          <p:spPr bwMode="auto">
            <a:xfrm>
              <a:off x="8297262" y="4923177"/>
              <a:ext cx="43039" cy="66190"/>
            </a:xfrm>
            <a:custGeom>
              <a:avLst/>
              <a:gdLst>
                <a:gd name="T0" fmla="*/ 49 w 57"/>
                <a:gd name="T1" fmla="*/ 22 h 91"/>
                <a:gd name="T2" fmla="*/ 39 w 57"/>
                <a:gd name="T3" fmla="*/ 20 h 91"/>
                <a:gd name="T4" fmla="*/ 22 w 57"/>
                <a:gd name="T5" fmla="*/ 27 h 91"/>
                <a:gd name="T6" fmla="*/ 22 w 57"/>
                <a:gd name="T7" fmla="*/ 74 h 91"/>
                <a:gd name="T8" fmla="*/ 0 w 57"/>
                <a:gd name="T9" fmla="*/ 90 h 91"/>
                <a:gd name="T10" fmla="*/ 0 w 57"/>
                <a:gd name="T11" fmla="*/ 2 h 91"/>
                <a:gd name="T12" fmla="*/ 18 w 57"/>
                <a:gd name="T13" fmla="*/ 2 h 91"/>
                <a:gd name="T14" fmla="*/ 21 w 57"/>
                <a:gd name="T15" fmla="*/ 11 h 91"/>
                <a:gd name="T16" fmla="*/ 45 w 57"/>
                <a:gd name="T17" fmla="*/ 0 h 91"/>
                <a:gd name="T18" fmla="*/ 57 w 57"/>
                <a:gd name="T19" fmla="*/ 4 h 91"/>
                <a:gd name="T20" fmla="*/ 49 w 57"/>
                <a:gd name="T21" fmla="*/ 2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1">
                  <a:moveTo>
                    <a:pt x="49" y="22"/>
                  </a:moveTo>
                  <a:cubicBezTo>
                    <a:pt x="45" y="20"/>
                    <a:pt x="41" y="20"/>
                    <a:pt x="39" y="20"/>
                  </a:cubicBezTo>
                  <a:cubicBezTo>
                    <a:pt x="34" y="20"/>
                    <a:pt x="28" y="22"/>
                    <a:pt x="22" y="27"/>
                  </a:cubicBezTo>
                  <a:cubicBezTo>
                    <a:pt x="22" y="27"/>
                    <a:pt x="22" y="57"/>
                    <a:pt x="22" y="74"/>
                  </a:cubicBezTo>
                  <a:cubicBezTo>
                    <a:pt x="22" y="91"/>
                    <a:pt x="0" y="90"/>
                    <a:pt x="0" y="90"/>
                  </a:cubicBezTo>
                  <a:cubicBezTo>
                    <a:pt x="0" y="2"/>
                    <a:pt x="0" y="2"/>
                    <a:pt x="0" y="2"/>
                  </a:cubicBezTo>
                  <a:cubicBezTo>
                    <a:pt x="18" y="2"/>
                    <a:pt x="18" y="2"/>
                    <a:pt x="18"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2" name="Freeform 12"/>
            <p:cNvSpPr>
              <a:spLocks/>
            </p:cNvSpPr>
            <p:nvPr userDrawn="1"/>
          </p:nvSpPr>
          <p:spPr bwMode="auto">
            <a:xfrm>
              <a:off x="7907980" y="4892699"/>
              <a:ext cx="98605" cy="95129"/>
            </a:xfrm>
            <a:custGeom>
              <a:avLst/>
              <a:gdLst>
                <a:gd name="T0" fmla="*/ 106 w 130"/>
                <a:gd name="T1" fmla="*/ 131 h 131"/>
                <a:gd name="T2" fmla="*/ 106 w 130"/>
                <a:gd name="T3" fmla="*/ 53 h 131"/>
                <a:gd name="T4" fmla="*/ 107 w 130"/>
                <a:gd name="T5" fmla="*/ 39 h 131"/>
                <a:gd name="T6" fmla="*/ 106 w 130"/>
                <a:gd name="T7" fmla="*/ 39 h 131"/>
                <a:gd name="T8" fmla="*/ 99 w 130"/>
                <a:gd name="T9" fmla="*/ 52 h 131"/>
                <a:gd name="T10" fmla="*/ 72 w 130"/>
                <a:gd name="T11" fmla="*/ 93 h 131"/>
                <a:gd name="T12" fmla="*/ 60 w 130"/>
                <a:gd name="T13" fmla="*/ 93 h 131"/>
                <a:gd name="T14" fmla="*/ 32 w 130"/>
                <a:gd name="T15" fmla="*/ 51 h 131"/>
                <a:gd name="T16" fmla="*/ 24 w 130"/>
                <a:gd name="T17" fmla="*/ 39 h 131"/>
                <a:gd name="T18" fmla="*/ 23 w 130"/>
                <a:gd name="T19" fmla="*/ 39 h 131"/>
                <a:gd name="T20" fmla="*/ 24 w 130"/>
                <a:gd name="T21" fmla="*/ 52 h 131"/>
                <a:gd name="T22" fmla="*/ 24 w 130"/>
                <a:gd name="T23" fmla="*/ 131 h 131"/>
                <a:gd name="T24" fmla="*/ 0 w 130"/>
                <a:gd name="T25" fmla="*/ 131 h 131"/>
                <a:gd name="T26" fmla="*/ 0 w 130"/>
                <a:gd name="T27" fmla="*/ 0 h 131"/>
                <a:gd name="T28" fmla="*/ 22 w 130"/>
                <a:gd name="T29" fmla="*/ 0 h 131"/>
                <a:gd name="T30" fmla="*/ 58 w 130"/>
                <a:gd name="T31" fmla="*/ 52 h 131"/>
                <a:gd name="T32" fmla="*/ 66 w 130"/>
                <a:gd name="T33" fmla="*/ 66 h 131"/>
                <a:gd name="T34" fmla="*/ 67 w 130"/>
                <a:gd name="T35" fmla="*/ 66 h 131"/>
                <a:gd name="T36" fmla="*/ 75 w 130"/>
                <a:gd name="T37" fmla="*/ 52 h 131"/>
                <a:gd name="T38" fmla="*/ 108 w 130"/>
                <a:gd name="T39" fmla="*/ 0 h 131"/>
                <a:gd name="T40" fmla="*/ 130 w 130"/>
                <a:gd name="T41" fmla="*/ 0 h 131"/>
                <a:gd name="T42" fmla="*/ 130 w 130"/>
                <a:gd name="T43" fmla="*/ 131 h 131"/>
                <a:gd name="T44" fmla="*/ 106 w 130"/>
                <a:gd name="T45"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0" h="131">
                  <a:moveTo>
                    <a:pt x="106" y="131"/>
                  </a:moveTo>
                  <a:cubicBezTo>
                    <a:pt x="106" y="53"/>
                    <a:pt x="106" y="53"/>
                    <a:pt x="106" y="53"/>
                  </a:cubicBezTo>
                  <a:cubicBezTo>
                    <a:pt x="106" y="48"/>
                    <a:pt x="106" y="44"/>
                    <a:pt x="107" y="39"/>
                  </a:cubicBezTo>
                  <a:cubicBezTo>
                    <a:pt x="106" y="39"/>
                    <a:pt x="106" y="39"/>
                    <a:pt x="106" y="39"/>
                  </a:cubicBezTo>
                  <a:cubicBezTo>
                    <a:pt x="105" y="43"/>
                    <a:pt x="101" y="49"/>
                    <a:pt x="99" y="52"/>
                  </a:cubicBezTo>
                  <a:cubicBezTo>
                    <a:pt x="72" y="93"/>
                    <a:pt x="72" y="93"/>
                    <a:pt x="72" y="93"/>
                  </a:cubicBezTo>
                  <a:cubicBezTo>
                    <a:pt x="60" y="93"/>
                    <a:pt x="60" y="93"/>
                    <a:pt x="60" y="93"/>
                  </a:cubicBezTo>
                  <a:cubicBezTo>
                    <a:pt x="32" y="51"/>
                    <a:pt x="32" y="51"/>
                    <a:pt x="32" y="51"/>
                  </a:cubicBezTo>
                  <a:cubicBezTo>
                    <a:pt x="29" y="48"/>
                    <a:pt x="26" y="44"/>
                    <a:pt x="24" y="39"/>
                  </a:cubicBezTo>
                  <a:cubicBezTo>
                    <a:pt x="23" y="39"/>
                    <a:pt x="23" y="39"/>
                    <a:pt x="23" y="39"/>
                  </a:cubicBezTo>
                  <a:cubicBezTo>
                    <a:pt x="24" y="44"/>
                    <a:pt x="24" y="48"/>
                    <a:pt x="24" y="52"/>
                  </a:cubicBezTo>
                  <a:cubicBezTo>
                    <a:pt x="24" y="131"/>
                    <a:pt x="24" y="131"/>
                    <a:pt x="24" y="131"/>
                  </a:cubicBezTo>
                  <a:cubicBezTo>
                    <a:pt x="0" y="131"/>
                    <a:pt x="0" y="131"/>
                    <a:pt x="0" y="131"/>
                  </a:cubicBezTo>
                  <a:cubicBezTo>
                    <a:pt x="0" y="0"/>
                    <a:pt x="0" y="0"/>
                    <a:pt x="0" y="0"/>
                  </a:cubicBezTo>
                  <a:cubicBezTo>
                    <a:pt x="22" y="0"/>
                    <a:pt x="22" y="0"/>
                    <a:pt x="22" y="0"/>
                  </a:cubicBezTo>
                  <a:cubicBezTo>
                    <a:pt x="58" y="52"/>
                    <a:pt x="58" y="52"/>
                    <a:pt x="58" y="52"/>
                  </a:cubicBezTo>
                  <a:cubicBezTo>
                    <a:pt x="61" y="57"/>
                    <a:pt x="64" y="61"/>
                    <a:pt x="66" y="66"/>
                  </a:cubicBezTo>
                  <a:cubicBezTo>
                    <a:pt x="67" y="66"/>
                    <a:pt x="67" y="66"/>
                    <a:pt x="67" y="66"/>
                  </a:cubicBezTo>
                  <a:cubicBezTo>
                    <a:pt x="69" y="61"/>
                    <a:pt x="71" y="57"/>
                    <a:pt x="75" y="52"/>
                  </a:cubicBezTo>
                  <a:cubicBezTo>
                    <a:pt x="108" y="0"/>
                    <a:pt x="108" y="0"/>
                    <a:pt x="108" y="0"/>
                  </a:cubicBezTo>
                  <a:cubicBezTo>
                    <a:pt x="130" y="0"/>
                    <a:pt x="130" y="0"/>
                    <a:pt x="130" y="0"/>
                  </a:cubicBezTo>
                  <a:cubicBezTo>
                    <a:pt x="130" y="131"/>
                    <a:pt x="130" y="131"/>
                    <a:pt x="130" y="131"/>
                  </a:cubicBezTo>
                  <a:lnTo>
                    <a:pt x="106" y="131"/>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3" name="Freeform 13"/>
            <p:cNvSpPr>
              <a:spLocks/>
            </p:cNvSpPr>
            <p:nvPr userDrawn="1"/>
          </p:nvSpPr>
          <p:spPr bwMode="auto">
            <a:xfrm>
              <a:off x="7665803" y="4864376"/>
              <a:ext cx="100854" cy="148389"/>
            </a:xfrm>
            <a:custGeom>
              <a:avLst/>
              <a:gdLst>
                <a:gd name="T0" fmla="*/ 133 w 133"/>
                <a:gd name="T1" fmla="*/ 23 h 204"/>
                <a:gd name="T2" fmla="*/ 132 w 133"/>
                <a:gd name="T3" fmla="*/ 22 h 204"/>
                <a:gd name="T4" fmla="*/ 65 w 133"/>
                <a:gd name="T5" fmla="*/ 20 h 204"/>
                <a:gd name="T6" fmla="*/ 52 w 133"/>
                <a:gd name="T7" fmla="*/ 52 h 204"/>
                <a:gd name="T8" fmla="*/ 20 w 133"/>
                <a:gd name="T9" fmla="*/ 65 h 204"/>
                <a:gd name="T10" fmla="*/ 22 w 133"/>
                <a:gd name="T11" fmla="*/ 132 h 204"/>
                <a:gd name="T12" fmla="*/ 95 w 133"/>
                <a:gd name="T13" fmla="*/ 204 h 204"/>
                <a:gd name="T14" fmla="*/ 117 w 133"/>
                <a:gd name="T15" fmla="*/ 182 h 204"/>
                <a:gd name="T16" fmla="*/ 44 w 133"/>
                <a:gd name="T17" fmla="*/ 110 h 204"/>
                <a:gd name="T18" fmla="*/ 42 w 133"/>
                <a:gd name="T19" fmla="*/ 86 h 204"/>
                <a:gd name="T20" fmla="*/ 66 w 133"/>
                <a:gd name="T21" fmla="*/ 88 h 204"/>
                <a:gd name="T22" fmla="*/ 133 w 133"/>
                <a:gd name="T23" fmla="*/ 155 h 204"/>
                <a:gd name="T24" fmla="*/ 133 w 133"/>
                <a:gd name="T25" fmla="*/ 111 h 204"/>
                <a:gd name="T26" fmla="*/ 88 w 133"/>
                <a:gd name="T27" fmla="*/ 66 h 204"/>
                <a:gd name="T28" fmla="*/ 86 w 133"/>
                <a:gd name="T29" fmla="*/ 42 h 204"/>
                <a:gd name="T30" fmla="*/ 110 w 133"/>
                <a:gd name="T31" fmla="*/ 44 h 204"/>
                <a:gd name="T32" fmla="*/ 133 w 133"/>
                <a:gd name="T33" fmla="*/ 66 h 204"/>
                <a:gd name="T34" fmla="*/ 133 w 133"/>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204">
                  <a:moveTo>
                    <a:pt x="133" y="23"/>
                  </a:moveTo>
                  <a:cubicBezTo>
                    <a:pt x="132" y="22"/>
                    <a:pt x="132" y="22"/>
                    <a:pt x="132" y="22"/>
                  </a:cubicBezTo>
                  <a:cubicBezTo>
                    <a:pt x="110" y="0"/>
                    <a:pt x="82" y="2"/>
                    <a:pt x="65" y="20"/>
                  </a:cubicBezTo>
                  <a:cubicBezTo>
                    <a:pt x="53" y="32"/>
                    <a:pt x="51" y="46"/>
                    <a:pt x="52" y="52"/>
                  </a:cubicBezTo>
                  <a:cubicBezTo>
                    <a:pt x="47" y="51"/>
                    <a:pt x="32" y="52"/>
                    <a:pt x="20" y="65"/>
                  </a:cubicBezTo>
                  <a:cubicBezTo>
                    <a:pt x="3" y="82"/>
                    <a:pt x="0" y="110"/>
                    <a:pt x="22" y="132"/>
                  </a:cubicBezTo>
                  <a:cubicBezTo>
                    <a:pt x="95" y="204"/>
                    <a:pt x="95" y="204"/>
                    <a:pt x="95" y="204"/>
                  </a:cubicBezTo>
                  <a:cubicBezTo>
                    <a:pt x="117" y="182"/>
                    <a:pt x="117" y="182"/>
                    <a:pt x="117" y="182"/>
                  </a:cubicBezTo>
                  <a:cubicBezTo>
                    <a:pt x="44" y="110"/>
                    <a:pt x="44" y="110"/>
                    <a:pt x="44" y="110"/>
                  </a:cubicBezTo>
                  <a:cubicBezTo>
                    <a:pt x="35" y="101"/>
                    <a:pt x="36" y="91"/>
                    <a:pt x="42" y="86"/>
                  </a:cubicBezTo>
                  <a:cubicBezTo>
                    <a:pt x="47" y="80"/>
                    <a:pt x="58" y="79"/>
                    <a:pt x="66" y="88"/>
                  </a:cubicBezTo>
                  <a:cubicBezTo>
                    <a:pt x="133" y="155"/>
                    <a:pt x="133" y="155"/>
                    <a:pt x="133" y="155"/>
                  </a:cubicBezTo>
                  <a:cubicBezTo>
                    <a:pt x="133" y="111"/>
                    <a:pt x="133" y="111"/>
                    <a:pt x="133" y="111"/>
                  </a:cubicBezTo>
                  <a:cubicBezTo>
                    <a:pt x="88" y="66"/>
                    <a:pt x="88" y="66"/>
                    <a:pt x="88" y="66"/>
                  </a:cubicBezTo>
                  <a:cubicBezTo>
                    <a:pt x="80" y="57"/>
                    <a:pt x="80" y="47"/>
                    <a:pt x="86" y="42"/>
                  </a:cubicBezTo>
                  <a:cubicBezTo>
                    <a:pt x="92" y="36"/>
                    <a:pt x="102" y="35"/>
                    <a:pt x="110" y="44"/>
                  </a:cubicBezTo>
                  <a:cubicBezTo>
                    <a:pt x="133" y="66"/>
                    <a:pt x="133" y="66"/>
                    <a:pt x="133" y="66"/>
                  </a:cubicBezTo>
                  <a:lnTo>
                    <a:pt x="133"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4" name="Freeform 14"/>
            <p:cNvSpPr>
              <a:spLocks noEditPoints="1"/>
            </p:cNvSpPr>
            <p:nvPr userDrawn="1"/>
          </p:nvSpPr>
          <p:spPr bwMode="auto">
            <a:xfrm>
              <a:off x="8023287" y="4895470"/>
              <a:ext cx="20556" cy="93282"/>
            </a:xfrm>
            <a:custGeom>
              <a:avLst/>
              <a:gdLst>
                <a:gd name="T0" fmla="*/ 14 w 27"/>
                <a:gd name="T1" fmla="*/ 26 h 128"/>
                <a:gd name="T2" fmla="*/ 0 w 27"/>
                <a:gd name="T3" fmla="*/ 13 h 128"/>
                <a:gd name="T4" fmla="*/ 14 w 27"/>
                <a:gd name="T5" fmla="*/ 0 h 128"/>
                <a:gd name="T6" fmla="*/ 27 w 27"/>
                <a:gd name="T7" fmla="*/ 13 h 128"/>
                <a:gd name="T8" fmla="*/ 14 w 27"/>
                <a:gd name="T9" fmla="*/ 26 h 128"/>
                <a:gd name="T10" fmla="*/ 3 w 27"/>
                <a:gd name="T11" fmla="*/ 128 h 128"/>
                <a:gd name="T12" fmla="*/ 3 w 27"/>
                <a:gd name="T13" fmla="*/ 40 h 128"/>
                <a:gd name="T14" fmla="*/ 25 w 27"/>
                <a:gd name="T15" fmla="*/ 40 h 128"/>
                <a:gd name="T16" fmla="*/ 25 w 27"/>
                <a:gd name="T17" fmla="*/ 112 h 128"/>
                <a:gd name="T18" fmla="*/ 3 w 27"/>
                <a:gd name="T1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128">
                  <a:moveTo>
                    <a:pt x="14" y="26"/>
                  </a:moveTo>
                  <a:cubicBezTo>
                    <a:pt x="6" y="26"/>
                    <a:pt x="0" y="20"/>
                    <a:pt x="0" y="13"/>
                  </a:cubicBezTo>
                  <a:cubicBezTo>
                    <a:pt x="0" y="6"/>
                    <a:pt x="6" y="0"/>
                    <a:pt x="14" y="0"/>
                  </a:cubicBezTo>
                  <a:cubicBezTo>
                    <a:pt x="21" y="0"/>
                    <a:pt x="27" y="5"/>
                    <a:pt x="27" y="13"/>
                  </a:cubicBezTo>
                  <a:cubicBezTo>
                    <a:pt x="27" y="20"/>
                    <a:pt x="21" y="26"/>
                    <a:pt x="14" y="26"/>
                  </a:cubicBezTo>
                  <a:close/>
                  <a:moveTo>
                    <a:pt x="3" y="128"/>
                  </a:moveTo>
                  <a:cubicBezTo>
                    <a:pt x="3" y="40"/>
                    <a:pt x="3" y="40"/>
                    <a:pt x="3" y="40"/>
                  </a:cubicBezTo>
                  <a:cubicBezTo>
                    <a:pt x="25" y="40"/>
                    <a:pt x="25" y="40"/>
                    <a:pt x="25" y="40"/>
                  </a:cubicBezTo>
                  <a:cubicBezTo>
                    <a:pt x="25" y="40"/>
                    <a:pt x="25" y="95"/>
                    <a:pt x="25" y="112"/>
                  </a:cubicBezTo>
                  <a:cubicBezTo>
                    <a:pt x="25" y="128"/>
                    <a:pt x="3" y="128"/>
                    <a:pt x="3" y="1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5" name="Freeform 15"/>
            <p:cNvSpPr>
              <a:spLocks/>
            </p:cNvSpPr>
            <p:nvPr userDrawn="1"/>
          </p:nvSpPr>
          <p:spPr bwMode="auto">
            <a:xfrm>
              <a:off x="8615239" y="4924717"/>
              <a:ext cx="103744" cy="66806"/>
            </a:xfrm>
            <a:custGeom>
              <a:avLst/>
              <a:gdLst>
                <a:gd name="T0" fmla="*/ 111 w 137"/>
                <a:gd name="T1" fmla="*/ 72 h 92"/>
                <a:gd name="T2" fmla="*/ 88 w 137"/>
                <a:gd name="T3" fmla="*/ 88 h 92"/>
                <a:gd name="T4" fmla="*/ 68 w 137"/>
                <a:gd name="T5" fmla="*/ 28 h 92"/>
                <a:gd name="T6" fmla="*/ 68 w 137"/>
                <a:gd name="T7" fmla="*/ 28 h 92"/>
                <a:gd name="T8" fmla="*/ 53 w 137"/>
                <a:gd name="T9" fmla="*/ 72 h 92"/>
                <a:gd name="T10" fmla="*/ 31 w 137"/>
                <a:gd name="T11" fmla="*/ 88 h 92"/>
                <a:gd name="T12" fmla="*/ 0 w 137"/>
                <a:gd name="T13" fmla="*/ 0 h 92"/>
                <a:gd name="T14" fmla="*/ 22 w 137"/>
                <a:gd name="T15" fmla="*/ 0 h 92"/>
                <a:gd name="T16" fmla="*/ 41 w 137"/>
                <a:gd name="T17" fmla="*/ 60 h 92"/>
                <a:gd name="T18" fmla="*/ 41 w 137"/>
                <a:gd name="T19" fmla="*/ 60 h 92"/>
                <a:gd name="T20" fmla="*/ 60 w 137"/>
                <a:gd name="T21" fmla="*/ 0 h 92"/>
                <a:gd name="T22" fmla="*/ 77 w 137"/>
                <a:gd name="T23" fmla="*/ 0 h 92"/>
                <a:gd name="T24" fmla="*/ 97 w 137"/>
                <a:gd name="T25" fmla="*/ 60 h 92"/>
                <a:gd name="T26" fmla="*/ 97 w 137"/>
                <a:gd name="T27" fmla="*/ 60 h 92"/>
                <a:gd name="T28" fmla="*/ 115 w 137"/>
                <a:gd name="T29" fmla="*/ 0 h 92"/>
                <a:gd name="T30" fmla="*/ 137 w 137"/>
                <a:gd name="T31" fmla="*/ 0 h 92"/>
                <a:gd name="T32" fmla="*/ 111 w 137"/>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 h="92">
                  <a:moveTo>
                    <a:pt x="111" y="72"/>
                  </a:moveTo>
                  <a:cubicBezTo>
                    <a:pt x="104" y="92"/>
                    <a:pt x="88" y="88"/>
                    <a:pt x="88" y="88"/>
                  </a:cubicBezTo>
                  <a:cubicBezTo>
                    <a:pt x="68" y="28"/>
                    <a:pt x="68" y="28"/>
                    <a:pt x="68" y="28"/>
                  </a:cubicBezTo>
                  <a:cubicBezTo>
                    <a:pt x="68" y="28"/>
                    <a:pt x="68" y="28"/>
                    <a:pt x="68" y="28"/>
                  </a:cubicBezTo>
                  <a:cubicBezTo>
                    <a:pt x="68" y="28"/>
                    <a:pt x="59"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7" y="60"/>
                    <a:pt x="97" y="60"/>
                    <a:pt x="97" y="60"/>
                  </a:cubicBezTo>
                  <a:cubicBezTo>
                    <a:pt x="97" y="60"/>
                    <a:pt x="97" y="60"/>
                    <a:pt x="97" y="60"/>
                  </a:cubicBezTo>
                  <a:cubicBezTo>
                    <a:pt x="115" y="0"/>
                    <a:pt x="115" y="0"/>
                    <a:pt x="115" y="0"/>
                  </a:cubicBezTo>
                  <a:cubicBezTo>
                    <a:pt x="137" y="0"/>
                    <a:pt x="137" y="0"/>
                    <a:pt x="137" y="0"/>
                  </a:cubicBezTo>
                  <a:cubicBezTo>
                    <a:pt x="137"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6" name="Freeform 16"/>
            <p:cNvSpPr>
              <a:spLocks noEditPoints="1"/>
            </p:cNvSpPr>
            <p:nvPr userDrawn="1"/>
          </p:nvSpPr>
          <p:spPr bwMode="auto">
            <a:xfrm>
              <a:off x="8423168" y="4892699"/>
              <a:ext cx="65844" cy="95129"/>
            </a:xfrm>
            <a:custGeom>
              <a:avLst/>
              <a:gdLst>
                <a:gd name="T0" fmla="*/ 1 w 87"/>
                <a:gd name="T1" fmla="*/ 0 h 131"/>
                <a:gd name="T2" fmla="*/ 0 w 87"/>
                <a:gd name="T3" fmla="*/ 131 h 131"/>
                <a:gd name="T4" fmla="*/ 41 w 87"/>
                <a:gd name="T5" fmla="*/ 131 h 131"/>
                <a:gd name="T6" fmla="*/ 87 w 87"/>
                <a:gd name="T7" fmla="*/ 92 h 131"/>
                <a:gd name="T8" fmla="*/ 65 w 87"/>
                <a:gd name="T9" fmla="*/ 61 h 131"/>
                <a:gd name="T10" fmla="*/ 62 w 87"/>
                <a:gd name="T11" fmla="*/ 60 h 131"/>
                <a:gd name="T12" fmla="*/ 64 w 87"/>
                <a:gd name="T13" fmla="*/ 59 h 131"/>
                <a:gd name="T14" fmla="*/ 79 w 87"/>
                <a:gd name="T15" fmla="*/ 32 h 131"/>
                <a:gd name="T16" fmla="*/ 42 w 87"/>
                <a:gd name="T17" fmla="*/ 0 h 131"/>
                <a:gd name="T18" fmla="*/ 1 w 87"/>
                <a:gd name="T19" fmla="*/ 0 h 131"/>
                <a:gd name="T20" fmla="*/ 23 w 87"/>
                <a:gd name="T21" fmla="*/ 17 h 131"/>
                <a:gd name="T22" fmla="*/ 36 w 87"/>
                <a:gd name="T23" fmla="*/ 17 h 131"/>
                <a:gd name="T24" fmla="*/ 56 w 87"/>
                <a:gd name="T25" fmla="*/ 35 h 131"/>
                <a:gd name="T26" fmla="*/ 38 w 87"/>
                <a:gd name="T27" fmla="*/ 55 h 131"/>
                <a:gd name="T28" fmla="*/ 22 w 87"/>
                <a:gd name="T29" fmla="*/ 55 h 131"/>
                <a:gd name="T30" fmla="*/ 23 w 87"/>
                <a:gd name="T31" fmla="*/ 17 h 131"/>
                <a:gd name="T32" fmla="*/ 22 w 87"/>
                <a:gd name="T33" fmla="*/ 74 h 131"/>
                <a:gd name="T34" fmla="*/ 40 w 87"/>
                <a:gd name="T35" fmla="*/ 74 h 131"/>
                <a:gd name="T36" fmla="*/ 64 w 87"/>
                <a:gd name="T37" fmla="*/ 92 h 131"/>
                <a:gd name="T38" fmla="*/ 39 w 87"/>
                <a:gd name="T39" fmla="*/ 113 h 131"/>
                <a:gd name="T40" fmla="*/ 22 w 87"/>
                <a:gd name="T41" fmla="*/ 113 h 131"/>
                <a:gd name="T42" fmla="*/ 22 w 87"/>
                <a:gd name="T43" fmla="*/ 7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131">
                  <a:moveTo>
                    <a:pt x="1" y="0"/>
                  </a:moveTo>
                  <a:cubicBezTo>
                    <a:pt x="1" y="3"/>
                    <a:pt x="0" y="129"/>
                    <a:pt x="0" y="131"/>
                  </a:cubicBezTo>
                  <a:cubicBezTo>
                    <a:pt x="2" y="131"/>
                    <a:pt x="41" y="131"/>
                    <a:pt x="41" y="131"/>
                  </a:cubicBezTo>
                  <a:cubicBezTo>
                    <a:pt x="73" y="131"/>
                    <a:pt x="87" y="111"/>
                    <a:pt x="87" y="92"/>
                  </a:cubicBezTo>
                  <a:cubicBezTo>
                    <a:pt x="87" y="77"/>
                    <a:pt x="79" y="65"/>
                    <a:pt x="65" y="61"/>
                  </a:cubicBezTo>
                  <a:cubicBezTo>
                    <a:pt x="62" y="60"/>
                    <a:pt x="62" y="60"/>
                    <a:pt x="62" y="60"/>
                  </a:cubicBezTo>
                  <a:cubicBezTo>
                    <a:pt x="64" y="59"/>
                    <a:pt x="64" y="59"/>
                    <a:pt x="64" y="59"/>
                  </a:cubicBezTo>
                  <a:cubicBezTo>
                    <a:pt x="74" y="54"/>
                    <a:pt x="79" y="44"/>
                    <a:pt x="79" y="32"/>
                  </a:cubicBezTo>
                  <a:cubicBezTo>
                    <a:pt x="79" y="17"/>
                    <a:pt x="68" y="0"/>
                    <a:pt x="42" y="0"/>
                  </a:cubicBezTo>
                  <a:cubicBezTo>
                    <a:pt x="42" y="0"/>
                    <a:pt x="3" y="0"/>
                    <a:pt x="1" y="0"/>
                  </a:cubicBezTo>
                  <a:close/>
                  <a:moveTo>
                    <a:pt x="23" y="17"/>
                  </a:moveTo>
                  <a:cubicBezTo>
                    <a:pt x="36" y="17"/>
                    <a:pt x="36" y="17"/>
                    <a:pt x="36" y="17"/>
                  </a:cubicBezTo>
                  <a:cubicBezTo>
                    <a:pt x="49" y="17"/>
                    <a:pt x="56" y="24"/>
                    <a:pt x="56" y="35"/>
                  </a:cubicBezTo>
                  <a:cubicBezTo>
                    <a:pt x="56" y="47"/>
                    <a:pt x="47" y="55"/>
                    <a:pt x="38" y="55"/>
                  </a:cubicBezTo>
                  <a:cubicBezTo>
                    <a:pt x="22" y="55"/>
                    <a:pt x="22" y="55"/>
                    <a:pt x="22" y="55"/>
                  </a:cubicBezTo>
                  <a:lnTo>
                    <a:pt x="23" y="17"/>
                  </a:lnTo>
                  <a:close/>
                  <a:moveTo>
                    <a:pt x="22" y="74"/>
                  </a:moveTo>
                  <a:cubicBezTo>
                    <a:pt x="40" y="74"/>
                    <a:pt x="40" y="74"/>
                    <a:pt x="40" y="74"/>
                  </a:cubicBezTo>
                  <a:cubicBezTo>
                    <a:pt x="55" y="74"/>
                    <a:pt x="64" y="81"/>
                    <a:pt x="64" y="92"/>
                  </a:cubicBezTo>
                  <a:cubicBezTo>
                    <a:pt x="64" y="105"/>
                    <a:pt x="55" y="113"/>
                    <a:pt x="39" y="113"/>
                  </a:cubicBezTo>
                  <a:cubicBezTo>
                    <a:pt x="22" y="113"/>
                    <a:pt x="22" y="113"/>
                    <a:pt x="22" y="113"/>
                  </a:cubicBezTo>
                  <a:lnTo>
                    <a:pt x="22" y="74"/>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7" name="Freeform 17"/>
            <p:cNvSpPr>
              <a:spLocks noEditPoints="1"/>
            </p:cNvSpPr>
            <p:nvPr userDrawn="1"/>
          </p:nvSpPr>
          <p:spPr bwMode="auto">
            <a:xfrm>
              <a:off x="8546184" y="4923177"/>
              <a:ext cx="66486" cy="66190"/>
            </a:xfrm>
            <a:custGeom>
              <a:avLst/>
              <a:gdLst>
                <a:gd name="T0" fmla="*/ 75 w 88"/>
                <a:gd name="T1" fmla="*/ 78 h 91"/>
                <a:gd name="T2" fmla="*/ 44 w 88"/>
                <a:gd name="T3" fmla="*/ 91 h 91"/>
                <a:gd name="T4" fmla="*/ 14 w 88"/>
                <a:gd name="T5" fmla="*/ 80 h 91"/>
                <a:gd name="T6" fmla="*/ 0 w 88"/>
                <a:gd name="T7" fmla="*/ 46 h 91"/>
                <a:gd name="T8" fmla="*/ 13 w 88"/>
                <a:gd name="T9" fmla="*/ 12 h 91"/>
                <a:gd name="T10" fmla="*/ 44 w 88"/>
                <a:gd name="T11" fmla="*/ 0 h 91"/>
                <a:gd name="T12" fmla="*/ 76 w 88"/>
                <a:gd name="T13" fmla="*/ 12 h 91"/>
                <a:gd name="T14" fmla="*/ 88 w 88"/>
                <a:gd name="T15" fmla="*/ 45 h 91"/>
                <a:gd name="T16" fmla="*/ 75 w 88"/>
                <a:gd name="T17" fmla="*/ 78 h 91"/>
                <a:gd name="T18" fmla="*/ 44 w 88"/>
                <a:gd name="T19" fmla="*/ 17 h 91"/>
                <a:gd name="T20" fmla="*/ 23 w 88"/>
                <a:gd name="T21" fmla="*/ 45 h 91"/>
                <a:gd name="T22" fmla="*/ 44 w 88"/>
                <a:gd name="T23" fmla="*/ 73 h 91"/>
                <a:gd name="T24" fmla="*/ 65 w 88"/>
                <a:gd name="T25" fmla="*/ 45 h 91"/>
                <a:gd name="T26" fmla="*/ 44 w 88"/>
                <a:gd name="T27"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91">
                  <a:moveTo>
                    <a:pt x="75" y="78"/>
                  </a:moveTo>
                  <a:cubicBezTo>
                    <a:pt x="68" y="86"/>
                    <a:pt x="57" y="91"/>
                    <a:pt x="44" y="91"/>
                  </a:cubicBezTo>
                  <a:cubicBezTo>
                    <a:pt x="32" y="91"/>
                    <a:pt x="21" y="87"/>
                    <a:pt x="14" y="80"/>
                  </a:cubicBezTo>
                  <a:cubicBezTo>
                    <a:pt x="5" y="72"/>
                    <a:pt x="0" y="60"/>
                    <a:pt x="0" y="46"/>
                  </a:cubicBezTo>
                  <a:cubicBezTo>
                    <a:pt x="0" y="32"/>
                    <a:pt x="5" y="20"/>
                    <a:pt x="13" y="12"/>
                  </a:cubicBezTo>
                  <a:cubicBezTo>
                    <a:pt x="21" y="4"/>
                    <a:pt x="31" y="0"/>
                    <a:pt x="44" y="0"/>
                  </a:cubicBezTo>
                  <a:cubicBezTo>
                    <a:pt x="57" y="0"/>
                    <a:pt x="68" y="4"/>
                    <a:pt x="76" y="12"/>
                  </a:cubicBezTo>
                  <a:cubicBezTo>
                    <a:pt x="84" y="20"/>
                    <a:pt x="88" y="32"/>
                    <a:pt x="88" y="45"/>
                  </a:cubicBezTo>
                  <a:cubicBezTo>
                    <a:pt x="88" y="58"/>
                    <a:pt x="83" y="70"/>
                    <a:pt x="75" y="78"/>
                  </a:cubicBezTo>
                  <a:close/>
                  <a:moveTo>
                    <a:pt x="44" y="17"/>
                  </a:moveTo>
                  <a:cubicBezTo>
                    <a:pt x="30" y="17"/>
                    <a:pt x="23" y="29"/>
                    <a:pt x="23" y="45"/>
                  </a:cubicBezTo>
                  <a:cubicBezTo>
                    <a:pt x="23" y="62"/>
                    <a:pt x="31" y="73"/>
                    <a:pt x="44" y="73"/>
                  </a:cubicBezTo>
                  <a:cubicBezTo>
                    <a:pt x="58" y="73"/>
                    <a:pt x="65" y="61"/>
                    <a:pt x="65" y="45"/>
                  </a:cubicBezTo>
                  <a:cubicBezTo>
                    <a:pt x="65" y="28"/>
                    <a:pt x="57" y="17"/>
                    <a:pt x="44" y="1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8" name="Freeform 18"/>
            <p:cNvSpPr>
              <a:spLocks/>
            </p:cNvSpPr>
            <p:nvPr userDrawn="1"/>
          </p:nvSpPr>
          <p:spPr bwMode="auto">
            <a:xfrm>
              <a:off x="8728298" y="4923177"/>
              <a:ext cx="60705" cy="65574"/>
            </a:xfrm>
            <a:custGeom>
              <a:avLst/>
              <a:gdLst>
                <a:gd name="T0" fmla="*/ 58 w 80"/>
                <a:gd name="T1" fmla="*/ 90 h 90"/>
                <a:gd name="T2" fmla="*/ 58 w 80"/>
                <a:gd name="T3" fmla="*/ 38 h 90"/>
                <a:gd name="T4" fmla="*/ 45 w 80"/>
                <a:gd name="T5" fmla="*/ 19 h 90"/>
                <a:gd name="T6" fmla="*/ 23 w 80"/>
                <a:gd name="T7" fmla="*/ 28 h 90"/>
                <a:gd name="T8" fmla="*/ 23 w 80"/>
                <a:gd name="T9" fmla="*/ 74 h 90"/>
                <a:gd name="T10" fmla="*/ 0 w 80"/>
                <a:gd name="T11" fmla="*/ 90 h 90"/>
                <a:gd name="T12" fmla="*/ 0 w 80"/>
                <a:gd name="T13" fmla="*/ 2 h 90"/>
                <a:gd name="T14" fmla="*/ 19 w 80"/>
                <a:gd name="T15" fmla="*/ 2 h 90"/>
                <a:gd name="T16" fmla="*/ 22 w 80"/>
                <a:gd name="T17" fmla="*/ 11 h 90"/>
                <a:gd name="T18" fmla="*/ 52 w 80"/>
                <a:gd name="T19" fmla="*/ 0 h 90"/>
                <a:gd name="T20" fmla="*/ 80 w 80"/>
                <a:gd name="T21" fmla="*/ 31 h 90"/>
                <a:gd name="T22" fmla="*/ 80 w 80"/>
                <a:gd name="T23" fmla="*/ 74 h 90"/>
                <a:gd name="T24" fmla="*/ 58 w 80"/>
                <a:gd name="T2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90">
                  <a:moveTo>
                    <a:pt x="58" y="90"/>
                  </a:moveTo>
                  <a:cubicBezTo>
                    <a:pt x="58" y="38"/>
                    <a:pt x="58" y="38"/>
                    <a:pt x="58" y="38"/>
                  </a:cubicBezTo>
                  <a:cubicBezTo>
                    <a:pt x="58" y="29"/>
                    <a:pt x="56" y="19"/>
                    <a:pt x="45" y="19"/>
                  </a:cubicBezTo>
                  <a:cubicBezTo>
                    <a:pt x="37" y="19"/>
                    <a:pt x="29" y="23"/>
                    <a:pt x="23" y="28"/>
                  </a:cubicBezTo>
                  <a:cubicBezTo>
                    <a:pt x="23" y="28"/>
                    <a:pt x="23" y="57"/>
                    <a:pt x="23" y="74"/>
                  </a:cubicBezTo>
                  <a:cubicBezTo>
                    <a:pt x="23" y="90"/>
                    <a:pt x="0" y="90"/>
                    <a:pt x="0" y="90"/>
                  </a:cubicBezTo>
                  <a:cubicBezTo>
                    <a:pt x="0" y="2"/>
                    <a:pt x="0" y="2"/>
                    <a:pt x="0" y="2"/>
                  </a:cubicBezTo>
                  <a:cubicBezTo>
                    <a:pt x="19" y="2"/>
                    <a:pt x="19" y="2"/>
                    <a:pt x="19" y="2"/>
                  </a:cubicBezTo>
                  <a:cubicBezTo>
                    <a:pt x="22" y="11"/>
                    <a:pt x="22" y="11"/>
                    <a:pt x="22" y="11"/>
                  </a:cubicBezTo>
                  <a:cubicBezTo>
                    <a:pt x="31" y="4"/>
                    <a:pt x="40" y="0"/>
                    <a:pt x="52" y="0"/>
                  </a:cubicBezTo>
                  <a:cubicBezTo>
                    <a:pt x="65" y="0"/>
                    <a:pt x="80" y="8"/>
                    <a:pt x="80" y="31"/>
                  </a:cubicBezTo>
                  <a:cubicBezTo>
                    <a:pt x="80" y="31"/>
                    <a:pt x="80" y="57"/>
                    <a:pt x="80" y="74"/>
                  </a:cubicBezTo>
                  <a:cubicBezTo>
                    <a:pt x="80" y="90"/>
                    <a:pt x="58" y="90"/>
                    <a:pt x="58" y="9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9" name="Freeform 19"/>
            <p:cNvSpPr>
              <a:spLocks/>
            </p:cNvSpPr>
            <p:nvPr userDrawn="1"/>
          </p:nvSpPr>
          <p:spPr bwMode="auto">
            <a:xfrm>
              <a:off x="8501217" y="4923177"/>
              <a:ext cx="43361" cy="65574"/>
            </a:xfrm>
            <a:custGeom>
              <a:avLst/>
              <a:gdLst>
                <a:gd name="T0" fmla="*/ 49 w 57"/>
                <a:gd name="T1" fmla="*/ 22 h 90"/>
                <a:gd name="T2" fmla="*/ 39 w 57"/>
                <a:gd name="T3" fmla="*/ 20 h 90"/>
                <a:gd name="T4" fmla="*/ 22 w 57"/>
                <a:gd name="T5" fmla="*/ 27 h 90"/>
                <a:gd name="T6" fmla="*/ 22 w 57"/>
                <a:gd name="T7" fmla="*/ 74 h 90"/>
                <a:gd name="T8" fmla="*/ 0 w 57"/>
                <a:gd name="T9" fmla="*/ 90 h 90"/>
                <a:gd name="T10" fmla="*/ 0 w 57"/>
                <a:gd name="T11" fmla="*/ 2 h 90"/>
                <a:gd name="T12" fmla="*/ 19 w 57"/>
                <a:gd name="T13" fmla="*/ 2 h 90"/>
                <a:gd name="T14" fmla="*/ 21 w 57"/>
                <a:gd name="T15" fmla="*/ 11 h 90"/>
                <a:gd name="T16" fmla="*/ 45 w 57"/>
                <a:gd name="T17" fmla="*/ 0 h 90"/>
                <a:gd name="T18" fmla="*/ 57 w 57"/>
                <a:gd name="T19" fmla="*/ 4 h 90"/>
                <a:gd name="T20" fmla="*/ 49 w 57"/>
                <a:gd name="T21" fmla="*/ 2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0">
                  <a:moveTo>
                    <a:pt x="49" y="22"/>
                  </a:moveTo>
                  <a:cubicBezTo>
                    <a:pt x="46" y="20"/>
                    <a:pt x="42" y="20"/>
                    <a:pt x="39" y="20"/>
                  </a:cubicBezTo>
                  <a:cubicBezTo>
                    <a:pt x="34" y="20"/>
                    <a:pt x="28" y="22"/>
                    <a:pt x="22" y="27"/>
                  </a:cubicBezTo>
                  <a:cubicBezTo>
                    <a:pt x="22" y="27"/>
                    <a:pt x="22" y="57"/>
                    <a:pt x="22" y="74"/>
                  </a:cubicBezTo>
                  <a:cubicBezTo>
                    <a:pt x="22" y="90"/>
                    <a:pt x="0" y="90"/>
                    <a:pt x="0" y="90"/>
                  </a:cubicBezTo>
                  <a:cubicBezTo>
                    <a:pt x="0" y="2"/>
                    <a:pt x="0" y="2"/>
                    <a:pt x="0" y="2"/>
                  </a:cubicBezTo>
                  <a:cubicBezTo>
                    <a:pt x="19" y="2"/>
                    <a:pt x="19" y="2"/>
                    <a:pt x="19"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0" name="Freeform 20"/>
            <p:cNvSpPr>
              <a:spLocks/>
            </p:cNvSpPr>
            <p:nvPr userDrawn="1"/>
          </p:nvSpPr>
          <p:spPr bwMode="auto">
            <a:xfrm>
              <a:off x="7766657" y="4864376"/>
              <a:ext cx="100211" cy="148389"/>
            </a:xfrm>
            <a:custGeom>
              <a:avLst/>
              <a:gdLst>
                <a:gd name="T0" fmla="*/ 0 w 132"/>
                <a:gd name="T1" fmla="*/ 23 h 204"/>
                <a:gd name="T2" fmla="*/ 1 w 132"/>
                <a:gd name="T3" fmla="*/ 22 h 204"/>
                <a:gd name="T4" fmla="*/ 67 w 132"/>
                <a:gd name="T5" fmla="*/ 20 h 204"/>
                <a:gd name="T6" fmla="*/ 80 w 132"/>
                <a:gd name="T7" fmla="*/ 52 h 204"/>
                <a:gd name="T8" fmla="*/ 113 w 132"/>
                <a:gd name="T9" fmla="*/ 65 h 204"/>
                <a:gd name="T10" fmla="*/ 111 w 132"/>
                <a:gd name="T11" fmla="*/ 132 h 204"/>
                <a:gd name="T12" fmla="*/ 38 w 132"/>
                <a:gd name="T13" fmla="*/ 204 h 204"/>
                <a:gd name="T14" fmla="*/ 16 w 132"/>
                <a:gd name="T15" fmla="*/ 182 h 204"/>
                <a:gd name="T16" fmla="*/ 88 w 132"/>
                <a:gd name="T17" fmla="*/ 110 h 204"/>
                <a:gd name="T18" fmla="*/ 91 w 132"/>
                <a:gd name="T19" fmla="*/ 86 h 204"/>
                <a:gd name="T20" fmla="*/ 67 w 132"/>
                <a:gd name="T21" fmla="*/ 88 h 204"/>
                <a:gd name="T22" fmla="*/ 0 w 132"/>
                <a:gd name="T23" fmla="*/ 155 h 204"/>
                <a:gd name="T24" fmla="*/ 0 w 132"/>
                <a:gd name="T25" fmla="*/ 111 h 204"/>
                <a:gd name="T26" fmla="*/ 45 w 132"/>
                <a:gd name="T27" fmla="*/ 66 h 204"/>
                <a:gd name="T28" fmla="*/ 46 w 132"/>
                <a:gd name="T29" fmla="*/ 42 h 204"/>
                <a:gd name="T30" fmla="*/ 22 w 132"/>
                <a:gd name="T31" fmla="*/ 44 h 204"/>
                <a:gd name="T32" fmla="*/ 0 w 132"/>
                <a:gd name="T33" fmla="*/ 66 h 204"/>
                <a:gd name="T34" fmla="*/ 0 w 132"/>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204">
                  <a:moveTo>
                    <a:pt x="0" y="23"/>
                  </a:moveTo>
                  <a:cubicBezTo>
                    <a:pt x="1" y="22"/>
                    <a:pt x="1" y="22"/>
                    <a:pt x="1" y="22"/>
                  </a:cubicBezTo>
                  <a:cubicBezTo>
                    <a:pt x="23" y="0"/>
                    <a:pt x="50" y="2"/>
                    <a:pt x="67" y="20"/>
                  </a:cubicBezTo>
                  <a:cubicBezTo>
                    <a:pt x="80" y="32"/>
                    <a:pt x="81" y="46"/>
                    <a:pt x="80" y="52"/>
                  </a:cubicBezTo>
                  <a:cubicBezTo>
                    <a:pt x="86" y="51"/>
                    <a:pt x="100" y="52"/>
                    <a:pt x="113" y="65"/>
                  </a:cubicBezTo>
                  <a:cubicBezTo>
                    <a:pt x="130" y="82"/>
                    <a:pt x="132" y="110"/>
                    <a:pt x="111" y="132"/>
                  </a:cubicBezTo>
                  <a:cubicBezTo>
                    <a:pt x="38" y="204"/>
                    <a:pt x="38" y="204"/>
                    <a:pt x="38" y="204"/>
                  </a:cubicBezTo>
                  <a:cubicBezTo>
                    <a:pt x="16" y="182"/>
                    <a:pt x="16" y="182"/>
                    <a:pt x="16" y="182"/>
                  </a:cubicBezTo>
                  <a:cubicBezTo>
                    <a:pt x="88" y="110"/>
                    <a:pt x="88" y="110"/>
                    <a:pt x="88" y="110"/>
                  </a:cubicBezTo>
                  <a:cubicBezTo>
                    <a:pt x="97" y="101"/>
                    <a:pt x="96" y="91"/>
                    <a:pt x="91" y="86"/>
                  </a:cubicBezTo>
                  <a:cubicBezTo>
                    <a:pt x="85" y="80"/>
                    <a:pt x="75" y="79"/>
                    <a:pt x="67" y="88"/>
                  </a:cubicBezTo>
                  <a:cubicBezTo>
                    <a:pt x="0" y="155"/>
                    <a:pt x="0" y="155"/>
                    <a:pt x="0" y="155"/>
                  </a:cubicBezTo>
                  <a:cubicBezTo>
                    <a:pt x="0" y="111"/>
                    <a:pt x="0" y="111"/>
                    <a:pt x="0" y="111"/>
                  </a:cubicBezTo>
                  <a:cubicBezTo>
                    <a:pt x="45" y="66"/>
                    <a:pt x="45" y="66"/>
                    <a:pt x="45" y="66"/>
                  </a:cubicBezTo>
                  <a:cubicBezTo>
                    <a:pt x="53" y="57"/>
                    <a:pt x="52" y="47"/>
                    <a:pt x="46" y="42"/>
                  </a:cubicBezTo>
                  <a:cubicBezTo>
                    <a:pt x="41" y="36"/>
                    <a:pt x="31" y="35"/>
                    <a:pt x="22" y="44"/>
                  </a:cubicBezTo>
                  <a:cubicBezTo>
                    <a:pt x="0" y="66"/>
                    <a:pt x="0" y="66"/>
                    <a:pt x="0" y="66"/>
                  </a:cubicBezTo>
                  <a:lnTo>
                    <a:pt x="0"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1" name="Freeform 21"/>
            <p:cNvSpPr>
              <a:spLocks noEditPoints="1"/>
            </p:cNvSpPr>
            <p:nvPr userDrawn="1"/>
          </p:nvSpPr>
          <p:spPr bwMode="auto">
            <a:xfrm>
              <a:off x="7980890" y="5040472"/>
              <a:ext cx="51390" cy="57878"/>
            </a:xfrm>
            <a:custGeom>
              <a:avLst/>
              <a:gdLst>
                <a:gd name="T0" fmla="*/ 0 w 68"/>
                <a:gd name="T1" fmla="*/ 40 h 80"/>
                <a:gd name="T2" fmla="*/ 35 w 68"/>
                <a:gd name="T3" fmla="*/ 0 h 80"/>
                <a:gd name="T4" fmla="*/ 68 w 68"/>
                <a:gd name="T5" fmla="*/ 41 h 80"/>
                <a:gd name="T6" fmla="*/ 68 w 68"/>
                <a:gd name="T7" fmla="*/ 46 h 80"/>
                <a:gd name="T8" fmla="*/ 20 w 68"/>
                <a:gd name="T9" fmla="*/ 46 h 80"/>
                <a:gd name="T10" fmla="*/ 41 w 68"/>
                <a:gd name="T11" fmla="*/ 65 h 80"/>
                <a:gd name="T12" fmla="*/ 60 w 68"/>
                <a:gd name="T13" fmla="*/ 60 h 80"/>
                <a:gd name="T14" fmla="*/ 66 w 68"/>
                <a:gd name="T15" fmla="*/ 73 h 80"/>
                <a:gd name="T16" fmla="*/ 39 w 68"/>
                <a:gd name="T17" fmla="*/ 80 h 80"/>
                <a:gd name="T18" fmla="*/ 0 w 68"/>
                <a:gd name="T19" fmla="*/ 40 h 80"/>
                <a:gd name="T20" fmla="*/ 49 w 68"/>
                <a:gd name="T21" fmla="*/ 32 h 80"/>
                <a:gd name="T22" fmla="*/ 34 w 68"/>
                <a:gd name="T23" fmla="*/ 15 h 80"/>
                <a:gd name="T24" fmla="*/ 19 w 68"/>
                <a:gd name="T25" fmla="*/ 32 h 80"/>
                <a:gd name="T26" fmla="*/ 49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3" y="0"/>
                    <a:pt x="35" y="0"/>
                  </a:cubicBezTo>
                  <a:cubicBezTo>
                    <a:pt x="56" y="0"/>
                    <a:pt x="68" y="16"/>
                    <a:pt x="68" y="41"/>
                  </a:cubicBezTo>
                  <a:cubicBezTo>
                    <a:pt x="68" y="46"/>
                    <a:pt x="68" y="46"/>
                    <a:pt x="68" y="46"/>
                  </a:cubicBezTo>
                  <a:cubicBezTo>
                    <a:pt x="20" y="46"/>
                    <a:pt x="20" y="46"/>
                    <a:pt x="20" y="46"/>
                  </a:cubicBezTo>
                  <a:cubicBezTo>
                    <a:pt x="20" y="57"/>
                    <a:pt x="28" y="65"/>
                    <a:pt x="41" y="65"/>
                  </a:cubicBezTo>
                  <a:cubicBezTo>
                    <a:pt x="49" y="65"/>
                    <a:pt x="55" y="63"/>
                    <a:pt x="60" y="60"/>
                  </a:cubicBezTo>
                  <a:cubicBezTo>
                    <a:pt x="66" y="73"/>
                    <a:pt x="66" y="73"/>
                    <a:pt x="66" y="73"/>
                  </a:cubicBezTo>
                  <a:cubicBezTo>
                    <a:pt x="58" y="78"/>
                    <a:pt x="49" y="80"/>
                    <a:pt x="39" y="80"/>
                  </a:cubicBezTo>
                  <a:cubicBezTo>
                    <a:pt x="11" y="80"/>
                    <a:pt x="0" y="61"/>
                    <a:pt x="0" y="40"/>
                  </a:cubicBezTo>
                  <a:close/>
                  <a:moveTo>
                    <a:pt x="49" y="32"/>
                  </a:moveTo>
                  <a:cubicBezTo>
                    <a:pt x="49" y="23"/>
                    <a:pt x="44" y="15"/>
                    <a:pt x="34" y="15"/>
                  </a:cubicBezTo>
                  <a:cubicBezTo>
                    <a:pt x="25" y="15"/>
                    <a:pt x="19" y="23"/>
                    <a:pt x="19" y="32"/>
                  </a:cubicBezTo>
                  <a:lnTo>
                    <a:pt x="49"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2" name="Freeform 22"/>
            <p:cNvSpPr>
              <a:spLocks/>
            </p:cNvSpPr>
            <p:nvPr userDrawn="1"/>
          </p:nvSpPr>
          <p:spPr bwMode="auto">
            <a:xfrm>
              <a:off x="8295656" y="5041088"/>
              <a:ext cx="37258" cy="56031"/>
            </a:xfrm>
            <a:custGeom>
              <a:avLst/>
              <a:gdLst>
                <a:gd name="T0" fmla="*/ 42 w 49"/>
                <a:gd name="T1" fmla="*/ 19 h 77"/>
                <a:gd name="T2" fmla="*/ 33 w 49"/>
                <a:gd name="T3" fmla="*/ 16 h 77"/>
                <a:gd name="T4" fmla="*/ 19 w 49"/>
                <a:gd name="T5" fmla="*/ 23 h 77"/>
                <a:gd name="T6" fmla="*/ 19 w 49"/>
                <a:gd name="T7" fmla="*/ 63 h 77"/>
                <a:gd name="T8" fmla="*/ 0 w 49"/>
                <a:gd name="T9" fmla="*/ 77 h 77"/>
                <a:gd name="T10" fmla="*/ 0 w 49"/>
                <a:gd name="T11" fmla="*/ 1 h 77"/>
                <a:gd name="T12" fmla="*/ 16 w 49"/>
                <a:gd name="T13" fmla="*/ 1 h 77"/>
                <a:gd name="T14" fmla="*/ 18 w 49"/>
                <a:gd name="T15" fmla="*/ 9 h 77"/>
                <a:gd name="T16" fmla="*/ 39 w 49"/>
                <a:gd name="T17" fmla="*/ 0 h 77"/>
                <a:gd name="T18" fmla="*/ 49 w 49"/>
                <a:gd name="T19" fmla="*/ 3 h 77"/>
                <a:gd name="T20" fmla="*/ 42 w 49"/>
                <a:gd name="T21"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77">
                  <a:moveTo>
                    <a:pt x="42" y="19"/>
                  </a:moveTo>
                  <a:cubicBezTo>
                    <a:pt x="39" y="17"/>
                    <a:pt x="36" y="16"/>
                    <a:pt x="33" y="16"/>
                  </a:cubicBezTo>
                  <a:cubicBezTo>
                    <a:pt x="29" y="16"/>
                    <a:pt x="24" y="18"/>
                    <a:pt x="19" y="23"/>
                  </a:cubicBezTo>
                  <a:cubicBezTo>
                    <a:pt x="19" y="2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2"/>
                    <a:pt x="32" y="0"/>
                    <a:pt x="39" y="0"/>
                  </a:cubicBezTo>
                  <a:cubicBezTo>
                    <a:pt x="42" y="0"/>
                    <a:pt x="46" y="1"/>
                    <a:pt x="49" y="3"/>
                  </a:cubicBezTo>
                  <a:lnTo>
                    <a:pt x="42" y="1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3" name="Freeform 23"/>
            <p:cNvSpPr>
              <a:spLocks noEditPoints="1"/>
            </p:cNvSpPr>
            <p:nvPr userDrawn="1"/>
          </p:nvSpPr>
          <p:spPr bwMode="auto">
            <a:xfrm>
              <a:off x="8178743" y="5040472"/>
              <a:ext cx="51712" cy="57878"/>
            </a:xfrm>
            <a:custGeom>
              <a:avLst/>
              <a:gdLst>
                <a:gd name="T0" fmla="*/ 0 w 68"/>
                <a:gd name="T1" fmla="*/ 40 h 80"/>
                <a:gd name="T2" fmla="*/ 34 w 68"/>
                <a:gd name="T3" fmla="*/ 0 h 80"/>
                <a:gd name="T4" fmla="*/ 68 w 68"/>
                <a:gd name="T5" fmla="*/ 41 h 80"/>
                <a:gd name="T6" fmla="*/ 68 w 68"/>
                <a:gd name="T7" fmla="*/ 46 h 80"/>
                <a:gd name="T8" fmla="*/ 19 w 68"/>
                <a:gd name="T9" fmla="*/ 46 h 80"/>
                <a:gd name="T10" fmla="*/ 41 w 68"/>
                <a:gd name="T11" fmla="*/ 65 h 80"/>
                <a:gd name="T12" fmla="*/ 60 w 68"/>
                <a:gd name="T13" fmla="*/ 60 h 80"/>
                <a:gd name="T14" fmla="*/ 66 w 68"/>
                <a:gd name="T15" fmla="*/ 73 h 80"/>
                <a:gd name="T16" fmla="*/ 39 w 68"/>
                <a:gd name="T17" fmla="*/ 80 h 80"/>
                <a:gd name="T18" fmla="*/ 0 w 68"/>
                <a:gd name="T19" fmla="*/ 40 h 80"/>
                <a:gd name="T20" fmla="*/ 49 w 68"/>
                <a:gd name="T21" fmla="*/ 32 h 80"/>
                <a:gd name="T22" fmla="*/ 34 w 68"/>
                <a:gd name="T23" fmla="*/ 15 h 80"/>
                <a:gd name="T24" fmla="*/ 19 w 68"/>
                <a:gd name="T25" fmla="*/ 32 h 80"/>
                <a:gd name="T26" fmla="*/ 49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3" y="0"/>
                    <a:pt x="34" y="0"/>
                  </a:cubicBezTo>
                  <a:cubicBezTo>
                    <a:pt x="56" y="0"/>
                    <a:pt x="68" y="16"/>
                    <a:pt x="68" y="41"/>
                  </a:cubicBezTo>
                  <a:cubicBezTo>
                    <a:pt x="68" y="46"/>
                    <a:pt x="68" y="46"/>
                    <a:pt x="68" y="46"/>
                  </a:cubicBezTo>
                  <a:cubicBezTo>
                    <a:pt x="19" y="46"/>
                    <a:pt x="19" y="46"/>
                    <a:pt x="19" y="46"/>
                  </a:cubicBezTo>
                  <a:cubicBezTo>
                    <a:pt x="20" y="57"/>
                    <a:pt x="28" y="65"/>
                    <a:pt x="41" y="65"/>
                  </a:cubicBezTo>
                  <a:cubicBezTo>
                    <a:pt x="49" y="65"/>
                    <a:pt x="55" y="63"/>
                    <a:pt x="60" y="60"/>
                  </a:cubicBezTo>
                  <a:cubicBezTo>
                    <a:pt x="66" y="73"/>
                    <a:pt x="66" y="73"/>
                    <a:pt x="66" y="73"/>
                  </a:cubicBezTo>
                  <a:cubicBezTo>
                    <a:pt x="58" y="78"/>
                    <a:pt x="48" y="80"/>
                    <a:pt x="39" y="80"/>
                  </a:cubicBezTo>
                  <a:cubicBezTo>
                    <a:pt x="11" y="80"/>
                    <a:pt x="0" y="61"/>
                    <a:pt x="0" y="40"/>
                  </a:cubicBezTo>
                  <a:close/>
                  <a:moveTo>
                    <a:pt x="49" y="32"/>
                  </a:moveTo>
                  <a:cubicBezTo>
                    <a:pt x="48" y="23"/>
                    <a:pt x="44" y="15"/>
                    <a:pt x="34" y="15"/>
                  </a:cubicBezTo>
                  <a:cubicBezTo>
                    <a:pt x="25" y="15"/>
                    <a:pt x="19" y="23"/>
                    <a:pt x="19" y="32"/>
                  </a:cubicBezTo>
                  <a:lnTo>
                    <a:pt x="49"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4" name="Freeform 24"/>
            <p:cNvSpPr>
              <a:spLocks noEditPoints="1"/>
            </p:cNvSpPr>
            <p:nvPr userDrawn="1"/>
          </p:nvSpPr>
          <p:spPr bwMode="auto">
            <a:xfrm>
              <a:off x="8236557" y="5040472"/>
              <a:ext cx="51390" cy="57878"/>
            </a:xfrm>
            <a:custGeom>
              <a:avLst/>
              <a:gdLst>
                <a:gd name="T0" fmla="*/ 0 w 68"/>
                <a:gd name="T1" fmla="*/ 40 h 80"/>
                <a:gd name="T2" fmla="*/ 34 w 68"/>
                <a:gd name="T3" fmla="*/ 0 h 80"/>
                <a:gd name="T4" fmla="*/ 68 w 68"/>
                <a:gd name="T5" fmla="*/ 41 h 80"/>
                <a:gd name="T6" fmla="*/ 68 w 68"/>
                <a:gd name="T7" fmla="*/ 46 h 80"/>
                <a:gd name="T8" fmla="*/ 19 w 68"/>
                <a:gd name="T9" fmla="*/ 46 h 80"/>
                <a:gd name="T10" fmla="*/ 40 w 68"/>
                <a:gd name="T11" fmla="*/ 65 h 80"/>
                <a:gd name="T12" fmla="*/ 60 w 68"/>
                <a:gd name="T13" fmla="*/ 60 h 80"/>
                <a:gd name="T14" fmla="*/ 65 w 68"/>
                <a:gd name="T15" fmla="*/ 73 h 80"/>
                <a:gd name="T16" fmla="*/ 39 w 68"/>
                <a:gd name="T17" fmla="*/ 80 h 80"/>
                <a:gd name="T18" fmla="*/ 0 w 68"/>
                <a:gd name="T19" fmla="*/ 40 h 80"/>
                <a:gd name="T20" fmla="*/ 48 w 68"/>
                <a:gd name="T21" fmla="*/ 32 h 80"/>
                <a:gd name="T22" fmla="*/ 34 w 68"/>
                <a:gd name="T23" fmla="*/ 15 h 80"/>
                <a:gd name="T24" fmla="*/ 19 w 68"/>
                <a:gd name="T25" fmla="*/ 32 h 80"/>
                <a:gd name="T26" fmla="*/ 48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2" y="0"/>
                    <a:pt x="34" y="0"/>
                  </a:cubicBezTo>
                  <a:cubicBezTo>
                    <a:pt x="55" y="0"/>
                    <a:pt x="68" y="16"/>
                    <a:pt x="68" y="41"/>
                  </a:cubicBezTo>
                  <a:cubicBezTo>
                    <a:pt x="68" y="46"/>
                    <a:pt x="68" y="46"/>
                    <a:pt x="68" y="46"/>
                  </a:cubicBezTo>
                  <a:cubicBezTo>
                    <a:pt x="19" y="46"/>
                    <a:pt x="19" y="46"/>
                    <a:pt x="19" y="46"/>
                  </a:cubicBezTo>
                  <a:cubicBezTo>
                    <a:pt x="19" y="57"/>
                    <a:pt x="28" y="65"/>
                    <a:pt x="40" y="65"/>
                  </a:cubicBezTo>
                  <a:cubicBezTo>
                    <a:pt x="48" y="65"/>
                    <a:pt x="54" y="63"/>
                    <a:pt x="60" y="60"/>
                  </a:cubicBezTo>
                  <a:cubicBezTo>
                    <a:pt x="65" y="73"/>
                    <a:pt x="65" y="73"/>
                    <a:pt x="65" y="73"/>
                  </a:cubicBezTo>
                  <a:cubicBezTo>
                    <a:pt x="57" y="78"/>
                    <a:pt x="48" y="80"/>
                    <a:pt x="39" y="80"/>
                  </a:cubicBezTo>
                  <a:cubicBezTo>
                    <a:pt x="11" y="80"/>
                    <a:pt x="0" y="61"/>
                    <a:pt x="0" y="40"/>
                  </a:cubicBezTo>
                  <a:close/>
                  <a:moveTo>
                    <a:pt x="48" y="32"/>
                  </a:moveTo>
                  <a:cubicBezTo>
                    <a:pt x="48" y="23"/>
                    <a:pt x="44" y="15"/>
                    <a:pt x="34" y="15"/>
                  </a:cubicBezTo>
                  <a:cubicBezTo>
                    <a:pt x="24" y="15"/>
                    <a:pt x="19" y="23"/>
                    <a:pt x="19" y="32"/>
                  </a:cubicBezTo>
                  <a:lnTo>
                    <a:pt x="48"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5" name="Freeform 25"/>
            <p:cNvSpPr>
              <a:spLocks/>
            </p:cNvSpPr>
            <p:nvPr userDrawn="1"/>
          </p:nvSpPr>
          <p:spPr bwMode="auto">
            <a:xfrm>
              <a:off x="8040631" y="5041088"/>
              <a:ext cx="37258" cy="56031"/>
            </a:xfrm>
            <a:custGeom>
              <a:avLst/>
              <a:gdLst>
                <a:gd name="T0" fmla="*/ 42 w 49"/>
                <a:gd name="T1" fmla="*/ 19 h 77"/>
                <a:gd name="T2" fmla="*/ 33 w 49"/>
                <a:gd name="T3" fmla="*/ 16 h 77"/>
                <a:gd name="T4" fmla="*/ 19 w 49"/>
                <a:gd name="T5" fmla="*/ 23 h 77"/>
                <a:gd name="T6" fmla="*/ 19 w 49"/>
                <a:gd name="T7" fmla="*/ 63 h 77"/>
                <a:gd name="T8" fmla="*/ 0 w 49"/>
                <a:gd name="T9" fmla="*/ 77 h 77"/>
                <a:gd name="T10" fmla="*/ 0 w 49"/>
                <a:gd name="T11" fmla="*/ 1 h 77"/>
                <a:gd name="T12" fmla="*/ 16 w 49"/>
                <a:gd name="T13" fmla="*/ 1 h 77"/>
                <a:gd name="T14" fmla="*/ 18 w 49"/>
                <a:gd name="T15" fmla="*/ 9 h 77"/>
                <a:gd name="T16" fmla="*/ 38 w 49"/>
                <a:gd name="T17" fmla="*/ 0 h 77"/>
                <a:gd name="T18" fmla="*/ 49 w 49"/>
                <a:gd name="T19" fmla="*/ 3 h 77"/>
                <a:gd name="T20" fmla="*/ 42 w 49"/>
                <a:gd name="T21"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77">
                  <a:moveTo>
                    <a:pt x="42" y="19"/>
                  </a:moveTo>
                  <a:cubicBezTo>
                    <a:pt x="39" y="17"/>
                    <a:pt x="35" y="16"/>
                    <a:pt x="33" y="16"/>
                  </a:cubicBezTo>
                  <a:cubicBezTo>
                    <a:pt x="29" y="16"/>
                    <a:pt x="24" y="18"/>
                    <a:pt x="19" y="23"/>
                  </a:cubicBezTo>
                  <a:cubicBezTo>
                    <a:pt x="19" y="2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2"/>
                    <a:pt x="31" y="0"/>
                    <a:pt x="38" y="0"/>
                  </a:cubicBezTo>
                  <a:cubicBezTo>
                    <a:pt x="42" y="0"/>
                    <a:pt x="46" y="1"/>
                    <a:pt x="49" y="3"/>
                  </a:cubicBezTo>
                  <a:lnTo>
                    <a:pt x="42" y="1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6" name="Freeform 26"/>
            <p:cNvSpPr>
              <a:spLocks/>
            </p:cNvSpPr>
            <p:nvPr userDrawn="1"/>
          </p:nvSpPr>
          <p:spPr bwMode="auto">
            <a:xfrm>
              <a:off x="8083992" y="5041088"/>
              <a:ext cx="86400" cy="56031"/>
            </a:xfrm>
            <a:custGeom>
              <a:avLst/>
              <a:gdLst>
                <a:gd name="T0" fmla="*/ 114 w 114"/>
                <a:gd name="T1" fmla="*/ 25 h 77"/>
                <a:gd name="T2" fmla="*/ 114 w 114"/>
                <a:gd name="T3" fmla="*/ 63 h 77"/>
                <a:gd name="T4" fmla="*/ 95 w 114"/>
                <a:gd name="T5" fmla="*/ 77 h 77"/>
                <a:gd name="T6" fmla="*/ 95 w 114"/>
                <a:gd name="T7" fmla="*/ 31 h 77"/>
                <a:gd name="T8" fmla="*/ 84 w 114"/>
                <a:gd name="T9" fmla="*/ 16 h 77"/>
                <a:gd name="T10" fmla="*/ 66 w 114"/>
                <a:gd name="T11" fmla="*/ 23 h 77"/>
                <a:gd name="T12" fmla="*/ 66 w 114"/>
                <a:gd name="T13" fmla="*/ 63 h 77"/>
                <a:gd name="T14" fmla="*/ 66 w 114"/>
                <a:gd name="T15" fmla="*/ 63 h 77"/>
                <a:gd name="T16" fmla="*/ 47 w 114"/>
                <a:gd name="T17" fmla="*/ 77 h 77"/>
                <a:gd name="T18" fmla="*/ 47 w 114"/>
                <a:gd name="T19" fmla="*/ 31 h 77"/>
                <a:gd name="T20" fmla="*/ 37 w 114"/>
                <a:gd name="T21" fmla="*/ 16 h 77"/>
                <a:gd name="T22" fmla="*/ 19 w 114"/>
                <a:gd name="T23" fmla="*/ 23 h 77"/>
                <a:gd name="T24" fmla="*/ 19 w 114"/>
                <a:gd name="T25" fmla="*/ 63 h 77"/>
                <a:gd name="T26" fmla="*/ 19 w 114"/>
                <a:gd name="T27" fmla="*/ 63 h 77"/>
                <a:gd name="T28" fmla="*/ 0 w 114"/>
                <a:gd name="T29" fmla="*/ 77 h 77"/>
                <a:gd name="T30" fmla="*/ 0 w 114"/>
                <a:gd name="T31" fmla="*/ 1 h 77"/>
                <a:gd name="T32" fmla="*/ 16 w 114"/>
                <a:gd name="T33" fmla="*/ 1 h 77"/>
                <a:gd name="T34" fmla="*/ 18 w 114"/>
                <a:gd name="T35" fmla="*/ 9 h 77"/>
                <a:gd name="T36" fmla="*/ 43 w 114"/>
                <a:gd name="T37" fmla="*/ 0 h 77"/>
                <a:gd name="T38" fmla="*/ 63 w 114"/>
                <a:gd name="T39" fmla="*/ 11 h 77"/>
                <a:gd name="T40" fmla="*/ 89 w 114"/>
                <a:gd name="T41" fmla="*/ 0 h 77"/>
                <a:gd name="T42" fmla="*/ 114 w 114"/>
                <a:gd name="T43" fmla="*/ 2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77">
                  <a:moveTo>
                    <a:pt x="114" y="25"/>
                  </a:moveTo>
                  <a:cubicBezTo>
                    <a:pt x="114" y="63"/>
                    <a:pt x="114" y="63"/>
                    <a:pt x="114" y="63"/>
                  </a:cubicBezTo>
                  <a:cubicBezTo>
                    <a:pt x="114" y="77"/>
                    <a:pt x="95" y="77"/>
                    <a:pt x="95" y="77"/>
                  </a:cubicBezTo>
                  <a:cubicBezTo>
                    <a:pt x="95" y="31"/>
                    <a:pt x="95" y="31"/>
                    <a:pt x="95" y="31"/>
                  </a:cubicBezTo>
                  <a:cubicBezTo>
                    <a:pt x="95" y="22"/>
                    <a:pt x="93" y="16"/>
                    <a:pt x="84" y="16"/>
                  </a:cubicBezTo>
                  <a:cubicBezTo>
                    <a:pt x="77" y="16"/>
                    <a:pt x="71" y="19"/>
                    <a:pt x="66" y="23"/>
                  </a:cubicBezTo>
                  <a:cubicBezTo>
                    <a:pt x="66" y="63"/>
                    <a:pt x="66" y="63"/>
                    <a:pt x="66" y="63"/>
                  </a:cubicBezTo>
                  <a:cubicBezTo>
                    <a:pt x="66" y="63"/>
                    <a:pt x="66" y="49"/>
                    <a:pt x="66" y="63"/>
                  </a:cubicBezTo>
                  <a:cubicBezTo>
                    <a:pt x="66" y="77"/>
                    <a:pt x="47" y="77"/>
                    <a:pt x="47" y="77"/>
                  </a:cubicBezTo>
                  <a:cubicBezTo>
                    <a:pt x="47" y="31"/>
                    <a:pt x="47" y="31"/>
                    <a:pt x="47" y="31"/>
                  </a:cubicBezTo>
                  <a:cubicBezTo>
                    <a:pt x="47" y="23"/>
                    <a:pt x="46" y="16"/>
                    <a:pt x="37" y="16"/>
                  </a:cubicBezTo>
                  <a:cubicBezTo>
                    <a:pt x="30" y="16"/>
                    <a:pt x="19" y="23"/>
                    <a:pt x="19" y="23"/>
                  </a:cubicBezTo>
                  <a:cubicBezTo>
                    <a:pt x="19" y="63"/>
                    <a:pt x="19" y="63"/>
                    <a:pt x="19" y="63"/>
                  </a:cubicBezTo>
                  <a:cubicBezTo>
                    <a:pt x="19" y="6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3"/>
                    <a:pt x="34" y="0"/>
                    <a:pt x="43" y="0"/>
                  </a:cubicBezTo>
                  <a:cubicBezTo>
                    <a:pt x="52" y="0"/>
                    <a:pt x="59" y="4"/>
                    <a:pt x="63" y="11"/>
                  </a:cubicBezTo>
                  <a:cubicBezTo>
                    <a:pt x="71" y="3"/>
                    <a:pt x="81" y="0"/>
                    <a:pt x="89" y="0"/>
                  </a:cubicBezTo>
                  <a:cubicBezTo>
                    <a:pt x="102" y="0"/>
                    <a:pt x="114" y="6"/>
                    <a:pt x="114" y="25"/>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7" name="Freeform 27"/>
            <p:cNvSpPr>
              <a:spLocks/>
            </p:cNvSpPr>
            <p:nvPr userDrawn="1"/>
          </p:nvSpPr>
          <p:spPr bwMode="auto">
            <a:xfrm>
              <a:off x="7908622" y="5019846"/>
              <a:ext cx="77407" cy="77889"/>
            </a:xfrm>
            <a:custGeom>
              <a:avLst/>
              <a:gdLst>
                <a:gd name="T0" fmla="*/ 43 w 102"/>
                <a:gd name="T1" fmla="*/ 107 h 107"/>
                <a:gd name="T2" fmla="*/ 65 w 102"/>
                <a:gd name="T3" fmla="*/ 91 h 107"/>
                <a:gd name="T4" fmla="*/ 102 w 102"/>
                <a:gd name="T5" fmla="*/ 0 h 107"/>
                <a:gd name="T6" fmla="*/ 81 w 102"/>
                <a:gd name="T7" fmla="*/ 0 h 107"/>
                <a:gd name="T8" fmla="*/ 51 w 102"/>
                <a:gd name="T9" fmla="*/ 78 h 107"/>
                <a:gd name="T10" fmla="*/ 51 w 102"/>
                <a:gd name="T11" fmla="*/ 78 h 107"/>
                <a:gd name="T12" fmla="*/ 21 w 102"/>
                <a:gd name="T13" fmla="*/ 0 h 107"/>
                <a:gd name="T14" fmla="*/ 0 w 102"/>
                <a:gd name="T15" fmla="*/ 0 h 107"/>
                <a:gd name="T16" fmla="*/ 43 w 102"/>
                <a:gd name="T17"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107">
                  <a:moveTo>
                    <a:pt x="43" y="107"/>
                  </a:moveTo>
                  <a:cubicBezTo>
                    <a:pt x="57" y="107"/>
                    <a:pt x="61" y="101"/>
                    <a:pt x="65" y="91"/>
                  </a:cubicBezTo>
                  <a:cubicBezTo>
                    <a:pt x="102" y="0"/>
                    <a:pt x="102" y="0"/>
                    <a:pt x="102" y="0"/>
                  </a:cubicBezTo>
                  <a:cubicBezTo>
                    <a:pt x="81" y="0"/>
                    <a:pt x="81" y="0"/>
                    <a:pt x="81" y="0"/>
                  </a:cubicBezTo>
                  <a:cubicBezTo>
                    <a:pt x="51" y="78"/>
                    <a:pt x="51" y="78"/>
                    <a:pt x="51" y="78"/>
                  </a:cubicBezTo>
                  <a:cubicBezTo>
                    <a:pt x="51" y="78"/>
                    <a:pt x="51" y="78"/>
                    <a:pt x="51" y="78"/>
                  </a:cubicBezTo>
                  <a:cubicBezTo>
                    <a:pt x="21" y="0"/>
                    <a:pt x="21" y="0"/>
                    <a:pt x="21" y="0"/>
                  </a:cubicBezTo>
                  <a:cubicBezTo>
                    <a:pt x="0" y="0"/>
                    <a:pt x="0" y="0"/>
                    <a:pt x="0" y="0"/>
                  </a:cubicBezTo>
                  <a:cubicBezTo>
                    <a:pt x="43" y="107"/>
                    <a:pt x="43" y="107"/>
                    <a:pt x="43" y="10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sp>
        <p:nvSpPr>
          <p:cNvPr id="51" name="Text Placeholder 2"/>
          <p:cNvSpPr>
            <a:spLocks noGrp="1"/>
          </p:cNvSpPr>
          <p:nvPr>
            <p:ph type="body" sz="quarter" idx="25" hasCustomPrompt="1"/>
          </p:nvPr>
        </p:nvSpPr>
        <p:spPr>
          <a:xfrm>
            <a:off x="4727636" y="4807465"/>
            <a:ext cx="1160462" cy="341313"/>
          </a:xfrm>
          <a:prstGeom prst="rect">
            <a:avLst/>
          </a:prstGeom>
        </p:spPr>
        <p:txBody>
          <a:bodyPr anchor="ctr"/>
          <a:lstStyle>
            <a:lvl1pPr marL="0" indent="0" algn="ctr">
              <a:buNone/>
              <a:defRPr sz="800">
                <a:solidFill>
                  <a:schemeClr val="bg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grpSp>
        <p:nvGrpSpPr>
          <p:cNvPr id="56" name="Group 55"/>
          <p:cNvGrpSpPr/>
          <p:nvPr userDrawn="1"/>
        </p:nvGrpSpPr>
        <p:grpSpPr>
          <a:xfrm>
            <a:off x="7686461" y="4906654"/>
            <a:ext cx="1124815" cy="151147"/>
            <a:chOff x="7686461" y="4581466"/>
            <a:chExt cx="1124815" cy="151147"/>
          </a:xfrm>
          <a:solidFill>
            <a:schemeClr val="bg1"/>
          </a:solidFill>
        </p:grpSpPr>
        <p:sp>
          <p:nvSpPr>
            <p:cNvPr id="57"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8"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9"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0"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1"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2"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3"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4"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5"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6"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9"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70"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71"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72"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73"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grpSp>
      <p:sp>
        <p:nvSpPr>
          <p:cNvPr id="50"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solidFill>
                  <a:schemeClr val="tx2">
                    <a:lumMod val="75000"/>
                  </a:schemeClr>
                </a:solidFill>
                <a:latin typeface="+mn-lt"/>
              </a:rPr>
              <a:t>Private and Confidental</a:t>
            </a:r>
            <a:endParaRPr lang="pt-BR" sz="500" dirty="0">
              <a:solidFill>
                <a:schemeClr val="tx2">
                  <a:lumMod val="75000"/>
                </a:schemeClr>
              </a:solidFill>
              <a:latin typeface="+mn-lt"/>
            </a:endParaRPr>
          </a:p>
        </p:txBody>
      </p:sp>
    </p:spTree>
    <p:extLst>
      <p:ext uri="{BB962C8B-B14F-4D97-AF65-F5344CB8AC3E}">
        <p14:creationId xmlns:p14="http://schemas.microsoft.com/office/powerpoint/2010/main" val="2105717726"/>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V_MB_Orange">
    <p:bg>
      <p:bgPr>
        <a:solidFill>
          <a:schemeClr val="bg1"/>
        </a:solidFill>
        <a:effectLst/>
      </p:bgPr>
    </p:bg>
    <p:spTree>
      <p:nvGrpSpPr>
        <p:cNvPr id="1" name=""/>
        <p:cNvGrpSpPr/>
        <p:nvPr/>
      </p:nvGrpSpPr>
      <p:grpSpPr>
        <a:xfrm>
          <a:off x="0" y="0"/>
          <a:ext cx="0" cy="0"/>
          <a:chOff x="0" y="0"/>
          <a:chExt cx="0" cy="0"/>
        </a:xfrm>
      </p:grpSpPr>
      <p:sp>
        <p:nvSpPr>
          <p:cNvPr id="31" name="Rectangle 30"/>
          <p:cNvSpPr/>
          <p:nvPr userDrawn="1"/>
        </p:nvSpPr>
        <p:spPr>
          <a:xfrm>
            <a:off x="0" y="0"/>
            <a:ext cx="9144000" cy="5148263"/>
          </a:xfrm>
          <a:prstGeom prst="rect">
            <a:avLst/>
          </a:prstGeom>
          <a:solidFill>
            <a:schemeClr val="accent4">
              <a:lumMod val="75000"/>
            </a:schemeClr>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en-GB" sz="1050" smtClean="0">
              <a:solidFill>
                <a:schemeClr val="bg1"/>
              </a:solidFill>
              <a:latin typeface="Arial" panose="020B0604020202020204" pitchFamily="34" charset="0"/>
              <a:cs typeface="Arial" panose="020B0604020202020204" pitchFamily="34" charset="0"/>
            </a:endParaRPr>
          </a:p>
        </p:txBody>
      </p:sp>
      <p:pic>
        <p:nvPicPr>
          <p:cNvPr id="33" name="Picture 32" descr="cookie_white.png"/>
          <p:cNvPicPr>
            <a:picLocks noChangeAspect="1"/>
          </p:cNvPicPr>
          <p:nvPr userDrawn="1"/>
        </p:nvPicPr>
        <p:blipFill rotWithShape="1">
          <a:blip r:embed="rId2" cstate="screen">
            <a:alphaModFix amt="16000"/>
            <a:extLst>
              <a:ext uri="{28A0092B-C50C-407E-A947-70E740481C1C}">
                <a14:useLocalDpi xmlns:a14="http://schemas.microsoft.com/office/drawing/2010/main"/>
              </a:ext>
            </a:extLst>
          </a:blip>
          <a:srcRect/>
          <a:stretch/>
        </p:blipFill>
        <p:spPr>
          <a:xfrm flipH="1">
            <a:off x="5149029" y="2289839"/>
            <a:ext cx="4020091" cy="2880000"/>
          </a:xfrm>
          <a:prstGeom prst="rect">
            <a:avLst/>
          </a:prstGeom>
        </p:spPr>
      </p:pic>
      <p:cxnSp>
        <p:nvCxnSpPr>
          <p:cNvPr id="32" name="Straight Connector 31"/>
          <p:cNvCxnSpPr/>
          <p:nvPr userDrawn="1"/>
        </p:nvCxnSpPr>
        <p:spPr>
          <a:xfrm>
            <a:off x="343365" y="470176"/>
            <a:ext cx="8460000" cy="0"/>
          </a:xfrm>
          <a:prstGeom prst="line">
            <a:avLst/>
          </a:prstGeom>
          <a:ln w="6350" cmpd="sng">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343365" y="4801146"/>
            <a:ext cx="8460000" cy="0"/>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sp>
        <p:nvSpPr>
          <p:cNvPr id="67"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rgbClr val="FFFFFF"/>
                </a:solidFill>
                <a:latin typeface="+mn-lt"/>
              </a:defRPr>
            </a:lvl1pPr>
          </a:lstStyle>
          <a:p>
            <a:fld id="{19AB4E72-7858-48F1-A40D-12FF09E4BFB8}" type="slidenum">
              <a:rPr lang="en-GB" smtClean="0"/>
              <a:pPr/>
              <a:t>‹Nº›</a:t>
            </a:fld>
            <a:endParaRPr lang="en-GB"/>
          </a:p>
        </p:txBody>
      </p:sp>
      <p:sp>
        <p:nvSpPr>
          <p:cNvPr id="36" name="Title 1"/>
          <p:cNvSpPr>
            <a:spLocks noGrp="1"/>
          </p:cNvSpPr>
          <p:nvPr>
            <p:ph type="ctrTitle" hasCustomPrompt="1"/>
          </p:nvPr>
        </p:nvSpPr>
        <p:spPr>
          <a:xfrm>
            <a:off x="343365" y="2867487"/>
            <a:ext cx="8460000" cy="443198"/>
          </a:xfrm>
          <a:prstGeom prst="rect">
            <a:avLst/>
          </a:prstGeom>
        </p:spPr>
        <p:txBody>
          <a:bodyPr lIns="0" tIns="0" rIns="0" bIns="0" anchor="b"/>
          <a:lstStyle>
            <a:lvl1pPr>
              <a:lnSpc>
                <a:spcPct val="90000"/>
              </a:lnSpc>
              <a:defRPr sz="3200" b="0">
                <a:solidFill>
                  <a:schemeClr val="bg1"/>
                </a:solidFill>
              </a:defRPr>
            </a:lvl1pPr>
          </a:lstStyle>
          <a:p>
            <a:r>
              <a:rPr lang="en-US" dirty="0" smtClean="0"/>
              <a:t>Click to edit Master title Style</a:t>
            </a:r>
            <a:endParaRPr lang="en-US" dirty="0"/>
          </a:p>
        </p:txBody>
      </p:sp>
      <p:sp>
        <p:nvSpPr>
          <p:cNvPr id="37" name="Subtitle 2"/>
          <p:cNvSpPr>
            <a:spLocks noGrp="1"/>
          </p:cNvSpPr>
          <p:nvPr>
            <p:ph type="subTitle" idx="1" hasCustomPrompt="1"/>
          </p:nvPr>
        </p:nvSpPr>
        <p:spPr>
          <a:xfrm>
            <a:off x="343364" y="3474100"/>
            <a:ext cx="8460000" cy="202165"/>
          </a:xfrm>
          <a:prstGeom prst="rect">
            <a:avLst/>
          </a:prstGeom>
        </p:spPr>
        <p:txBody>
          <a:bodyPr lIns="0" tIns="0" rIns="0" bIns="0">
            <a:noAutofit/>
          </a:bodyPr>
          <a:lstStyle>
            <a:lvl1pPr marL="0" indent="0" algn="l">
              <a:buNone/>
              <a:defRPr sz="14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cxnSp>
        <p:nvCxnSpPr>
          <p:cNvPr id="38" name="Straight Connector 37"/>
          <p:cNvCxnSpPr/>
          <p:nvPr userDrawn="1"/>
        </p:nvCxnSpPr>
        <p:spPr>
          <a:xfrm>
            <a:off x="346086" y="3395058"/>
            <a:ext cx="8460000" cy="0"/>
          </a:xfrm>
          <a:prstGeom prst="line">
            <a:avLst/>
          </a:prstGeom>
          <a:ln w="12700" cmpd="sng">
            <a:solidFill>
              <a:schemeClr val="bg1"/>
            </a:solidFill>
          </a:ln>
        </p:spPr>
        <p:style>
          <a:lnRef idx="1">
            <a:schemeClr val="accent1"/>
          </a:lnRef>
          <a:fillRef idx="0">
            <a:schemeClr val="accent1"/>
          </a:fillRef>
          <a:effectRef idx="0">
            <a:schemeClr val="accent1"/>
          </a:effectRef>
          <a:fontRef idx="minor">
            <a:schemeClr val="tx1"/>
          </a:fontRef>
        </p:style>
      </p:cxnSp>
      <p:grpSp>
        <p:nvGrpSpPr>
          <p:cNvPr id="75" name="Group 74"/>
          <p:cNvGrpSpPr/>
          <p:nvPr userDrawn="1"/>
        </p:nvGrpSpPr>
        <p:grpSpPr>
          <a:xfrm>
            <a:off x="6222147" y="4864376"/>
            <a:ext cx="1123200" cy="233974"/>
            <a:chOff x="7665803" y="4864376"/>
            <a:chExt cx="1123200" cy="233974"/>
          </a:xfrm>
          <a:solidFill>
            <a:schemeClr val="bg1"/>
          </a:solidFill>
        </p:grpSpPr>
        <p:sp>
          <p:nvSpPr>
            <p:cNvPr id="76" name="Freeform 6"/>
            <p:cNvSpPr>
              <a:spLocks/>
            </p:cNvSpPr>
            <p:nvPr userDrawn="1"/>
          </p:nvSpPr>
          <p:spPr bwMode="auto">
            <a:xfrm>
              <a:off x="8119644" y="4924717"/>
              <a:ext cx="103102" cy="66806"/>
            </a:xfrm>
            <a:custGeom>
              <a:avLst/>
              <a:gdLst>
                <a:gd name="T0" fmla="*/ 111 w 136"/>
                <a:gd name="T1" fmla="*/ 72 h 92"/>
                <a:gd name="T2" fmla="*/ 87 w 136"/>
                <a:gd name="T3" fmla="*/ 88 h 92"/>
                <a:gd name="T4" fmla="*/ 68 w 136"/>
                <a:gd name="T5" fmla="*/ 28 h 92"/>
                <a:gd name="T6" fmla="*/ 67 w 136"/>
                <a:gd name="T7" fmla="*/ 28 h 92"/>
                <a:gd name="T8" fmla="*/ 53 w 136"/>
                <a:gd name="T9" fmla="*/ 72 h 92"/>
                <a:gd name="T10" fmla="*/ 31 w 136"/>
                <a:gd name="T11" fmla="*/ 88 h 92"/>
                <a:gd name="T12" fmla="*/ 0 w 136"/>
                <a:gd name="T13" fmla="*/ 0 h 92"/>
                <a:gd name="T14" fmla="*/ 22 w 136"/>
                <a:gd name="T15" fmla="*/ 0 h 92"/>
                <a:gd name="T16" fmla="*/ 41 w 136"/>
                <a:gd name="T17" fmla="*/ 60 h 92"/>
                <a:gd name="T18" fmla="*/ 41 w 136"/>
                <a:gd name="T19" fmla="*/ 60 h 92"/>
                <a:gd name="T20" fmla="*/ 60 w 136"/>
                <a:gd name="T21" fmla="*/ 0 h 92"/>
                <a:gd name="T22" fmla="*/ 77 w 136"/>
                <a:gd name="T23" fmla="*/ 0 h 92"/>
                <a:gd name="T24" fmla="*/ 96 w 136"/>
                <a:gd name="T25" fmla="*/ 60 h 92"/>
                <a:gd name="T26" fmla="*/ 97 w 136"/>
                <a:gd name="T27" fmla="*/ 60 h 92"/>
                <a:gd name="T28" fmla="*/ 115 w 136"/>
                <a:gd name="T29" fmla="*/ 0 h 92"/>
                <a:gd name="T30" fmla="*/ 136 w 136"/>
                <a:gd name="T31" fmla="*/ 0 h 92"/>
                <a:gd name="T32" fmla="*/ 111 w 136"/>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 h="92">
                  <a:moveTo>
                    <a:pt x="111" y="72"/>
                  </a:moveTo>
                  <a:cubicBezTo>
                    <a:pt x="103" y="92"/>
                    <a:pt x="87" y="88"/>
                    <a:pt x="87" y="88"/>
                  </a:cubicBezTo>
                  <a:cubicBezTo>
                    <a:pt x="68" y="28"/>
                    <a:pt x="68" y="28"/>
                    <a:pt x="68" y="28"/>
                  </a:cubicBezTo>
                  <a:cubicBezTo>
                    <a:pt x="67" y="28"/>
                    <a:pt x="67" y="28"/>
                    <a:pt x="67" y="28"/>
                  </a:cubicBezTo>
                  <a:cubicBezTo>
                    <a:pt x="67" y="28"/>
                    <a:pt x="58"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6" y="60"/>
                    <a:pt x="96" y="60"/>
                    <a:pt x="96" y="60"/>
                  </a:cubicBezTo>
                  <a:cubicBezTo>
                    <a:pt x="97" y="60"/>
                    <a:pt x="97" y="60"/>
                    <a:pt x="97" y="60"/>
                  </a:cubicBezTo>
                  <a:cubicBezTo>
                    <a:pt x="115" y="0"/>
                    <a:pt x="115" y="0"/>
                    <a:pt x="115" y="0"/>
                  </a:cubicBezTo>
                  <a:cubicBezTo>
                    <a:pt x="136" y="0"/>
                    <a:pt x="136" y="0"/>
                    <a:pt x="136" y="0"/>
                  </a:cubicBezTo>
                  <a:cubicBezTo>
                    <a:pt x="136"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7" name="Freeform 7"/>
            <p:cNvSpPr>
              <a:spLocks noEditPoints="1"/>
            </p:cNvSpPr>
            <p:nvPr userDrawn="1"/>
          </p:nvSpPr>
          <p:spPr bwMode="auto">
            <a:xfrm>
              <a:off x="8225958" y="4923177"/>
              <a:ext cx="57493" cy="66190"/>
            </a:xfrm>
            <a:custGeom>
              <a:avLst/>
              <a:gdLst>
                <a:gd name="T0" fmla="*/ 57 w 76"/>
                <a:gd name="T1" fmla="*/ 90 h 91"/>
                <a:gd name="T2" fmla="*/ 53 w 76"/>
                <a:gd name="T3" fmla="*/ 81 h 91"/>
                <a:gd name="T4" fmla="*/ 28 w 76"/>
                <a:gd name="T5" fmla="*/ 91 h 91"/>
                <a:gd name="T6" fmla="*/ 0 w 76"/>
                <a:gd name="T7" fmla="*/ 63 h 91"/>
                <a:gd name="T8" fmla="*/ 36 w 76"/>
                <a:gd name="T9" fmla="*/ 34 h 91"/>
                <a:gd name="T10" fmla="*/ 51 w 76"/>
                <a:gd name="T11" fmla="*/ 34 h 91"/>
                <a:gd name="T12" fmla="*/ 51 w 76"/>
                <a:gd name="T13" fmla="*/ 31 h 91"/>
                <a:gd name="T14" fmla="*/ 35 w 76"/>
                <a:gd name="T15" fmla="*/ 17 h 91"/>
                <a:gd name="T16" fmla="*/ 12 w 76"/>
                <a:gd name="T17" fmla="*/ 23 h 91"/>
                <a:gd name="T18" fmla="*/ 5 w 76"/>
                <a:gd name="T19" fmla="*/ 9 h 91"/>
                <a:gd name="T20" fmla="*/ 39 w 76"/>
                <a:gd name="T21" fmla="*/ 0 h 91"/>
                <a:gd name="T22" fmla="*/ 74 w 76"/>
                <a:gd name="T23" fmla="*/ 31 h 91"/>
                <a:gd name="T24" fmla="*/ 74 w 76"/>
                <a:gd name="T25" fmla="*/ 66 h 91"/>
                <a:gd name="T26" fmla="*/ 76 w 76"/>
                <a:gd name="T27" fmla="*/ 90 h 91"/>
                <a:gd name="T28" fmla="*/ 57 w 76"/>
                <a:gd name="T29" fmla="*/ 90 h 91"/>
                <a:gd name="T30" fmla="*/ 51 w 76"/>
                <a:gd name="T31" fmla="*/ 49 h 91"/>
                <a:gd name="T32" fmla="*/ 39 w 76"/>
                <a:gd name="T33" fmla="*/ 49 h 91"/>
                <a:gd name="T34" fmla="*/ 22 w 76"/>
                <a:gd name="T35" fmla="*/ 61 h 91"/>
                <a:gd name="T36" fmla="*/ 36 w 76"/>
                <a:gd name="T37" fmla="*/ 73 h 91"/>
                <a:gd name="T38" fmla="*/ 51 w 76"/>
                <a:gd name="T39" fmla="*/ 68 h 91"/>
                <a:gd name="T40" fmla="*/ 51 w 76"/>
                <a:gd name="T41" fmla="*/ 4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91">
                  <a:moveTo>
                    <a:pt x="57" y="90"/>
                  </a:moveTo>
                  <a:cubicBezTo>
                    <a:pt x="53" y="81"/>
                    <a:pt x="53" y="81"/>
                    <a:pt x="53" y="81"/>
                  </a:cubicBezTo>
                  <a:cubicBezTo>
                    <a:pt x="48" y="86"/>
                    <a:pt x="40" y="91"/>
                    <a:pt x="28" y="91"/>
                  </a:cubicBezTo>
                  <a:cubicBezTo>
                    <a:pt x="12" y="91"/>
                    <a:pt x="0" y="80"/>
                    <a:pt x="0" y="63"/>
                  </a:cubicBezTo>
                  <a:cubicBezTo>
                    <a:pt x="0" y="45"/>
                    <a:pt x="14" y="35"/>
                    <a:pt x="36" y="34"/>
                  </a:cubicBezTo>
                  <a:cubicBezTo>
                    <a:pt x="51" y="34"/>
                    <a:pt x="51" y="34"/>
                    <a:pt x="51" y="34"/>
                  </a:cubicBezTo>
                  <a:cubicBezTo>
                    <a:pt x="51" y="33"/>
                    <a:pt x="51" y="32"/>
                    <a:pt x="51" y="31"/>
                  </a:cubicBezTo>
                  <a:cubicBezTo>
                    <a:pt x="51" y="21"/>
                    <a:pt x="44" y="17"/>
                    <a:pt x="35" y="17"/>
                  </a:cubicBezTo>
                  <a:cubicBezTo>
                    <a:pt x="25" y="17"/>
                    <a:pt x="18" y="20"/>
                    <a:pt x="12" y="23"/>
                  </a:cubicBezTo>
                  <a:cubicBezTo>
                    <a:pt x="5" y="9"/>
                    <a:pt x="5" y="9"/>
                    <a:pt x="5" y="9"/>
                  </a:cubicBezTo>
                  <a:cubicBezTo>
                    <a:pt x="17" y="2"/>
                    <a:pt x="28" y="0"/>
                    <a:pt x="39" y="0"/>
                  </a:cubicBezTo>
                  <a:cubicBezTo>
                    <a:pt x="61" y="0"/>
                    <a:pt x="74" y="9"/>
                    <a:pt x="74" y="31"/>
                  </a:cubicBezTo>
                  <a:cubicBezTo>
                    <a:pt x="74" y="66"/>
                    <a:pt x="74" y="66"/>
                    <a:pt x="74" y="66"/>
                  </a:cubicBezTo>
                  <a:cubicBezTo>
                    <a:pt x="74" y="78"/>
                    <a:pt x="75" y="86"/>
                    <a:pt x="76" y="90"/>
                  </a:cubicBezTo>
                  <a:lnTo>
                    <a:pt x="57" y="90"/>
                  </a:lnTo>
                  <a:close/>
                  <a:moveTo>
                    <a:pt x="51" y="49"/>
                  </a:moveTo>
                  <a:cubicBezTo>
                    <a:pt x="39" y="49"/>
                    <a:pt x="39" y="49"/>
                    <a:pt x="39" y="49"/>
                  </a:cubicBezTo>
                  <a:cubicBezTo>
                    <a:pt x="27" y="50"/>
                    <a:pt x="22" y="54"/>
                    <a:pt x="22" y="61"/>
                  </a:cubicBezTo>
                  <a:cubicBezTo>
                    <a:pt x="22" y="68"/>
                    <a:pt x="27" y="73"/>
                    <a:pt x="36" y="73"/>
                  </a:cubicBezTo>
                  <a:cubicBezTo>
                    <a:pt x="44" y="73"/>
                    <a:pt x="49" y="70"/>
                    <a:pt x="51" y="68"/>
                  </a:cubicBezTo>
                  <a:lnTo>
                    <a:pt x="51" y="4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8" name="Freeform 8"/>
            <p:cNvSpPr>
              <a:spLocks noEditPoints="1"/>
            </p:cNvSpPr>
            <p:nvPr userDrawn="1"/>
          </p:nvSpPr>
          <p:spPr bwMode="auto">
            <a:xfrm>
              <a:off x="8342550" y="4892699"/>
              <a:ext cx="62311" cy="96668"/>
            </a:xfrm>
            <a:custGeom>
              <a:avLst/>
              <a:gdLst>
                <a:gd name="T0" fmla="*/ 47 w 82"/>
                <a:gd name="T1" fmla="*/ 133 h 133"/>
                <a:gd name="T2" fmla="*/ 0 w 82"/>
                <a:gd name="T3" fmla="*/ 88 h 133"/>
                <a:gd name="T4" fmla="*/ 48 w 82"/>
                <a:gd name="T5" fmla="*/ 42 h 133"/>
                <a:gd name="T6" fmla="*/ 59 w 82"/>
                <a:gd name="T7" fmla="*/ 42 h 133"/>
                <a:gd name="T8" fmla="*/ 60 w 82"/>
                <a:gd name="T9" fmla="*/ 0 h 133"/>
                <a:gd name="T10" fmla="*/ 82 w 82"/>
                <a:gd name="T11" fmla="*/ 0 h 133"/>
                <a:gd name="T12" fmla="*/ 81 w 82"/>
                <a:gd name="T13" fmla="*/ 126 h 133"/>
                <a:gd name="T14" fmla="*/ 47 w 82"/>
                <a:gd name="T15" fmla="*/ 133 h 133"/>
                <a:gd name="T16" fmla="*/ 59 w 82"/>
                <a:gd name="T17" fmla="*/ 60 h 133"/>
                <a:gd name="T18" fmla="*/ 49 w 82"/>
                <a:gd name="T19" fmla="*/ 59 h 133"/>
                <a:gd name="T20" fmla="*/ 22 w 82"/>
                <a:gd name="T21" fmla="*/ 87 h 133"/>
                <a:gd name="T22" fmla="*/ 49 w 82"/>
                <a:gd name="T23" fmla="*/ 114 h 133"/>
                <a:gd name="T24" fmla="*/ 59 w 82"/>
                <a:gd name="T25" fmla="*/ 113 h 133"/>
                <a:gd name="T26" fmla="*/ 59 w 82"/>
                <a:gd name="T27" fmla="*/ 6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3">
                  <a:moveTo>
                    <a:pt x="47" y="133"/>
                  </a:moveTo>
                  <a:cubicBezTo>
                    <a:pt x="21" y="133"/>
                    <a:pt x="0" y="117"/>
                    <a:pt x="0" y="88"/>
                  </a:cubicBezTo>
                  <a:cubicBezTo>
                    <a:pt x="0" y="61"/>
                    <a:pt x="20" y="42"/>
                    <a:pt x="48" y="42"/>
                  </a:cubicBezTo>
                  <a:cubicBezTo>
                    <a:pt x="52" y="42"/>
                    <a:pt x="56" y="42"/>
                    <a:pt x="59" y="42"/>
                  </a:cubicBezTo>
                  <a:cubicBezTo>
                    <a:pt x="60" y="0"/>
                    <a:pt x="60" y="0"/>
                    <a:pt x="60" y="0"/>
                  </a:cubicBezTo>
                  <a:cubicBezTo>
                    <a:pt x="82" y="0"/>
                    <a:pt x="82" y="0"/>
                    <a:pt x="82" y="0"/>
                  </a:cubicBezTo>
                  <a:cubicBezTo>
                    <a:pt x="81" y="126"/>
                    <a:pt x="81" y="126"/>
                    <a:pt x="81" y="126"/>
                  </a:cubicBezTo>
                  <a:cubicBezTo>
                    <a:pt x="73" y="130"/>
                    <a:pt x="62" y="133"/>
                    <a:pt x="47" y="133"/>
                  </a:cubicBezTo>
                  <a:close/>
                  <a:moveTo>
                    <a:pt x="59" y="60"/>
                  </a:moveTo>
                  <a:cubicBezTo>
                    <a:pt x="56" y="60"/>
                    <a:pt x="54" y="59"/>
                    <a:pt x="49" y="59"/>
                  </a:cubicBezTo>
                  <a:cubicBezTo>
                    <a:pt x="33" y="59"/>
                    <a:pt x="22" y="70"/>
                    <a:pt x="22" y="87"/>
                  </a:cubicBezTo>
                  <a:cubicBezTo>
                    <a:pt x="22" y="103"/>
                    <a:pt x="32" y="114"/>
                    <a:pt x="49" y="114"/>
                  </a:cubicBezTo>
                  <a:cubicBezTo>
                    <a:pt x="53" y="114"/>
                    <a:pt x="57" y="114"/>
                    <a:pt x="59" y="113"/>
                  </a:cubicBezTo>
                  <a:lnTo>
                    <a:pt x="59" y="60"/>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9" name="Freeform 9"/>
            <p:cNvSpPr>
              <a:spLocks/>
            </p:cNvSpPr>
            <p:nvPr userDrawn="1"/>
          </p:nvSpPr>
          <p:spPr bwMode="auto">
            <a:xfrm>
              <a:off x="8093949"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0" name="Freeform 10"/>
            <p:cNvSpPr>
              <a:spLocks/>
            </p:cNvSpPr>
            <p:nvPr userDrawn="1"/>
          </p:nvSpPr>
          <p:spPr bwMode="auto">
            <a:xfrm>
              <a:off x="8060545"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1" name="Freeform 11"/>
            <p:cNvSpPr>
              <a:spLocks/>
            </p:cNvSpPr>
            <p:nvPr userDrawn="1"/>
          </p:nvSpPr>
          <p:spPr bwMode="auto">
            <a:xfrm>
              <a:off x="8297262" y="4923177"/>
              <a:ext cx="43039" cy="66190"/>
            </a:xfrm>
            <a:custGeom>
              <a:avLst/>
              <a:gdLst>
                <a:gd name="T0" fmla="*/ 49 w 57"/>
                <a:gd name="T1" fmla="*/ 22 h 91"/>
                <a:gd name="T2" fmla="*/ 39 w 57"/>
                <a:gd name="T3" fmla="*/ 20 h 91"/>
                <a:gd name="T4" fmla="*/ 22 w 57"/>
                <a:gd name="T5" fmla="*/ 27 h 91"/>
                <a:gd name="T6" fmla="*/ 22 w 57"/>
                <a:gd name="T7" fmla="*/ 74 h 91"/>
                <a:gd name="T8" fmla="*/ 0 w 57"/>
                <a:gd name="T9" fmla="*/ 90 h 91"/>
                <a:gd name="T10" fmla="*/ 0 w 57"/>
                <a:gd name="T11" fmla="*/ 2 h 91"/>
                <a:gd name="T12" fmla="*/ 18 w 57"/>
                <a:gd name="T13" fmla="*/ 2 h 91"/>
                <a:gd name="T14" fmla="*/ 21 w 57"/>
                <a:gd name="T15" fmla="*/ 11 h 91"/>
                <a:gd name="T16" fmla="*/ 45 w 57"/>
                <a:gd name="T17" fmla="*/ 0 h 91"/>
                <a:gd name="T18" fmla="*/ 57 w 57"/>
                <a:gd name="T19" fmla="*/ 4 h 91"/>
                <a:gd name="T20" fmla="*/ 49 w 57"/>
                <a:gd name="T21" fmla="*/ 2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1">
                  <a:moveTo>
                    <a:pt x="49" y="22"/>
                  </a:moveTo>
                  <a:cubicBezTo>
                    <a:pt x="45" y="20"/>
                    <a:pt x="41" y="20"/>
                    <a:pt x="39" y="20"/>
                  </a:cubicBezTo>
                  <a:cubicBezTo>
                    <a:pt x="34" y="20"/>
                    <a:pt x="28" y="22"/>
                    <a:pt x="22" y="27"/>
                  </a:cubicBezTo>
                  <a:cubicBezTo>
                    <a:pt x="22" y="27"/>
                    <a:pt x="22" y="57"/>
                    <a:pt x="22" y="74"/>
                  </a:cubicBezTo>
                  <a:cubicBezTo>
                    <a:pt x="22" y="91"/>
                    <a:pt x="0" y="90"/>
                    <a:pt x="0" y="90"/>
                  </a:cubicBezTo>
                  <a:cubicBezTo>
                    <a:pt x="0" y="2"/>
                    <a:pt x="0" y="2"/>
                    <a:pt x="0" y="2"/>
                  </a:cubicBezTo>
                  <a:cubicBezTo>
                    <a:pt x="18" y="2"/>
                    <a:pt x="18" y="2"/>
                    <a:pt x="18"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2" name="Freeform 12"/>
            <p:cNvSpPr>
              <a:spLocks/>
            </p:cNvSpPr>
            <p:nvPr userDrawn="1"/>
          </p:nvSpPr>
          <p:spPr bwMode="auto">
            <a:xfrm>
              <a:off x="7907980" y="4892699"/>
              <a:ext cx="98605" cy="95129"/>
            </a:xfrm>
            <a:custGeom>
              <a:avLst/>
              <a:gdLst>
                <a:gd name="T0" fmla="*/ 106 w 130"/>
                <a:gd name="T1" fmla="*/ 131 h 131"/>
                <a:gd name="T2" fmla="*/ 106 w 130"/>
                <a:gd name="T3" fmla="*/ 53 h 131"/>
                <a:gd name="T4" fmla="*/ 107 w 130"/>
                <a:gd name="T5" fmla="*/ 39 h 131"/>
                <a:gd name="T6" fmla="*/ 106 w 130"/>
                <a:gd name="T7" fmla="*/ 39 h 131"/>
                <a:gd name="T8" fmla="*/ 99 w 130"/>
                <a:gd name="T9" fmla="*/ 52 h 131"/>
                <a:gd name="T10" fmla="*/ 72 w 130"/>
                <a:gd name="T11" fmla="*/ 93 h 131"/>
                <a:gd name="T12" fmla="*/ 60 w 130"/>
                <a:gd name="T13" fmla="*/ 93 h 131"/>
                <a:gd name="T14" fmla="*/ 32 w 130"/>
                <a:gd name="T15" fmla="*/ 51 h 131"/>
                <a:gd name="T16" fmla="*/ 24 w 130"/>
                <a:gd name="T17" fmla="*/ 39 h 131"/>
                <a:gd name="T18" fmla="*/ 23 w 130"/>
                <a:gd name="T19" fmla="*/ 39 h 131"/>
                <a:gd name="T20" fmla="*/ 24 w 130"/>
                <a:gd name="T21" fmla="*/ 52 h 131"/>
                <a:gd name="T22" fmla="*/ 24 w 130"/>
                <a:gd name="T23" fmla="*/ 131 h 131"/>
                <a:gd name="T24" fmla="*/ 0 w 130"/>
                <a:gd name="T25" fmla="*/ 131 h 131"/>
                <a:gd name="T26" fmla="*/ 0 w 130"/>
                <a:gd name="T27" fmla="*/ 0 h 131"/>
                <a:gd name="T28" fmla="*/ 22 w 130"/>
                <a:gd name="T29" fmla="*/ 0 h 131"/>
                <a:gd name="T30" fmla="*/ 58 w 130"/>
                <a:gd name="T31" fmla="*/ 52 h 131"/>
                <a:gd name="T32" fmla="*/ 66 w 130"/>
                <a:gd name="T33" fmla="*/ 66 h 131"/>
                <a:gd name="T34" fmla="*/ 67 w 130"/>
                <a:gd name="T35" fmla="*/ 66 h 131"/>
                <a:gd name="T36" fmla="*/ 75 w 130"/>
                <a:gd name="T37" fmla="*/ 52 h 131"/>
                <a:gd name="T38" fmla="*/ 108 w 130"/>
                <a:gd name="T39" fmla="*/ 0 h 131"/>
                <a:gd name="T40" fmla="*/ 130 w 130"/>
                <a:gd name="T41" fmla="*/ 0 h 131"/>
                <a:gd name="T42" fmla="*/ 130 w 130"/>
                <a:gd name="T43" fmla="*/ 131 h 131"/>
                <a:gd name="T44" fmla="*/ 106 w 130"/>
                <a:gd name="T45"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0" h="131">
                  <a:moveTo>
                    <a:pt x="106" y="131"/>
                  </a:moveTo>
                  <a:cubicBezTo>
                    <a:pt x="106" y="53"/>
                    <a:pt x="106" y="53"/>
                    <a:pt x="106" y="53"/>
                  </a:cubicBezTo>
                  <a:cubicBezTo>
                    <a:pt x="106" y="48"/>
                    <a:pt x="106" y="44"/>
                    <a:pt x="107" y="39"/>
                  </a:cubicBezTo>
                  <a:cubicBezTo>
                    <a:pt x="106" y="39"/>
                    <a:pt x="106" y="39"/>
                    <a:pt x="106" y="39"/>
                  </a:cubicBezTo>
                  <a:cubicBezTo>
                    <a:pt x="105" y="43"/>
                    <a:pt x="101" y="49"/>
                    <a:pt x="99" y="52"/>
                  </a:cubicBezTo>
                  <a:cubicBezTo>
                    <a:pt x="72" y="93"/>
                    <a:pt x="72" y="93"/>
                    <a:pt x="72" y="93"/>
                  </a:cubicBezTo>
                  <a:cubicBezTo>
                    <a:pt x="60" y="93"/>
                    <a:pt x="60" y="93"/>
                    <a:pt x="60" y="93"/>
                  </a:cubicBezTo>
                  <a:cubicBezTo>
                    <a:pt x="32" y="51"/>
                    <a:pt x="32" y="51"/>
                    <a:pt x="32" y="51"/>
                  </a:cubicBezTo>
                  <a:cubicBezTo>
                    <a:pt x="29" y="48"/>
                    <a:pt x="26" y="44"/>
                    <a:pt x="24" y="39"/>
                  </a:cubicBezTo>
                  <a:cubicBezTo>
                    <a:pt x="23" y="39"/>
                    <a:pt x="23" y="39"/>
                    <a:pt x="23" y="39"/>
                  </a:cubicBezTo>
                  <a:cubicBezTo>
                    <a:pt x="24" y="44"/>
                    <a:pt x="24" y="48"/>
                    <a:pt x="24" y="52"/>
                  </a:cubicBezTo>
                  <a:cubicBezTo>
                    <a:pt x="24" y="131"/>
                    <a:pt x="24" y="131"/>
                    <a:pt x="24" y="131"/>
                  </a:cubicBezTo>
                  <a:cubicBezTo>
                    <a:pt x="0" y="131"/>
                    <a:pt x="0" y="131"/>
                    <a:pt x="0" y="131"/>
                  </a:cubicBezTo>
                  <a:cubicBezTo>
                    <a:pt x="0" y="0"/>
                    <a:pt x="0" y="0"/>
                    <a:pt x="0" y="0"/>
                  </a:cubicBezTo>
                  <a:cubicBezTo>
                    <a:pt x="22" y="0"/>
                    <a:pt x="22" y="0"/>
                    <a:pt x="22" y="0"/>
                  </a:cubicBezTo>
                  <a:cubicBezTo>
                    <a:pt x="58" y="52"/>
                    <a:pt x="58" y="52"/>
                    <a:pt x="58" y="52"/>
                  </a:cubicBezTo>
                  <a:cubicBezTo>
                    <a:pt x="61" y="57"/>
                    <a:pt x="64" y="61"/>
                    <a:pt x="66" y="66"/>
                  </a:cubicBezTo>
                  <a:cubicBezTo>
                    <a:pt x="67" y="66"/>
                    <a:pt x="67" y="66"/>
                    <a:pt x="67" y="66"/>
                  </a:cubicBezTo>
                  <a:cubicBezTo>
                    <a:pt x="69" y="61"/>
                    <a:pt x="71" y="57"/>
                    <a:pt x="75" y="52"/>
                  </a:cubicBezTo>
                  <a:cubicBezTo>
                    <a:pt x="108" y="0"/>
                    <a:pt x="108" y="0"/>
                    <a:pt x="108" y="0"/>
                  </a:cubicBezTo>
                  <a:cubicBezTo>
                    <a:pt x="130" y="0"/>
                    <a:pt x="130" y="0"/>
                    <a:pt x="130" y="0"/>
                  </a:cubicBezTo>
                  <a:cubicBezTo>
                    <a:pt x="130" y="131"/>
                    <a:pt x="130" y="131"/>
                    <a:pt x="130" y="131"/>
                  </a:cubicBezTo>
                  <a:lnTo>
                    <a:pt x="106" y="131"/>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3" name="Freeform 13"/>
            <p:cNvSpPr>
              <a:spLocks/>
            </p:cNvSpPr>
            <p:nvPr userDrawn="1"/>
          </p:nvSpPr>
          <p:spPr bwMode="auto">
            <a:xfrm>
              <a:off x="7665803" y="4864376"/>
              <a:ext cx="100854" cy="148389"/>
            </a:xfrm>
            <a:custGeom>
              <a:avLst/>
              <a:gdLst>
                <a:gd name="T0" fmla="*/ 133 w 133"/>
                <a:gd name="T1" fmla="*/ 23 h 204"/>
                <a:gd name="T2" fmla="*/ 132 w 133"/>
                <a:gd name="T3" fmla="*/ 22 h 204"/>
                <a:gd name="T4" fmla="*/ 65 w 133"/>
                <a:gd name="T5" fmla="*/ 20 h 204"/>
                <a:gd name="T6" fmla="*/ 52 w 133"/>
                <a:gd name="T7" fmla="*/ 52 h 204"/>
                <a:gd name="T8" fmla="*/ 20 w 133"/>
                <a:gd name="T9" fmla="*/ 65 h 204"/>
                <a:gd name="T10" fmla="*/ 22 w 133"/>
                <a:gd name="T11" fmla="*/ 132 h 204"/>
                <a:gd name="T12" fmla="*/ 95 w 133"/>
                <a:gd name="T13" fmla="*/ 204 h 204"/>
                <a:gd name="T14" fmla="*/ 117 w 133"/>
                <a:gd name="T15" fmla="*/ 182 h 204"/>
                <a:gd name="T16" fmla="*/ 44 w 133"/>
                <a:gd name="T17" fmla="*/ 110 h 204"/>
                <a:gd name="T18" fmla="*/ 42 w 133"/>
                <a:gd name="T19" fmla="*/ 86 h 204"/>
                <a:gd name="T20" fmla="*/ 66 w 133"/>
                <a:gd name="T21" fmla="*/ 88 h 204"/>
                <a:gd name="T22" fmla="*/ 133 w 133"/>
                <a:gd name="T23" fmla="*/ 155 h 204"/>
                <a:gd name="T24" fmla="*/ 133 w 133"/>
                <a:gd name="T25" fmla="*/ 111 h 204"/>
                <a:gd name="T26" fmla="*/ 88 w 133"/>
                <a:gd name="T27" fmla="*/ 66 h 204"/>
                <a:gd name="T28" fmla="*/ 86 w 133"/>
                <a:gd name="T29" fmla="*/ 42 h 204"/>
                <a:gd name="T30" fmla="*/ 110 w 133"/>
                <a:gd name="T31" fmla="*/ 44 h 204"/>
                <a:gd name="T32" fmla="*/ 133 w 133"/>
                <a:gd name="T33" fmla="*/ 66 h 204"/>
                <a:gd name="T34" fmla="*/ 133 w 133"/>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204">
                  <a:moveTo>
                    <a:pt x="133" y="23"/>
                  </a:moveTo>
                  <a:cubicBezTo>
                    <a:pt x="132" y="22"/>
                    <a:pt x="132" y="22"/>
                    <a:pt x="132" y="22"/>
                  </a:cubicBezTo>
                  <a:cubicBezTo>
                    <a:pt x="110" y="0"/>
                    <a:pt x="82" y="2"/>
                    <a:pt x="65" y="20"/>
                  </a:cubicBezTo>
                  <a:cubicBezTo>
                    <a:pt x="53" y="32"/>
                    <a:pt x="51" y="46"/>
                    <a:pt x="52" y="52"/>
                  </a:cubicBezTo>
                  <a:cubicBezTo>
                    <a:pt x="47" y="51"/>
                    <a:pt x="32" y="52"/>
                    <a:pt x="20" y="65"/>
                  </a:cubicBezTo>
                  <a:cubicBezTo>
                    <a:pt x="3" y="82"/>
                    <a:pt x="0" y="110"/>
                    <a:pt x="22" y="132"/>
                  </a:cubicBezTo>
                  <a:cubicBezTo>
                    <a:pt x="95" y="204"/>
                    <a:pt x="95" y="204"/>
                    <a:pt x="95" y="204"/>
                  </a:cubicBezTo>
                  <a:cubicBezTo>
                    <a:pt x="117" y="182"/>
                    <a:pt x="117" y="182"/>
                    <a:pt x="117" y="182"/>
                  </a:cubicBezTo>
                  <a:cubicBezTo>
                    <a:pt x="44" y="110"/>
                    <a:pt x="44" y="110"/>
                    <a:pt x="44" y="110"/>
                  </a:cubicBezTo>
                  <a:cubicBezTo>
                    <a:pt x="35" y="101"/>
                    <a:pt x="36" y="91"/>
                    <a:pt x="42" y="86"/>
                  </a:cubicBezTo>
                  <a:cubicBezTo>
                    <a:pt x="47" y="80"/>
                    <a:pt x="58" y="79"/>
                    <a:pt x="66" y="88"/>
                  </a:cubicBezTo>
                  <a:cubicBezTo>
                    <a:pt x="133" y="155"/>
                    <a:pt x="133" y="155"/>
                    <a:pt x="133" y="155"/>
                  </a:cubicBezTo>
                  <a:cubicBezTo>
                    <a:pt x="133" y="111"/>
                    <a:pt x="133" y="111"/>
                    <a:pt x="133" y="111"/>
                  </a:cubicBezTo>
                  <a:cubicBezTo>
                    <a:pt x="88" y="66"/>
                    <a:pt x="88" y="66"/>
                    <a:pt x="88" y="66"/>
                  </a:cubicBezTo>
                  <a:cubicBezTo>
                    <a:pt x="80" y="57"/>
                    <a:pt x="80" y="47"/>
                    <a:pt x="86" y="42"/>
                  </a:cubicBezTo>
                  <a:cubicBezTo>
                    <a:pt x="92" y="36"/>
                    <a:pt x="102" y="35"/>
                    <a:pt x="110" y="44"/>
                  </a:cubicBezTo>
                  <a:cubicBezTo>
                    <a:pt x="133" y="66"/>
                    <a:pt x="133" y="66"/>
                    <a:pt x="133" y="66"/>
                  </a:cubicBezTo>
                  <a:lnTo>
                    <a:pt x="133"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4" name="Freeform 14"/>
            <p:cNvSpPr>
              <a:spLocks noEditPoints="1"/>
            </p:cNvSpPr>
            <p:nvPr userDrawn="1"/>
          </p:nvSpPr>
          <p:spPr bwMode="auto">
            <a:xfrm>
              <a:off x="8023287" y="4895470"/>
              <a:ext cx="20556" cy="93282"/>
            </a:xfrm>
            <a:custGeom>
              <a:avLst/>
              <a:gdLst>
                <a:gd name="T0" fmla="*/ 14 w 27"/>
                <a:gd name="T1" fmla="*/ 26 h 128"/>
                <a:gd name="T2" fmla="*/ 0 w 27"/>
                <a:gd name="T3" fmla="*/ 13 h 128"/>
                <a:gd name="T4" fmla="*/ 14 w 27"/>
                <a:gd name="T5" fmla="*/ 0 h 128"/>
                <a:gd name="T6" fmla="*/ 27 w 27"/>
                <a:gd name="T7" fmla="*/ 13 h 128"/>
                <a:gd name="T8" fmla="*/ 14 w 27"/>
                <a:gd name="T9" fmla="*/ 26 h 128"/>
                <a:gd name="T10" fmla="*/ 3 w 27"/>
                <a:gd name="T11" fmla="*/ 128 h 128"/>
                <a:gd name="T12" fmla="*/ 3 w 27"/>
                <a:gd name="T13" fmla="*/ 40 h 128"/>
                <a:gd name="T14" fmla="*/ 25 w 27"/>
                <a:gd name="T15" fmla="*/ 40 h 128"/>
                <a:gd name="T16" fmla="*/ 25 w 27"/>
                <a:gd name="T17" fmla="*/ 112 h 128"/>
                <a:gd name="T18" fmla="*/ 3 w 27"/>
                <a:gd name="T1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128">
                  <a:moveTo>
                    <a:pt x="14" y="26"/>
                  </a:moveTo>
                  <a:cubicBezTo>
                    <a:pt x="6" y="26"/>
                    <a:pt x="0" y="20"/>
                    <a:pt x="0" y="13"/>
                  </a:cubicBezTo>
                  <a:cubicBezTo>
                    <a:pt x="0" y="6"/>
                    <a:pt x="6" y="0"/>
                    <a:pt x="14" y="0"/>
                  </a:cubicBezTo>
                  <a:cubicBezTo>
                    <a:pt x="21" y="0"/>
                    <a:pt x="27" y="5"/>
                    <a:pt x="27" y="13"/>
                  </a:cubicBezTo>
                  <a:cubicBezTo>
                    <a:pt x="27" y="20"/>
                    <a:pt x="21" y="26"/>
                    <a:pt x="14" y="26"/>
                  </a:cubicBezTo>
                  <a:close/>
                  <a:moveTo>
                    <a:pt x="3" y="128"/>
                  </a:moveTo>
                  <a:cubicBezTo>
                    <a:pt x="3" y="40"/>
                    <a:pt x="3" y="40"/>
                    <a:pt x="3" y="40"/>
                  </a:cubicBezTo>
                  <a:cubicBezTo>
                    <a:pt x="25" y="40"/>
                    <a:pt x="25" y="40"/>
                    <a:pt x="25" y="40"/>
                  </a:cubicBezTo>
                  <a:cubicBezTo>
                    <a:pt x="25" y="40"/>
                    <a:pt x="25" y="95"/>
                    <a:pt x="25" y="112"/>
                  </a:cubicBezTo>
                  <a:cubicBezTo>
                    <a:pt x="25" y="128"/>
                    <a:pt x="3" y="128"/>
                    <a:pt x="3" y="1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5" name="Freeform 15"/>
            <p:cNvSpPr>
              <a:spLocks/>
            </p:cNvSpPr>
            <p:nvPr userDrawn="1"/>
          </p:nvSpPr>
          <p:spPr bwMode="auto">
            <a:xfrm>
              <a:off x="8615239" y="4924717"/>
              <a:ext cx="103744" cy="66806"/>
            </a:xfrm>
            <a:custGeom>
              <a:avLst/>
              <a:gdLst>
                <a:gd name="T0" fmla="*/ 111 w 137"/>
                <a:gd name="T1" fmla="*/ 72 h 92"/>
                <a:gd name="T2" fmla="*/ 88 w 137"/>
                <a:gd name="T3" fmla="*/ 88 h 92"/>
                <a:gd name="T4" fmla="*/ 68 w 137"/>
                <a:gd name="T5" fmla="*/ 28 h 92"/>
                <a:gd name="T6" fmla="*/ 68 w 137"/>
                <a:gd name="T7" fmla="*/ 28 h 92"/>
                <a:gd name="T8" fmla="*/ 53 w 137"/>
                <a:gd name="T9" fmla="*/ 72 h 92"/>
                <a:gd name="T10" fmla="*/ 31 w 137"/>
                <a:gd name="T11" fmla="*/ 88 h 92"/>
                <a:gd name="T12" fmla="*/ 0 w 137"/>
                <a:gd name="T13" fmla="*/ 0 h 92"/>
                <a:gd name="T14" fmla="*/ 22 w 137"/>
                <a:gd name="T15" fmla="*/ 0 h 92"/>
                <a:gd name="T16" fmla="*/ 41 w 137"/>
                <a:gd name="T17" fmla="*/ 60 h 92"/>
                <a:gd name="T18" fmla="*/ 41 w 137"/>
                <a:gd name="T19" fmla="*/ 60 h 92"/>
                <a:gd name="T20" fmla="*/ 60 w 137"/>
                <a:gd name="T21" fmla="*/ 0 h 92"/>
                <a:gd name="T22" fmla="*/ 77 w 137"/>
                <a:gd name="T23" fmla="*/ 0 h 92"/>
                <a:gd name="T24" fmla="*/ 97 w 137"/>
                <a:gd name="T25" fmla="*/ 60 h 92"/>
                <a:gd name="T26" fmla="*/ 97 w 137"/>
                <a:gd name="T27" fmla="*/ 60 h 92"/>
                <a:gd name="T28" fmla="*/ 115 w 137"/>
                <a:gd name="T29" fmla="*/ 0 h 92"/>
                <a:gd name="T30" fmla="*/ 137 w 137"/>
                <a:gd name="T31" fmla="*/ 0 h 92"/>
                <a:gd name="T32" fmla="*/ 111 w 137"/>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 h="92">
                  <a:moveTo>
                    <a:pt x="111" y="72"/>
                  </a:moveTo>
                  <a:cubicBezTo>
                    <a:pt x="104" y="92"/>
                    <a:pt x="88" y="88"/>
                    <a:pt x="88" y="88"/>
                  </a:cubicBezTo>
                  <a:cubicBezTo>
                    <a:pt x="68" y="28"/>
                    <a:pt x="68" y="28"/>
                    <a:pt x="68" y="28"/>
                  </a:cubicBezTo>
                  <a:cubicBezTo>
                    <a:pt x="68" y="28"/>
                    <a:pt x="68" y="28"/>
                    <a:pt x="68" y="28"/>
                  </a:cubicBezTo>
                  <a:cubicBezTo>
                    <a:pt x="68" y="28"/>
                    <a:pt x="59"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7" y="60"/>
                    <a:pt x="97" y="60"/>
                    <a:pt x="97" y="60"/>
                  </a:cubicBezTo>
                  <a:cubicBezTo>
                    <a:pt x="97" y="60"/>
                    <a:pt x="97" y="60"/>
                    <a:pt x="97" y="60"/>
                  </a:cubicBezTo>
                  <a:cubicBezTo>
                    <a:pt x="115" y="0"/>
                    <a:pt x="115" y="0"/>
                    <a:pt x="115" y="0"/>
                  </a:cubicBezTo>
                  <a:cubicBezTo>
                    <a:pt x="137" y="0"/>
                    <a:pt x="137" y="0"/>
                    <a:pt x="137" y="0"/>
                  </a:cubicBezTo>
                  <a:cubicBezTo>
                    <a:pt x="137"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6" name="Freeform 16"/>
            <p:cNvSpPr>
              <a:spLocks noEditPoints="1"/>
            </p:cNvSpPr>
            <p:nvPr userDrawn="1"/>
          </p:nvSpPr>
          <p:spPr bwMode="auto">
            <a:xfrm>
              <a:off x="8423168" y="4892699"/>
              <a:ext cx="65844" cy="95129"/>
            </a:xfrm>
            <a:custGeom>
              <a:avLst/>
              <a:gdLst>
                <a:gd name="T0" fmla="*/ 1 w 87"/>
                <a:gd name="T1" fmla="*/ 0 h 131"/>
                <a:gd name="T2" fmla="*/ 0 w 87"/>
                <a:gd name="T3" fmla="*/ 131 h 131"/>
                <a:gd name="T4" fmla="*/ 41 w 87"/>
                <a:gd name="T5" fmla="*/ 131 h 131"/>
                <a:gd name="T6" fmla="*/ 87 w 87"/>
                <a:gd name="T7" fmla="*/ 92 h 131"/>
                <a:gd name="T8" fmla="*/ 65 w 87"/>
                <a:gd name="T9" fmla="*/ 61 h 131"/>
                <a:gd name="T10" fmla="*/ 62 w 87"/>
                <a:gd name="T11" fmla="*/ 60 h 131"/>
                <a:gd name="T12" fmla="*/ 64 w 87"/>
                <a:gd name="T13" fmla="*/ 59 h 131"/>
                <a:gd name="T14" fmla="*/ 79 w 87"/>
                <a:gd name="T15" fmla="*/ 32 h 131"/>
                <a:gd name="T16" fmla="*/ 42 w 87"/>
                <a:gd name="T17" fmla="*/ 0 h 131"/>
                <a:gd name="T18" fmla="*/ 1 w 87"/>
                <a:gd name="T19" fmla="*/ 0 h 131"/>
                <a:gd name="T20" fmla="*/ 23 w 87"/>
                <a:gd name="T21" fmla="*/ 17 h 131"/>
                <a:gd name="T22" fmla="*/ 36 w 87"/>
                <a:gd name="T23" fmla="*/ 17 h 131"/>
                <a:gd name="T24" fmla="*/ 56 w 87"/>
                <a:gd name="T25" fmla="*/ 35 h 131"/>
                <a:gd name="T26" fmla="*/ 38 w 87"/>
                <a:gd name="T27" fmla="*/ 55 h 131"/>
                <a:gd name="T28" fmla="*/ 22 w 87"/>
                <a:gd name="T29" fmla="*/ 55 h 131"/>
                <a:gd name="T30" fmla="*/ 23 w 87"/>
                <a:gd name="T31" fmla="*/ 17 h 131"/>
                <a:gd name="T32" fmla="*/ 22 w 87"/>
                <a:gd name="T33" fmla="*/ 74 h 131"/>
                <a:gd name="T34" fmla="*/ 40 w 87"/>
                <a:gd name="T35" fmla="*/ 74 h 131"/>
                <a:gd name="T36" fmla="*/ 64 w 87"/>
                <a:gd name="T37" fmla="*/ 92 h 131"/>
                <a:gd name="T38" fmla="*/ 39 w 87"/>
                <a:gd name="T39" fmla="*/ 113 h 131"/>
                <a:gd name="T40" fmla="*/ 22 w 87"/>
                <a:gd name="T41" fmla="*/ 113 h 131"/>
                <a:gd name="T42" fmla="*/ 22 w 87"/>
                <a:gd name="T43" fmla="*/ 7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131">
                  <a:moveTo>
                    <a:pt x="1" y="0"/>
                  </a:moveTo>
                  <a:cubicBezTo>
                    <a:pt x="1" y="3"/>
                    <a:pt x="0" y="129"/>
                    <a:pt x="0" y="131"/>
                  </a:cubicBezTo>
                  <a:cubicBezTo>
                    <a:pt x="2" y="131"/>
                    <a:pt x="41" y="131"/>
                    <a:pt x="41" y="131"/>
                  </a:cubicBezTo>
                  <a:cubicBezTo>
                    <a:pt x="73" y="131"/>
                    <a:pt x="87" y="111"/>
                    <a:pt x="87" y="92"/>
                  </a:cubicBezTo>
                  <a:cubicBezTo>
                    <a:pt x="87" y="77"/>
                    <a:pt x="79" y="65"/>
                    <a:pt x="65" y="61"/>
                  </a:cubicBezTo>
                  <a:cubicBezTo>
                    <a:pt x="62" y="60"/>
                    <a:pt x="62" y="60"/>
                    <a:pt x="62" y="60"/>
                  </a:cubicBezTo>
                  <a:cubicBezTo>
                    <a:pt x="64" y="59"/>
                    <a:pt x="64" y="59"/>
                    <a:pt x="64" y="59"/>
                  </a:cubicBezTo>
                  <a:cubicBezTo>
                    <a:pt x="74" y="54"/>
                    <a:pt x="79" y="44"/>
                    <a:pt x="79" y="32"/>
                  </a:cubicBezTo>
                  <a:cubicBezTo>
                    <a:pt x="79" y="17"/>
                    <a:pt x="68" y="0"/>
                    <a:pt x="42" y="0"/>
                  </a:cubicBezTo>
                  <a:cubicBezTo>
                    <a:pt x="42" y="0"/>
                    <a:pt x="3" y="0"/>
                    <a:pt x="1" y="0"/>
                  </a:cubicBezTo>
                  <a:close/>
                  <a:moveTo>
                    <a:pt x="23" y="17"/>
                  </a:moveTo>
                  <a:cubicBezTo>
                    <a:pt x="36" y="17"/>
                    <a:pt x="36" y="17"/>
                    <a:pt x="36" y="17"/>
                  </a:cubicBezTo>
                  <a:cubicBezTo>
                    <a:pt x="49" y="17"/>
                    <a:pt x="56" y="24"/>
                    <a:pt x="56" y="35"/>
                  </a:cubicBezTo>
                  <a:cubicBezTo>
                    <a:pt x="56" y="47"/>
                    <a:pt x="47" y="55"/>
                    <a:pt x="38" y="55"/>
                  </a:cubicBezTo>
                  <a:cubicBezTo>
                    <a:pt x="22" y="55"/>
                    <a:pt x="22" y="55"/>
                    <a:pt x="22" y="55"/>
                  </a:cubicBezTo>
                  <a:lnTo>
                    <a:pt x="23" y="17"/>
                  </a:lnTo>
                  <a:close/>
                  <a:moveTo>
                    <a:pt x="22" y="74"/>
                  </a:moveTo>
                  <a:cubicBezTo>
                    <a:pt x="40" y="74"/>
                    <a:pt x="40" y="74"/>
                    <a:pt x="40" y="74"/>
                  </a:cubicBezTo>
                  <a:cubicBezTo>
                    <a:pt x="55" y="74"/>
                    <a:pt x="64" y="81"/>
                    <a:pt x="64" y="92"/>
                  </a:cubicBezTo>
                  <a:cubicBezTo>
                    <a:pt x="64" y="105"/>
                    <a:pt x="55" y="113"/>
                    <a:pt x="39" y="113"/>
                  </a:cubicBezTo>
                  <a:cubicBezTo>
                    <a:pt x="22" y="113"/>
                    <a:pt x="22" y="113"/>
                    <a:pt x="22" y="113"/>
                  </a:cubicBezTo>
                  <a:lnTo>
                    <a:pt x="22" y="74"/>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7" name="Freeform 17"/>
            <p:cNvSpPr>
              <a:spLocks noEditPoints="1"/>
            </p:cNvSpPr>
            <p:nvPr userDrawn="1"/>
          </p:nvSpPr>
          <p:spPr bwMode="auto">
            <a:xfrm>
              <a:off x="8546184" y="4923177"/>
              <a:ext cx="66486" cy="66190"/>
            </a:xfrm>
            <a:custGeom>
              <a:avLst/>
              <a:gdLst>
                <a:gd name="T0" fmla="*/ 75 w 88"/>
                <a:gd name="T1" fmla="*/ 78 h 91"/>
                <a:gd name="T2" fmla="*/ 44 w 88"/>
                <a:gd name="T3" fmla="*/ 91 h 91"/>
                <a:gd name="T4" fmla="*/ 14 w 88"/>
                <a:gd name="T5" fmla="*/ 80 h 91"/>
                <a:gd name="T6" fmla="*/ 0 w 88"/>
                <a:gd name="T7" fmla="*/ 46 h 91"/>
                <a:gd name="T8" fmla="*/ 13 w 88"/>
                <a:gd name="T9" fmla="*/ 12 h 91"/>
                <a:gd name="T10" fmla="*/ 44 w 88"/>
                <a:gd name="T11" fmla="*/ 0 h 91"/>
                <a:gd name="T12" fmla="*/ 76 w 88"/>
                <a:gd name="T13" fmla="*/ 12 h 91"/>
                <a:gd name="T14" fmla="*/ 88 w 88"/>
                <a:gd name="T15" fmla="*/ 45 h 91"/>
                <a:gd name="T16" fmla="*/ 75 w 88"/>
                <a:gd name="T17" fmla="*/ 78 h 91"/>
                <a:gd name="T18" fmla="*/ 44 w 88"/>
                <a:gd name="T19" fmla="*/ 17 h 91"/>
                <a:gd name="T20" fmla="*/ 23 w 88"/>
                <a:gd name="T21" fmla="*/ 45 h 91"/>
                <a:gd name="T22" fmla="*/ 44 w 88"/>
                <a:gd name="T23" fmla="*/ 73 h 91"/>
                <a:gd name="T24" fmla="*/ 65 w 88"/>
                <a:gd name="T25" fmla="*/ 45 h 91"/>
                <a:gd name="T26" fmla="*/ 44 w 88"/>
                <a:gd name="T27"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91">
                  <a:moveTo>
                    <a:pt x="75" y="78"/>
                  </a:moveTo>
                  <a:cubicBezTo>
                    <a:pt x="68" y="86"/>
                    <a:pt x="57" y="91"/>
                    <a:pt x="44" y="91"/>
                  </a:cubicBezTo>
                  <a:cubicBezTo>
                    <a:pt x="32" y="91"/>
                    <a:pt x="21" y="87"/>
                    <a:pt x="14" y="80"/>
                  </a:cubicBezTo>
                  <a:cubicBezTo>
                    <a:pt x="5" y="72"/>
                    <a:pt x="0" y="60"/>
                    <a:pt x="0" y="46"/>
                  </a:cubicBezTo>
                  <a:cubicBezTo>
                    <a:pt x="0" y="32"/>
                    <a:pt x="5" y="20"/>
                    <a:pt x="13" y="12"/>
                  </a:cubicBezTo>
                  <a:cubicBezTo>
                    <a:pt x="21" y="4"/>
                    <a:pt x="31" y="0"/>
                    <a:pt x="44" y="0"/>
                  </a:cubicBezTo>
                  <a:cubicBezTo>
                    <a:pt x="57" y="0"/>
                    <a:pt x="68" y="4"/>
                    <a:pt x="76" y="12"/>
                  </a:cubicBezTo>
                  <a:cubicBezTo>
                    <a:pt x="84" y="20"/>
                    <a:pt x="88" y="32"/>
                    <a:pt x="88" y="45"/>
                  </a:cubicBezTo>
                  <a:cubicBezTo>
                    <a:pt x="88" y="58"/>
                    <a:pt x="83" y="70"/>
                    <a:pt x="75" y="78"/>
                  </a:cubicBezTo>
                  <a:close/>
                  <a:moveTo>
                    <a:pt x="44" y="17"/>
                  </a:moveTo>
                  <a:cubicBezTo>
                    <a:pt x="30" y="17"/>
                    <a:pt x="23" y="29"/>
                    <a:pt x="23" y="45"/>
                  </a:cubicBezTo>
                  <a:cubicBezTo>
                    <a:pt x="23" y="62"/>
                    <a:pt x="31" y="73"/>
                    <a:pt x="44" y="73"/>
                  </a:cubicBezTo>
                  <a:cubicBezTo>
                    <a:pt x="58" y="73"/>
                    <a:pt x="65" y="61"/>
                    <a:pt x="65" y="45"/>
                  </a:cubicBezTo>
                  <a:cubicBezTo>
                    <a:pt x="65" y="28"/>
                    <a:pt x="57" y="17"/>
                    <a:pt x="44" y="1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8" name="Freeform 18"/>
            <p:cNvSpPr>
              <a:spLocks/>
            </p:cNvSpPr>
            <p:nvPr userDrawn="1"/>
          </p:nvSpPr>
          <p:spPr bwMode="auto">
            <a:xfrm>
              <a:off x="8728298" y="4923177"/>
              <a:ext cx="60705" cy="65574"/>
            </a:xfrm>
            <a:custGeom>
              <a:avLst/>
              <a:gdLst>
                <a:gd name="T0" fmla="*/ 58 w 80"/>
                <a:gd name="T1" fmla="*/ 90 h 90"/>
                <a:gd name="T2" fmla="*/ 58 w 80"/>
                <a:gd name="T3" fmla="*/ 38 h 90"/>
                <a:gd name="T4" fmla="*/ 45 w 80"/>
                <a:gd name="T5" fmla="*/ 19 h 90"/>
                <a:gd name="T6" fmla="*/ 23 w 80"/>
                <a:gd name="T7" fmla="*/ 28 h 90"/>
                <a:gd name="T8" fmla="*/ 23 w 80"/>
                <a:gd name="T9" fmla="*/ 74 h 90"/>
                <a:gd name="T10" fmla="*/ 0 w 80"/>
                <a:gd name="T11" fmla="*/ 90 h 90"/>
                <a:gd name="T12" fmla="*/ 0 w 80"/>
                <a:gd name="T13" fmla="*/ 2 h 90"/>
                <a:gd name="T14" fmla="*/ 19 w 80"/>
                <a:gd name="T15" fmla="*/ 2 h 90"/>
                <a:gd name="T16" fmla="*/ 22 w 80"/>
                <a:gd name="T17" fmla="*/ 11 h 90"/>
                <a:gd name="T18" fmla="*/ 52 w 80"/>
                <a:gd name="T19" fmla="*/ 0 h 90"/>
                <a:gd name="T20" fmla="*/ 80 w 80"/>
                <a:gd name="T21" fmla="*/ 31 h 90"/>
                <a:gd name="T22" fmla="*/ 80 w 80"/>
                <a:gd name="T23" fmla="*/ 74 h 90"/>
                <a:gd name="T24" fmla="*/ 58 w 80"/>
                <a:gd name="T2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90">
                  <a:moveTo>
                    <a:pt x="58" y="90"/>
                  </a:moveTo>
                  <a:cubicBezTo>
                    <a:pt x="58" y="38"/>
                    <a:pt x="58" y="38"/>
                    <a:pt x="58" y="38"/>
                  </a:cubicBezTo>
                  <a:cubicBezTo>
                    <a:pt x="58" y="29"/>
                    <a:pt x="56" y="19"/>
                    <a:pt x="45" y="19"/>
                  </a:cubicBezTo>
                  <a:cubicBezTo>
                    <a:pt x="37" y="19"/>
                    <a:pt x="29" y="23"/>
                    <a:pt x="23" y="28"/>
                  </a:cubicBezTo>
                  <a:cubicBezTo>
                    <a:pt x="23" y="28"/>
                    <a:pt x="23" y="57"/>
                    <a:pt x="23" y="74"/>
                  </a:cubicBezTo>
                  <a:cubicBezTo>
                    <a:pt x="23" y="90"/>
                    <a:pt x="0" y="90"/>
                    <a:pt x="0" y="90"/>
                  </a:cubicBezTo>
                  <a:cubicBezTo>
                    <a:pt x="0" y="2"/>
                    <a:pt x="0" y="2"/>
                    <a:pt x="0" y="2"/>
                  </a:cubicBezTo>
                  <a:cubicBezTo>
                    <a:pt x="19" y="2"/>
                    <a:pt x="19" y="2"/>
                    <a:pt x="19" y="2"/>
                  </a:cubicBezTo>
                  <a:cubicBezTo>
                    <a:pt x="22" y="11"/>
                    <a:pt x="22" y="11"/>
                    <a:pt x="22" y="11"/>
                  </a:cubicBezTo>
                  <a:cubicBezTo>
                    <a:pt x="31" y="4"/>
                    <a:pt x="40" y="0"/>
                    <a:pt x="52" y="0"/>
                  </a:cubicBezTo>
                  <a:cubicBezTo>
                    <a:pt x="65" y="0"/>
                    <a:pt x="80" y="8"/>
                    <a:pt x="80" y="31"/>
                  </a:cubicBezTo>
                  <a:cubicBezTo>
                    <a:pt x="80" y="31"/>
                    <a:pt x="80" y="57"/>
                    <a:pt x="80" y="74"/>
                  </a:cubicBezTo>
                  <a:cubicBezTo>
                    <a:pt x="80" y="90"/>
                    <a:pt x="58" y="90"/>
                    <a:pt x="58" y="9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9" name="Freeform 19"/>
            <p:cNvSpPr>
              <a:spLocks/>
            </p:cNvSpPr>
            <p:nvPr userDrawn="1"/>
          </p:nvSpPr>
          <p:spPr bwMode="auto">
            <a:xfrm>
              <a:off x="8501217" y="4923177"/>
              <a:ext cx="43361" cy="65574"/>
            </a:xfrm>
            <a:custGeom>
              <a:avLst/>
              <a:gdLst>
                <a:gd name="T0" fmla="*/ 49 w 57"/>
                <a:gd name="T1" fmla="*/ 22 h 90"/>
                <a:gd name="T2" fmla="*/ 39 w 57"/>
                <a:gd name="T3" fmla="*/ 20 h 90"/>
                <a:gd name="T4" fmla="*/ 22 w 57"/>
                <a:gd name="T5" fmla="*/ 27 h 90"/>
                <a:gd name="T6" fmla="*/ 22 w 57"/>
                <a:gd name="T7" fmla="*/ 74 h 90"/>
                <a:gd name="T8" fmla="*/ 0 w 57"/>
                <a:gd name="T9" fmla="*/ 90 h 90"/>
                <a:gd name="T10" fmla="*/ 0 w 57"/>
                <a:gd name="T11" fmla="*/ 2 h 90"/>
                <a:gd name="T12" fmla="*/ 19 w 57"/>
                <a:gd name="T13" fmla="*/ 2 h 90"/>
                <a:gd name="T14" fmla="*/ 21 w 57"/>
                <a:gd name="T15" fmla="*/ 11 h 90"/>
                <a:gd name="T16" fmla="*/ 45 w 57"/>
                <a:gd name="T17" fmla="*/ 0 h 90"/>
                <a:gd name="T18" fmla="*/ 57 w 57"/>
                <a:gd name="T19" fmla="*/ 4 h 90"/>
                <a:gd name="T20" fmla="*/ 49 w 57"/>
                <a:gd name="T21" fmla="*/ 2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0">
                  <a:moveTo>
                    <a:pt x="49" y="22"/>
                  </a:moveTo>
                  <a:cubicBezTo>
                    <a:pt x="46" y="20"/>
                    <a:pt x="42" y="20"/>
                    <a:pt x="39" y="20"/>
                  </a:cubicBezTo>
                  <a:cubicBezTo>
                    <a:pt x="34" y="20"/>
                    <a:pt x="28" y="22"/>
                    <a:pt x="22" y="27"/>
                  </a:cubicBezTo>
                  <a:cubicBezTo>
                    <a:pt x="22" y="27"/>
                    <a:pt x="22" y="57"/>
                    <a:pt x="22" y="74"/>
                  </a:cubicBezTo>
                  <a:cubicBezTo>
                    <a:pt x="22" y="90"/>
                    <a:pt x="0" y="90"/>
                    <a:pt x="0" y="90"/>
                  </a:cubicBezTo>
                  <a:cubicBezTo>
                    <a:pt x="0" y="2"/>
                    <a:pt x="0" y="2"/>
                    <a:pt x="0" y="2"/>
                  </a:cubicBezTo>
                  <a:cubicBezTo>
                    <a:pt x="19" y="2"/>
                    <a:pt x="19" y="2"/>
                    <a:pt x="19"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0" name="Freeform 20"/>
            <p:cNvSpPr>
              <a:spLocks/>
            </p:cNvSpPr>
            <p:nvPr userDrawn="1"/>
          </p:nvSpPr>
          <p:spPr bwMode="auto">
            <a:xfrm>
              <a:off x="7766657" y="4864376"/>
              <a:ext cx="100211" cy="148389"/>
            </a:xfrm>
            <a:custGeom>
              <a:avLst/>
              <a:gdLst>
                <a:gd name="T0" fmla="*/ 0 w 132"/>
                <a:gd name="T1" fmla="*/ 23 h 204"/>
                <a:gd name="T2" fmla="*/ 1 w 132"/>
                <a:gd name="T3" fmla="*/ 22 h 204"/>
                <a:gd name="T4" fmla="*/ 67 w 132"/>
                <a:gd name="T5" fmla="*/ 20 h 204"/>
                <a:gd name="T6" fmla="*/ 80 w 132"/>
                <a:gd name="T7" fmla="*/ 52 h 204"/>
                <a:gd name="T8" fmla="*/ 113 w 132"/>
                <a:gd name="T9" fmla="*/ 65 h 204"/>
                <a:gd name="T10" fmla="*/ 111 w 132"/>
                <a:gd name="T11" fmla="*/ 132 h 204"/>
                <a:gd name="T12" fmla="*/ 38 w 132"/>
                <a:gd name="T13" fmla="*/ 204 h 204"/>
                <a:gd name="T14" fmla="*/ 16 w 132"/>
                <a:gd name="T15" fmla="*/ 182 h 204"/>
                <a:gd name="T16" fmla="*/ 88 w 132"/>
                <a:gd name="T17" fmla="*/ 110 h 204"/>
                <a:gd name="T18" fmla="*/ 91 w 132"/>
                <a:gd name="T19" fmla="*/ 86 h 204"/>
                <a:gd name="T20" fmla="*/ 67 w 132"/>
                <a:gd name="T21" fmla="*/ 88 h 204"/>
                <a:gd name="T22" fmla="*/ 0 w 132"/>
                <a:gd name="T23" fmla="*/ 155 h 204"/>
                <a:gd name="T24" fmla="*/ 0 w 132"/>
                <a:gd name="T25" fmla="*/ 111 h 204"/>
                <a:gd name="T26" fmla="*/ 45 w 132"/>
                <a:gd name="T27" fmla="*/ 66 h 204"/>
                <a:gd name="T28" fmla="*/ 46 w 132"/>
                <a:gd name="T29" fmla="*/ 42 h 204"/>
                <a:gd name="T30" fmla="*/ 22 w 132"/>
                <a:gd name="T31" fmla="*/ 44 h 204"/>
                <a:gd name="T32" fmla="*/ 0 w 132"/>
                <a:gd name="T33" fmla="*/ 66 h 204"/>
                <a:gd name="T34" fmla="*/ 0 w 132"/>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204">
                  <a:moveTo>
                    <a:pt x="0" y="23"/>
                  </a:moveTo>
                  <a:cubicBezTo>
                    <a:pt x="1" y="22"/>
                    <a:pt x="1" y="22"/>
                    <a:pt x="1" y="22"/>
                  </a:cubicBezTo>
                  <a:cubicBezTo>
                    <a:pt x="23" y="0"/>
                    <a:pt x="50" y="2"/>
                    <a:pt x="67" y="20"/>
                  </a:cubicBezTo>
                  <a:cubicBezTo>
                    <a:pt x="80" y="32"/>
                    <a:pt x="81" y="46"/>
                    <a:pt x="80" y="52"/>
                  </a:cubicBezTo>
                  <a:cubicBezTo>
                    <a:pt x="86" y="51"/>
                    <a:pt x="100" y="52"/>
                    <a:pt x="113" y="65"/>
                  </a:cubicBezTo>
                  <a:cubicBezTo>
                    <a:pt x="130" y="82"/>
                    <a:pt x="132" y="110"/>
                    <a:pt x="111" y="132"/>
                  </a:cubicBezTo>
                  <a:cubicBezTo>
                    <a:pt x="38" y="204"/>
                    <a:pt x="38" y="204"/>
                    <a:pt x="38" y="204"/>
                  </a:cubicBezTo>
                  <a:cubicBezTo>
                    <a:pt x="16" y="182"/>
                    <a:pt x="16" y="182"/>
                    <a:pt x="16" y="182"/>
                  </a:cubicBezTo>
                  <a:cubicBezTo>
                    <a:pt x="88" y="110"/>
                    <a:pt x="88" y="110"/>
                    <a:pt x="88" y="110"/>
                  </a:cubicBezTo>
                  <a:cubicBezTo>
                    <a:pt x="97" y="101"/>
                    <a:pt x="96" y="91"/>
                    <a:pt x="91" y="86"/>
                  </a:cubicBezTo>
                  <a:cubicBezTo>
                    <a:pt x="85" y="80"/>
                    <a:pt x="75" y="79"/>
                    <a:pt x="67" y="88"/>
                  </a:cubicBezTo>
                  <a:cubicBezTo>
                    <a:pt x="0" y="155"/>
                    <a:pt x="0" y="155"/>
                    <a:pt x="0" y="155"/>
                  </a:cubicBezTo>
                  <a:cubicBezTo>
                    <a:pt x="0" y="111"/>
                    <a:pt x="0" y="111"/>
                    <a:pt x="0" y="111"/>
                  </a:cubicBezTo>
                  <a:cubicBezTo>
                    <a:pt x="45" y="66"/>
                    <a:pt x="45" y="66"/>
                    <a:pt x="45" y="66"/>
                  </a:cubicBezTo>
                  <a:cubicBezTo>
                    <a:pt x="53" y="57"/>
                    <a:pt x="52" y="47"/>
                    <a:pt x="46" y="42"/>
                  </a:cubicBezTo>
                  <a:cubicBezTo>
                    <a:pt x="41" y="36"/>
                    <a:pt x="31" y="35"/>
                    <a:pt x="22" y="44"/>
                  </a:cubicBezTo>
                  <a:cubicBezTo>
                    <a:pt x="0" y="66"/>
                    <a:pt x="0" y="66"/>
                    <a:pt x="0" y="66"/>
                  </a:cubicBezTo>
                  <a:lnTo>
                    <a:pt x="0"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1" name="Freeform 21"/>
            <p:cNvSpPr>
              <a:spLocks noEditPoints="1"/>
            </p:cNvSpPr>
            <p:nvPr userDrawn="1"/>
          </p:nvSpPr>
          <p:spPr bwMode="auto">
            <a:xfrm>
              <a:off x="7980890" y="5040472"/>
              <a:ext cx="51390" cy="57878"/>
            </a:xfrm>
            <a:custGeom>
              <a:avLst/>
              <a:gdLst>
                <a:gd name="T0" fmla="*/ 0 w 68"/>
                <a:gd name="T1" fmla="*/ 40 h 80"/>
                <a:gd name="T2" fmla="*/ 35 w 68"/>
                <a:gd name="T3" fmla="*/ 0 h 80"/>
                <a:gd name="T4" fmla="*/ 68 w 68"/>
                <a:gd name="T5" fmla="*/ 41 h 80"/>
                <a:gd name="T6" fmla="*/ 68 w 68"/>
                <a:gd name="T7" fmla="*/ 46 h 80"/>
                <a:gd name="T8" fmla="*/ 20 w 68"/>
                <a:gd name="T9" fmla="*/ 46 h 80"/>
                <a:gd name="T10" fmla="*/ 41 w 68"/>
                <a:gd name="T11" fmla="*/ 65 h 80"/>
                <a:gd name="T12" fmla="*/ 60 w 68"/>
                <a:gd name="T13" fmla="*/ 60 h 80"/>
                <a:gd name="T14" fmla="*/ 66 w 68"/>
                <a:gd name="T15" fmla="*/ 73 h 80"/>
                <a:gd name="T16" fmla="*/ 39 w 68"/>
                <a:gd name="T17" fmla="*/ 80 h 80"/>
                <a:gd name="T18" fmla="*/ 0 w 68"/>
                <a:gd name="T19" fmla="*/ 40 h 80"/>
                <a:gd name="T20" fmla="*/ 49 w 68"/>
                <a:gd name="T21" fmla="*/ 32 h 80"/>
                <a:gd name="T22" fmla="*/ 34 w 68"/>
                <a:gd name="T23" fmla="*/ 15 h 80"/>
                <a:gd name="T24" fmla="*/ 19 w 68"/>
                <a:gd name="T25" fmla="*/ 32 h 80"/>
                <a:gd name="T26" fmla="*/ 49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3" y="0"/>
                    <a:pt x="35" y="0"/>
                  </a:cubicBezTo>
                  <a:cubicBezTo>
                    <a:pt x="56" y="0"/>
                    <a:pt x="68" y="16"/>
                    <a:pt x="68" y="41"/>
                  </a:cubicBezTo>
                  <a:cubicBezTo>
                    <a:pt x="68" y="46"/>
                    <a:pt x="68" y="46"/>
                    <a:pt x="68" y="46"/>
                  </a:cubicBezTo>
                  <a:cubicBezTo>
                    <a:pt x="20" y="46"/>
                    <a:pt x="20" y="46"/>
                    <a:pt x="20" y="46"/>
                  </a:cubicBezTo>
                  <a:cubicBezTo>
                    <a:pt x="20" y="57"/>
                    <a:pt x="28" y="65"/>
                    <a:pt x="41" y="65"/>
                  </a:cubicBezTo>
                  <a:cubicBezTo>
                    <a:pt x="49" y="65"/>
                    <a:pt x="55" y="63"/>
                    <a:pt x="60" y="60"/>
                  </a:cubicBezTo>
                  <a:cubicBezTo>
                    <a:pt x="66" y="73"/>
                    <a:pt x="66" y="73"/>
                    <a:pt x="66" y="73"/>
                  </a:cubicBezTo>
                  <a:cubicBezTo>
                    <a:pt x="58" y="78"/>
                    <a:pt x="49" y="80"/>
                    <a:pt x="39" y="80"/>
                  </a:cubicBezTo>
                  <a:cubicBezTo>
                    <a:pt x="11" y="80"/>
                    <a:pt x="0" y="61"/>
                    <a:pt x="0" y="40"/>
                  </a:cubicBezTo>
                  <a:close/>
                  <a:moveTo>
                    <a:pt x="49" y="32"/>
                  </a:moveTo>
                  <a:cubicBezTo>
                    <a:pt x="49" y="23"/>
                    <a:pt x="44" y="15"/>
                    <a:pt x="34" y="15"/>
                  </a:cubicBezTo>
                  <a:cubicBezTo>
                    <a:pt x="25" y="15"/>
                    <a:pt x="19" y="23"/>
                    <a:pt x="19" y="32"/>
                  </a:cubicBezTo>
                  <a:lnTo>
                    <a:pt x="49"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2" name="Freeform 22"/>
            <p:cNvSpPr>
              <a:spLocks/>
            </p:cNvSpPr>
            <p:nvPr userDrawn="1"/>
          </p:nvSpPr>
          <p:spPr bwMode="auto">
            <a:xfrm>
              <a:off x="8295656" y="5041088"/>
              <a:ext cx="37258" cy="56031"/>
            </a:xfrm>
            <a:custGeom>
              <a:avLst/>
              <a:gdLst>
                <a:gd name="T0" fmla="*/ 42 w 49"/>
                <a:gd name="T1" fmla="*/ 19 h 77"/>
                <a:gd name="T2" fmla="*/ 33 w 49"/>
                <a:gd name="T3" fmla="*/ 16 h 77"/>
                <a:gd name="T4" fmla="*/ 19 w 49"/>
                <a:gd name="T5" fmla="*/ 23 h 77"/>
                <a:gd name="T6" fmla="*/ 19 w 49"/>
                <a:gd name="T7" fmla="*/ 63 h 77"/>
                <a:gd name="T8" fmla="*/ 0 w 49"/>
                <a:gd name="T9" fmla="*/ 77 h 77"/>
                <a:gd name="T10" fmla="*/ 0 w 49"/>
                <a:gd name="T11" fmla="*/ 1 h 77"/>
                <a:gd name="T12" fmla="*/ 16 w 49"/>
                <a:gd name="T13" fmla="*/ 1 h 77"/>
                <a:gd name="T14" fmla="*/ 18 w 49"/>
                <a:gd name="T15" fmla="*/ 9 h 77"/>
                <a:gd name="T16" fmla="*/ 39 w 49"/>
                <a:gd name="T17" fmla="*/ 0 h 77"/>
                <a:gd name="T18" fmla="*/ 49 w 49"/>
                <a:gd name="T19" fmla="*/ 3 h 77"/>
                <a:gd name="T20" fmla="*/ 42 w 49"/>
                <a:gd name="T21"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77">
                  <a:moveTo>
                    <a:pt x="42" y="19"/>
                  </a:moveTo>
                  <a:cubicBezTo>
                    <a:pt x="39" y="17"/>
                    <a:pt x="36" y="16"/>
                    <a:pt x="33" y="16"/>
                  </a:cubicBezTo>
                  <a:cubicBezTo>
                    <a:pt x="29" y="16"/>
                    <a:pt x="24" y="18"/>
                    <a:pt x="19" y="23"/>
                  </a:cubicBezTo>
                  <a:cubicBezTo>
                    <a:pt x="19" y="2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2"/>
                    <a:pt x="32" y="0"/>
                    <a:pt x="39" y="0"/>
                  </a:cubicBezTo>
                  <a:cubicBezTo>
                    <a:pt x="42" y="0"/>
                    <a:pt x="46" y="1"/>
                    <a:pt x="49" y="3"/>
                  </a:cubicBezTo>
                  <a:lnTo>
                    <a:pt x="42" y="1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3" name="Freeform 23"/>
            <p:cNvSpPr>
              <a:spLocks noEditPoints="1"/>
            </p:cNvSpPr>
            <p:nvPr userDrawn="1"/>
          </p:nvSpPr>
          <p:spPr bwMode="auto">
            <a:xfrm>
              <a:off x="8178743" y="5040472"/>
              <a:ext cx="51712" cy="57878"/>
            </a:xfrm>
            <a:custGeom>
              <a:avLst/>
              <a:gdLst>
                <a:gd name="T0" fmla="*/ 0 w 68"/>
                <a:gd name="T1" fmla="*/ 40 h 80"/>
                <a:gd name="T2" fmla="*/ 34 w 68"/>
                <a:gd name="T3" fmla="*/ 0 h 80"/>
                <a:gd name="T4" fmla="*/ 68 w 68"/>
                <a:gd name="T5" fmla="*/ 41 h 80"/>
                <a:gd name="T6" fmla="*/ 68 w 68"/>
                <a:gd name="T7" fmla="*/ 46 h 80"/>
                <a:gd name="T8" fmla="*/ 19 w 68"/>
                <a:gd name="T9" fmla="*/ 46 h 80"/>
                <a:gd name="T10" fmla="*/ 41 w 68"/>
                <a:gd name="T11" fmla="*/ 65 h 80"/>
                <a:gd name="T12" fmla="*/ 60 w 68"/>
                <a:gd name="T13" fmla="*/ 60 h 80"/>
                <a:gd name="T14" fmla="*/ 66 w 68"/>
                <a:gd name="T15" fmla="*/ 73 h 80"/>
                <a:gd name="T16" fmla="*/ 39 w 68"/>
                <a:gd name="T17" fmla="*/ 80 h 80"/>
                <a:gd name="T18" fmla="*/ 0 w 68"/>
                <a:gd name="T19" fmla="*/ 40 h 80"/>
                <a:gd name="T20" fmla="*/ 49 w 68"/>
                <a:gd name="T21" fmla="*/ 32 h 80"/>
                <a:gd name="T22" fmla="*/ 34 w 68"/>
                <a:gd name="T23" fmla="*/ 15 h 80"/>
                <a:gd name="T24" fmla="*/ 19 w 68"/>
                <a:gd name="T25" fmla="*/ 32 h 80"/>
                <a:gd name="T26" fmla="*/ 49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3" y="0"/>
                    <a:pt x="34" y="0"/>
                  </a:cubicBezTo>
                  <a:cubicBezTo>
                    <a:pt x="56" y="0"/>
                    <a:pt x="68" y="16"/>
                    <a:pt x="68" y="41"/>
                  </a:cubicBezTo>
                  <a:cubicBezTo>
                    <a:pt x="68" y="46"/>
                    <a:pt x="68" y="46"/>
                    <a:pt x="68" y="46"/>
                  </a:cubicBezTo>
                  <a:cubicBezTo>
                    <a:pt x="19" y="46"/>
                    <a:pt x="19" y="46"/>
                    <a:pt x="19" y="46"/>
                  </a:cubicBezTo>
                  <a:cubicBezTo>
                    <a:pt x="20" y="57"/>
                    <a:pt x="28" y="65"/>
                    <a:pt x="41" y="65"/>
                  </a:cubicBezTo>
                  <a:cubicBezTo>
                    <a:pt x="49" y="65"/>
                    <a:pt x="55" y="63"/>
                    <a:pt x="60" y="60"/>
                  </a:cubicBezTo>
                  <a:cubicBezTo>
                    <a:pt x="66" y="73"/>
                    <a:pt x="66" y="73"/>
                    <a:pt x="66" y="73"/>
                  </a:cubicBezTo>
                  <a:cubicBezTo>
                    <a:pt x="58" y="78"/>
                    <a:pt x="48" y="80"/>
                    <a:pt x="39" y="80"/>
                  </a:cubicBezTo>
                  <a:cubicBezTo>
                    <a:pt x="11" y="80"/>
                    <a:pt x="0" y="61"/>
                    <a:pt x="0" y="40"/>
                  </a:cubicBezTo>
                  <a:close/>
                  <a:moveTo>
                    <a:pt x="49" y="32"/>
                  </a:moveTo>
                  <a:cubicBezTo>
                    <a:pt x="48" y="23"/>
                    <a:pt x="44" y="15"/>
                    <a:pt x="34" y="15"/>
                  </a:cubicBezTo>
                  <a:cubicBezTo>
                    <a:pt x="25" y="15"/>
                    <a:pt x="19" y="23"/>
                    <a:pt x="19" y="32"/>
                  </a:cubicBezTo>
                  <a:lnTo>
                    <a:pt x="49"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4" name="Freeform 24"/>
            <p:cNvSpPr>
              <a:spLocks noEditPoints="1"/>
            </p:cNvSpPr>
            <p:nvPr userDrawn="1"/>
          </p:nvSpPr>
          <p:spPr bwMode="auto">
            <a:xfrm>
              <a:off x="8236557" y="5040472"/>
              <a:ext cx="51390" cy="57878"/>
            </a:xfrm>
            <a:custGeom>
              <a:avLst/>
              <a:gdLst>
                <a:gd name="T0" fmla="*/ 0 w 68"/>
                <a:gd name="T1" fmla="*/ 40 h 80"/>
                <a:gd name="T2" fmla="*/ 34 w 68"/>
                <a:gd name="T3" fmla="*/ 0 h 80"/>
                <a:gd name="T4" fmla="*/ 68 w 68"/>
                <a:gd name="T5" fmla="*/ 41 h 80"/>
                <a:gd name="T6" fmla="*/ 68 w 68"/>
                <a:gd name="T7" fmla="*/ 46 h 80"/>
                <a:gd name="T8" fmla="*/ 19 w 68"/>
                <a:gd name="T9" fmla="*/ 46 h 80"/>
                <a:gd name="T10" fmla="*/ 40 w 68"/>
                <a:gd name="T11" fmla="*/ 65 h 80"/>
                <a:gd name="T12" fmla="*/ 60 w 68"/>
                <a:gd name="T13" fmla="*/ 60 h 80"/>
                <a:gd name="T14" fmla="*/ 65 w 68"/>
                <a:gd name="T15" fmla="*/ 73 h 80"/>
                <a:gd name="T16" fmla="*/ 39 w 68"/>
                <a:gd name="T17" fmla="*/ 80 h 80"/>
                <a:gd name="T18" fmla="*/ 0 w 68"/>
                <a:gd name="T19" fmla="*/ 40 h 80"/>
                <a:gd name="T20" fmla="*/ 48 w 68"/>
                <a:gd name="T21" fmla="*/ 32 h 80"/>
                <a:gd name="T22" fmla="*/ 34 w 68"/>
                <a:gd name="T23" fmla="*/ 15 h 80"/>
                <a:gd name="T24" fmla="*/ 19 w 68"/>
                <a:gd name="T25" fmla="*/ 32 h 80"/>
                <a:gd name="T26" fmla="*/ 48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2" y="0"/>
                    <a:pt x="34" y="0"/>
                  </a:cubicBezTo>
                  <a:cubicBezTo>
                    <a:pt x="55" y="0"/>
                    <a:pt x="68" y="16"/>
                    <a:pt x="68" y="41"/>
                  </a:cubicBezTo>
                  <a:cubicBezTo>
                    <a:pt x="68" y="46"/>
                    <a:pt x="68" y="46"/>
                    <a:pt x="68" y="46"/>
                  </a:cubicBezTo>
                  <a:cubicBezTo>
                    <a:pt x="19" y="46"/>
                    <a:pt x="19" y="46"/>
                    <a:pt x="19" y="46"/>
                  </a:cubicBezTo>
                  <a:cubicBezTo>
                    <a:pt x="19" y="57"/>
                    <a:pt x="28" y="65"/>
                    <a:pt x="40" y="65"/>
                  </a:cubicBezTo>
                  <a:cubicBezTo>
                    <a:pt x="48" y="65"/>
                    <a:pt x="54" y="63"/>
                    <a:pt x="60" y="60"/>
                  </a:cubicBezTo>
                  <a:cubicBezTo>
                    <a:pt x="65" y="73"/>
                    <a:pt x="65" y="73"/>
                    <a:pt x="65" y="73"/>
                  </a:cubicBezTo>
                  <a:cubicBezTo>
                    <a:pt x="57" y="78"/>
                    <a:pt x="48" y="80"/>
                    <a:pt x="39" y="80"/>
                  </a:cubicBezTo>
                  <a:cubicBezTo>
                    <a:pt x="11" y="80"/>
                    <a:pt x="0" y="61"/>
                    <a:pt x="0" y="40"/>
                  </a:cubicBezTo>
                  <a:close/>
                  <a:moveTo>
                    <a:pt x="48" y="32"/>
                  </a:moveTo>
                  <a:cubicBezTo>
                    <a:pt x="48" y="23"/>
                    <a:pt x="44" y="15"/>
                    <a:pt x="34" y="15"/>
                  </a:cubicBezTo>
                  <a:cubicBezTo>
                    <a:pt x="24" y="15"/>
                    <a:pt x="19" y="23"/>
                    <a:pt x="19" y="32"/>
                  </a:cubicBezTo>
                  <a:lnTo>
                    <a:pt x="48"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5" name="Freeform 25"/>
            <p:cNvSpPr>
              <a:spLocks/>
            </p:cNvSpPr>
            <p:nvPr userDrawn="1"/>
          </p:nvSpPr>
          <p:spPr bwMode="auto">
            <a:xfrm>
              <a:off x="8040631" y="5041088"/>
              <a:ext cx="37258" cy="56031"/>
            </a:xfrm>
            <a:custGeom>
              <a:avLst/>
              <a:gdLst>
                <a:gd name="T0" fmla="*/ 42 w 49"/>
                <a:gd name="T1" fmla="*/ 19 h 77"/>
                <a:gd name="T2" fmla="*/ 33 w 49"/>
                <a:gd name="T3" fmla="*/ 16 h 77"/>
                <a:gd name="T4" fmla="*/ 19 w 49"/>
                <a:gd name="T5" fmla="*/ 23 h 77"/>
                <a:gd name="T6" fmla="*/ 19 w 49"/>
                <a:gd name="T7" fmla="*/ 63 h 77"/>
                <a:gd name="T8" fmla="*/ 0 w 49"/>
                <a:gd name="T9" fmla="*/ 77 h 77"/>
                <a:gd name="T10" fmla="*/ 0 w 49"/>
                <a:gd name="T11" fmla="*/ 1 h 77"/>
                <a:gd name="T12" fmla="*/ 16 w 49"/>
                <a:gd name="T13" fmla="*/ 1 h 77"/>
                <a:gd name="T14" fmla="*/ 18 w 49"/>
                <a:gd name="T15" fmla="*/ 9 h 77"/>
                <a:gd name="T16" fmla="*/ 38 w 49"/>
                <a:gd name="T17" fmla="*/ 0 h 77"/>
                <a:gd name="T18" fmla="*/ 49 w 49"/>
                <a:gd name="T19" fmla="*/ 3 h 77"/>
                <a:gd name="T20" fmla="*/ 42 w 49"/>
                <a:gd name="T21"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77">
                  <a:moveTo>
                    <a:pt x="42" y="19"/>
                  </a:moveTo>
                  <a:cubicBezTo>
                    <a:pt x="39" y="17"/>
                    <a:pt x="35" y="16"/>
                    <a:pt x="33" y="16"/>
                  </a:cubicBezTo>
                  <a:cubicBezTo>
                    <a:pt x="29" y="16"/>
                    <a:pt x="24" y="18"/>
                    <a:pt x="19" y="23"/>
                  </a:cubicBezTo>
                  <a:cubicBezTo>
                    <a:pt x="19" y="2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2"/>
                    <a:pt x="31" y="0"/>
                    <a:pt x="38" y="0"/>
                  </a:cubicBezTo>
                  <a:cubicBezTo>
                    <a:pt x="42" y="0"/>
                    <a:pt x="46" y="1"/>
                    <a:pt x="49" y="3"/>
                  </a:cubicBezTo>
                  <a:lnTo>
                    <a:pt x="42" y="1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6" name="Freeform 26"/>
            <p:cNvSpPr>
              <a:spLocks/>
            </p:cNvSpPr>
            <p:nvPr userDrawn="1"/>
          </p:nvSpPr>
          <p:spPr bwMode="auto">
            <a:xfrm>
              <a:off x="8083992" y="5041088"/>
              <a:ext cx="86400" cy="56031"/>
            </a:xfrm>
            <a:custGeom>
              <a:avLst/>
              <a:gdLst>
                <a:gd name="T0" fmla="*/ 114 w 114"/>
                <a:gd name="T1" fmla="*/ 25 h 77"/>
                <a:gd name="T2" fmla="*/ 114 w 114"/>
                <a:gd name="T3" fmla="*/ 63 h 77"/>
                <a:gd name="T4" fmla="*/ 95 w 114"/>
                <a:gd name="T5" fmla="*/ 77 h 77"/>
                <a:gd name="T6" fmla="*/ 95 w 114"/>
                <a:gd name="T7" fmla="*/ 31 h 77"/>
                <a:gd name="T8" fmla="*/ 84 w 114"/>
                <a:gd name="T9" fmla="*/ 16 h 77"/>
                <a:gd name="T10" fmla="*/ 66 w 114"/>
                <a:gd name="T11" fmla="*/ 23 h 77"/>
                <a:gd name="T12" fmla="*/ 66 w 114"/>
                <a:gd name="T13" fmla="*/ 63 h 77"/>
                <a:gd name="T14" fmla="*/ 66 w 114"/>
                <a:gd name="T15" fmla="*/ 63 h 77"/>
                <a:gd name="T16" fmla="*/ 47 w 114"/>
                <a:gd name="T17" fmla="*/ 77 h 77"/>
                <a:gd name="T18" fmla="*/ 47 w 114"/>
                <a:gd name="T19" fmla="*/ 31 h 77"/>
                <a:gd name="T20" fmla="*/ 37 w 114"/>
                <a:gd name="T21" fmla="*/ 16 h 77"/>
                <a:gd name="T22" fmla="*/ 19 w 114"/>
                <a:gd name="T23" fmla="*/ 23 h 77"/>
                <a:gd name="T24" fmla="*/ 19 w 114"/>
                <a:gd name="T25" fmla="*/ 63 h 77"/>
                <a:gd name="T26" fmla="*/ 19 w 114"/>
                <a:gd name="T27" fmla="*/ 63 h 77"/>
                <a:gd name="T28" fmla="*/ 0 w 114"/>
                <a:gd name="T29" fmla="*/ 77 h 77"/>
                <a:gd name="T30" fmla="*/ 0 w 114"/>
                <a:gd name="T31" fmla="*/ 1 h 77"/>
                <a:gd name="T32" fmla="*/ 16 w 114"/>
                <a:gd name="T33" fmla="*/ 1 h 77"/>
                <a:gd name="T34" fmla="*/ 18 w 114"/>
                <a:gd name="T35" fmla="*/ 9 h 77"/>
                <a:gd name="T36" fmla="*/ 43 w 114"/>
                <a:gd name="T37" fmla="*/ 0 h 77"/>
                <a:gd name="T38" fmla="*/ 63 w 114"/>
                <a:gd name="T39" fmla="*/ 11 h 77"/>
                <a:gd name="T40" fmla="*/ 89 w 114"/>
                <a:gd name="T41" fmla="*/ 0 h 77"/>
                <a:gd name="T42" fmla="*/ 114 w 114"/>
                <a:gd name="T43" fmla="*/ 2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77">
                  <a:moveTo>
                    <a:pt x="114" y="25"/>
                  </a:moveTo>
                  <a:cubicBezTo>
                    <a:pt x="114" y="63"/>
                    <a:pt x="114" y="63"/>
                    <a:pt x="114" y="63"/>
                  </a:cubicBezTo>
                  <a:cubicBezTo>
                    <a:pt x="114" y="77"/>
                    <a:pt x="95" y="77"/>
                    <a:pt x="95" y="77"/>
                  </a:cubicBezTo>
                  <a:cubicBezTo>
                    <a:pt x="95" y="31"/>
                    <a:pt x="95" y="31"/>
                    <a:pt x="95" y="31"/>
                  </a:cubicBezTo>
                  <a:cubicBezTo>
                    <a:pt x="95" y="22"/>
                    <a:pt x="93" y="16"/>
                    <a:pt x="84" y="16"/>
                  </a:cubicBezTo>
                  <a:cubicBezTo>
                    <a:pt x="77" y="16"/>
                    <a:pt x="71" y="19"/>
                    <a:pt x="66" y="23"/>
                  </a:cubicBezTo>
                  <a:cubicBezTo>
                    <a:pt x="66" y="63"/>
                    <a:pt x="66" y="63"/>
                    <a:pt x="66" y="63"/>
                  </a:cubicBezTo>
                  <a:cubicBezTo>
                    <a:pt x="66" y="63"/>
                    <a:pt x="66" y="49"/>
                    <a:pt x="66" y="63"/>
                  </a:cubicBezTo>
                  <a:cubicBezTo>
                    <a:pt x="66" y="77"/>
                    <a:pt x="47" y="77"/>
                    <a:pt x="47" y="77"/>
                  </a:cubicBezTo>
                  <a:cubicBezTo>
                    <a:pt x="47" y="31"/>
                    <a:pt x="47" y="31"/>
                    <a:pt x="47" y="31"/>
                  </a:cubicBezTo>
                  <a:cubicBezTo>
                    <a:pt x="47" y="23"/>
                    <a:pt x="46" y="16"/>
                    <a:pt x="37" y="16"/>
                  </a:cubicBezTo>
                  <a:cubicBezTo>
                    <a:pt x="30" y="16"/>
                    <a:pt x="19" y="23"/>
                    <a:pt x="19" y="23"/>
                  </a:cubicBezTo>
                  <a:cubicBezTo>
                    <a:pt x="19" y="63"/>
                    <a:pt x="19" y="63"/>
                    <a:pt x="19" y="63"/>
                  </a:cubicBezTo>
                  <a:cubicBezTo>
                    <a:pt x="19" y="6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3"/>
                    <a:pt x="34" y="0"/>
                    <a:pt x="43" y="0"/>
                  </a:cubicBezTo>
                  <a:cubicBezTo>
                    <a:pt x="52" y="0"/>
                    <a:pt x="59" y="4"/>
                    <a:pt x="63" y="11"/>
                  </a:cubicBezTo>
                  <a:cubicBezTo>
                    <a:pt x="71" y="3"/>
                    <a:pt x="81" y="0"/>
                    <a:pt x="89" y="0"/>
                  </a:cubicBezTo>
                  <a:cubicBezTo>
                    <a:pt x="102" y="0"/>
                    <a:pt x="114" y="6"/>
                    <a:pt x="114" y="25"/>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7" name="Freeform 27"/>
            <p:cNvSpPr>
              <a:spLocks/>
            </p:cNvSpPr>
            <p:nvPr userDrawn="1"/>
          </p:nvSpPr>
          <p:spPr bwMode="auto">
            <a:xfrm>
              <a:off x="7908622" y="5019846"/>
              <a:ext cx="77407" cy="77889"/>
            </a:xfrm>
            <a:custGeom>
              <a:avLst/>
              <a:gdLst>
                <a:gd name="T0" fmla="*/ 43 w 102"/>
                <a:gd name="T1" fmla="*/ 107 h 107"/>
                <a:gd name="T2" fmla="*/ 65 w 102"/>
                <a:gd name="T3" fmla="*/ 91 h 107"/>
                <a:gd name="T4" fmla="*/ 102 w 102"/>
                <a:gd name="T5" fmla="*/ 0 h 107"/>
                <a:gd name="T6" fmla="*/ 81 w 102"/>
                <a:gd name="T7" fmla="*/ 0 h 107"/>
                <a:gd name="T8" fmla="*/ 51 w 102"/>
                <a:gd name="T9" fmla="*/ 78 h 107"/>
                <a:gd name="T10" fmla="*/ 51 w 102"/>
                <a:gd name="T11" fmla="*/ 78 h 107"/>
                <a:gd name="T12" fmla="*/ 21 w 102"/>
                <a:gd name="T13" fmla="*/ 0 h 107"/>
                <a:gd name="T14" fmla="*/ 0 w 102"/>
                <a:gd name="T15" fmla="*/ 0 h 107"/>
                <a:gd name="T16" fmla="*/ 43 w 102"/>
                <a:gd name="T17"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107">
                  <a:moveTo>
                    <a:pt x="43" y="107"/>
                  </a:moveTo>
                  <a:cubicBezTo>
                    <a:pt x="57" y="107"/>
                    <a:pt x="61" y="101"/>
                    <a:pt x="65" y="91"/>
                  </a:cubicBezTo>
                  <a:cubicBezTo>
                    <a:pt x="102" y="0"/>
                    <a:pt x="102" y="0"/>
                    <a:pt x="102" y="0"/>
                  </a:cubicBezTo>
                  <a:cubicBezTo>
                    <a:pt x="81" y="0"/>
                    <a:pt x="81" y="0"/>
                    <a:pt x="81" y="0"/>
                  </a:cubicBezTo>
                  <a:cubicBezTo>
                    <a:pt x="51" y="78"/>
                    <a:pt x="51" y="78"/>
                    <a:pt x="51" y="78"/>
                  </a:cubicBezTo>
                  <a:cubicBezTo>
                    <a:pt x="51" y="78"/>
                    <a:pt x="51" y="78"/>
                    <a:pt x="51" y="78"/>
                  </a:cubicBezTo>
                  <a:cubicBezTo>
                    <a:pt x="21" y="0"/>
                    <a:pt x="21" y="0"/>
                    <a:pt x="21" y="0"/>
                  </a:cubicBezTo>
                  <a:cubicBezTo>
                    <a:pt x="0" y="0"/>
                    <a:pt x="0" y="0"/>
                    <a:pt x="0" y="0"/>
                  </a:cubicBezTo>
                  <a:cubicBezTo>
                    <a:pt x="43" y="107"/>
                    <a:pt x="43" y="107"/>
                    <a:pt x="43" y="10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sp>
        <p:nvSpPr>
          <p:cNvPr id="51" name="Text Placeholder 2"/>
          <p:cNvSpPr>
            <a:spLocks noGrp="1"/>
          </p:cNvSpPr>
          <p:nvPr>
            <p:ph type="body" sz="quarter" idx="25" hasCustomPrompt="1"/>
          </p:nvPr>
        </p:nvSpPr>
        <p:spPr>
          <a:xfrm>
            <a:off x="4727636" y="4807465"/>
            <a:ext cx="1160462" cy="341313"/>
          </a:xfrm>
          <a:prstGeom prst="rect">
            <a:avLst/>
          </a:prstGeom>
        </p:spPr>
        <p:txBody>
          <a:bodyPr anchor="ctr"/>
          <a:lstStyle>
            <a:lvl1pPr marL="0" indent="0" algn="ctr">
              <a:buNone/>
              <a:defRPr sz="800">
                <a:solidFill>
                  <a:schemeClr val="bg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grpSp>
        <p:nvGrpSpPr>
          <p:cNvPr id="56" name="Group 55"/>
          <p:cNvGrpSpPr/>
          <p:nvPr userDrawn="1"/>
        </p:nvGrpSpPr>
        <p:grpSpPr>
          <a:xfrm>
            <a:off x="7686461" y="4906654"/>
            <a:ext cx="1124815" cy="151147"/>
            <a:chOff x="7686461" y="4581466"/>
            <a:chExt cx="1124815" cy="151147"/>
          </a:xfrm>
          <a:solidFill>
            <a:schemeClr val="bg1"/>
          </a:solidFill>
        </p:grpSpPr>
        <p:sp>
          <p:nvSpPr>
            <p:cNvPr id="57"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8"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9"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0"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1"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2"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3"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4"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5"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6"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9"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70"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71"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72"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73"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grpSp>
      <p:sp>
        <p:nvSpPr>
          <p:cNvPr id="50"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solidFill>
                  <a:schemeClr val="accent4">
                    <a:lumMod val="50000"/>
                  </a:schemeClr>
                </a:solidFill>
                <a:latin typeface="+mn-lt"/>
              </a:rPr>
              <a:t>Private and Confidental</a:t>
            </a:r>
            <a:endParaRPr lang="pt-BR" sz="500" dirty="0">
              <a:solidFill>
                <a:schemeClr val="accent4">
                  <a:lumMod val="50000"/>
                </a:schemeClr>
              </a:solidFill>
              <a:latin typeface="+mn-lt"/>
            </a:endParaRPr>
          </a:p>
        </p:txBody>
      </p:sp>
    </p:spTree>
    <p:extLst>
      <p:ext uri="{BB962C8B-B14F-4D97-AF65-F5344CB8AC3E}">
        <p14:creationId xmlns:p14="http://schemas.microsoft.com/office/powerpoint/2010/main" val="149049224"/>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V_MB_Slate3">
    <p:bg>
      <p:bgPr>
        <a:solidFill>
          <a:schemeClr val="bg1"/>
        </a:solidFill>
        <a:effectLst/>
      </p:bgPr>
    </p:bg>
    <p:spTree>
      <p:nvGrpSpPr>
        <p:cNvPr id="1" name=""/>
        <p:cNvGrpSpPr/>
        <p:nvPr/>
      </p:nvGrpSpPr>
      <p:grpSpPr>
        <a:xfrm>
          <a:off x="0" y="0"/>
          <a:ext cx="0" cy="0"/>
          <a:chOff x="0" y="0"/>
          <a:chExt cx="0" cy="0"/>
        </a:xfrm>
      </p:grpSpPr>
      <p:sp>
        <p:nvSpPr>
          <p:cNvPr id="31" name="Rectangle 30"/>
          <p:cNvSpPr/>
          <p:nvPr userDrawn="1"/>
        </p:nvSpPr>
        <p:spPr>
          <a:xfrm>
            <a:off x="0" y="0"/>
            <a:ext cx="9144000" cy="5148263"/>
          </a:xfrm>
          <a:prstGeom prst="rect">
            <a:avLst/>
          </a:prstGeom>
          <a:solidFill>
            <a:srgbClr val="4B4E53"/>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en-GB" sz="1050" smtClean="0">
              <a:solidFill>
                <a:schemeClr val="bg1"/>
              </a:solidFill>
              <a:latin typeface="Arial" panose="020B0604020202020204" pitchFamily="34" charset="0"/>
              <a:cs typeface="Arial" panose="020B0604020202020204" pitchFamily="34" charset="0"/>
            </a:endParaRPr>
          </a:p>
        </p:txBody>
      </p:sp>
      <p:pic>
        <p:nvPicPr>
          <p:cNvPr id="33" name="Picture 32" descr="cookie_white.png"/>
          <p:cNvPicPr>
            <a:picLocks noChangeAspect="1"/>
          </p:cNvPicPr>
          <p:nvPr userDrawn="1"/>
        </p:nvPicPr>
        <p:blipFill rotWithShape="1">
          <a:blip r:embed="rId2" cstate="screen">
            <a:alphaModFix amt="16000"/>
            <a:extLst>
              <a:ext uri="{28A0092B-C50C-407E-A947-70E740481C1C}">
                <a14:useLocalDpi xmlns:a14="http://schemas.microsoft.com/office/drawing/2010/main"/>
              </a:ext>
            </a:extLst>
          </a:blip>
          <a:srcRect/>
          <a:stretch/>
        </p:blipFill>
        <p:spPr>
          <a:xfrm flipH="1">
            <a:off x="5149029" y="2289839"/>
            <a:ext cx="4020091" cy="2880000"/>
          </a:xfrm>
          <a:prstGeom prst="rect">
            <a:avLst/>
          </a:prstGeom>
        </p:spPr>
      </p:pic>
      <p:cxnSp>
        <p:nvCxnSpPr>
          <p:cNvPr id="32" name="Straight Connector 31"/>
          <p:cNvCxnSpPr/>
          <p:nvPr userDrawn="1"/>
        </p:nvCxnSpPr>
        <p:spPr>
          <a:xfrm>
            <a:off x="343365" y="470176"/>
            <a:ext cx="8460000" cy="0"/>
          </a:xfrm>
          <a:prstGeom prst="line">
            <a:avLst/>
          </a:prstGeom>
          <a:ln w="6350" cmpd="sng">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343365" y="4801146"/>
            <a:ext cx="8460000" cy="0"/>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sp>
        <p:nvSpPr>
          <p:cNvPr id="67"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rgbClr val="FFFFFF"/>
                </a:solidFill>
                <a:latin typeface="+mn-lt"/>
              </a:defRPr>
            </a:lvl1pPr>
          </a:lstStyle>
          <a:p>
            <a:fld id="{19AB4E72-7858-48F1-A40D-12FF09E4BFB8}" type="slidenum">
              <a:rPr lang="en-GB" smtClean="0"/>
              <a:pPr/>
              <a:t>‹Nº›</a:t>
            </a:fld>
            <a:endParaRPr lang="en-GB"/>
          </a:p>
        </p:txBody>
      </p:sp>
      <p:sp>
        <p:nvSpPr>
          <p:cNvPr id="36" name="Title 1"/>
          <p:cNvSpPr>
            <a:spLocks noGrp="1"/>
          </p:cNvSpPr>
          <p:nvPr>
            <p:ph type="ctrTitle" hasCustomPrompt="1"/>
          </p:nvPr>
        </p:nvSpPr>
        <p:spPr>
          <a:xfrm>
            <a:off x="343365" y="2867487"/>
            <a:ext cx="8460000" cy="443198"/>
          </a:xfrm>
          <a:prstGeom prst="rect">
            <a:avLst/>
          </a:prstGeom>
        </p:spPr>
        <p:txBody>
          <a:bodyPr lIns="0" tIns="0" rIns="0" bIns="0" anchor="b"/>
          <a:lstStyle>
            <a:lvl1pPr>
              <a:lnSpc>
                <a:spcPct val="90000"/>
              </a:lnSpc>
              <a:defRPr sz="3200" b="0">
                <a:solidFill>
                  <a:schemeClr val="bg1"/>
                </a:solidFill>
              </a:defRPr>
            </a:lvl1pPr>
          </a:lstStyle>
          <a:p>
            <a:r>
              <a:rPr lang="en-US" dirty="0" smtClean="0"/>
              <a:t>Click to edit Master title Style</a:t>
            </a:r>
            <a:endParaRPr lang="en-US" dirty="0"/>
          </a:p>
        </p:txBody>
      </p:sp>
      <p:sp>
        <p:nvSpPr>
          <p:cNvPr id="37" name="Subtitle 2"/>
          <p:cNvSpPr>
            <a:spLocks noGrp="1"/>
          </p:cNvSpPr>
          <p:nvPr>
            <p:ph type="subTitle" idx="1" hasCustomPrompt="1"/>
          </p:nvPr>
        </p:nvSpPr>
        <p:spPr>
          <a:xfrm>
            <a:off x="343364" y="3474100"/>
            <a:ext cx="8460000" cy="202165"/>
          </a:xfrm>
          <a:prstGeom prst="rect">
            <a:avLst/>
          </a:prstGeom>
        </p:spPr>
        <p:txBody>
          <a:bodyPr lIns="0" tIns="0" rIns="0" bIns="0">
            <a:noAutofit/>
          </a:bodyPr>
          <a:lstStyle>
            <a:lvl1pPr marL="0" indent="0" algn="l">
              <a:buNone/>
              <a:defRPr sz="1400">
                <a:solidFill>
                  <a:schemeClr val="tx2"/>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cxnSp>
        <p:nvCxnSpPr>
          <p:cNvPr id="38" name="Straight Connector 37"/>
          <p:cNvCxnSpPr/>
          <p:nvPr userDrawn="1"/>
        </p:nvCxnSpPr>
        <p:spPr>
          <a:xfrm>
            <a:off x="346086" y="3395058"/>
            <a:ext cx="8460000" cy="0"/>
          </a:xfrm>
          <a:prstGeom prst="line">
            <a:avLst/>
          </a:prstGeom>
          <a:ln w="12700" cmpd="sng">
            <a:solidFill>
              <a:schemeClr val="bg1"/>
            </a:solidFill>
          </a:ln>
        </p:spPr>
        <p:style>
          <a:lnRef idx="1">
            <a:schemeClr val="accent1"/>
          </a:lnRef>
          <a:fillRef idx="0">
            <a:schemeClr val="accent1"/>
          </a:fillRef>
          <a:effectRef idx="0">
            <a:schemeClr val="accent1"/>
          </a:effectRef>
          <a:fontRef idx="minor">
            <a:schemeClr val="tx1"/>
          </a:fontRef>
        </p:style>
      </p:cxnSp>
      <p:grpSp>
        <p:nvGrpSpPr>
          <p:cNvPr id="40" name="Group 39"/>
          <p:cNvGrpSpPr/>
          <p:nvPr userDrawn="1"/>
        </p:nvGrpSpPr>
        <p:grpSpPr>
          <a:xfrm>
            <a:off x="6222147" y="4864376"/>
            <a:ext cx="1123200" cy="233974"/>
            <a:chOff x="7665803" y="4864376"/>
            <a:chExt cx="1123200" cy="233974"/>
          </a:xfrm>
          <a:solidFill>
            <a:schemeClr val="bg1"/>
          </a:solidFill>
        </p:grpSpPr>
        <p:sp>
          <p:nvSpPr>
            <p:cNvPr id="41" name="Freeform 6"/>
            <p:cNvSpPr>
              <a:spLocks/>
            </p:cNvSpPr>
            <p:nvPr userDrawn="1"/>
          </p:nvSpPr>
          <p:spPr bwMode="auto">
            <a:xfrm>
              <a:off x="8119644" y="4924717"/>
              <a:ext cx="103102" cy="66806"/>
            </a:xfrm>
            <a:custGeom>
              <a:avLst/>
              <a:gdLst>
                <a:gd name="T0" fmla="*/ 111 w 136"/>
                <a:gd name="T1" fmla="*/ 72 h 92"/>
                <a:gd name="T2" fmla="*/ 87 w 136"/>
                <a:gd name="T3" fmla="*/ 88 h 92"/>
                <a:gd name="T4" fmla="*/ 68 w 136"/>
                <a:gd name="T5" fmla="*/ 28 h 92"/>
                <a:gd name="T6" fmla="*/ 67 w 136"/>
                <a:gd name="T7" fmla="*/ 28 h 92"/>
                <a:gd name="T8" fmla="*/ 53 w 136"/>
                <a:gd name="T9" fmla="*/ 72 h 92"/>
                <a:gd name="T10" fmla="*/ 31 w 136"/>
                <a:gd name="T11" fmla="*/ 88 h 92"/>
                <a:gd name="T12" fmla="*/ 0 w 136"/>
                <a:gd name="T13" fmla="*/ 0 h 92"/>
                <a:gd name="T14" fmla="*/ 22 w 136"/>
                <a:gd name="T15" fmla="*/ 0 h 92"/>
                <a:gd name="T16" fmla="*/ 41 w 136"/>
                <a:gd name="T17" fmla="*/ 60 h 92"/>
                <a:gd name="T18" fmla="*/ 41 w 136"/>
                <a:gd name="T19" fmla="*/ 60 h 92"/>
                <a:gd name="T20" fmla="*/ 60 w 136"/>
                <a:gd name="T21" fmla="*/ 0 h 92"/>
                <a:gd name="T22" fmla="*/ 77 w 136"/>
                <a:gd name="T23" fmla="*/ 0 h 92"/>
                <a:gd name="T24" fmla="*/ 96 w 136"/>
                <a:gd name="T25" fmla="*/ 60 h 92"/>
                <a:gd name="T26" fmla="*/ 97 w 136"/>
                <a:gd name="T27" fmla="*/ 60 h 92"/>
                <a:gd name="T28" fmla="*/ 115 w 136"/>
                <a:gd name="T29" fmla="*/ 0 h 92"/>
                <a:gd name="T30" fmla="*/ 136 w 136"/>
                <a:gd name="T31" fmla="*/ 0 h 92"/>
                <a:gd name="T32" fmla="*/ 111 w 136"/>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 h="92">
                  <a:moveTo>
                    <a:pt x="111" y="72"/>
                  </a:moveTo>
                  <a:cubicBezTo>
                    <a:pt x="103" y="92"/>
                    <a:pt x="87" y="88"/>
                    <a:pt x="87" y="88"/>
                  </a:cubicBezTo>
                  <a:cubicBezTo>
                    <a:pt x="68" y="28"/>
                    <a:pt x="68" y="28"/>
                    <a:pt x="68" y="28"/>
                  </a:cubicBezTo>
                  <a:cubicBezTo>
                    <a:pt x="67" y="28"/>
                    <a:pt x="67" y="28"/>
                    <a:pt x="67" y="28"/>
                  </a:cubicBezTo>
                  <a:cubicBezTo>
                    <a:pt x="67" y="28"/>
                    <a:pt x="58"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6" y="60"/>
                    <a:pt x="96" y="60"/>
                    <a:pt x="96" y="60"/>
                  </a:cubicBezTo>
                  <a:cubicBezTo>
                    <a:pt x="97" y="60"/>
                    <a:pt x="97" y="60"/>
                    <a:pt x="97" y="60"/>
                  </a:cubicBezTo>
                  <a:cubicBezTo>
                    <a:pt x="115" y="0"/>
                    <a:pt x="115" y="0"/>
                    <a:pt x="115" y="0"/>
                  </a:cubicBezTo>
                  <a:cubicBezTo>
                    <a:pt x="136" y="0"/>
                    <a:pt x="136" y="0"/>
                    <a:pt x="136" y="0"/>
                  </a:cubicBezTo>
                  <a:cubicBezTo>
                    <a:pt x="136"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42" name="Freeform 7"/>
            <p:cNvSpPr>
              <a:spLocks noEditPoints="1"/>
            </p:cNvSpPr>
            <p:nvPr userDrawn="1"/>
          </p:nvSpPr>
          <p:spPr bwMode="auto">
            <a:xfrm>
              <a:off x="8225958" y="4923177"/>
              <a:ext cx="57493" cy="66190"/>
            </a:xfrm>
            <a:custGeom>
              <a:avLst/>
              <a:gdLst>
                <a:gd name="T0" fmla="*/ 57 w 76"/>
                <a:gd name="T1" fmla="*/ 90 h 91"/>
                <a:gd name="T2" fmla="*/ 53 w 76"/>
                <a:gd name="T3" fmla="*/ 81 h 91"/>
                <a:gd name="T4" fmla="*/ 28 w 76"/>
                <a:gd name="T5" fmla="*/ 91 h 91"/>
                <a:gd name="T6" fmla="*/ 0 w 76"/>
                <a:gd name="T7" fmla="*/ 63 h 91"/>
                <a:gd name="T8" fmla="*/ 36 w 76"/>
                <a:gd name="T9" fmla="*/ 34 h 91"/>
                <a:gd name="T10" fmla="*/ 51 w 76"/>
                <a:gd name="T11" fmla="*/ 34 h 91"/>
                <a:gd name="T12" fmla="*/ 51 w 76"/>
                <a:gd name="T13" fmla="*/ 31 h 91"/>
                <a:gd name="T14" fmla="*/ 35 w 76"/>
                <a:gd name="T15" fmla="*/ 17 h 91"/>
                <a:gd name="T16" fmla="*/ 12 w 76"/>
                <a:gd name="T17" fmla="*/ 23 h 91"/>
                <a:gd name="T18" fmla="*/ 5 w 76"/>
                <a:gd name="T19" fmla="*/ 9 h 91"/>
                <a:gd name="T20" fmla="*/ 39 w 76"/>
                <a:gd name="T21" fmla="*/ 0 h 91"/>
                <a:gd name="T22" fmla="*/ 74 w 76"/>
                <a:gd name="T23" fmla="*/ 31 h 91"/>
                <a:gd name="T24" fmla="*/ 74 w 76"/>
                <a:gd name="T25" fmla="*/ 66 h 91"/>
                <a:gd name="T26" fmla="*/ 76 w 76"/>
                <a:gd name="T27" fmla="*/ 90 h 91"/>
                <a:gd name="T28" fmla="*/ 57 w 76"/>
                <a:gd name="T29" fmla="*/ 90 h 91"/>
                <a:gd name="T30" fmla="*/ 51 w 76"/>
                <a:gd name="T31" fmla="*/ 49 h 91"/>
                <a:gd name="T32" fmla="*/ 39 w 76"/>
                <a:gd name="T33" fmla="*/ 49 h 91"/>
                <a:gd name="T34" fmla="*/ 22 w 76"/>
                <a:gd name="T35" fmla="*/ 61 h 91"/>
                <a:gd name="T36" fmla="*/ 36 w 76"/>
                <a:gd name="T37" fmla="*/ 73 h 91"/>
                <a:gd name="T38" fmla="*/ 51 w 76"/>
                <a:gd name="T39" fmla="*/ 68 h 91"/>
                <a:gd name="T40" fmla="*/ 51 w 76"/>
                <a:gd name="T41" fmla="*/ 4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91">
                  <a:moveTo>
                    <a:pt x="57" y="90"/>
                  </a:moveTo>
                  <a:cubicBezTo>
                    <a:pt x="53" y="81"/>
                    <a:pt x="53" y="81"/>
                    <a:pt x="53" y="81"/>
                  </a:cubicBezTo>
                  <a:cubicBezTo>
                    <a:pt x="48" y="86"/>
                    <a:pt x="40" y="91"/>
                    <a:pt x="28" y="91"/>
                  </a:cubicBezTo>
                  <a:cubicBezTo>
                    <a:pt x="12" y="91"/>
                    <a:pt x="0" y="80"/>
                    <a:pt x="0" y="63"/>
                  </a:cubicBezTo>
                  <a:cubicBezTo>
                    <a:pt x="0" y="45"/>
                    <a:pt x="14" y="35"/>
                    <a:pt x="36" y="34"/>
                  </a:cubicBezTo>
                  <a:cubicBezTo>
                    <a:pt x="51" y="34"/>
                    <a:pt x="51" y="34"/>
                    <a:pt x="51" y="34"/>
                  </a:cubicBezTo>
                  <a:cubicBezTo>
                    <a:pt x="51" y="33"/>
                    <a:pt x="51" y="32"/>
                    <a:pt x="51" y="31"/>
                  </a:cubicBezTo>
                  <a:cubicBezTo>
                    <a:pt x="51" y="21"/>
                    <a:pt x="44" y="17"/>
                    <a:pt x="35" y="17"/>
                  </a:cubicBezTo>
                  <a:cubicBezTo>
                    <a:pt x="25" y="17"/>
                    <a:pt x="18" y="20"/>
                    <a:pt x="12" y="23"/>
                  </a:cubicBezTo>
                  <a:cubicBezTo>
                    <a:pt x="5" y="9"/>
                    <a:pt x="5" y="9"/>
                    <a:pt x="5" y="9"/>
                  </a:cubicBezTo>
                  <a:cubicBezTo>
                    <a:pt x="17" y="2"/>
                    <a:pt x="28" y="0"/>
                    <a:pt x="39" y="0"/>
                  </a:cubicBezTo>
                  <a:cubicBezTo>
                    <a:pt x="61" y="0"/>
                    <a:pt x="74" y="9"/>
                    <a:pt x="74" y="31"/>
                  </a:cubicBezTo>
                  <a:cubicBezTo>
                    <a:pt x="74" y="66"/>
                    <a:pt x="74" y="66"/>
                    <a:pt x="74" y="66"/>
                  </a:cubicBezTo>
                  <a:cubicBezTo>
                    <a:pt x="74" y="78"/>
                    <a:pt x="75" y="86"/>
                    <a:pt x="76" y="90"/>
                  </a:cubicBezTo>
                  <a:lnTo>
                    <a:pt x="57" y="90"/>
                  </a:lnTo>
                  <a:close/>
                  <a:moveTo>
                    <a:pt x="51" y="49"/>
                  </a:moveTo>
                  <a:cubicBezTo>
                    <a:pt x="39" y="49"/>
                    <a:pt x="39" y="49"/>
                    <a:pt x="39" y="49"/>
                  </a:cubicBezTo>
                  <a:cubicBezTo>
                    <a:pt x="27" y="50"/>
                    <a:pt x="22" y="54"/>
                    <a:pt x="22" y="61"/>
                  </a:cubicBezTo>
                  <a:cubicBezTo>
                    <a:pt x="22" y="68"/>
                    <a:pt x="27" y="73"/>
                    <a:pt x="36" y="73"/>
                  </a:cubicBezTo>
                  <a:cubicBezTo>
                    <a:pt x="44" y="73"/>
                    <a:pt x="49" y="70"/>
                    <a:pt x="51" y="68"/>
                  </a:cubicBezTo>
                  <a:lnTo>
                    <a:pt x="51" y="4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43" name="Freeform 8"/>
            <p:cNvSpPr>
              <a:spLocks noEditPoints="1"/>
            </p:cNvSpPr>
            <p:nvPr userDrawn="1"/>
          </p:nvSpPr>
          <p:spPr bwMode="auto">
            <a:xfrm>
              <a:off x="8342550" y="4892699"/>
              <a:ext cx="62311" cy="96668"/>
            </a:xfrm>
            <a:custGeom>
              <a:avLst/>
              <a:gdLst>
                <a:gd name="T0" fmla="*/ 47 w 82"/>
                <a:gd name="T1" fmla="*/ 133 h 133"/>
                <a:gd name="T2" fmla="*/ 0 w 82"/>
                <a:gd name="T3" fmla="*/ 88 h 133"/>
                <a:gd name="T4" fmla="*/ 48 w 82"/>
                <a:gd name="T5" fmla="*/ 42 h 133"/>
                <a:gd name="T6" fmla="*/ 59 w 82"/>
                <a:gd name="T7" fmla="*/ 42 h 133"/>
                <a:gd name="T8" fmla="*/ 60 w 82"/>
                <a:gd name="T9" fmla="*/ 0 h 133"/>
                <a:gd name="T10" fmla="*/ 82 w 82"/>
                <a:gd name="T11" fmla="*/ 0 h 133"/>
                <a:gd name="T12" fmla="*/ 81 w 82"/>
                <a:gd name="T13" fmla="*/ 126 h 133"/>
                <a:gd name="T14" fmla="*/ 47 w 82"/>
                <a:gd name="T15" fmla="*/ 133 h 133"/>
                <a:gd name="T16" fmla="*/ 59 w 82"/>
                <a:gd name="T17" fmla="*/ 60 h 133"/>
                <a:gd name="T18" fmla="*/ 49 w 82"/>
                <a:gd name="T19" fmla="*/ 59 h 133"/>
                <a:gd name="T20" fmla="*/ 22 w 82"/>
                <a:gd name="T21" fmla="*/ 87 h 133"/>
                <a:gd name="T22" fmla="*/ 49 w 82"/>
                <a:gd name="T23" fmla="*/ 114 h 133"/>
                <a:gd name="T24" fmla="*/ 59 w 82"/>
                <a:gd name="T25" fmla="*/ 113 h 133"/>
                <a:gd name="T26" fmla="*/ 59 w 82"/>
                <a:gd name="T27" fmla="*/ 6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3">
                  <a:moveTo>
                    <a:pt x="47" y="133"/>
                  </a:moveTo>
                  <a:cubicBezTo>
                    <a:pt x="21" y="133"/>
                    <a:pt x="0" y="117"/>
                    <a:pt x="0" y="88"/>
                  </a:cubicBezTo>
                  <a:cubicBezTo>
                    <a:pt x="0" y="61"/>
                    <a:pt x="20" y="42"/>
                    <a:pt x="48" y="42"/>
                  </a:cubicBezTo>
                  <a:cubicBezTo>
                    <a:pt x="52" y="42"/>
                    <a:pt x="56" y="42"/>
                    <a:pt x="59" y="42"/>
                  </a:cubicBezTo>
                  <a:cubicBezTo>
                    <a:pt x="60" y="0"/>
                    <a:pt x="60" y="0"/>
                    <a:pt x="60" y="0"/>
                  </a:cubicBezTo>
                  <a:cubicBezTo>
                    <a:pt x="82" y="0"/>
                    <a:pt x="82" y="0"/>
                    <a:pt x="82" y="0"/>
                  </a:cubicBezTo>
                  <a:cubicBezTo>
                    <a:pt x="81" y="126"/>
                    <a:pt x="81" y="126"/>
                    <a:pt x="81" y="126"/>
                  </a:cubicBezTo>
                  <a:cubicBezTo>
                    <a:pt x="73" y="130"/>
                    <a:pt x="62" y="133"/>
                    <a:pt x="47" y="133"/>
                  </a:cubicBezTo>
                  <a:close/>
                  <a:moveTo>
                    <a:pt x="59" y="60"/>
                  </a:moveTo>
                  <a:cubicBezTo>
                    <a:pt x="56" y="60"/>
                    <a:pt x="54" y="59"/>
                    <a:pt x="49" y="59"/>
                  </a:cubicBezTo>
                  <a:cubicBezTo>
                    <a:pt x="33" y="59"/>
                    <a:pt x="22" y="70"/>
                    <a:pt x="22" y="87"/>
                  </a:cubicBezTo>
                  <a:cubicBezTo>
                    <a:pt x="22" y="103"/>
                    <a:pt x="32" y="114"/>
                    <a:pt x="49" y="114"/>
                  </a:cubicBezTo>
                  <a:cubicBezTo>
                    <a:pt x="53" y="114"/>
                    <a:pt x="57" y="114"/>
                    <a:pt x="59" y="113"/>
                  </a:cubicBezTo>
                  <a:lnTo>
                    <a:pt x="59" y="60"/>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44" name="Freeform 9"/>
            <p:cNvSpPr>
              <a:spLocks/>
            </p:cNvSpPr>
            <p:nvPr userDrawn="1"/>
          </p:nvSpPr>
          <p:spPr bwMode="auto">
            <a:xfrm>
              <a:off x="8093949"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45" name="Freeform 10"/>
            <p:cNvSpPr>
              <a:spLocks/>
            </p:cNvSpPr>
            <p:nvPr userDrawn="1"/>
          </p:nvSpPr>
          <p:spPr bwMode="auto">
            <a:xfrm>
              <a:off x="8060545"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46" name="Freeform 11"/>
            <p:cNvSpPr>
              <a:spLocks/>
            </p:cNvSpPr>
            <p:nvPr userDrawn="1"/>
          </p:nvSpPr>
          <p:spPr bwMode="auto">
            <a:xfrm>
              <a:off x="8297262" y="4923177"/>
              <a:ext cx="43039" cy="66190"/>
            </a:xfrm>
            <a:custGeom>
              <a:avLst/>
              <a:gdLst>
                <a:gd name="T0" fmla="*/ 49 w 57"/>
                <a:gd name="T1" fmla="*/ 22 h 91"/>
                <a:gd name="T2" fmla="*/ 39 w 57"/>
                <a:gd name="T3" fmla="*/ 20 h 91"/>
                <a:gd name="T4" fmla="*/ 22 w 57"/>
                <a:gd name="T5" fmla="*/ 27 h 91"/>
                <a:gd name="T6" fmla="*/ 22 w 57"/>
                <a:gd name="T7" fmla="*/ 74 h 91"/>
                <a:gd name="T8" fmla="*/ 0 w 57"/>
                <a:gd name="T9" fmla="*/ 90 h 91"/>
                <a:gd name="T10" fmla="*/ 0 w 57"/>
                <a:gd name="T11" fmla="*/ 2 h 91"/>
                <a:gd name="T12" fmla="*/ 18 w 57"/>
                <a:gd name="T13" fmla="*/ 2 h 91"/>
                <a:gd name="T14" fmla="*/ 21 w 57"/>
                <a:gd name="T15" fmla="*/ 11 h 91"/>
                <a:gd name="T16" fmla="*/ 45 w 57"/>
                <a:gd name="T17" fmla="*/ 0 h 91"/>
                <a:gd name="T18" fmla="*/ 57 w 57"/>
                <a:gd name="T19" fmla="*/ 4 h 91"/>
                <a:gd name="T20" fmla="*/ 49 w 57"/>
                <a:gd name="T21" fmla="*/ 2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1">
                  <a:moveTo>
                    <a:pt x="49" y="22"/>
                  </a:moveTo>
                  <a:cubicBezTo>
                    <a:pt x="45" y="20"/>
                    <a:pt x="41" y="20"/>
                    <a:pt x="39" y="20"/>
                  </a:cubicBezTo>
                  <a:cubicBezTo>
                    <a:pt x="34" y="20"/>
                    <a:pt x="28" y="22"/>
                    <a:pt x="22" y="27"/>
                  </a:cubicBezTo>
                  <a:cubicBezTo>
                    <a:pt x="22" y="27"/>
                    <a:pt x="22" y="57"/>
                    <a:pt x="22" y="74"/>
                  </a:cubicBezTo>
                  <a:cubicBezTo>
                    <a:pt x="22" y="91"/>
                    <a:pt x="0" y="90"/>
                    <a:pt x="0" y="90"/>
                  </a:cubicBezTo>
                  <a:cubicBezTo>
                    <a:pt x="0" y="2"/>
                    <a:pt x="0" y="2"/>
                    <a:pt x="0" y="2"/>
                  </a:cubicBezTo>
                  <a:cubicBezTo>
                    <a:pt x="18" y="2"/>
                    <a:pt x="18" y="2"/>
                    <a:pt x="18"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47" name="Freeform 12"/>
            <p:cNvSpPr>
              <a:spLocks/>
            </p:cNvSpPr>
            <p:nvPr userDrawn="1"/>
          </p:nvSpPr>
          <p:spPr bwMode="auto">
            <a:xfrm>
              <a:off x="7907980" y="4892699"/>
              <a:ext cx="98605" cy="95129"/>
            </a:xfrm>
            <a:custGeom>
              <a:avLst/>
              <a:gdLst>
                <a:gd name="T0" fmla="*/ 106 w 130"/>
                <a:gd name="T1" fmla="*/ 131 h 131"/>
                <a:gd name="T2" fmla="*/ 106 w 130"/>
                <a:gd name="T3" fmla="*/ 53 h 131"/>
                <a:gd name="T4" fmla="*/ 107 w 130"/>
                <a:gd name="T5" fmla="*/ 39 h 131"/>
                <a:gd name="T6" fmla="*/ 106 w 130"/>
                <a:gd name="T7" fmla="*/ 39 h 131"/>
                <a:gd name="T8" fmla="*/ 99 w 130"/>
                <a:gd name="T9" fmla="*/ 52 h 131"/>
                <a:gd name="T10" fmla="*/ 72 w 130"/>
                <a:gd name="T11" fmla="*/ 93 h 131"/>
                <a:gd name="T12" fmla="*/ 60 w 130"/>
                <a:gd name="T13" fmla="*/ 93 h 131"/>
                <a:gd name="T14" fmla="*/ 32 w 130"/>
                <a:gd name="T15" fmla="*/ 51 h 131"/>
                <a:gd name="T16" fmla="*/ 24 w 130"/>
                <a:gd name="T17" fmla="*/ 39 h 131"/>
                <a:gd name="T18" fmla="*/ 23 w 130"/>
                <a:gd name="T19" fmla="*/ 39 h 131"/>
                <a:gd name="T20" fmla="*/ 24 w 130"/>
                <a:gd name="T21" fmla="*/ 52 h 131"/>
                <a:gd name="T22" fmla="*/ 24 w 130"/>
                <a:gd name="T23" fmla="*/ 131 h 131"/>
                <a:gd name="T24" fmla="*/ 0 w 130"/>
                <a:gd name="T25" fmla="*/ 131 h 131"/>
                <a:gd name="T26" fmla="*/ 0 w 130"/>
                <a:gd name="T27" fmla="*/ 0 h 131"/>
                <a:gd name="T28" fmla="*/ 22 w 130"/>
                <a:gd name="T29" fmla="*/ 0 h 131"/>
                <a:gd name="T30" fmla="*/ 58 w 130"/>
                <a:gd name="T31" fmla="*/ 52 h 131"/>
                <a:gd name="T32" fmla="*/ 66 w 130"/>
                <a:gd name="T33" fmla="*/ 66 h 131"/>
                <a:gd name="T34" fmla="*/ 67 w 130"/>
                <a:gd name="T35" fmla="*/ 66 h 131"/>
                <a:gd name="T36" fmla="*/ 75 w 130"/>
                <a:gd name="T37" fmla="*/ 52 h 131"/>
                <a:gd name="T38" fmla="*/ 108 w 130"/>
                <a:gd name="T39" fmla="*/ 0 h 131"/>
                <a:gd name="T40" fmla="*/ 130 w 130"/>
                <a:gd name="T41" fmla="*/ 0 h 131"/>
                <a:gd name="T42" fmla="*/ 130 w 130"/>
                <a:gd name="T43" fmla="*/ 131 h 131"/>
                <a:gd name="T44" fmla="*/ 106 w 130"/>
                <a:gd name="T45"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0" h="131">
                  <a:moveTo>
                    <a:pt x="106" y="131"/>
                  </a:moveTo>
                  <a:cubicBezTo>
                    <a:pt x="106" y="53"/>
                    <a:pt x="106" y="53"/>
                    <a:pt x="106" y="53"/>
                  </a:cubicBezTo>
                  <a:cubicBezTo>
                    <a:pt x="106" y="48"/>
                    <a:pt x="106" y="44"/>
                    <a:pt x="107" y="39"/>
                  </a:cubicBezTo>
                  <a:cubicBezTo>
                    <a:pt x="106" y="39"/>
                    <a:pt x="106" y="39"/>
                    <a:pt x="106" y="39"/>
                  </a:cubicBezTo>
                  <a:cubicBezTo>
                    <a:pt x="105" y="43"/>
                    <a:pt x="101" y="49"/>
                    <a:pt x="99" y="52"/>
                  </a:cubicBezTo>
                  <a:cubicBezTo>
                    <a:pt x="72" y="93"/>
                    <a:pt x="72" y="93"/>
                    <a:pt x="72" y="93"/>
                  </a:cubicBezTo>
                  <a:cubicBezTo>
                    <a:pt x="60" y="93"/>
                    <a:pt x="60" y="93"/>
                    <a:pt x="60" y="93"/>
                  </a:cubicBezTo>
                  <a:cubicBezTo>
                    <a:pt x="32" y="51"/>
                    <a:pt x="32" y="51"/>
                    <a:pt x="32" y="51"/>
                  </a:cubicBezTo>
                  <a:cubicBezTo>
                    <a:pt x="29" y="48"/>
                    <a:pt x="26" y="44"/>
                    <a:pt x="24" y="39"/>
                  </a:cubicBezTo>
                  <a:cubicBezTo>
                    <a:pt x="23" y="39"/>
                    <a:pt x="23" y="39"/>
                    <a:pt x="23" y="39"/>
                  </a:cubicBezTo>
                  <a:cubicBezTo>
                    <a:pt x="24" y="44"/>
                    <a:pt x="24" y="48"/>
                    <a:pt x="24" y="52"/>
                  </a:cubicBezTo>
                  <a:cubicBezTo>
                    <a:pt x="24" y="131"/>
                    <a:pt x="24" y="131"/>
                    <a:pt x="24" y="131"/>
                  </a:cubicBezTo>
                  <a:cubicBezTo>
                    <a:pt x="0" y="131"/>
                    <a:pt x="0" y="131"/>
                    <a:pt x="0" y="131"/>
                  </a:cubicBezTo>
                  <a:cubicBezTo>
                    <a:pt x="0" y="0"/>
                    <a:pt x="0" y="0"/>
                    <a:pt x="0" y="0"/>
                  </a:cubicBezTo>
                  <a:cubicBezTo>
                    <a:pt x="22" y="0"/>
                    <a:pt x="22" y="0"/>
                    <a:pt x="22" y="0"/>
                  </a:cubicBezTo>
                  <a:cubicBezTo>
                    <a:pt x="58" y="52"/>
                    <a:pt x="58" y="52"/>
                    <a:pt x="58" y="52"/>
                  </a:cubicBezTo>
                  <a:cubicBezTo>
                    <a:pt x="61" y="57"/>
                    <a:pt x="64" y="61"/>
                    <a:pt x="66" y="66"/>
                  </a:cubicBezTo>
                  <a:cubicBezTo>
                    <a:pt x="67" y="66"/>
                    <a:pt x="67" y="66"/>
                    <a:pt x="67" y="66"/>
                  </a:cubicBezTo>
                  <a:cubicBezTo>
                    <a:pt x="69" y="61"/>
                    <a:pt x="71" y="57"/>
                    <a:pt x="75" y="52"/>
                  </a:cubicBezTo>
                  <a:cubicBezTo>
                    <a:pt x="108" y="0"/>
                    <a:pt x="108" y="0"/>
                    <a:pt x="108" y="0"/>
                  </a:cubicBezTo>
                  <a:cubicBezTo>
                    <a:pt x="130" y="0"/>
                    <a:pt x="130" y="0"/>
                    <a:pt x="130" y="0"/>
                  </a:cubicBezTo>
                  <a:cubicBezTo>
                    <a:pt x="130" y="131"/>
                    <a:pt x="130" y="131"/>
                    <a:pt x="130" y="131"/>
                  </a:cubicBezTo>
                  <a:lnTo>
                    <a:pt x="106" y="131"/>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48" name="Freeform 13"/>
            <p:cNvSpPr>
              <a:spLocks/>
            </p:cNvSpPr>
            <p:nvPr userDrawn="1"/>
          </p:nvSpPr>
          <p:spPr bwMode="auto">
            <a:xfrm>
              <a:off x="7665803" y="4864376"/>
              <a:ext cx="100854" cy="148389"/>
            </a:xfrm>
            <a:custGeom>
              <a:avLst/>
              <a:gdLst>
                <a:gd name="T0" fmla="*/ 133 w 133"/>
                <a:gd name="T1" fmla="*/ 23 h 204"/>
                <a:gd name="T2" fmla="*/ 132 w 133"/>
                <a:gd name="T3" fmla="*/ 22 h 204"/>
                <a:gd name="T4" fmla="*/ 65 w 133"/>
                <a:gd name="T5" fmla="*/ 20 h 204"/>
                <a:gd name="T6" fmla="*/ 52 w 133"/>
                <a:gd name="T7" fmla="*/ 52 h 204"/>
                <a:gd name="T8" fmla="*/ 20 w 133"/>
                <a:gd name="T9" fmla="*/ 65 h 204"/>
                <a:gd name="T10" fmla="*/ 22 w 133"/>
                <a:gd name="T11" fmla="*/ 132 h 204"/>
                <a:gd name="T12" fmla="*/ 95 w 133"/>
                <a:gd name="T13" fmla="*/ 204 h 204"/>
                <a:gd name="T14" fmla="*/ 117 w 133"/>
                <a:gd name="T15" fmla="*/ 182 h 204"/>
                <a:gd name="T16" fmla="*/ 44 w 133"/>
                <a:gd name="T17" fmla="*/ 110 h 204"/>
                <a:gd name="T18" fmla="*/ 42 w 133"/>
                <a:gd name="T19" fmla="*/ 86 h 204"/>
                <a:gd name="T20" fmla="*/ 66 w 133"/>
                <a:gd name="T21" fmla="*/ 88 h 204"/>
                <a:gd name="T22" fmla="*/ 133 w 133"/>
                <a:gd name="T23" fmla="*/ 155 h 204"/>
                <a:gd name="T24" fmla="*/ 133 w 133"/>
                <a:gd name="T25" fmla="*/ 111 h 204"/>
                <a:gd name="T26" fmla="*/ 88 w 133"/>
                <a:gd name="T27" fmla="*/ 66 h 204"/>
                <a:gd name="T28" fmla="*/ 86 w 133"/>
                <a:gd name="T29" fmla="*/ 42 h 204"/>
                <a:gd name="T30" fmla="*/ 110 w 133"/>
                <a:gd name="T31" fmla="*/ 44 h 204"/>
                <a:gd name="T32" fmla="*/ 133 w 133"/>
                <a:gd name="T33" fmla="*/ 66 h 204"/>
                <a:gd name="T34" fmla="*/ 133 w 133"/>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204">
                  <a:moveTo>
                    <a:pt x="133" y="23"/>
                  </a:moveTo>
                  <a:cubicBezTo>
                    <a:pt x="132" y="22"/>
                    <a:pt x="132" y="22"/>
                    <a:pt x="132" y="22"/>
                  </a:cubicBezTo>
                  <a:cubicBezTo>
                    <a:pt x="110" y="0"/>
                    <a:pt x="82" y="2"/>
                    <a:pt x="65" y="20"/>
                  </a:cubicBezTo>
                  <a:cubicBezTo>
                    <a:pt x="53" y="32"/>
                    <a:pt x="51" y="46"/>
                    <a:pt x="52" y="52"/>
                  </a:cubicBezTo>
                  <a:cubicBezTo>
                    <a:pt x="47" y="51"/>
                    <a:pt x="32" y="52"/>
                    <a:pt x="20" y="65"/>
                  </a:cubicBezTo>
                  <a:cubicBezTo>
                    <a:pt x="3" y="82"/>
                    <a:pt x="0" y="110"/>
                    <a:pt x="22" y="132"/>
                  </a:cubicBezTo>
                  <a:cubicBezTo>
                    <a:pt x="95" y="204"/>
                    <a:pt x="95" y="204"/>
                    <a:pt x="95" y="204"/>
                  </a:cubicBezTo>
                  <a:cubicBezTo>
                    <a:pt x="117" y="182"/>
                    <a:pt x="117" y="182"/>
                    <a:pt x="117" y="182"/>
                  </a:cubicBezTo>
                  <a:cubicBezTo>
                    <a:pt x="44" y="110"/>
                    <a:pt x="44" y="110"/>
                    <a:pt x="44" y="110"/>
                  </a:cubicBezTo>
                  <a:cubicBezTo>
                    <a:pt x="35" y="101"/>
                    <a:pt x="36" y="91"/>
                    <a:pt x="42" y="86"/>
                  </a:cubicBezTo>
                  <a:cubicBezTo>
                    <a:pt x="47" y="80"/>
                    <a:pt x="58" y="79"/>
                    <a:pt x="66" y="88"/>
                  </a:cubicBezTo>
                  <a:cubicBezTo>
                    <a:pt x="133" y="155"/>
                    <a:pt x="133" y="155"/>
                    <a:pt x="133" y="155"/>
                  </a:cubicBezTo>
                  <a:cubicBezTo>
                    <a:pt x="133" y="111"/>
                    <a:pt x="133" y="111"/>
                    <a:pt x="133" y="111"/>
                  </a:cubicBezTo>
                  <a:cubicBezTo>
                    <a:pt x="88" y="66"/>
                    <a:pt x="88" y="66"/>
                    <a:pt x="88" y="66"/>
                  </a:cubicBezTo>
                  <a:cubicBezTo>
                    <a:pt x="80" y="57"/>
                    <a:pt x="80" y="47"/>
                    <a:pt x="86" y="42"/>
                  </a:cubicBezTo>
                  <a:cubicBezTo>
                    <a:pt x="92" y="36"/>
                    <a:pt x="102" y="35"/>
                    <a:pt x="110" y="44"/>
                  </a:cubicBezTo>
                  <a:cubicBezTo>
                    <a:pt x="133" y="66"/>
                    <a:pt x="133" y="66"/>
                    <a:pt x="133" y="66"/>
                  </a:cubicBezTo>
                  <a:lnTo>
                    <a:pt x="133"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49" name="Freeform 14"/>
            <p:cNvSpPr>
              <a:spLocks noEditPoints="1"/>
            </p:cNvSpPr>
            <p:nvPr userDrawn="1"/>
          </p:nvSpPr>
          <p:spPr bwMode="auto">
            <a:xfrm>
              <a:off x="8023287" y="4895470"/>
              <a:ext cx="20556" cy="93282"/>
            </a:xfrm>
            <a:custGeom>
              <a:avLst/>
              <a:gdLst>
                <a:gd name="T0" fmla="*/ 14 w 27"/>
                <a:gd name="T1" fmla="*/ 26 h 128"/>
                <a:gd name="T2" fmla="*/ 0 w 27"/>
                <a:gd name="T3" fmla="*/ 13 h 128"/>
                <a:gd name="T4" fmla="*/ 14 w 27"/>
                <a:gd name="T5" fmla="*/ 0 h 128"/>
                <a:gd name="T6" fmla="*/ 27 w 27"/>
                <a:gd name="T7" fmla="*/ 13 h 128"/>
                <a:gd name="T8" fmla="*/ 14 w 27"/>
                <a:gd name="T9" fmla="*/ 26 h 128"/>
                <a:gd name="T10" fmla="*/ 3 w 27"/>
                <a:gd name="T11" fmla="*/ 128 h 128"/>
                <a:gd name="T12" fmla="*/ 3 w 27"/>
                <a:gd name="T13" fmla="*/ 40 h 128"/>
                <a:gd name="T14" fmla="*/ 25 w 27"/>
                <a:gd name="T15" fmla="*/ 40 h 128"/>
                <a:gd name="T16" fmla="*/ 25 w 27"/>
                <a:gd name="T17" fmla="*/ 112 h 128"/>
                <a:gd name="T18" fmla="*/ 3 w 27"/>
                <a:gd name="T1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128">
                  <a:moveTo>
                    <a:pt x="14" y="26"/>
                  </a:moveTo>
                  <a:cubicBezTo>
                    <a:pt x="6" y="26"/>
                    <a:pt x="0" y="20"/>
                    <a:pt x="0" y="13"/>
                  </a:cubicBezTo>
                  <a:cubicBezTo>
                    <a:pt x="0" y="6"/>
                    <a:pt x="6" y="0"/>
                    <a:pt x="14" y="0"/>
                  </a:cubicBezTo>
                  <a:cubicBezTo>
                    <a:pt x="21" y="0"/>
                    <a:pt x="27" y="5"/>
                    <a:pt x="27" y="13"/>
                  </a:cubicBezTo>
                  <a:cubicBezTo>
                    <a:pt x="27" y="20"/>
                    <a:pt x="21" y="26"/>
                    <a:pt x="14" y="26"/>
                  </a:cubicBezTo>
                  <a:close/>
                  <a:moveTo>
                    <a:pt x="3" y="128"/>
                  </a:moveTo>
                  <a:cubicBezTo>
                    <a:pt x="3" y="40"/>
                    <a:pt x="3" y="40"/>
                    <a:pt x="3" y="40"/>
                  </a:cubicBezTo>
                  <a:cubicBezTo>
                    <a:pt x="25" y="40"/>
                    <a:pt x="25" y="40"/>
                    <a:pt x="25" y="40"/>
                  </a:cubicBezTo>
                  <a:cubicBezTo>
                    <a:pt x="25" y="40"/>
                    <a:pt x="25" y="95"/>
                    <a:pt x="25" y="112"/>
                  </a:cubicBezTo>
                  <a:cubicBezTo>
                    <a:pt x="25" y="128"/>
                    <a:pt x="3" y="128"/>
                    <a:pt x="3" y="1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50" name="Freeform 15"/>
            <p:cNvSpPr>
              <a:spLocks/>
            </p:cNvSpPr>
            <p:nvPr userDrawn="1"/>
          </p:nvSpPr>
          <p:spPr bwMode="auto">
            <a:xfrm>
              <a:off x="8615239" y="4924717"/>
              <a:ext cx="103744" cy="66806"/>
            </a:xfrm>
            <a:custGeom>
              <a:avLst/>
              <a:gdLst>
                <a:gd name="T0" fmla="*/ 111 w 137"/>
                <a:gd name="T1" fmla="*/ 72 h 92"/>
                <a:gd name="T2" fmla="*/ 88 w 137"/>
                <a:gd name="T3" fmla="*/ 88 h 92"/>
                <a:gd name="T4" fmla="*/ 68 w 137"/>
                <a:gd name="T5" fmla="*/ 28 h 92"/>
                <a:gd name="T6" fmla="*/ 68 w 137"/>
                <a:gd name="T7" fmla="*/ 28 h 92"/>
                <a:gd name="T8" fmla="*/ 53 w 137"/>
                <a:gd name="T9" fmla="*/ 72 h 92"/>
                <a:gd name="T10" fmla="*/ 31 w 137"/>
                <a:gd name="T11" fmla="*/ 88 h 92"/>
                <a:gd name="T12" fmla="*/ 0 w 137"/>
                <a:gd name="T13" fmla="*/ 0 h 92"/>
                <a:gd name="T14" fmla="*/ 22 w 137"/>
                <a:gd name="T15" fmla="*/ 0 h 92"/>
                <a:gd name="T16" fmla="*/ 41 w 137"/>
                <a:gd name="T17" fmla="*/ 60 h 92"/>
                <a:gd name="T18" fmla="*/ 41 w 137"/>
                <a:gd name="T19" fmla="*/ 60 h 92"/>
                <a:gd name="T20" fmla="*/ 60 w 137"/>
                <a:gd name="T21" fmla="*/ 0 h 92"/>
                <a:gd name="T22" fmla="*/ 77 w 137"/>
                <a:gd name="T23" fmla="*/ 0 h 92"/>
                <a:gd name="T24" fmla="*/ 97 w 137"/>
                <a:gd name="T25" fmla="*/ 60 h 92"/>
                <a:gd name="T26" fmla="*/ 97 w 137"/>
                <a:gd name="T27" fmla="*/ 60 h 92"/>
                <a:gd name="T28" fmla="*/ 115 w 137"/>
                <a:gd name="T29" fmla="*/ 0 h 92"/>
                <a:gd name="T30" fmla="*/ 137 w 137"/>
                <a:gd name="T31" fmla="*/ 0 h 92"/>
                <a:gd name="T32" fmla="*/ 111 w 137"/>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 h="92">
                  <a:moveTo>
                    <a:pt x="111" y="72"/>
                  </a:moveTo>
                  <a:cubicBezTo>
                    <a:pt x="104" y="92"/>
                    <a:pt x="88" y="88"/>
                    <a:pt x="88" y="88"/>
                  </a:cubicBezTo>
                  <a:cubicBezTo>
                    <a:pt x="68" y="28"/>
                    <a:pt x="68" y="28"/>
                    <a:pt x="68" y="28"/>
                  </a:cubicBezTo>
                  <a:cubicBezTo>
                    <a:pt x="68" y="28"/>
                    <a:pt x="68" y="28"/>
                    <a:pt x="68" y="28"/>
                  </a:cubicBezTo>
                  <a:cubicBezTo>
                    <a:pt x="68" y="28"/>
                    <a:pt x="59"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7" y="60"/>
                    <a:pt x="97" y="60"/>
                    <a:pt x="97" y="60"/>
                  </a:cubicBezTo>
                  <a:cubicBezTo>
                    <a:pt x="97" y="60"/>
                    <a:pt x="97" y="60"/>
                    <a:pt x="97" y="60"/>
                  </a:cubicBezTo>
                  <a:cubicBezTo>
                    <a:pt x="115" y="0"/>
                    <a:pt x="115" y="0"/>
                    <a:pt x="115" y="0"/>
                  </a:cubicBezTo>
                  <a:cubicBezTo>
                    <a:pt x="137" y="0"/>
                    <a:pt x="137" y="0"/>
                    <a:pt x="137" y="0"/>
                  </a:cubicBezTo>
                  <a:cubicBezTo>
                    <a:pt x="137"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52" name="Freeform 16"/>
            <p:cNvSpPr>
              <a:spLocks noEditPoints="1"/>
            </p:cNvSpPr>
            <p:nvPr userDrawn="1"/>
          </p:nvSpPr>
          <p:spPr bwMode="auto">
            <a:xfrm>
              <a:off x="8423168" y="4892699"/>
              <a:ext cx="65844" cy="95129"/>
            </a:xfrm>
            <a:custGeom>
              <a:avLst/>
              <a:gdLst>
                <a:gd name="T0" fmla="*/ 1 w 87"/>
                <a:gd name="T1" fmla="*/ 0 h 131"/>
                <a:gd name="T2" fmla="*/ 0 w 87"/>
                <a:gd name="T3" fmla="*/ 131 h 131"/>
                <a:gd name="T4" fmla="*/ 41 w 87"/>
                <a:gd name="T5" fmla="*/ 131 h 131"/>
                <a:gd name="T6" fmla="*/ 87 w 87"/>
                <a:gd name="T7" fmla="*/ 92 h 131"/>
                <a:gd name="T8" fmla="*/ 65 w 87"/>
                <a:gd name="T9" fmla="*/ 61 h 131"/>
                <a:gd name="T10" fmla="*/ 62 w 87"/>
                <a:gd name="T11" fmla="*/ 60 h 131"/>
                <a:gd name="T12" fmla="*/ 64 w 87"/>
                <a:gd name="T13" fmla="*/ 59 h 131"/>
                <a:gd name="T14" fmla="*/ 79 w 87"/>
                <a:gd name="T15" fmla="*/ 32 h 131"/>
                <a:gd name="T16" fmla="*/ 42 w 87"/>
                <a:gd name="T17" fmla="*/ 0 h 131"/>
                <a:gd name="T18" fmla="*/ 1 w 87"/>
                <a:gd name="T19" fmla="*/ 0 h 131"/>
                <a:gd name="T20" fmla="*/ 23 w 87"/>
                <a:gd name="T21" fmla="*/ 17 h 131"/>
                <a:gd name="T22" fmla="*/ 36 w 87"/>
                <a:gd name="T23" fmla="*/ 17 h 131"/>
                <a:gd name="T24" fmla="*/ 56 w 87"/>
                <a:gd name="T25" fmla="*/ 35 h 131"/>
                <a:gd name="T26" fmla="*/ 38 w 87"/>
                <a:gd name="T27" fmla="*/ 55 h 131"/>
                <a:gd name="T28" fmla="*/ 22 w 87"/>
                <a:gd name="T29" fmla="*/ 55 h 131"/>
                <a:gd name="T30" fmla="*/ 23 w 87"/>
                <a:gd name="T31" fmla="*/ 17 h 131"/>
                <a:gd name="T32" fmla="*/ 22 w 87"/>
                <a:gd name="T33" fmla="*/ 74 h 131"/>
                <a:gd name="T34" fmla="*/ 40 w 87"/>
                <a:gd name="T35" fmla="*/ 74 h 131"/>
                <a:gd name="T36" fmla="*/ 64 w 87"/>
                <a:gd name="T37" fmla="*/ 92 h 131"/>
                <a:gd name="T38" fmla="*/ 39 w 87"/>
                <a:gd name="T39" fmla="*/ 113 h 131"/>
                <a:gd name="T40" fmla="*/ 22 w 87"/>
                <a:gd name="T41" fmla="*/ 113 h 131"/>
                <a:gd name="T42" fmla="*/ 22 w 87"/>
                <a:gd name="T43" fmla="*/ 7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131">
                  <a:moveTo>
                    <a:pt x="1" y="0"/>
                  </a:moveTo>
                  <a:cubicBezTo>
                    <a:pt x="1" y="3"/>
                    <a:pt x="0" y="129"/>
                    <a:pt x="0" y="131"/>
                  </a:cubicBezTo>
                  <a:cubicBezTo>
                    <a:pt x="2" y="131"/>
                    <a:pt x="41" y="131"/>
                    <a:pt x="41" y="131"/>
                  </a:cubicBezTo>
                  <a:cubicBezTo>
                    <a:pt x="73" y="131"/>
                    <a:pt x="87" y="111"/>
                    <a:pt x="87" y="92"/>
                  </a:cubicBezTo>
                  <a:cubicBezTo>
                    <a:pt x="87" y="77"/>
                    <a:pt x="79" y="65"/>
                    <a:pt x="65" y="61"/>
                  </a:cubicBezTo>
                  <a:cubicBezTo>
                    <a:pt x="62" y="60"/>
                    <a:pt x="62" y="60"/>
                    <a:pt x="62" y="60"/>
                  </a:cubicBezTo>
                  <a:cubicBezTo>
                    <a:pt x="64" y="59"/>
                    <a:pt x="64" y="59"/>
                    <a:pt x="64" y="59"/>
                  </a:cubicBezTo>
                  <a:cubicBezTo>
                    <a:pt x="74" y="54"/>
                    <a:pt x="79" y="44"/>
                    <a:pt x="79" y="32"/>
                  </a:cubicBezTo>
                  <a:cubicBezTo>
                    <a:pt x="79" y="17"/>
                    <a:pt x="68" y="0"/>
                    <a:pt x="42" y="0"/>
                  </a:cubicBezTo>
                  <a:cubicBezTo>
                    <a:pt x="42" y="0"/>
                    <a:pt x="3" y="0"/>
                    <a:pt x="1" y="0"/>
                  </a:cubicBezTo>
                  <a:close/>
                  <a:moveTo>
                    <a:pt x="23" y="17"/>
                  </a:moveTo>
                  <a:cubicBezTo>
                    <a:pt x="36" y="17"/>
                    <a:pt x="36" y="17"/>
                    <a:pt x="36" y="17"/>
                  </a:cubicBezTo>
                  <a:cubicBezTo>
                    <a:pt x="49" y="17"/>
                    <a:pt x="56" y="24"/>
                    <a:pt x="56" y="35"/>
                  </a:cubicBezTo>
                  <a:cubicBezTo>
                    <a:pt x="56" y="47"/>
                    <a:pt x="47" y="55"/>
                    <a:pt x="38" y="55"/>
                  </a:cubicBezTo>
                  <a:cubicBezTo>
                    <a:pt x="22" y="55"/>
                    <a:pt x="22" y="55"/>
                    <a:pt x="22" y="55"/>
                  </a:cubicBezTo>
                  <a:lnTo>
                    <a:pt x="23" y="17"/>
                  </a:lnTo>
                  <a:close/>
                  <a:moveTo>
                    <a:pt x="22" y="74"/>
                  </a:moveTo>
                  <a:cubicBezTo>
                    <a:pt x="40" y="74"/>
                    <a:pt x="40" y="74"/>
                    <a:pt x="40" y="74"/>
                  </a:cubicBezTo>
                  <a:cubicBezTo>
                    <a:pt x="55" y="74"/>
                    <a:pt x="64" y="81"/>
                    <a:pt x="64" y="92"/>
                  </a:cubicBezTo>
                  <a:cubicBezTo>
                    <a:pt x="64" y="105"/>
                    <a:pt x="55" y="113"/>
                    <a:pt x="39" y="113"/>
                  </a:cubicBezTo>
                  <a:cubicBezTo>
                    <a:pt x="22" y="113"/>
                    <a:pt x="22" y="113"/>
                    <a:pt x="22" y="113"/>
                  </a:cubicBezTo>
                  <a:lnTo>
                    <a:pt x="22" y="74"/>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53" name="Freeform 17"/>
            <p:cNvSpPr>
              <a:spLocks noEditPoints="1"/>
            </p:cNvSpPr>
            <p:nvPr userDrawn="1"/>
          </p:nvSpPr>
          <p:spPr bwMode="auto">
            <a:xfrm>
              <a:off x="8546184" y="4923177"/>
              <a:ext cx="66486" cy="66190"/>
            </a:xfrm>
            <a:custGeom>
              <a:avLst/>
              <a:gdLst>
                <a:gd name="T0" fmla="*/ 75 w 88"/>
                <a:gd name="T1" fmla="*/ 78 h 91"/>
                <a:gd name="T2" fmla="*/ 44 w 88"/>
                <a:gd name="T3" fmla="*/ 91 h 91"/>
                <a:gd name="T4" fmla="*/ 14 w 88"/>
                <a:gd name="T5" fmla="*/ 80 h 91"/>
                <a:gd name="T6" fmla="*/ 0 w 88"/>
                <a:gd name="T7" fmla="*/ 46 h 91"/>
                <a:gd name="T8" fmla="*/ 13 w 88"/>
                <a:gd name="T9" fmla="*/ 12 h 91"/>
                <a:gd name="T10" fmla="*/ 44 w 88"/>
                <a:gd name="T11" fmla="*/ 0 h 91"/>
                <a:gd name="T12" fmla="*/ 76 w 88"/>
                <a:gd name="T13" fmla="*/ 12 h 91"/>
                <a:gd name="T14" fmla="*/ 88 w 88"/>
                <a:gd name="T15" fmla="*/ 45 h 91"/>
                <a:gd name="T16" fmla="*/ 75 w 88"/>
                <a:gd name="T17" fmla="*/ 78 h 91"/>
                <a:gd name="T18" fmla="*/ 44 w 88"/>
                <a:gd name="T19" fmla="*/ 17 h 91"/>
                <a:gd name="T20" fmla="*/ 23 w 88"/>
                <a:gd name="T21" fmla="*/ 45 h 91"/>
                <a:gd name="T22" fmla="*/ 44 w 88"/>
                <a:gd name="T23" fmla="*/ 73 h 91"/>
                <a:gd name="T24" fmla="*/ 65 w 88"/>
                <a:gd name="T25" fmla="*/ 45 h 91"/>
                <a:gd name="T26" fmla="*/ 44 w 88"/>
                <a:gd name="T27"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91">
                  <a:moveTo>
                    <a:pt x="75" y="78"/>
                  </a:moveTo>
                  <a:cubicBezTo>
                    <a:pt x="68" y="86"/>
                    <a:pt x="57" y="91"/>
                    <a:pt x="44" y="91"/>
                  </a:cubicBezTo>
                  <a:cubicBezTo>
                    <a:pt x="32" y="91"/>
                    <a:pt x="21" y="87"/>
                    <a:pt x="14" y="80"/>
                  </a:cubicBezTo>
                  <a:cubicBezTo>
                    <a:pt x="5" y="72"/>
                    <a:pt x="0" y="60"/>
                    <a:pt x="0" y="46"/>
                  </a:cubicBezTo>
                  <a:cubicBezTo>
                    <a:pt x="0" y="32"/>
                    <a:pt x="5" y="20"/>
                    <a:pt x="13" y="12"/>
                  </a:cubicBezTo>
                  <a:cubicBezTo>
                    <a:pt x="21" y="4"/>
                    <a:pt x="31" y="0"/>
                    <a:pt x="44" y="0"/>
                  </a:cubicBezTo>
                  <a:cubicBezTo>
                    <a:pt x="57" y="0"/>
                    <a:pt x="68" y="4"/>
                    <a:pt x="76" y="12"/>
                  </a:cubicBezTo>
                  <a:cubicBezTo>
                    <a:pt x="84" y="20"/>
                    <a:pt x="88" y="32"/>
                    <a:pt x="88" y="45"/>
                  </a:cubicBezTo>
                  <a:cubicBezTo>
                    <a:pt x="88" y="58"/>
                    <a:pt x="83" y="70"/>
                    <a:pt x="75" y="78"/>
                  </a:cubicBezTo>
                  <a:close/>
                  <a:moveTo>
                    <a:pt x="44" y="17"/>
                  </a:moveTo>
                  <a:cubicBezTo>
                    <a:pt x="30" y="17"/>
                    <a:pt x="23" y="29"/>
                    <a:pt x="23" y="45"/>
                  </a:cubicBezTo>
                  <a:cubicBezTo>
                    <a:pt x="23" y="62"/>
                    <a:pt x="31" y="73"/>
                    <a:pt x="44" y="73"/>
                  </a:cubicBezTo>
                  <a:cubicBezTo>
                    <a:pt x="58" y="73"/>
                    <a:pt x="65" y="61"/>
                    <a:pt x="65" y="45"/>
                  </a:cubicBezTo>
                  <a:cubicBezTo>
                    <a:pt x="65" y="28"/>
                    <a:pt x="57" y="17"/>
                    <a:pt x="44" y="1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54" name="Freeform 18"/>
            <p:cNvSpPr>
              <a:spLocks/>
            </p:cNvSpPr>
            <p:nvPr userDrawn="1"/>
          </p:nvSpPr>
          <p:spPr bwMode="auto">
            <a:xfrm>
              <a:off x="8728298" y="4923177"/>
              <a:ext cx="60705" cy="65574"/>
            </a:xfrm>
            <a:custGeom>
              <a:avLst/>
              <a:gdLst>
                <a:gd name="T0" fmla="*/ 58 w 80"/>
                <a:gd name="T1" fmla="*/ 90 h 90"/>
                <a:gd name="T2" fmla="*/ 58 w 80"/>
                <a:gd name="T3" fmla="*/ 38 h 90"/>
                <a:gd name="T4" fmla="*/ 45 w 80"/>
                <a:gd name="T5" fmla="*/ 19 h 90"/>
                <a:gd name="T6" fmla="*/ 23 w 80"/>
                <a:gd name="T7" fmla="*/ 28 h 90"/>
                <a:gd name="T8" fmla="*/ 23 w 80"/>
                <a:gd name="T9" fmla="*/ 74 h 90"/>
                <a:gd name="T10" fmla="*/ 0 w 80"/>
                <a:gd name="T11" fmla="*/ 90 h 90"/>
                <a:gd name="T12" fmla="*/ 0 w 80"/>
                <a:gd name="T13" fmla="*/ 2 h 90"/>
                <a:gd name="T14" fmla="*/ 19 w 80"/>
                <a:gd name="T15" fmla="*/ 2 h 90"/>
                <a:gd name="T16" fmla="*/ 22 w 80"/>
                <a:gd name="T17" fmla="*/ 11 h 90"/>
                <a:gd name="T18" fmla="*/ 52 w 80"/>
                <a:gd name="T19" fmla="*/ 0 h 90"/>
                <a:gd name="T20" fmla="*/ 80 w 80"/>
                <a:gd name="T21" fmla="*/ 31 h 90"/>
                <a:gd name="T22" fmla="*/ 80 w 80"/>
                <a:gd name="T23" fmla="*/ 74 h 90"/>
                <a:gd name="T24" fmla="*/ 58 w 80"/>
                <a:gd name="T2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90">
                  <a:moveTo>
                    <a:pt x="58" y="90"/>
                  </a:moveTo>
                  <a:cubicBezTo>
                    <a:pt x="58" y="38"/>
                    <a:pt x="58" y="38"/>
                    <a:pt x="58" y="38"/>
                  </a:cubicBezTo>
                  <a:cubicBezTo>
                    <a:pt x="58" y="29"/>
                    <a:pt x="56" y="19"/>
                    <a:pt x="45" y="19"/>
                  </a:cubicBezTo>
                  <a:cubicBezTo>
                    <a:pt x="37" y="19"/>
                    <a:pt x="29" y="23"/>
                    <a:pt x="23" y="28"/>
                  </a:cubicBezTo>
                  <a:cubicBezTo>
                    <a:pt x="23" y="28"/>
                    <a:pt x="23" y="57"/>
                    <a:pt x="23" y="74"/>
                  </a:cubicBezTo>
                  <a:cubicBezTo>
                    <a:pt x="23" y="90"/>
                    <a:pt x="0" y="90"/>
                    <a:pt x="0" y="90"/>
                  </a:cubicBezTo>
                  <a:cubicBezTo>
                    <a:pt x="0" y="2"/>
                    <a:pt x="0" y="2"/>
                    <a:pt x="0" y="2"/>
                  </a:cubicBezTo>
                  <a:cubicBezTo>
                    <a:pt x="19" y="2"/>
                    <a:pt x="19" y="2"/>
                    <a:pt x="19" y="2"/>
                  </a:cubicBezTo>
                  <a:cubicBezTo>
                    <a:pt x="22" y="11"/>
                    <a:pt x="22" y="11"/>
                    <a:pt x="22" y="11"/>
                  </a:cubicBezTo>
                  <a:cubicBezTo>
                    <a:pt x="31" y="4"/>
                    <a:pt x="40" y="0"/>
                    <a:pt x="52" y="0"/>
                  </a:cubicBezTo>
                  <a:cubicBezTo>
                    <a:pt x="65" y="0"/>
                    <a:pt x="80" y="8"/>
                    <a:pt x="80" y="31"/>
                  </a:cubicBezTo>
                  <a:cubicBezTo>
                    <a:pt x="80" y="31"/>
                    <a:pt x="80" y="57"/>
                    <a:pt x="80" y="74"/>
                  </a:cubicBezTo>
                  <a:cubicBezTo>
                    <a:pt x="80" y="90"/>
                    <a:pt x="58" y="90"/>
                    <a:pt x="58" y="9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55" name="Freeform 19"/>
            <p:cNvSpPr>
              <a:spLocks/>
            </p:cNvSpPr>
            <p:nvPr userDrawn="1"/>
          </p:nvSpPr>
          <p:spPr bwMode="auto">
            <a:xfrm>
              <a:off x="8501217" y="4923177"/>
              <a:ext cx="43361" cy="65574"/>
            </a:xfrm>
            <a:custGeom>
              <a:avLst/>
              <a:gdLst>
                <a:gd name="T0" fmla="*/ 49 w 57"/>
                <a:gd name="T1" fmla="*/ 22 h 90"/>
                <a:gd name="T2" fmla="*/ 39 w 57"/>
                <a:gd name="T3" fmla="*/ 20 h 90"/>
                <a:gd name="T4" fmla="*/ 22 w 57"/>
                <a:gd name="T5" fmla="*/ 27 h 90"/>
                <a:gd name="T6" fmla="*/ 22 w 57"/>
                <a:gd name="T7" fmla="*/ 74 h 90"/>
                <a:gd name="T8" fmla="*/ 0 w 57"/>
                <a:gd name="T9" fmla="*/ 90 h 90"/>
                <a:gd name="T10" fmla="*/ 0 w 57"/>
                <a:gd name="T11" fmla="*/ 2 h 90"/>
                <a:gd name="T12" fmla="*/ 19 w 57"/>
                <a:gd name="T13" fmla="*/ 2 h 90"/>
                <a:gd name="T14" fmla="*/ 21 w 57"/>
                <a:gd name="T15" fmla="*/ 11 h 90"/>
                <a:gd name="T16" fmla="*/ 45 w 57"/>
                <a:gd name="T17" fmla="*/ 0 h 90"/>
                <a:gd name="T18" fmla="*/ 57 w 57"/>
                <a:gd name="T19" fmla="*/ 4 h 90"/>
                <a:gd name="T20" fmla="*/ 49 w 57"/>
                <a:gd name="T21" fmla="*/ 2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0">
                  <a:moveTo>
                    <a:pt x="49" y="22"/>
                  </a:moveTo>
                  <a:cubicBezTo>
                    <a:pt x="46" y="20"/>
                    <a:pt x="42" y="20"/>
                    <a:pt x="39" y="20"/>
                  </a:cubicBezTo>
                  <a:cubicBezTo>
                    <a:pt x="34" y="20"/>
                    <a:pt x="28" y="22"/>
                    <a:pt x="22" y="27"/>
                  </a:cubicBezTo>
                  <a:cubicBezTo>
                    <a:pt x="22" y="27"/>
                    <a:pt x="22" y="57"/>
                    <a:pt x="22" y="74"/>
                  </a:cubicBezTo>
                  <a:cubicBezTo>
                    <a:pt x="22" y="90"/>
                    <a:pt x="0" y="90"/>
                    <a:pt x="0" y="90"/>
                  </a:cubicBezTo>
                  <a:cubicBezTo>
                    <a:pt x="0" y="2"/>
                    <a:pt x="0" y="2"/>
                    <a:pt x="0" y="2"/>
                  </a:cubicBezTo>
                  <a:cubicBezTo>
                    <a:pt x="19" y="2"/>
                    <a:pt x="19" y="2"/>
                    <a:pt x="19"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6" name="Freeform 20"/>
            <p:cNvSpPr>
              <a:spLocks/>
            </p:cNvSpPr>
            <p:nvPr userDrawn="1"/>
          </p:nvSpPr>
          <p:spPr bwMode="auto">
            <a:xfrm>
              <a:off x="7766657" y="4864376"/>
              <a:ext cx="100211" cy="148389"/>
            </a:xfrm>
            <a:custGeom>
              <a:avLst/>
              <a:gdLst>
                <a:gd name="T0" fmla="*/ 0 w 132"/>
                <a:gd name="T1" fmla="*/ 23 h 204"/>
                <a:gd name="T2" fmla="*/ 1 w 132"/>
                <a:gd name="T3" fmla="*/ 22 h 204"/>
                <a:gd name="T4" fmla="*/ 67 w 132"/>
                <a:gd name="T5" fmla="*/ 20 h 204"/>
                <a:gd name="T6" fmla="*/ 80 w 132"/>
                <a:gd name="T7" fmla="*/ 52 h 204"/>
                <a:gd name="T8" fmla="*/ 113 w 132"/>
                <a:gd name="T9" fmla="*/ 65 h 204"/>
                <a:gd name="T10" fmla="*/ 111 w 132"/>
                <a:gd name="T11" fmla="*/ 132 h 204"/>
                <a:gd name="T12" fmla="*/ 38 w 132"/>
                <a:gd name="T13" fmla="*/ 204 h 204"/>
                <a:gd name="T14" fmla="*/ 16 w 132"/>
                <a:gd name="T15" fmla="*/ 182 h 204"/>
                <a:gd name="T16" fmla="*/ 88 w 132"/>
                <a:gd name="T17" fmla="*/ 110 h 204"/>
                <a:gd name="T18" fmla="*/ 91 w 132"/>
                <a:gd name="T19" fmla="*/ 86 h 204"/>
                <a:gd name="T20" fmla="*/ 67 w 132"/>
                <a:gd name="T21" fmla="*/ 88 h 204"/>
                <a:gd name="T22" fmla="*/ 0 w 132"/>
                <a:gd name="T23" fmla="*/ 155 h 204"/>
                <a:gd name="T24" fmla="*/ 0 w 132"/>
                <a:gd name="T25" fmla="*/ 111 h 204"/>
                <a:gd name="T26" fmla="*/ 45 w 132"/>
                <a:gd name="T27" fmla="*/ 66 h 204"/>
                <a:gd name="T28" fmla="*/ 46 w 132"/>
                <a:gd name="T29" fmla="*/ 42 h 204"/>
                <a:gd name="T30" fmla="*/ 22 w 132"/>
                <a:gd name="T31" fmla="*/ 44 h 204"/>
                <a:gd name="T32" fmla="*/ 0 w 132"/>
                <a:gd name="T33" fmla="*/ 66 h 204"/>
                <a:gd name="T34" fmla="*/ 0 w 132"/>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204">
                  <a:moveTo>
                    <a:pt x="0" y="23"/>
                  </a:moveTo>
                  <a:cubicBezTo>
                    <a:pt x="1" y="22"/>
                    <a:pt x="1" y="22"/>
                    <a:pt x="1" y="22"/>
                  </a:cubicBezTo>
                  <a:cubicBezTo>
                    <a:pt x="23" y="0"/>
                    <a:pt x="50" y="2"/>
                    <a:pt x="67" y="20"/>
                  </a:cubicBezTo>
                  <a:cubicBezTo>
                    <a:pt x="80" y="32"/>
                    <a:pt x="81" y="46"/>
                    <a:pt x="80" y="52"/>
                  </a:cubicBezTo>
                  <a:cubicBezTo>
                    <a:pt x="86" y="51"/>
                    <a:pt x="100" y="52"/>
                    <a:pt x="113" y="65"/>
                  </a:cubicBezTo>
                  <a:cubicBezTo>
                    <a:pt x="130" y="82"/>
                    <a:pt x="132" y="110"/>
                    <a:pt x="111" y="132"/>
                  </a:cubicBezTo>
                  <a:cubicBezTo>
                    <a:pt x="38" y="204"/>
                    <a:pt x="38" y="204"/>
                    <a:pt x="38" y="204"/>
                  </a:cubicBezTo>
                  <a:cubicBezTo>
                    <a:pt x="16" y="182"/>
                    <a:pt x="16" y="182"/>
                    <a:pt x="16" y="182"/>
                  </a:cubicBezTo>
                  <a:cubicBezTo>
                    <a:pt x="88" y="110"/>
                    <a:pt x="88" y="110"/>
                    <a:pt x="88" y="110"/>
                  </a:cubicBezTo>
                  <a:cubicBezTo>
                    <a:pt x="97" y="101"/>
                    <a:pt x="96" y="91"/>
                    <a:pt x="91" y="86"/>
                  </a:cubicBezTo>
                  <a:cubicBezTo>
                    <a:pt x="85" y="80"/>
                    <a:pt x="75" y="79"/>
                    <a:pt x="67" y="88"/>
                  </a:cubicBezTo>
                  <a:cubicBezTo>
                    <a:pt x="0" y="155"/>
                    <a:pt x="0" y="155"/>
                    <a:pt x="0" y="155"/>
                  </a:cubicBezTo>
                  <a:cubicBezTo>
                    <a:pt x="0" y="111"/>
                    <a:pt x="0" y="111"/>
                    <a:pt x="0" y="111"/>
                  </a:cubicBezTo>
                  <a:cubicBezTo>
                    <a:pt x="45" y="66"/>
                    <a:pt x="45" y="66"/>
                    <a:pt x="45" y="66"/>
                  </a:cubicBezTo>
                  <a:cubicBezTo>
                    <a:pt x="53" y="57"/>
                    <a:pt x="52" y="47"/>
                    <a:pt x="46" y="42"/>
                  </a:cubicBezTo>
                  <a:cubicBezTo>
                    <a:pt x="41" y="36"/>
                    <a:pt x="31" y="35"/>
                    <a:pt x="22" y="44"/>
                  </a:cubicBezTo>
                  <a:cubicBezTo>
                    <a:pt x="0" y="66"/>
                    <a:pt x="0" y="66"/>
                    <a:pt x="0" y="66"/>
                  </a:cubicBezTo>
                  <a:lnTo>
                    <a:pt x="0"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8" name="Freeform 21"/>
            <p:cNvSpPr>
              <a:spLocks noEditPoints="1"/>
            </p:cNvSpPr>
            <p:nvPr userDrawn="1"/>
          </p:nvSpPr>
          <p:spPr bwMode="auto">
            <a:xfrm>
              <a:off x="7980890" y="5040472"/>
              <a:ext cx="51390" cy="57878"/>
            </a:xfrm>
            <a:custGeom>
              <a:avLst/>
              <a:gdLst>
                <a:gd name="T0" fmla="*/ 0 w 68"/>
                <a:gd name="T1" fmla="*/ 40 h 80"/>
                <a:gd name="T2" fmla="*/ 35 w 68"/>
                <a:gd name="T3" fmla="*/ 0 h 80"/>
                <a:gd name="T4" fmla="*/ 68 w 68"/>
                <a:gd name="T5" fmla="*/ 41 h 80"/>
                <a:gd name="T6" fmla="*/ 68 w 68"/>
                <a:gd name="T7" fmla="*/ 46 h 80"/>
                <a:gd name="T8" fmla="*/ 20 w 68"/>
                <a:gd name="T9" fmla="*/ 46 h 80"/>
                <a:gd name="T10" fmla="*/ 41 w 68"/>
                <a:gd name="T11" fmla="*/ 65 h 80"/>
                <a:gd name="T12" fmla="*/ 60 w 68"/>
                <a:gd name="T13" fmla="*/ 60 h 80"/>
                <a:gd name="T14" fmla="*/ 66 w 68"/>
                <a:gd name="T15" fmla="*/ 73 h 80"/>
                <a:gd name="T16" fmla="*/ 39 w 68"/>
                <a:gd name="T17" fmla="*/ 80 h 80"/>
                <a:gd name="T18" fmla="*/ 0 w 68"/>
                <a:gd name="T19" fmla="*/ 40 h 80"/>
                <a:gd name="T20" fmla="*/ 49 w 68"/>
                <a:gd name="T21" fmla="*/ 32 h 80"/>
                <a:gd name="T22" fmla="*/ 34 w 68"/>
                <a:gd name="T23" fmla="*/ 15 h 80"/>
                <a:gd name="T24" fmla="*/ 19 w 68"/>
                <a:gd name="T25" fmla="*/ 32 h 80"/>
                <a:gd name="T26" fmla="*/ 49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3" y="0"/>
                    <a:pt x="35" y="0"/>
                  </a:cubicBezTo>
                  <a:cubicBezTo>
                    <a:pt x="56" y="0"/>
                    <a:pt x="68" y="16"/>
                    <a:pt x="68" y="41"/>
                  </a:cubicBezTo>
                  <a:cubicBezTo>
                    <a:pt x="68" y="46"/>
                    <a:pt x="68" y="46"/>
                    <a:pt x="68" y="46"/>
                  </a:cubicBezTo>
                  <a:cubicBezTo>
                    <a:pt x="20" y="46"/>
                    <a:pt x="20" y="46"/>
                    <a:pt x="20" y="46"/>
                  </a:cubicBezTo>
                  <a:cubicBezTo>
                    <a:pt x="20" y="57"/>
                    <a:pt x="28" y="65"/>
                    <a:pt x="41" y="65"/>
                  </a:cubicBezTo>
                  <a:cubicBezTo>
                    <a:pt x="49" y="65"/>
                    <a:pt x="55" y="63"/>
                    <a:pt x="60" y="60"/>
                  </a:cubicBezTo>
                  <a:cubicBezTo>
                    <a:pt x="66" y="73"/>
                    <a:pt x="66" y="73"/>
                    <a:pt x="66" y="73"/>
                  </a:cubicBezTo>
                  <a:cubicBezTo>
                    <a:pt x="58" y="78"/>
                    <a:pt x="49" y="80"/>
                    <a:pt x="39" y="80"/>
                  </a:cubicBezTo>
                  <a:cubicBezTo>
                    <a:pt x="11" y="80"/>
                    <a:pt x="0" y="61"/>
                    <a:pt x="0" y="40"/>
                  </a:cubicBezTo>
                  <a:close/>
                  <a:moveTo>
                    <a:pt x="49" y="32"/>
                  </a:moveTo>
                  <a:cubicBezTo>
                    <a:pt x="49" y="23"/>
                    <a:pt x="44" y="15"/>
                    <a:pt x="34" y="15"/>
                  </a:cubicBezTo>
                  <a:cubicBezTo>
                    <a:pt x="25" y="15"/>
                    <a:pt x="19" y="23"/>
                    <a:pt x="19" y="32"/>
                  </a:cubicBezTo>
                  <a:lnTo>
                    <a:pt x="49"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9" name="Freeform 22"/>
            <p:cNvSpPr>
              <a:spLocks/>
            </p:cNvSpPr>
            <p:nvPr userDrawn="1"/>
          </p:nvSpPr>
          <p:spPr bwMode="auto">
            <a:xfrm>
              <a:off x="8295656" y="5041088"/>
              <a:ext cx="37258" cy="56031"/>
            </a:xfrm>
            <a:custGeom>
              <a:avLst/>
              <a:gdLst>
                <a:gd name="T0" fmla="*/ 42 w 49"/>
                <a:gd name="T1" fmla="*/ 19 h 77"/>
                <a:gd name="T2" fmla="*/ 33 w 49"/>
                <a:gd name="T3" fmla="*/ 16 h 77"/>
                <a:gd name="T4" fmla="*/ 19 w 49"/>
                <a:gd name="T5" fmla="*/ 23 h 77"/>
                <a:gd name="T6" fmla="*/ 19 w 49"/>
                <a:gd name="T7" fmla="*/ 63 h 77"/>
                <a:gd name="T8" fmla="*/ 0 w 49"/>
                <a:gd name="T9" fmla="*/ 77 h 77"/>
                <a:gd name="T10" fmla="*/ 0 w 49"/>
                <a:gd name="T11" fmla="*/ 1 h 77"/>
                <a:gd name="T12" fmla="*/ 16 w 49"/>
                <a:gd name="T13" fmla="*/ 1 h 77"/>
                <a:gd name="T14" fmla="*/ 18 w 49"/>
                <a:gd name="T15" fmla="*/ 9 h 77"/>
                <a:gd name="T16" fmla="*/ 39 w 49"/>
                <a:gd name="T17" fmla="*/ 0 h 77"/>
                <a:gd name="T18" fmla="*/ 49 w 49"/>
                <a:gd name="T19" fmla="*/ 3 h 77"/>
                <a:gd name="T20" fmla="*/ 42 w 49"/>
                <a:gd name="T21"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77">
                  <a:moveTo>
                    <a:pt x="42" y="19"/>
                  </a:moveTo>
                  <a:cubicBezTo>
                    <a:pt x="39" y="17"/>
                    <a:pt x="36" y="16"/>
                    <a:pt x="33" y="16"/>
                  </a:cubicBezTo>
                  <a:cubicBezTo>
                    <a:pt x="29" y="16"/>
                    <a:pt x="24" y="18"/>
                    <a:pt x="19" y="23"/>
                  </a:cubicBezTo>
                  <a:cubicBezTo>
                    <a:pt x="19" y="2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2"/>
                    <a:pt x="32" y="0"/>
                    <a:pt x="39" y="0"/>
                  </a:cubicBezTo>
                  <a:cubicBezTo>
                    <a:pt x="42" y="0"/>
                    <a:pt x="46" y="1"/>
                    <a:pt x="49" y="3"/>
                  </a:cubicBezTo>
                  <a:lnTo>
                    <a:pt x="42" y="1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0" name="Freeform 23"/>
            <p:cNvSpPr>
              <a:spLocks noEditPoints="1"/>
            </p:cNvSpPr>
            <p:nvPr userDrawn="1"/>
          </p:nvSpPr>
          <p:spPr bwMode="auto">
            <a:xfrm>
              <a:off x="8178743" y="5040472"/>
              <a:ext cx="51712" cy="57878"/>
            </a:xfrm>
            <a:custGeom>
              <a:avLst/>
              <a:gdLst>
                <a:gd name="T0" fmla="*/ 0 w 68"/>
                <a:gd name="T1" fmla="*/ 40 h 80"/>
                <a:gd name="T2" fmla="*/ 34 w 68"/>
                <a:gd name="T3" fmla="*/ 0 h 80"/>
                <a:gd name="T4" fmla="*/ 68 w 68"/>
                <a:gd name="T5" fmla="*/ 41 h 80"/>
                <a:gd name="T6" fmla="*/ 68 w 68"/>
                <a:gd name="T7" fmla="*/ 46 h 80"/>
                <a:gd name="T8" fmla="*/ 19 w 68"/>
                <a:gd name="T9" fmla="*/ 46 h 80"/>
                <a:gd name="T10" fmla="*/ 41 w 68"/>
                <a:gd name="T11" fmla="*/ 65 h 80"/>
                <a:gd name="T12" fmla="*/ 60 w 68"/>
                <a:gd name="T13" fmla="*/ 60 h 80"/>
                <a:gd name="T14" fmla="*/ 66 w 68"/>
                <a:gd name="T15" fmla="*/ 73 h 80"/>
                <a:gd name="T16" fmla="*/ 39 w 68"/>
                <a:gd name="T17" fmla="*/ 80 h 80"/>
                <a:gd name="T18" fmla="*/ 0 w 68"/>
                <a:gd name="T19" fmla="*/ 40 h 80"/>
                <a:gd name="T20" fmla="*/ 49 w 68"/>
                <a:gd name="T21" fmla="*/ 32 h 80"/>
                <a:gd name="T22" fmla="*/ 34 w 68"/>
                <a:gd name="T23" fmla="*/ 15 h 80"/>
                <a:gd name="T24" fmla="*/ 19 w 68"/>
                <a:gd name="T25" fmla="*/ 32 h 80"/>
                <a:gd name="T26" fmla="*/ 49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3" y="0"/>
                    <a:pt x="34" y="0"/>
                  </a:cubicBezTo>
                  <a:cubicBezTo>
                    <a:pt x="56" y="0"/>
                    <a:pt x="68" y="16"/>
                    <a:pt x="68" y="41"/>
                  </a:cubicBezTo>
                  <a:cubicBezTo>
                    <a:pt x="68" y="46"/>
                    <a:pt x="68" y="46"/>
                    <a:pt x="68" y="46"/>
                  </a:cubicBezTo>
                  <a:cubicBezTo>
                    <a:pt x="19" y="46"/>
                    <a:pt x="19" y="46"/>
                    <a:pt x="19" y="46"/>
                  </a:cubicBezTo>
                  <a:cubicBezTo>
                    <a:pt x="20" y="57"/>
                    <a:pt x="28" y="65"/>
                    <a:pt x="41" y="65"/>
                  </a:cubicBezTo>
                  <a:cubicBezTo>
                    <a:pt x="49" y="65"/>
                    <a:pt x="55" y="63"/>
                    <a:pt x="60" y="60"/>
                  </a:cubicBezTo>
                  <a:cubicBezTo>
                    <a:pt x="66" y="73"/>
                    <a:pt x="66" y="73"/>
                    <a:pt x="66" y="73"/>
                  </a:cubicBezTo>
                  <a:cubicBezTo>
                    <a:pt x="58" y="78"/>
                    <a:pt x="48" y="80"/>
                    <a:pt x="39" y="80"/>
                  </a:cubicBezTo>
                  <a:cubicBezTo>
                    <a:pt x="11" y="80"/>
                    <a:pt x="0" y="61"/>
                    <a:pt x="0" y="40"/>
                  </a:cubicBezTo>
                  <a:close/>
                  <a:moveTo>
                    <a:pt x="49" y="32"/>
                  </a:moveTo>
                  <a:cubicBezTo>
                    <a:pt x="48" y="23"/>
                    <a:pt x="44" y="15"/>
                    <a:pt x="34" y="15"/>
                  </a:cubicBezTo>
                  <a:cubicBezTo>
                    <a:pt x="25" y="15"/>
                    <a:pt x="19" y="23"/>
                    <a:pt x="19" y="32"/>
                  </a:cubicBezTo>
                  <a:lnTo>
                    <a:pt x="49"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1" name="Freeform 24"/>
            <p:cNvSpPr>
              <a:spLocks noEditPoints="1"/>
            </p:cNvSpPr>
            <p:nvPr userDrawn="1"/>
          </p:nvSpPr>
          <p:spPr bwMode="auto">
            <a:xfrm>
              <a:off x="8236557" y="5040472"/>
              <a:ext cx="51390" cy="57878"/>
            </a:xfrm>
            <a:custGeom>
              <a:avLst/>
              <a:gdLst>
                <a:gd name="T0" fmla="*/ 0 w 68"/>
                <a:gd name="T1" fmla="*/ 40 h 80"/>
                <a:gd name="T2" fmla="*/ 34 w 68"/>
                <a:gd name="T3" fmla="*/ 0 h 80"/>
                <a:gd name="T4" fmla="*/ 68 w 68"/>
                <a:gd name="T5" fmla="*/ 41 h 80"/>
                <a:gd name="T6" fmla="*/ 68 w 68"/>
                <a:gd name="T7" fmla="*/ 46 h 80"/>
                <a:gd name="T8" fmla="*/ 19 w 68"/>
                <a:gd name="T9" fmla="*/ 46 h 80"/>
                <a:gd name="T10" fmla="*/ 40 w 68"/>
                <a:gd name="T11" fmla="*/ 65 h 80"/>
                <a:gd name="T12" fmla="*/ 60 w 68"/>
                <a:gd name="T13" fmla="*/ 60 h 80"/>
                <a:gd name="T14" fmla="*/ 65 w 68"/>
                <a:gd name="T15" fmla="*/ 73 h 80"/>
                <a:gd name="T16" fmla="*/ 39 w 68"/>
                <a:gd name="T17" fmla="*/ 80 h 80"/>
                <a:gd name="T18" fmla="*/ 0 w 68"/>
                <a:gd name="T19" fmla="*/ 40 h 80"/>
                <a:gd name="T20" fmla="*/ 48 w 68"/>
                <a:gd name="T21" fmla="*/ 32 h 80"/>
                <a:gd name="T22" fmla="*/ 34 w 68"/>
                <a:gd name="T23" fmla="*/ 15 h 80"/>
                <a:gd name="T24" fmla="*/ 19 w 68"/>
                <a:gd name="T25" fmla="*/ 32 h 80"/>
                <a:gd name="T26" fmla="*/ 48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2" y="0"/>
                    <a:pt x="34" y="0"/>
                  </a:cubicBezTo>
                  <a:cubicBezTo>
                    <a:pt x="55" y="0"/>
                    <a:pt x="68" y="16"/>
                    <a:pt x="68" y="41"/>
                  </a:cubicBezTo>
                  <a:cubicBezTo>
                    <a:pt x="68" y="46"/>
                    <a:pt x="68" y="46"/>
                    <a:pt x="68" y="46"/>
                  </a:cubicBezTo>
                  <a:cubicBezTo>
                    <a:pt x="19" y="46"/>
                    <a:pt x="19" y="46"/>
                    <a:pt x="19" y="46"/>
                  </a:cubicBezTo>
                  <a:cubicBezTo>
                    <a:pt x="19" y="57"/>
                    <a:pt x="28" y="65"/>
                    <a:pt x="40" y="65"/>
                  </a:cubicBezTo>
                  <a:cubicBezTo>
                    <a:pt x="48" y="65"/>
                    <a:pt x="54" y="63"/>
                    <a:pt x="60" y="60"/>
                  </a:cubicBezTo>
                  <a:cubicBezTo>
                    <a:pt x="65" y="73"/>
                    <a:pt x="65" y="73"/>
                    <a:pt x="65" y="73"/>
                  </a:cubicBezTo>
                  <a:cubicBezTo>
                    <a:pt x="57" y="78"/>
                    <a:pt x="48" y="80"/>
                    <a:pt x="39" y="80"/>
                  </a:cubicBezTo>
                  <a:cubicBezTo>
                    <a:pt x="11" y="80"/>
                    <a:pt x="0" y="61"/>
                    <a:pt x="0" y="40"/>
                  </a:cubicBezTo>
                  <a:close/>
                  <a:moveTo>
                    <a:pt x="48" y="32"/>
                  </a:moveTo>
                  <a:cubicBezTo>
                    <a:pt x="48" y="23"/>
                    <a:pt x="44" y="15"/>
                    <a:pt x="34" y="15"/>
                  </a:cubicBezTo>
                  <a:cubicBezTo>
                    <a:pt x="24" y="15"/>
                    <a:pt x="19" y="23"/>
                    <a:pt x="19" y="32"/>
                  </a:cubicBezTo>
                  <a:lnTo>
                    <a:pt x="48"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2" name="Freeform 25"/>
            <p:cNvSpPr>
              <a:spLocks/>
            </p:cNvSpPr>
            <p:nvPr userDrawn="1"/>
          </p:nvSpPr>
          <p:spPr bwMode="auto">
            <a:xfrm>
              <a:off x="8040631" y="5041088"/>
              <a:ext cx="37258" cy="56031"/>
            </a:xfrm>
            <a:custGeom>
              <a:avLst/>
              <a:gdLst>
                <a:gd name="T0" fmla="*/ 42 w 49"/>
                <a:gd name="T1" fmla="*/ 19 h 77"/>
                <a:gd name="T2" fmla="*/ 33 w 49"/>
                <a:gd name="T3" fmla="*/ 16 h 77"/>
                <a:gd name="T4" fmla="*/ 19 w 49"/>
                <a:gd name="T5" fmla="*/ 23 h 77"/>
                <a:gd name="T6" fmla="*/ 19 w 49"/>
                <a:gd name="T7" fmla="*/ 63 h 77"/>
                <a:gd name="T8" fmla="*/ 0 w 49"/>
                <a:gd name="T9" fmla="*/ 77 h 77"/>
                <a:gd name="T10" fmla="*/ 0 w 49"/>
                <a:gd name="T11" fmla="*/ 1 h 77"/>
                <a:gd name="T12" fmla="*/ 16 w 49"/>
                <a:gd name="T13" fmla="*/ 1 h 77"/>
                <a:gd name="T14" fmla="*/ 18 w 49"/>
                <a:gd name="T15" fmla="*/ 9 h 77"/>
                <a:gd name="T16" fmla="*/ 38 w 49"/>
                <a:gd name="T17" fmla="*/ 0 h 77"/>
                <a:gd name="T18" fmla="*/ 49 w 49"/>
                <a:gd name="T19" fmla="*/ 3 h 77"/>
                <a:gd name="T20" fmla="*/ 42 w 49"/>
                <a:gd name="T21"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77">
                  <a:moveTo>
                    <a:pt x="42" y="19"/>
                  </a:moveTo>
                  <a:cubicBezTo>
                    <a:pt x="39" y="17"/>
                    <a:pt x="35" y="16"/>
                    <a:pt x="33" y="16"/>
                  </a:cubicBezTo>
                  <a:cubicBezTo>
                    <a:pt x="29" y="16"/>
                    <a:pt x="24" y="18"/>
                    <a:pt x="19" y="23"/>
                  </a:cubicBezTo>
                  <a:cubicBezTo>
                    <a:pt x="19" y="2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2"/>
                    <a:pt x="31" y="0"/>
                    <a:pt x="38" y="0"/>
                  </a:cubicBezTo>
                  <a:cubicBezTo>
                    <a:pt x="42" y="0"/>
                    <a:pt x="46" y="1"/>
                    <a:pt x="49" y="3"/>
                  </a:cubicBezTo>
                  <a:lnTo>
                    <a:pt x="42" y="1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3" name="Freeform 26"/>
            <p:cNvSpPr>
              <a:spLocks/>
            </p:cNvSpPr>
            <p:nvPr userDrawn="1"/>
          </p:nvSpPr>
          <p:spPr bwMode="auto">
            <a:xfrm>
              <a:off x="8083992" y="5041088"/>
              <a:ext cx="86400" cy="56031"/>
            </a:xfrm>
            <a:custGeom>
              <a:avLst/>
              <a:gdLst>
                <a:gd name="T0" fmla="*/ 114 w 114"/>
                <a:gd name="T1" fmla="*/ 25 h 77"/>
                <a:gd name="T2" fmla="*/ 114 w 114"/>
                <a:gd name="T3" fmla="*/ 63 h 77"/>
                <a:gd name="T4" fmla="*/ 95 w 114"/>
                <a:gd name="T5" fmla="*/ 77 h 77"/>
                <a:gd name="T6" fmla="*/ 95 w 114"/>
                <a:gd name="T7" fmla="*/ 31 h 77"/>
                <a:gd name="T8" fmla="*/ 84 w 114"/>
                <a:gd name="T9" fmla="*/ 16 h 77"/>
                <a:gd name="T10" fmla="*/ 66 w 114"/>
                <a:gd name="T11" fmla="*/ 23 h 77"/>
                <a:gd name="T12" fmla="*/ 66 w 114"/>
                <a:gd name="T13" fmla="*/ 63 h 77"/>
                <a:gd name="T14" fmla="*/ 66 w 114"/>
                <a:gd name="T15" fmla="*/ 63 h 77"/>
                <a:gd name="T16" fmla="*/ 47 w 114"/>
                <a:gd name="T17" fmla="*/ 77 h 77"/>
                <a:gd name="T18" fmla="*/ 47 w 114"/>
                <a:gd name="T19" fmla="*/ 31 h 77"/>
                <a:gd name="T20" fmla="*/ 37 w 114"/>
                <a:gd name="T21" fmla="*/ 16 h 77"/>
                <a:gd name="T22" fmla="*/ 19 w 114"/>
                <a:gd name="T23" fmla="*/ 23 h 77"/>
                <a:gd name="T24" fmla="*/ 19 w 114"/>
                <a:gd name="T25" fmla="*/ 63 h 77"/>
                <a:gd name="T26" fmla="*/ 19 w 114"/>
                <a:gd name="T27" fmla="*/ 63 h 77"/>
                <a:gd name="T28" fmla="*/ 0 w 114"/>
                <a:gd name="T29" fmla="*/ 77 h 77"/>
                <a:gd name="T30" fmla="*/ 0 w 114"/>
                <a:gd name="T31" fmla="*/ 1 h 77"/>
                <a:gd name="T32" fmla="*/ 16 w 114"/>
                <a:gd name="T33" fmla="*/ 1 h 77"/>
                <a:gd name="T34" fmla="*/ 18 w 114"/>
                <a:gd name="T35" fmla="*/ 9 h 77"/>
                <a:gd name="T36" fmla="*/ 43 w 114"/>
                <a:gd name="T37" fmla="*/ 0 h 77"/>
                <a:gd name="T38" fmla="*/ 63 w 114"/>
                <a:gd name="T39" fmla="*/ 11 h 77"/>
                <a:gd name="T40" fmla="*/ 89 w 114"/>
                <a:gd name="T41" fmla="*/ 0 h 77"/>
                <a:gd name="T42" fmla="*/ 114 w 114"/>
                <a:gd name="T43" fmla="*/ 2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77">
                  <a:moveTo>
                    <a:pt x="114" y="25"/>
                  </a:moveTo>
                  <a:cubicBezTo>
                    <a:pt x="114" y="63"/>
                    <a:pt x="114" y="63"/>
                    <a:pt x="114" y="63"/>
                  </a:cubicBezTo>
                  <a:cubicBezTo>
                    <a:pt x="114" y="77"/>
                    <a:pt x="95" y="77"/>
                    <a:pt x="95" y="77"/>
                  </a:cubicBezTo>
                  <a:cubicBezTo>
                    <a:pt x="95" y="31"/>
                    <a:pt x="95" y="31"/>
                    <a:pt x="95" y="31"/>
                  </a:cubicBezTo>
                  <a:cubicBezTo>
                    <a:pt x="95" y="22"/>
                    <a:pt x="93" y="16"/>
                    <a:pt x="84" y="16"/>
                  </a:cubicBezTo>
                  <a:cubicBezTo>
                    <a:pt x="77" y="16"/>
                    <a:pt x="71" y="19"/>
                    <a:pt x="66" y="23"/>
                  </a:cubicBezTo>
                  <a:cubicBezTo>
                    <a:pt x="66" y="63"/>
                    <a:pt x="66" y="63"/>
                    <a:pt x="66" y="63"/>
                  </a:cubicBezTo>
                  <a:cubicBezTo>
                    <a:pt x="66" y="63"/>
                    <a:pt x="66" y="49"/>
                    <a:pt x="66" y="63"/>
                  </a:cubicBezTo>
                  <a:cubicBezTo>
                    <a:pt x="66" y="77"/>
                    <a:pt x="47" y="77"/>
                    <a:pt x="47" y="77"/>
                  </a:cubicBezTo>
                  <a:cubicBezTo>
                    <a:pt x="47" y="31"/>
                    <a:pt x="47" y="31"/>
                    <a:pt x="47" y="31"/>
                  </a:cubicBezTo>
                  <a:cubicBezTo>
                    <a:pt x="47" y="23"/>
                    <a:pt x="46" y="16"/>
                    <a:pt x="37" y="16"/>
                  </a:cubicBezTo>
                  <a:cubicBezTo>
                    <a:pt x="30" y="16"/>
                    <a:pt x="19" y="23"/>
                    <a:pt x="19" y="23"/>
                  </a:cubicBezTo>
                  <a:cubicBezTo>
                    <a:pt x="19" y="63"/>
                    <a:pt x="19" y="63"/>
                    <a:pt x="19" y="63"/>
                  </a:cubicBezTo>
                  <a:cubicBezTo>
                    <a:pt x="19" y="6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3"/>
                    <a:pt x="34" y="0"/>
                    <a:pt x="43" y="0"/>
                  </a:cubicBezTo>
                  <a:cubicBezTo>
                    <a:pt x="52" y="0"/>
                    <a:pt x="59" y="4"/>
                    <a:pt x="63" y="11"/>
                  </a:cubicBezTo>
                  <a:cubicBezTo>
                    <a:pt x="71" y="3"/>
                    <a:pt x="81" y="0"/>
                    <a:pt x="89" y="0"/>
                  </a:cubicBezTo>
                  <a:cubicBezTo>
                    <a:pt x="102" y="0"/>
                    <a:pt x="114" y="6"/>
                    <a:pt x="114" y="25"/>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4" name="Freeform 27"/>
            <p:cNvSpPr>
              <a:spLocks/>
            </p:cNvSpPr>
            <p:nvPr userDrawn="1"/>
          </p:nvSpPr>
          <p:spPr bwMode="auto">
            <a:xfrm>
              <a:off x="7908622" y="5019846"/>
              <a:ext cx="77407" cy="77889"/>
            </a:xfrm>
            <a:custGeom>
              <a:avLst/>
              <a:gdLst>
                <a:gd name="T0" fmla="*/ 43 w 102"/>
                <a:gd name="T1" fmla="*/ 107 h 107"/>
                <a:gd name="T2" fmla="*/ 65 w 102"/>
                <a:gd name="T3" fmla="*/ 91 h 107"/>
                <a:gd name="T4" fmla="*/ 102 w 102"/>
                <a:gd name="T5" fmla="*/ 0 h 107"/>
                <a:gd name="T6" fmla="*/ 81 w 102"/>
                <a:gd name="T7" fmla="*/ 0 h 107"/>
                <a:gd name="T8" fmla="*/ 51 w 102"/>
                <a:gd name="T9" fmla="*/ 78 h 107"/>
                <a:gd name="T10" fmla="*/ 51 w 102"/>
                <a:gd name="T11" fmla="*/ 78 h 107"/>
                <a:gd name="T12" fmla="*/ 21 w 102"/>
                <a:gd name="T13" fmla="*/ 0 h 107"/>
                <a:gd name="T14" fmla="*/ 0 w 102"/>
                <a:gd name="T15" fmla="*/ 0 h 107"/>
                <a:gd name="T16" fmla="*/ 43 w 102"/>
                <a:gd name="T17"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107">
                  <a:moveTo>
                    <a:pt x="43" y="107"/>
                  </a:moveTo>
                  <a:cubicBezTo>
                    <a:pt x="57" y="107"/>
                    <a:pt x="61" y="101"/>
                    <a:pt x="65" y="91"/>
                  </a:cubicBezTo>
                  <a:cubicBezTo>
                    <a:pt x="102" y="0"/>
                    <a:pt x="102" y="0"/>
                    <a:pt x="102" y="0"/>
                  </a:cubicBezTo>
                  <a:cubicBezTo>
                    <a:pt x="81" y="0"/>
                    <a:pt x="81" y="0"/>
                    <a:pt x="81" y="0"/>
                  </a:cubicBezTo>
                  <a:cubicBezTo>
                    <a:pt x="51" y="78"/>
                    <a:pt x="51" y="78"/>
                    <a:pt x="51" y="78"/>
                  </a:cubicBezTo>
                  <a:cubicBezTo>
                    <a:pt x="51" y="78"/>
                    <a:pt x="51" y="78"/>
                    <a:pt x="51" y="78"/>
                  </a:cubicBezTo>
                  <a:cubicBezTo>
                    <a:pt x="21" y="0"/>
                    <a:pt x="21" y="0"/>
                    <a:pt x="21" y="0"/>
                  </a:cubicBezTo>
                  <a:cubicBezTo>
                    <a:pt x="0" y="0"/>
                    <a:pt x="0" y="0"/>
                    <a:pt x="0" y="0"/>
                  </a:cubicBezTo>
                  <a:cubicBezTo>
                    <a:pt x="43" y="107"/>
                    <a:pt x="43" y="107"/>
                    <a:pt x="43" y="10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sp>
        <p:nvSpPr>
          <p:cNvPr id="75" name="Text Placeholder 2"/>
          <p:cNvSpPr>
            <a:spLocks noGrp="1"/>
          </p:cNvSpPr>
          <p:nvPr>
            <p:ph type="body" sz="quarter" idx="25" hasCustomPrompt="1"/>
          </p:nvPr>
        </p:nvSpPr>
        <p:spPr>
          <a:xfrm>
            <a:off x="4727636" y="4807465"/>
            <a:ext cx="1160462" cy="341313"/>
          </a:xfrm>
          <a:prstGeom prst="rect">
            <a:avLst/>
          </a:prstGeom>
        </p:spPr>
        <p:txBody>
          <a:bodyPr anchor="ctr"/>
          <a:lstStyle>
            <a:lvl1pPr marL="0" indent="0" algn="ctr">
              <a:buNone/>
              <a:defRPr sz="800">
                <a:solidFill>
                  <a:schemeClr val="bg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grpSp>
        <p:nvGrpSpPr>
          <p:cNvPr id="76" name="Group 75"/>
          <p:cNvGrpSpPr/>
          <p:nvPr userDrawn="1"/>
        </p:nvGrpSpPr>
        <p:grpSpPr>
          <a:xfrm>
            <a:off x="7686461" y="4906654"/>
            <a:ext cx="1124815" cy="151147"/>
            <a:chOff x="7686461" y="4581466"/>
            <a:chExt cx="1124815" cy="151147"/>
          </a:xfrm>
          <a:solidFill>
            <a:schemeClr val="bg1"/>
          </a:solidFill>
        </p:grpSpPr>
        <p:sp>
          <p:nvSpPr>
            <p:cNvPr id="77"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78"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79"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0"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1"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2"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3"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4"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5"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6"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7"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8"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9"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90"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91"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grpSp>
      <p:sp>
        <p:nvSpPr>
          <p:cNvPr id="51"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solidFill>
                  <a:schemeClr val="tx1">
                    <a:lumMod val="50000"/>
                    <a:lumOff val="50000"/>
                  </a:schemeClr>
                </a:solidFill>
                <a:latin typeface="+mn-lt"/>
              </a:rPr>
              <a:t>Private and Confidental</a:t>
            </a:r>
            <a:endParaRPr lang="pt-BR" sz="500" dirty="0">
              <a:solidFill>
                <a:schemeClr val="tx1">
                  <a:lumMod val="50000"/>
                  <a:lumOff val="50000"/>
                </a:schemeClr>
              </a:solidFill>
              <a:latin typeface="+mn-lt"/>
            </a:endParaRPr>
          </a:p>
        </p:txBody>
      </p:sp>
    </p:spTree>
    <p:extLst>
      <p:ext uri="{BB962C8B-B14F-4D97-AF65-F5344CB8AC3E}">
        <p14:creationId xmlns:p14="http://schemas.microsoft.com/office/powerpoint/2010/main" val="28529262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 Titles - 3/4 Text">
    <p:bg>
      <p:bgPr>
        <a:solidFill>
          <a:schemeClr val="bg1"/>
        </a:solidFill>
        <a:effectLst/>
      </p:bgPr>
    </p:bg>
    <p:spTree>
      <p:nvGrpSpPr>
        <p:cNvPr id="1" name=""/>
        <p:cNvGrpSpPr/>
        <p:nvPr/>
      </p:nvGrpSpPr>
      <p:grpSpPr>
        <a:xfrm>
          <a:off x="0" y="0"/>
          <a:ext cx="0" cy="0"/>
          <a:chOff x="0" y="0"/>
          <a:chExt cx="0" cy="0"/>
        </a:xfrm>
      </p:grpSpPr>
      <p:sp>
        <p:nvSpPr>
          <p:cNvPr id="9" name="Title Placeholder 6"/>
          <p:cNvSpPr>
            <a:spLocks noGrp="1"/>
          </p:cNvSpPr>
          <p:nvPr>
            <p:ph type="title"/>
          </p:nvPr>
        </p:nvSpPr>
        <p:spPr>
          <a:xfrm>
            <a:off x="347474" y="323727"/>
            <a:ext cx="8460000" cy="416186"/>
          </a:xfrm>
          <a:prstGeom prst="rect">
            <a:avLst/>
          </a:prstGeom>
        </p:spPr>
        <p:txBody>
          <a:bodyPr vert="horz" lIns="0" tIns="45720" rIns="0" bIns="45720" rtlCol="0" anchor="b">
            <a:noAutofit/>
          </a:bodyPr>
          <a:lstStyle>
            <a:lvl1pPr>
              <a:defRPr sz="2000">
                <a:solidFill>
                  <a:schemeClr val="tx1">
                    <a:lumMod val="75000"/>
                    <a:lumOff val="25000"/>
                  </a:schemeClr>
                </a:solidFill>
              </a:defRPr>
            </a:lvl1pPr>
          </a:lstStyle>
          <a:p>
            <a:r>
              <a:rPr lang="en-US" dirty="0" smtClean="0"/>
              <a:t>Click to edit Master title style</a:t>
            </a:r>
            <a:endParaRPr lang="en-GB" dirty="0"/>
          </a:p>
        </p:txBody>
      </p:sp>
      <p:sp>
        <p:nvSpPr>
          <p:cNvPr id="12" name="Text Placeholder 7"/>
          <p:cNvSpPr>
            <a:spLocks noGrp="1"/>
          </p:cNvSpPr>
          <p:nvPr>
            <p:ph type="body" sz="quarter" idx="20"/>
          </p:nvPr>
        </p:nvSpPr>
        <p:spPr>
          <a:xfrm>
            <a:off x="347473" y="808579"/>
            <a:ext cx="8460000" cy="393270"/>
          </a:xfrm>
          <a:prstGeom prst="rect">
            <a:avLst/>
          </a:prstGeom>
        </p:spPr>
        <p:txBody>
          <a:bodyPr lIns="0" rIns="0"/>
          <a:lstStyle>
            <a:lvl1pPr marL="0" indent="0">
              <a:spcBef>
                <a:spcPts val="0"/>
              </a:spcBef>
              <a:buNone/>
              <a:defRPr lang="en-US" sz="1100" b="1" i="1" kern="1200" dirty="0" smtClean="0">
                <a:solidFill>
                  <a:schemeClr val="tx2"/>
                </a:solidFill>
                <a:latin typeface="+mj-lt"/>
                <a:ea typeface="+mn-ea"/>
                <a:cs typeface="Arial"/>
              </a:defRPr>
            </a:lvl1pPr>
            <a:lvl2pPr marL="0" indent="0">
              <a:spcBef>
                <a:spcPts val="0"/>
              </a:spcBef>
              <a:buNone/>
              <a:defRPr lang="en-US" sz="1100" b="0" i="0" kern="1200" dirty="0" smtClean="0">
                <a:solidFill>
                  <a:schemeClr val="tx1">
                    <a:lumMod val="75000"/>
                    <a:lumOff val="25000"/>
                  </a:schemeClr>
                </a:solidFill>
                <a:latin typeface="+mj-lt"/>
                <a:ea typeface="+mn-ea"/>
                <a:cs typeface="Arial"/>
              </a:defRPr>
            </a:lvl2pPr>
          </a:lstStyle>
          <a:p>
            <a:pPr lvl="0"/>
            <a:r>
              <a:rPr lang="en-US" dirty="0" smtClean="0"/>
              <a:t>Click to edit Master text styles</a:t>
            </a:r>
          </a:p>
          <a:p>
            <a:pPr lvl="1"/>
            <a:r>
              <a:rPr lang="en-US" dirty="0" smtClean="0"/>
              <a:t>Second level</a:t>
            </a:r>
          </a:p>
        </p:txBody>
      </p:sp>
      <p:cxnSp>
        <p:nvCxnSpPr>
          <p:cNvPr id="13" name="Straight Connector 12"/>
          <p:cNvCxnSpPr/>
          <p:nvPr userDrawn="1"/>
        </p:nvCxnSpPr>
        <p:spPr>
          <a:xfrm>
            <a:off x="343366" y="739913"/>
            <a:ext cx="8460000" cy="0"/>
          </a:xfrm>
          <a:prstGeom prst="line">
            <a:avLst/>
          </a:prstGeom>
          <a:ln w="12700">
            <a:solidFill>
              <a:schemeClr val="tx1">
                <a:lumMod val="75000"/>
                <a:lumOff val="25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351670" y="1270022"/>
            <a:ext cx="8460000" cy="0"/>
          </a:xfrm>
          <a:prstGeom prst="line">
            <a:avLst/>
          </a:prstGeom>
          <a:ln w="12700" cap="rnd">
            <a:solidFill>
              <a:schemeClr val="tx1">
                <a:lumMod val="75000"/>
                <a:lumOff val="25000"/>
              </a:schemeClr>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11" name="Text Placeholder 46"/>
          <p:cNvSpPr>
            <a:spLocks noGrp="1"/>
          </p:cNvSpPr>
          <p:nvPr>
            <p:ph idx="1"/>
          </p:nvPr>
        </p:nvSpPr>
        <p:spPr>
          <a:xfrm>
            <a:off x="351670" y="1454341"/>
            <a:ext cx="6300000" cy="3240000"/>
          </a:xfrm>
          <a:prstGeom prst="rect">
            <a:avLst/>
          </a:prstGeom>
        </p:spPr>
        <p:txBody>
          <a:bodyPr vert="horz" lIns="0" tIns="45720" rIns="0" bIns="45720" rtlCol="0">
            <a:noAutofit/>
          </a:bodyPr>
          <a:lstStyle>
            <a:lvl1pPr marL="0" indent="0">
              <a:spcBef>
                <a:spcPts val="600"/>
              </a:spcBef>
              <a:buClr>
                <a:schemeClr val="tx2"/>
              </a:buClr>
              <a:buNone/>
              <a:defRPr sz="1050" b="1">
                <a:solidFill>
                  <a:schemeClr val="tx2"/>
                </a:solidFill>
                <a:latin typeface="Arial"/>
                <a:cs typeface="Arial"/>
              </a:defRPr>
            </a:lvl1pPr>
            <a:lvl2pPr marL="179388" indent="-179388">
              <a:spcBef>
                <a:spcPts val="600"/>
              </a:spcBef>
              <a:buClr>
                <a:schemeClr val="tx2"/>
              </a:buClr>
              <a:defRPr sz="1000">
                <a:latin typeface="Arial"/>
                <a:cs typeface="Arial"/>
              </a:defRPr>
            </a:lvl2pPr>
            <a:lvl3pPr marL="179388" indent="-179388">
              <a:spcBef>
                <a:spcPts val="600"/>
              </a:spcBef>
              <a:buClr>
                <a:schemeClr val="tx2"/>
              </a:buClr>
              <a:defRPr sz="1000">
                <a:latin typeface="Arial"/>
                <a:cs typeface="Arial"/>
              </a:defRPr>
            </a:lvl3pPr>
            <a:lvl4pPr marL="179388" indent="-179388">
              <a:spcBef>
                <a:spcPts val="600"/>
              </a:spcBef>
              <a:buClr>
                <a:schemeClr val="tx2"/>
              </a:buClr>
              <a:tabLst/>
              <a:defRPr sz="1000">
                <a:latin typeface="Arial"/>
                <a:cs typeface="Arial"/>
              </a:defRPr>
            </a:lvl4pPr>
            <a:lvl5pPr marL="179388" indent="-179388">
              <a:spcBef>
                <a:spcPts val="600"/>
              </a:spcBef>
              <a:buClr>
                <a:schemeClr val="tx2"/>
              </a:buClr>
              <a:defRPr sz="1000">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Text Placeholder 2"/>
          <p:cNvSpPr>
            <a:spLocks noGrp="1"/>
          </p:cNvSpPr>
          <p:nvPr>
            <p:ph type="body" sz="quarter" idx="25" hasCustomPrompt="1"/>
          </p:nvPr>
        </p:nvSpPr>
        <p:spPr>
          <a:xfrm>
            <a:off x="6202363" y="4807465"/>
            <a:ext cx="1160462" cy="341313"/>
          </a:xfrm>
          <a:prstGeom prst="rect">
            <a:avLst/>
          </a:prstGeom>
        </p:spPr>
        <p:txBody>
          <a:bodyPr anchor="ctr"/>
          <a:lstStyle>
            <a:lvl1pPr marL="0" indent="0" algn="ctr">
              <a:buNone/>
              <a:defRPr sz="800">
                <a:solidFill>
                  <a:schemeClr val="tx1">
                    <a:lumMod val="75000"/>
                    <a:lumOff val="25000"/>
                  </a:schemeClr>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sp>
        <p:nvSpPr>
          <p:cNvPr id="15"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chemeClr val="bg1">
                    <a:lumMod val="75000"/>
                  </a:schemeClr>
                </a:solidFill>
                <a:latin typeface="+mn-lt"/>
              </a:defRPr>
            </a:lvl1pPr>
          </a:lstStyle>
          <a:p>
            <a:fld id="{19AB4E72-7858-48F1-A40D-12FF09E4BFB8}" type="slidenum">
              <a:rPr lang="en-GB" smtClean="0"/>
              <a:pPr/>
              <a:t>‹Nº›</a:t>
            </a:fld>
            <a:endParaRPr lang="en-GB"/>
          </a:p>
        </p:txBody>
      </p:sp>
      <p:sp>
        <p:nvSpPr>
          <p:cNvPr id="17" name="Footer Placeholder 6"/>
          <p:cNvSpPr>
            <a:spLocks noGrp="1"/>
          </p:cNvSpPr>
          <p:nvPr>
            <p:ph type="ftr" sz="quarter" idx="11"/>
          </p:nvPr>
        </p:nvSpPr>
        <p:spPr>
          <a:xfrm>
            <a:off x="608553" y="4816190"/>
            <a:ext cx="5040000" cy="158419"/>
          </a:xfrm>
          <a:prstGeom prst="rect">
            <a:avLst/>
          </a:prstGeom>
        </p:spPr>
        <p:txBody>
          <a:bodyPr lIns="0" rIns="0" bIns="0"/>
          <a:lstStyle>
            <a:lvl1pPr>
              <a:defRPr sz="600">
                <a:solidFill>
                  <a:schemeClr val="bg1">
                    <a:lumMod val="75000"/>
                  </a:schemeClr>
                </a:solidFill>
                <a:latin typeface="+mj-lt"/>
              </a:defRPr>
            </a:lvl1pPr>
          </a:lstStyle>
          <a:p>
            <a:endParaRPr lang="pt-BR"/>
          </a:p>
        </p:txBody>
      </p:sp>
      <p:sp>
        <p:nvSpPr>
          <p:cNvPr id="18"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latin typeface="+mn-lt"/>
              </a:rPr>
              <a:t>Private and Confidental</a:t>
            </a:r>
            <a:endParaRPr lang="pt-BR" sz="500" dirty="0">
              <a:latin typeface="+mn-lt"/>
            </a:endParaRPr>
          </a:p>
        </p:txBody>
      </p:sp>
    </p:spTree>
    <p:extLst>
      <p:ext uri="{BB962C8B-B14F-4D97-AF65-F5344CB8AC3E}">
        <p14:creationId xmlns:p14="http://schemas.microsoft.com/office/powerpoint/2010/main" val="137457606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_FF_MB_Leaf">
    <p:bg>
      <p:bgPr>
        <a:solidFill>
          <a:schemeClr val="bg1"/>
        </a:solidFill>
        <a:effectLst/>
      </p:bgPr>
    </p:bg>
    <p:spTree>
      <p:nvGrpSpPr>
        <p:cNvPr id="1" name=""/>
        <p:cNvGrpSpPr/>
        <p:nvPr/>
      </p:nvGrpSpPr>
      <p:grpSpPr>
        <a:xfrm>
          <a:off x="0" y="0"/>
          <a:ext cx="0" cy="0"/>
          <a:chOff x="0" y="0"/>
          <a:chExt cx="0" cy="0"/>
        </a:xfrm>
      </p:grpSpPr>
      <p:sp>
        <p:nvSpPr>
          <p:cNvPr id="31" name="Rectangle 30"/>
          <p:cNvSpPr/>
          <p:nvPr userDrawn="1"/>
        </p:nvSpPr>
        <p:spPr>
          <a:xfrm>
            <a:off x="0" y="0"/>
            <a:ext cx="9144000" cy="5148263"/>
          </a:xfrm>
          <a:prstGeom prst="rect">
            <a:avLst/>
          </a:prstGeom>
          <a:solidFill>
            <a:schemeClr val="tx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en-GB" sz="1050" smtClean="0">
              <a:solidFill>
                <a:schemeClr val="bg1"/>
              </a:solidFill>
              <a:latin typeface="Arial" panose="020B0604020202020204" pitchFamily="34" charset="0"/>
              <a:cs typeface="Arial" panose="020B0604020202020204" pitchFamily="34" charset="0"/>
            </a:endParaRPr>
          </a:p>
        </p:txBody>
      </p:sp>
      <p:pic>
        <p:nvPicPr>
          <p:cNvPr id="33" name="Picture 32" descr="cookie_white.png"/>
          <p:cNvPicPr>
            <a:picLocks noChangeAspect="1"/>
          </p:cNvPicPr>
          <p:nvPr userDrawn="1"/>
        </p:nvPicPr>
        <p:blipFill rotWithShape="1">
          <a:blip r:embed="rId2" cstate="screen">
            <a:alphaModFix amt="16000"/>
            <a:extLst>
              <a:ext uri="{28A0092B-C50C-407E-A947-70E740481C1C}">
                <a14:useLocalDpi xmlns:a14="http://schemas.microsoft.com/office/drawing/2010/main"/>
              </a:ext>
            </a:extLst>
          </a:blip>
          <a:srcRect/>
          <a:stretch/>
        </p:blipFill>
        <p:spPr>
          <a:xfrm flipH="1">
            <a:off x="5149029" y="2289839"/>
            <a:ext cx="4020091" cy="2880000"/>
          </a:xfrm>
          <a:prstGeom prst="rect">
            <a:avLst/>
          </a:prstGeom>
        </p:spPr>
      </p:pic>
      <p:cxnSp>
        <p:nvCxnSpPr>
          <p:cNvPr id="32" name="Straight Connector 31"/>
          <p:cNvCxnSpPr/>
          <p:nvPr userDrawn="1"/>
        </p:nvCxnSpPr>
        <p:spPr>
          <a:xfrm>
            <a:off x="343365" y="470176"/>
            <a:ext cx="8460000" cy="0"/>
          </a:xfrm>
          <a:prstGeom prst="line">
            <a:avLst/>
          </a:prstGeom>
          <a:ln w="6350" cmpd="sng">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343365" y="4801146"/>
            <a:ext cx="8460000" cy="0"/>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sp>
        <p:nvSpPr>
          <p:cNvPr id="67"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rgbClr val="FFFFFF"/>
                </a:solidFill>
                <a:latin typeface="+mn-lt"/>
              </a:defRPr>
            </a:lvl1pPr>
          </a:lstStyle>
          <a:p>
            <a:fld id="{19AB4E72-7858-48F1-A40D-12FF09E4BFB8}" type="slidenum">
              <a:rPr lang="en-GB" smtClean="0"/>
              <a:pPr/>
              <a:t>‹Nº›</a:t>
            </a:fld>
            <a:endParaRPr lang="en-GB"/>
          </a:p>
        </p:txBody>
      </p:sp>
      <p:sp>
        <p:nvSpPr>
          <p:cNvPr id="36" name="Title 1"/>
          <p:cNvSpPr>
            <a:spLocks noGrp="1"/>
          </p:cNvSpPr>
          <p:nvPr>
            <p:ph type="ctrTitle" hasCustomPrompt="1"/>
          </p:nvPr>
        </p:nvSpPr>
        <p:spPr>
          <a:xfrm>
            <a:off x="343365" y="2867487"/>
            <a:ext cx="8460000" cy="443198"/>
          </a:xfrm>
          <a:prstGeom prst="rect">
            <a:avLst/>
          </a:prstGeom>
        </p:spPr>
        <p:txBody>
          <a:bodyPr lIns="0" tIns="0" rIns="0" bIns="0" anchor="b"/>
          <a:lstStyle>
            <a:lvl1pPr>
              <a:lnSpc>
                <a:spcPct val="90000"/>
              </a:lnSpc>
              <a:defRPr sz="3200" b="0">
                <a:solidFill>
                  <a:schemeClr val="bg1"/>
                </a:solidFill>
              </a:defRPr>
            </a:lvl1pPr>
          </a:lstStyle>
          <a:p>
            <a:r>
              <a:rPr lang="en-US" dirty="0" smtClean="0"/>
              <a:t>Click to edit Master title Style</a:t>
            </a:r>
            <a:endParaRPr lang="en-US" dirty="0"/>
          </a:p>
        </p:txBody>
      </p:sp>
      <p:sp>
        <p:nvSpPr>
          <p:cNvPr id="37" name="Subtitle 2"/>
          <p:cNvSpPr>
            <a:spLocks noGrp="1"/>
          </p:cNvSpPr>
          <p:nvPr>
            <p:ph type="subTitle" idx="1" hasCustomPrompt="1"/>
          </p:nvPr>
        </p:nvSpPr>
        <p:spPr>
          <a:xfrm>
            <a:off x="343364" y="3474100"/>
            <a:ext cx="8460000" cy="202165"/>
          </a:xfrm>
          <a:prstGeom prst="rect">
            <a:avLst/>
          </a:prstGeom>
        </p:spPr>
        <p:txBody>
          <a:bodyPr lIns="0" tIns="0" rIns="0" bIns="0">
            <a:noAutofit/>
          </a:bodyPr>
          <a:lstStyle>
            <a:lvl1pPr marL="0" indent="0" algn="l">
              <a:buNone/>
              <a:defRPr sz="14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cxnSp>
        <p:nvCxnSpPr>
          <p:cNvPr id="38" name="Straight Connector 37"/>
          <p:cNvCxnSpPr/>
          <p:nvPr userDrawn="1"/>
        </p:nvCxnSpPr>
        <p:spPr>
          <a:xfrm>
            <a:off x="346086" y="3395058"/>
            <a:ext cx="8460000" cy="0"/>
          </a:xfrm>
          <a:prstGeom prst="line">
            <a:avLst/>
          </a:prstGeom>
          <a:ln w="12700"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77" name="Text Placeholder 2"/>
          <p:cNvSpPr>
            <a:spLocks noGrp="1"/>
          </p:cNvSpPr>
          <p:nvPr>
            <p:ph type="body" sz="quarter" idx="25" hasCustomPrompt="1"/>
          </p:nvPr>
        </p:nvSpPr>
        <p:spPr>
          <a:xfrm>
            <a:off x="3342796" y="4807465"/>
            <a:ext cx="1160462" cy="341313"/>
          </a:xfrm>
          <a:prstGeom prst="rect">
            <a:avLst/>
          </a:prstGeom>
        </p:spPr>
        <p:txBody>
          <a:bodyPr anchor="ctr"/>
          <a:lstStyle>
            <a:lvl1pPr marL="0" indent="0" algn="ctr">
              <a:buNone/>
              <a:defRPr sz="800">
                <a:solidFill>
                  <a:schemeClr val="bg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pic>
        <p:nvPicPr>
          <p:cNvPr id="51" name="Picture 5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643755" y="4829728"/>
            <a:ext cx="288000" cy="288000"/>
          </a:xfrm>
          <a:prstGeom prst="rect">
            <a:avLst/>
          </a:prstGeom>
        </p:spPr>
      </p:pic>
      <p:grpSp>
        <p:nvGrpSpPr>
          <p:cNvPr id="52" name="Group 51"/>
          <p:cNvGrpSpPr/>
          <p:nvPr userDrawn="1"/>
        </p:nvGrpSpPr>
        <p:grpSpPr>
          <a:xfrm>
            <a:off x="4750866" y="4840100"/>
            <a:ext cx="1123200" cy="233974"/>
            <a:chOff x="7665803" y="4864376"/>
            <a:chExt cx="1123200" cy="233974"/>
          </a:xfrm>
          <a:solidFill>
            <a:schemeClr val="bg1"/>
          </a:solidFill>
        </p:grpSpPr>
        <p:sp>
          <p:nvSpPr>
            <p:cNvPr id="53" name="Freeform 6"/>
            <p:cNvSpPr>
              <a:spLocks/>
            </p:cNvSpPr>
            <p:nvPr userDrawn="1"/>
          </p:nvSpPr>
          <p:spPr bwMode="auto">
            <a:xfrm>
              <a:off x="8119644" y="4924717"/>
              <a:ext cx="103102" cy="66806"/>
            </a:xfrm>
            <a:custGeom>
              <a:avLst/>
              <a:gdLst>
                <a:gd name="T0" fmla="*/ 111 w 136"/>
                <a:gd name="T1" fmla="*/ 72 h 92"/>
                <a:gd name="T2" fmla="*/ 87 w 136"/>
                <a:gd name="T3" fmla="*/ 88 h 92"/>
                <a:gd name="T4" fmla="*/ 68 w 136"/>
                <a:gd name="T5" fmla="*/ 28 h 92"/>
                <a:gd name="T6" fmla="*/ 67 w 136"/>
                <a:gd name="T7" fmla="*/ 28 h 92"/>
                <a:gd name="T8" fmla="*/ 53 w 136"/>
                <a:gd name="T9" fmla="*/ 72 h 92"/>
                <a:gd name="T10" fmla="*/ 31 w 136"/>
                <a:gd name="T11" fmla="*/ 88 h 92"/>
                <a:gd name="T12" fmla="*/ 0 w 136"/>
                <a:gd name="T13" fmla="*/ 0 h 92"/>
                <a:gd name="T14" fmla="*/ 22 w 136"/>
                <a:gd name="T15" fmla="*/ 0 h 92"/>
                <a:gd name="T16" fmla="*/ 41 w 136"/>
                <a:gd name="T17" fmla="*/ 60 h 92"/>
                <a:gd name="T18" fmla="*/ 41 w 136"/>
                <a:gd name="T19" fmla="*/ 60 h 92"/>
                <a:gd name="T20" fmla="*/ 60 w 136"/>
                <a:gd name="T21" fmla="*/ 0 h 92"/>
                <a:gd name="T22" fmla="*/ 77 w 136"/>
                <a:gd name="T23" fmla="*/ 0 h 92"/>
                <a:gd name="T24" fmla="*/ 96 w 136"/>
                <a:gd name="T25" fmla="*/ 60 h 92"/>
                <a:gd name="T26" fmla="*/ 97 w 136"/>
                <a:gd name="T27" fmla="*/ 60 h 92"/>
                <a:gd name="T28" fmla="*/ 115 w 136"/>
                <a:gd name="T29" fmla="*/ 0 h 92"/>
                <a:gd name="T30" fmla="*/ 136 w 136"/>
                <a:gd name="T31" fmla="*/ 0 h 92"/>
                <a:gd name="T32" fmla="*/ 111 w 136"/>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 h="92">
                  <a:moveTo>
                    <a:pt x="111" y="72"/>
                  </a:moveTo>
                  <a:cubicBezTo>
                    <a:pt x="103" y="92"/>
                    <a:pt x="87" y="88"/>
                    <a:pt x="87" y="88"/>
                  </a:cubicBezTo>
                  <a:cubicBezTo>
                    <a:pt x="68" y="28"/>
                    <a:pt x="68" y="28"/>
                    <a:pt x="68" y="28"/>
                  </a:cubicBezTo>
                  <a:cubicBezTo>
                    <a:pt x="67" y="28"/>
                    <a:pt x="67" y="28"/>
                    <a:pt x="67" y="28"/>
                  </a:cubicBezTo>
                  <a:cubicBezTo>
                    <a:pt x="67" y="28"/>
                    <a:pt x="58"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6" y="60"/>
                    <a:pt x="96" y="60"/>
                    <a:pt x="96" y="60"/>
                  </a:cubicBezTo>
                  <a:cubicBezTo>
                    <a:pt x="97" y="60"/>
                    <a:pt x="97" y="60"/>
                    <a:pt x="97" y="60"/>
                  </a:cubicBezTo>
                  <a:cubicBezTo>
                    <a:pt x="115" y="0"/>
                    <a:pt x="115" y="0"/>
                    <a:pt x="115" y="0"/>
                  </a:cubicBezTo>
                  <a:cubicBezTo>
                    <a:pt x="136" y="0"/>
                    <a:pt x="136" y="0"/>
                    <a:pt x="136" y="0"/>
                  </a:cubicBezTo>
                  <a:cubicBezTo>
                    <a:pt x="136"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54" name="Freeform 7"/>
            <p:cNvSpPr>
              <a:spLocks noEditPoints="1"/>
            </p:cNvSpPr>
            <p:nvPr userDrawn="1"/>
          </p:nvSpPr>
          <p:spPr bwMode="auto">
            <a:xfrm>
              <a:off x="8225958" y="4923177"/>
              <a:ext cx="57493" cy="66190"/>
            </a:xfrm>
            <a:custGeom>
              <a:avLst/>
              <a:gdLst>
                <a:gd name="T0" fmla="*/ 57 w 76"/>
                <a:gd name="T1" fmla="*/ 90 h 91"/>
                <a:gd name="T2" fmla="*/ 53 w 76"/>
                <a:gd name="T3" fmla="*/ 81 h 91"/>
                <a:gd name="T4" fmla="*/ 28 w 76"/>
                <a:gd name="T5" fmla="*/ 91 h 91"/>
                <a:gd name="T6" fmla="*/ 0 w 76"/>
                <a:gd name="T7" fmla="*/ 63 h 91"/>
                <a:gd name="T8" fmla="*/ 36 w 76"/>
                <a:gd name="T9" fmla="*/ 34 h 91"/>
                <a:gd name="T10" fmla="*/ 51 w 76"/>
                <a:gd name="T11" fmla="*/ 34 h 91"/>
                <a:gd name="T12" fmla="*/ 51 w 76"/>
                <a:gd name="T13" fmla="*/ 31 h 91"/>
                <a:gd name="T14" fmla="*/ 35 w 76"/>
                <a:gd name="T15" fmla="*/ 17 h 91"/>
                <a:gd name="T16" fmla="*/ 12 w 76"/>
                <a:gd name="T17" fmla="*/ 23 h 91"/>
                <a:gd name="T18" fmla="*/ 5 w 76"/>
                <a:gd name="T19" fmla="*/ 9 h 91"/>
                <a:gd name="T20" fmla="*/ 39 w 76"/>
                <a:gd name="T21" fmla="*/ 0 h 91"/>
                <a:gd name="T22" fmla="*/ 74 w 76"/>
                <a:gd name="T23" fmla="*/ 31 h 91"/>
                <a:gd name="T24" fmla="*/ 74 w 76"/>
                <a:gd name="T25" fmla="*/ 66 h 91"/>
                <a:gd name="T26" fmla="*/ 76 w 76"/>
                <a:gd name="T27" fmla="*/ 90 h 91"/>
                <a:gd name="T28" fmla="*/ 57 w 76"/>
                <a:gd name="T29" fmla="*/ 90 h 91"/>
                <a:gd name="T30" fmla="*/ 51 w 76"/>
                <a:gd name="T31" fmla="*/ 49 h 91"/>
                <a:gd name="T32" fmla="*/ 39 w 76"/>
                <a:gd name="T33" fmla="*/ 49 h 91"/>
                <a:gd name="T34" fmla="*/ 22 w 76"/>
                <a:gd name="T35" fmla="*/ 61 h 91"/>
                <a:gd name="T36" fmla="*/ 36 w 76"/>
                <a:gd name="T37" fmla="*/ 73 h 91"/>
                <a:gd name="T38" fmla="*/ 51 w 76"/>
                <a:gd name="T39" fmla="*/ 68 h 91"/>
                <a:gd name="T40" fmla="*/ 51 w 76"/>
                <a:gd name="T41" fmla="*/ 4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91">
                  <a:moveTo>
                    <a:pt x="57" y="90"/>
                  </a:moveTo>
                  <a:cubicBezTo>
                    <a:pt x="53" y="81"/>
                    <a:pt x="53" y="81"/>
                    <a:pt x="53" y="81"/>
                  </a:cubicBezTo>
                  <a:cubicBezTo>
                    <a:pt x="48" y="86"/>
                    <a:pt x="40" y="91"/>
                    <a:pt x="28" y="91"/>
                  </a:cubicBezTo>
                  <a:cubicBezTo>
                    <a:pt x="12" y="91"/>
                    <a:pt x="0" y="80"/>
                    <a:pt x="0" y="63"/>
                  </a:cubicBezTo>
                  <a:cubicBezTo>
                    <a:pt x="0" y="45"/>
                    <a:pt x="14" y="35"/>
                    <a:pt x="36" y="34"/>
                  </a:cubicBezTo>
                  <a:cubicBezTo>
                    <a:pt x="51" y="34"/>
                    <a:pt x="51" y="34"/>
                    <a:pt x="51" y="34"/>
                  </a:cubicBezTo>
                  <a:cubicBezTo>
                    <a:pt x="51" y="33"/>
                    <a:pt x="51" y="32"/>
                    <a:pt x="51" y="31"/>
                  </a:cubicBezTo>
                  <a:cubicBezTo>
                    <a:pt x="51" y="21"/>
                    <a:pt x="44" y="17"/>
                    <a:pt x="35" y="17"/>
                  </a:cubicBezTo>
                  <a:cubicBezTo>
                    <a:pt x="25" y="17"/>
                    <a:pt x="18" y="20"/>
                    <a:pt x="12" y="23"/>
                  </a:cubicBezTo>
                  <a:cubicBezTo>
                    <a:pt x="5" y="9"/>
                    <a:pt x="5" y="9"/>
                    <a:pt x="5" y="9"/>
                  </a:cubicBezTo>
                  <a:cubicBezTo>
                    <a:pt x="17" y="2"/>
                    <a:pt x="28" y="0"/>
                    <a:pt x="39" y="0"/>
                  </a:cubicBezTo>
                  <a:cubicBezTo>
                    <a:pt x="61" y="0"/>
                    <a:pt x="74" y="9"/>
                    <a:pt x="74" y="31"/>
                  </a:cubicBezTo>
                  <a:cubicBezTo>
                    <a:pt x="74" y="66"/>
                    <a:pt x="74" y="66"/>
                    <a:pt x="74" y="66"/>
                  </a:cubicBezTo>
                  <a:cubicBezTo>
                    <a:pt x="74" y="78"/>
                    <a:pt x="75" y="86"/>
                    <a:pt x="76" y="90"/>
                  </a:cubicBezTo>
                  <a:lnTo>
                    <a:pt x="57" y="90"/>
                  </a:lnTo>
                  <a:close/>
                  <a:moveTo>
                    <a:pt x="51" y="49"/>
                  </a:moveTo>
                  <a:cubicBezTo>
                    <a:pt x="39" y="49"/>
                    <a:pt x="39" y="49"/>
                    <a:pt x="39" y="49"/>
                  </a:cubicBezTo>
                  <a:cubicBezTo>
                    <a:pt x="27" y="50"/>
                    <a:pt x="22" y="54"/>
                    <a:pt x="22" y="61"/>
                  </a:cubicBezTo>
                  <a:cubicBezTo>
                    <a:pt x="22" y="68"/>
                    <a:pt x="27" y="73"/>
                    <a:pt x="36" y="73"/>
                  </a:cubicBezTo>
                  <a:cubicBezTo>
                    <a:pt x="44" y="73"/>
                    <a:pt x="49" y="70"/>
                    <a:pt x="51" y="68"/>
                  </a:cubicBezTo>
                  <a:lnTo>
                    <a:pt x="51" y="4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55" name="Freeform 8"/>
            <p:cNvSpPr>
              <a:spLocks noEditPoints="1"/>
            </p:cNvSpPr>
            <p:nvPr userDrawn="1"/>
          </p:nvSpPr>
          <p:spPr bwMode="auto">
            <a:xfrm>
              <a:off x="8342550" y="4892699"/>
              <a:ext cx="62311" cy="96668"/>
            </a:xfrm>
            <a:custGeom>
              <a:avLst/>
              <a:gdLst>
                <a:gd name="T0" fmla="*/ 47 w 82"/>
                <a:gd name="T1" fmla="*/ 133 h 133"/>
                <a:gd name="T2" fmla="*/ 0 w 82"/>
                <a:gd name="T3" fmla="*/ 88 h 133"/>
                <a:gd name="T4" fmla="*/ 48 w 82"/>
                <a:gd name="T5" fmla="*/ 42 h 133"/>
                <a:gd name="T6" fmla="*/ 59 w 82"/>
                <a:gd name="T7" fmla="*/ 42 h 133"/>
                <a:gd name="T8" fmla="*/ 60 w 82"/>
                <a:gd name="T9" fmla="*/ 0 h 133"/>
                <a:gd name="T10" fmla="*/ 82 w 82"/>
                <a:gd name="T11" fmla="*/ 0 h 133"/>
                <a:gd name="T12" fmla="*/ 81 w 82"/>
                <a:gd name="T13" fmla="*/ 126 h 133"/>
                <a:gd name="T14" fmla="*/ 47 w 82"/>
                <a:gd name="T15" fmla="*/ 133 h 133"/>
                <a:gd name="T16" fmla="*/ 59 w 82"/>
                <a:gd name="T17" fmla="*/ 60 h 133"/>
                <a:gd name="T18" fmla="*/ 49 w 82"/>
                <a:gd name="T19" fmla="*/ 59 h 133"/>
                <a:gd name="T20" fmla="*/ 22 w 82"/>
                <a:gd name="T21" fmla="*/ 87 h 133"/>
                <a:gd name="T22" fmla="*/ 49 w 82"/>
                <a:gd name="T23" fmla="*/ 114 h 133"/>
                <a:gd name="T24" fmla="*/ 59 w 82"/>
                <a:gd name="T25" fmla="*/ 113 h 133"/>
                <a:gd name="T26" fmla="*/ 59 w 82"/>
                <a:gd name="T27" fmla="*/ 6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3">
                  <a:moveTo>
                    <a:pt x="47" y="133"/>
                  </a:moveTo>
                  <a:cubicBezTo>
                    <a:pt x="21" y="133"/>
                    <a:pt x="0" y="117"/>
                    <a:pt x="0" y="88"/>
                  </a:cubicBezTo>
                  <a:cubicBezTo>
                    <a:pt x="0" y="61"/>
                    <a:pt x="20" y="42"/>
                    <a:pt x="48" y="42"/>
                  </a:cubicBezTo>
                  <a:cubicBezTo>
                    <a:pt x="52" y="42"/>
                    <a:pt x="56" y="42"/>
                    <a:pt x="59" y="42"/>
                  </a:cubicBezTo>
                  <a:cubicBezTo>
                    <a:pt x="60" y="0"/>
                    <a:pt x="60" y="0"/>
                    <a:pt x="60" y="0"/>
                  </a:cubicBezTo>
                  <a:cubicBezTo>
                    <a:pt x="82" y="0"/>
                    <a:pt x="82" y="0"/>
                    <a:pt x="82" y="0"/>
                  </a:cubicBezTo>
                  <a:cubicBezTo>
                    <a:pt x="81" y="126"/>
                    <a:pt x="81" y="126"/>
                    <a:pt x="81" y="126"/>
                  </a:cubicBezTo>
                  <a:cubicBezTo>
                    <a:pt x="73" y="130"/>
                    <a:pt x="62" y="133"/>
                    <a:pt x="47" y="133"/>
                  </a:cubicBezTo>
                  <a:close/>
                  <a:moveTo>
                    <a:pt x="59" y="60"/>
                  </a:moveTo>
                  <a:cubicBezTo>
                    <a:pt x="56" y="60"/>
                    <a:pt x="54" y="59"/>
                    <a:pt x="49" y="59"/>
                  </a:cubicBezTo>
                  <a:cubicBezTo>
                    <a:pt x="33" y="59"/>
                    <a:pt x="22" y="70"/>
                    <a:pt x="22" y="87"/>
                  </a:cubicBezTo>
                  <a:cubicBezTo>
                    <a:pt x="22" y="103"/>
                    <a:pt x="32" y="114"/>
                    <a:pt x="49" y="114"/>
                  </a:cubicBezTo>
                  <a:cubicBezTo>
                    <a:pt x="53" y="114"/>
                    <a:pt x="57" y="114"/>
                    <a:pt x="59" y="113"/>
                  </a:cubicBezTo>
                  <a:lnTo>
                    <a:pt x="59" y="60"/>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56" name="Freeform 9"/>
            <p:cNvSpPr>
              <a:spLocks/>
            </p:cNvSpPr>
            <p:nvPr userDrawn="1"/>
          </p:nvSpPr>
          <p:spPr bwMode="auto">
            <a:xfrm>
              <a:off x="8093949"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57" name="Freeform 10"/>
            <p:cNvSpPr>
              <a:spLocks/>
            </p:cNvSpPr>
            <p:nvPr userDrawn="1"/>
          </p:nvSpPr>
          <p:spPr bwMode="auto">
            <a:xfrm>
              <a:off x="8060545"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11"/>
            <p:cNvSpPr>
              <a:spLocks/>
            </p:cNvSpPr>
            <p:nvPr userDrawn="1"/>
          </p:nvSpPr>
          <p:spPr bwMode="auto">
            <a:xfrm>
              <a:off x="8297262" y="4923177"/>
              <a:ext cx="43039" cy="66190"/>
            </a:xfrm>
            <a:custGeom>
              <a:avLst/>
              <a:gdLst>
                <a:gd name="T0" fmla="*/ 49 w 57"/>
                <a:gd name="T1" fmla="*/ 22 h 91"/>
                <a:gd name="T2" fmla="*/ 39 w 57"/>
                <a:gd name="T3" fmla="*/ 20 h 91"/>
                <a:gd name="T4" fmla="*/ 22 w 57"/>
                <a:gd name="T5" fmla="*/ 27 h 91"/>
                <a:gd name="T6" fmla="*/ 22 w 57"/>
                <a:gd name="T7" fmla="*/ 74 h 91"/>
                <a:gd name="T8" fmla="*/ 0 w 57"/>
                <a:gd name="T9" fmla="*/ 90 h 91"/>
                <a:gd name="T10" fmla="*/ 0 w 57"/>
                <a:gd name="T11" fmla="*/ 2 h 91"/>
                <a:gd name="T12" fmla="*/ 18 w 57"/>
                <a:gd name="T13" fmla="*/ 2 h 91"/>
                <a:gd name="T14" fmla="*/ 21 w 57"/>
                <a:gd name="T15" fmla="*/ 11 h 91"/>
                <a:gd name="T16" fmla="*/ 45 w 57"/>
                <a:gd name="T17" fmla="*/ 0 h 91"/>
                <a:gd name="T18" fmla="*/ 57 w 57"/>
                <a:gd name="T19" fmla="*/ 4 h 91"/>
                <a:gd name="T20" fmla="*/ 49 w 57"/>
                <a:gd name="T21" fmla="*/ 2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1">
                  <a:moveTo>
                    <a:pt x="49" y="22"/>
                  </a:moveTo>
                  <a:cubicBezTo>
                    <a:pt x="45" y="20"/>
                    <a:pt x="41" y="20"/>
                    <a:pt x="39" y="20"/>
                  </a:cubicBezTo>
                  <a:cubicBezTo>
                    <a:pt x="34" y="20"/>
                    <a:pt x="28" y="22"/>
                    <a:pt x="22" y="27"/>
                  </a:cubicBezTo>
                  <a:cubicBezTo>
                    <a:pt x="22" y="27"/>
                    <a:pt x="22" y="57"/>
                    <a:pt x="22" y="74"/>
                  </a:cubicBezTo>
                  <a:cubicBezTo>
                    <a:pt x="22" y="91"/>
                    <a:pt x="0" y="90"/>
                    <a:pt x="0" y="90"/>
                  </a:cubicBezTo>
                  <a:cubicBezTo>
                    <a:pt x="0" y="2"/>
                    <a:pt x="0" y="2"/>
                    <a:pt x="0" y="2"/>
                  </a:cubicBezTo>
                  <a:cubicBezTo>
                    <a:pt x="18" y="2"/>
                    <a:pt x="18" y="2"/>
                    <a:pt x="18"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59" name="Freeform 12"/>
            <p:cNvSpPr>
              <a:spLocks/>
            </p:cNvSpPr>
            <p:nvPr userDrawn="1"/>
          </p:nvSpPr>
          <p:spPr bwMode="auto">
            <a:xfrm>
              <a:off x="7907980" y="4892699"/>
              <a:ext cx="98605" cy="95129"/>
            </a:xfrm>
            <a:custGeom>
              <a:avLst/>
              <a:gdLst>
                <a:gd name="T0" fmla="*/ 106 w 130"/>
                <a:gd name="T1" fmla="*/ 131 h 131"/>
                <a:gd name="T2" fmla="*/ 106 w 130"/>
                <a:gd name="T3" fmla="*/ 53 h 131"/>
                <a:gd name="T4" fmla="*/ 107 w 130"/>
                <a:gd name="T5" fmla="*/ 39 h 131"/>
                <a:gd name="T6" fmla="*/ 106 w 130"/>
                <a:gd name="T7" fmla="*/ 39 h 131"/>
                <a:gd name="T8" fmla="*/ 99 w 130"/>
                <a:gd name="T9" fmla="*/ 52 h 131"/>
                <a:gd name="T10" fmla="*/ 72 w 130"/>
                <a:gd name="T11" fmla="*/ 93 h 131"/>
                <a:gd name="T12" fmla="*/ 60 w 130"/>
                <a:gd name="T13" fmla="*/ 93 h 131"/>
                <a:gd name="T14" fmla="*/ 32 w 130"/>
                <a:gd name="T15" fmla="*/ 51 h 131"/>
                <a:gd name="T16" fmla="*/ 24 w 130"/>
                <a:gd name="T17" fmla="*/ 39 h 131"/>
                <a:gd name="T18" fmla="*/ 23 w 130"/>
                <a:gd name="T19" fmla="*/ 39 h 131"/>
                <a:gd name="T20" fmla="*/ 24 w 130"/>
                <a:gd name="T21" fmla="*/ 52 h 131"/>
                <a:gd name="T22" fmla="*/ 24 w 130"/>
                <a:gd name="T23" fmla="*/ 131 h 131"/>
                <a:gd name="T24" fmla="*/ 0 w 130"/>
                <a:gd name="T25" fmla="*/ 131 h 131"/>
                <a:gd name="T26" fmla="*/ 0 w 130"/>
                <a:gd name="T27" fmla="*/ 0 h 131"/>
                <a:gd name="T28" fmla="*/ 22 w 130"/>
                <a:gd name="T29" fmla="*/ 0 h 131"/>
                <a:gd name="T30" fmla="*/ 58 w 130"/>
                <a:gd name="T31" fmla="*/ 52 h 131"/>
                <a:gd name="T32" fmla="*/ 66 w 130"/>
                <a:gd name="T33" fmla="*/ 66 h 131"/>
                <a:gd name="T34" fmla="*/ 67 w 130"/>
                <a:gd name="T35" fmla="*/ 66 h 131"/>
                <a:gd name="T36" fmla="*/ 75 w 130"/>
                <a:gd name="T37" fmla="*/ 52 h 131"/>
                <a:gd name="T38" fmla="*/ 108 w 130"/>
                <a:gd name="T39" fmla="*/ 0 h 131"/>
                <a:gd name="T40" fmla="*/ 130 w 130"/>
                <a:gd name="T41" fmla="*/ 0 h 131"/>
                <a:gd name="T42" fmla="*/ 130 w 130"/>
                <a:gd name="T43" fmla="*/ 131 h 131"/>
                <a:gd name="T44" fmla="*/ 106 w 130"/>
                <a:gd name="T45"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0" h="131">
                  <a:moveTo>
                    <a:pt x="106" y="131"/>
                  </a:moveTo>
                  <a:cubicBezTo>
                    <a:pt x="106" y="53"/>
                    <a:pt x="106" y="53"/>
                    <a:pt x="106" y="53"/>
                  </a:cubicBezTo>
                  <a:cubicBezTo>
                    <a:pt x="106" y="48"/>
                    <a:pt x="106" y="44"/>
                    <a:pt x="107" y="39"/>
                  </a:cubicBezTo>
                  <a:cubicBezTo>
                    <a:pt x="106" y="39"/>
                    <a:pt x="106" y="39"/>
                    <a:pt x="106" y="39"/>
                  </a:cubicBezTo>
                  <a:cubicBezTo>
                    <a:pt x="105" y="43"/>
                    <a:pt x="101" y="49"/>
                    <a:pt x="99" y="52"/>
                  </a:cubicBezTo>
                  <a:cubicBezTo>
                    <a:pt x="72" y="93"/>
                    <a:pt x="72" y="93"/>
                    <a:pt x="72" y="93"/>
                  </a:cubicBezTo>
                  <a:cubicBezTo>
                    <a:pt x="60" y="93"/>
                    <a:pt x="60" y="93"/>
                    <a:pt x="60" y="93"/>
                  </a:cubicBezTo>
                  <a:cubicBezTo>
                    <a:pt x="32" y="51"/>
                    <a:pt x="32" y="51"/>
                    <a:pt x="32" y="51"/>
                  </a:cubicBezTo>
                  <a:cubicBezTo>
                    <a:pt x="29" y="48"/>
                    <a:pt x="26" y="44"/>
                    <a:pt x="24" y="39"/>
                  </a:cubicBezTo>
                  <a:cubicBezTo>
                    <a:pt x="23" y="39"/>
                    <a:pt x="23" y="39"/>
                    <a:pt x="23" y="39"/>
                  </a:cubicBezTo>
                  <a:cubicBezTo>
                    <a:pt x="24" y="44"/>
                    <a:pt x="24" y="48"/>
                    <a:pt x="24" y="52"/>
                  </a:cubicBezTo>
                  <a:cubicBezTo>
                    <a:pt x="24" y="131"/>
                    <a:pt x="24" y="131"/>
                    <a:pt x="24" y="131"/>
                  </a:cubicBezTo>
                  <a:cubicBezTo>
                    <a:pt x="0" y="131"/>
                    <a:pt x="0" y="131"/>
                    <a:pt x="0" y="131"/>
                  </a:cubicBezTo>
                  <a:cubicBezTo>
                    <a:pt x="0" y="0"/>
                    <a:pt x="0" y="0"/>
                    <a:pt x="0" y="0"/>
                  </a:cubicBezTo>
                  <a:cubicBezTo>
                    <a:pt x="22" y="0"/>
                    <a:pt x="22" y="0"/>
                    <a:pt x="22" y="0"/>
                  </a:cubicBezTo>
                  <a:cubicBezTo>
                    <a:pt x="58" y="52"/>
                    <a:pt x="58" y="52"/>
                    <a:pt x="58" y="52"/>
                  </a:cubicBezTo>
                  <a:cubicBezTo>
                    <a:pt x="61" y="57"/>
                    <a:pt x="64" y="61"/>
                    <a:pt x="66" y="66"/>
                  </a:cubicBezTo>
                  <a:cubicBezTo>
                    <a:pt x="67" y="66"/>
                    <a:pt x="67" y="66"/>
                    <a:pt x="67" y="66"/>
                  </a:cubicBezTo>
                  <a:cubicBezTo>
                    <a:pt x="69" y="61"/>
                    <a:pt x="71" y="57"/>
                    <a:pt x="75" y="52"/>
                  </a:cubicBezTo>
                  <a:cubicBezTo>
                    <a:pt x="108" y="0"/>
                    <a:pt x="108" y="0"/>
                    <a:pt x="108" y="0"/>
                  </a:cubicBezTo>
                  <a:cubicBezTo>
                    <a:pt x="130" y="0"/>
                    <a:pt x="130" y="0"/>
                    <a:pt x="130" y="0"/>
                  </a:cubicBezTo>
                  <a:cubicBezTo>
                    <a:pt x="130" y="131"/>
                    <a:pt x="130" y="131"/>
                    <a:pt x="130" y="131"/>
                  </a:cubicBezTo>
                  <a:lnTo>
                    <a:pt x="106" y="131"/>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0" name="Freeform 13"/>
            <p:cNvSpPr>
              <a:spLocks/>
            </p:cNvSpPr>
            <p:nvPr userDrawn="1"/>
          </p:nvSpPr>
          <p:spPr bwMode="auto">
            <a:xfrm>
              <a:off x="7665803" y="4864376"/>
              <a:ext cx="100854" cy="148389"/>
            </a:xfrm>
            <a:custGeom>
              <a:avLst/>
              <a:gdLst>
                <a:gd name="T0" fmla="*/ 133 w 133"/>
                <a:gd name="T1" fmla="*/ 23 h 204"/>
                <a:gd name="T2" fmla="*/ 132 w 133"/>
                <a:gd name="T3" fmla="*/ 22 h 204"/>
                <a:gd name="T4" fmla="*/ 65 w 133"/>
                <a:gd name="T5" fmla="*/ 20 h 204"/>
                <a:gd name="T6" fmla="*/ 52 w 133"/>
                <a:gd name="T7" fmla="*/ 52 h 204"/>
                <a:gd name="T8" fmla="*/ 20 w 133"/>
                <a:gd name="T9" fmla="*/ 65 h 204"/>
                <a:gd name="T10" fmla="*/ 22 w 133"/>
                <a:gd name="T11" fmla="*/ 132 h 204"/>
                <a:gd name="T12" fmla="*/ 95 w 133"/>
                <a:gd name="T13" fmla="*/ 204 h 204"/>
                <a:gd name="T14" fmla="*/ 117 w 133"/>
                <a:gd name="T15" fmla="*/ 182 h 204"/>
                <a:gd name="T16" fmla="*/ 44 w 133"/>
                <a:gd name="T17" fmla="*/ 110 h 204"/>
                <a:gd name="T18" fmla="*/ 42 w 133"/>
                <a:gd name="T19" fmla="*/ 86 h 204"/>
                <a:gd name="T20" fmla="*/ 66 w 133"/>
                <a:gd name="T21" fmla="*/ 88 h 204"/>
                <a:gd name="T22" fmla="*/ 133 w 133"/>
                <a:gd name="T23" fmla="*/ 155 h 204"/>
                <a:gd name="T24" fmla="*/ 133 w 133"/>
                <a:gd name="T25" fmla="*/ 111 h 204"/>
                <a:gd name="T26" fmla="*/ 88 w 133"/>
                <a:gd name="T27" fmla="*/ 66 h 204"/>
                <a:gd name="T28" fmla="*/ 86 w 133"/>
                <a:gd name="T29" fmla="*/ 42 h 204"/>
                <a:gd name="T30" fmla="*/ 110 w 133"/>
                <a:gd name="T31" fmla="*/ 44 h 204"/>
                <a:gd name="T32" fmla="*/ 133 w 133"/>
                <a:gd name="T33" fmla="*/ 66 h 204"/>
                <a:gd name="T34" fmla="*/ 133 w 133"/>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204">
                  <a:moveTo>
                    <a:pt x="133" y="23"/>
                  </a:moveTo>
                  <a:cubicBezTo>
                    <a:pt x="132" y="22"/>
                    <a:pt x="132" y="22"/>
                    <a:pt x="132" y="22"/>
                  </a:cubicBezTo>
                  <a:cubicBezTo>
                    <a:pt x="110" y="0"/>
                    <a:pt x="82" y="2"/>
                    <a:pt x="65" y="20"/>
                  </a:cubicBezTo>
                  <a:cubicBezTo>
                    <a:pt x="53" y="32"/>
                    <a:pt x="51" y="46"/>
                    <a:pt x="52" y="52"/>
                  </a:cubicBezTo>
                  <a:cubicBezTo>
                    <a:pt x="47" y="51"/>
                    <a:pt x="32" y="52"/>
                    <a:pt x="20" y="65"/>
                  </a:cubicBezTo>
                  <a:cubicBezTo>
                    <a:pt x="3" y="82"/>
                    <a:pt x="0" y="110"/>
                    <a:pt x="22" y="132"/>
                  </a:cubicBezTo>
                  <a:cubicBezTo>
                    <a:pt x="95" y="204"/>
                    <a:pt x="95" y="204"/>
                    <a:pt x="95" y="204"/>
                  </a:cubicBezTo>
                  <a:cubicBezTo>
                    <a:pt x="117" y="182"/>
                    <a:pt x="117" y="182"/>
                    <a:pt x="117" y="182"/>
                  </a:cubicBezTo>
                  <a:cubicBezTo>
                    <a:pt x="44" y="110"/>
                    <a:pt x="44" y="110"/>
                    <a:pt x="44" y="110"/>
                  </a:cubicBezTo>
                  <a:cubicBezTo>
                    <a:pt x="35" y="101"/>
                    <a:pt x="36" y="91"/>
                    <a:pt x="42" y="86"/>
                  </a:cubicBezTo>
                  <a:cubicBezTo>
                    <a:pt x="47" y="80"/>
                    <a:pt x="58" y="79"/>
                    <a:pt x="66" y="88"/>
                  </a:cubicBezTo>
                  <a:cubicBezTo>
                    <a:pt x="133" y="155"/>
                    <a:pt x="133" y="155"/>
                    <a:pt x="133" y="155"/>
                  </a:cubicBezTo>
                  <a:cubicBezTo>
                    <a:pt x="133" y="111"/>
                    <a:pt x="133" y="111"/>
                    <a:pt x="133" y="111"/>
                  </a:cubicBezTo>
                  <a:cubicBezTo>
                    <a:pt x="88" y="66"/>
                    <a:pt x="88" y="66"/>
                    <a:pt x="88" y="66"/>
                  </a:cubicBezTo>
                  <a:cubicBezTo>
                    <a:pt x="80" y="57"/>
                    <a:pt x="80" y="47"/>
                    <a:pt x="86" y="42"/>
                  </a:cubicBezTo>
                  <a:cubicBezTo>
                    <a:pt x="92" y="36"/>
                    <a:pt x="102" y="35"/>
                    <a:pt x="110" y="44"/>
                  </a:cubicBezTo>
                  <a:cubicBezTo>
                    <a:pt x="133" y="66"/>
                    <a:pt x="133" y="66"/>
                    <a:pt x="133" y="66"/>
                  </a:cubicBezTo>
                  <a:lnTo>
                    <a:pt x="133"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1" name="Freeform 14"/>
            <p:cNvSpPr>
              <a:spLocks noEditPoints="1"/>
            </p:cNvSpPr>
            <p:nvPr userDrawn="1"/>
          </p:nvSpPr>
          <p:spPr bwMode="auto">
            <a:xfrm>
              <a:off x="8023287" y="4895470"/>
              <a:ext cx="20556" cy="93282"/>
            </a:xfrm>
            <a:custGeom>
              <a:avLst/>
              <a:gdLst>
                <a:gd name="T0" fmla="*/ 14 w 27"/>
                <a:gd name="T1" fmla="*/ 26 h 128"/>
                <a:gd name="T2" fmla="*/ 0 w 27"/>
                <a:gd name="T3" fmla="*/ 13 h 128"/>
                <a:gd name="T4" fmla="*/ 14 w 27"/>
                <a:gd name="T5" fmla="*/ 0 h 128"/>
                <a:gd name="T6" fmla="*/ 27 w 27"/>
                <a:gd name="T7" fmla="*/ 13 h 128"/>
                <a:gd name="T8" fmla="*/ 14 w 27"/>
                <a:gd name="T9" fmla="*/ 26 h 128"/>
                <a:gd name="T10" fmla="*/ 3 w 27"/>
                <a:gd name="T11" fmla="*/ 128 h 128"/>
                <a:gd name="T12" fmla="*/ 3 w 27"/>
                <a:gd name="T13" fmla="*/ 40 h 128"/>
                <a:gd name="T14" fmla="*/ 25 w 27"/>
                <a:gd name="T15" fmla="*/ 40 h 128"/>
                <a:gd name="T16" fmla="*/ 25 w 27"/>
                <a:gd name="T17" fmla="*/ 112 h 128"/>
                <a:gd name="T18" fmla="*/ 3 w 27"/>
                <a:gd name="T1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128">
                  <a:moveTo>
                    <a:pt x="14" y="26"/>
                  </a:moveTo>
                  <a:cubicBezTo>
                    <a:pt x="6" y="26"/>
                    <a:pt x="0" y="20"/>
                    <a:pt x="0" y="13"/>
                  </a:cubicBezTo>
                  <a:cubicBezTo>
                    <a:pt x="0" y="6"/>
                    <a:pt x="6" y="0"/>
                    <a:pt x="14" y="0"/>
                  </a:cubicBezTo>
                  <a:cubicBezTo>
                    <a:pt x="21" y="0"/>
                    <a:pt x="27" y="5"/>
                    <a:pt x="27" y="13"/>
                  </a:cubicBezTo>
                  <a:cubicBezTo>
                    <a:pt x="27" y="20"/>
                    <a:pt x="21" y="26"/>
                    <a:pt x="14" y="26"/>
                  </a:cubicBezTo>
                  <a:close/>
                  <a:moveTo>
                    <a:pt x="3" y="128"/>
                  </a:moveTo>
                  <a:cubicBezTo>
                    <a:pt x="3" y="40"/>
                    <a:pt x="3" y="40"/>
                    <a:pt x="3" y="40"/>
                  </a:cubicBezTo>
                  <a:cubicBezTo>
                    <a:pt x="25" y="40"/>
                    <a:pt x="25" y="40"/>
                    <a:pt x="25" y="40"/>
                  </a:cubicBezTo>
                  <a:cubicBezTo>
                    <a:pt x="25" y="40"/>
                    <a:pt x="25" y="95"/>
                    <a:pt x="25" y="112"/>
                  </a:cubicBezTo>
                  <a:cubicBezTo>
                    <a:pt x="25" y="128"/>
                    <a:pt x="3" y="128"/>
                    <a:pt x="3" y="1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2" name="Freeform 15"/>
            <p:cNvSpPr>
              <a:spLocks/>
            </p:cNvSpPr>
            <p:nvPr userDrawn="1"/>
          </p:nvSpPr>
          <p:spPr bwMode="auto">
            <a:xfrm>
              <a:off x="8615239" y="4924717"/>
              <a:ext cx="103744" cy="66806"/>
            </a:xfrm>
            <a:custGeom>
              <a:avLst/>
              <a:gdLst>
                <a:gd name="T0" fmla="*/ 111 w 137"/>
                <a:gd name="T1" fmla="*/ 72 h 92"/>
                <a:gd name="T2" fmla="*/ 88 w 137"/>
                <a:gd name="T3" fmla="*/ 88 h 92"/>
                <a:gd name="T4" fmla="*/ 68 w 137"/>
                <a:gd name="T5" fmla="*/ 28 h 92"/>
                <a:gd name="T6" fmla="*/ 68 w 137"/>
                <a:gd name="T7" fmla="*/ 28 h 92"/>
                <a:gd name="T8" fmla="*/ 53 w 137"/>
                <a:gd name="T9" fmla="*/ 72 h 92"/>
                <a:gd name="T10" fmla="*/ 31 w 137"/>
                <a:gd name="T11" fmla="*/ 88 h 92"/>
                <a:gd name="T12" fmla="*/ 0 w 137"/>
                <a:gd name="T13" fmla="*/ 0 h 92"/>
                <a:gd name="T14" fmla="*/ 22 w 137"/>
                <a:gd name="T15" fmla="*/ 0 h 92"/>
                <a:gd name="T16" fmla="*/ 41 w 137"/>
                <a:gd name="T17" fmla="*/ 60 h 92"/>
                <a:gd name="T18" fmla="*/ 41 w 137"/>
                <a:gd name="T19" fmla="*/ 60 h 92"/>
                <a:gd name="T20" fmla="*/ 60 w 137"/>
                <a:gd name="T21" fmla="*/ 0 h 92"/>
                <a:gd name="T22" fmla="*/ 77 w 137"/>
                <a:gd name="T23" fmla="*/ 0 h 92"/>
                <a:gd name="T24" fmla="*/ 97 w 137"/>
                <a:gd name="T25" fmla="*/ 60 h 92"/>
                <a:gd name="T26" fmla="*/ 97 w 137"/>
                <a:gd name="T27" fmla="*/ 60 h 92"/>
                <a:gd name="T28" fmla="*/ 115 w 137"/>
                <a:gd name="T29" fmla="*/ 0 h 92"/>
                <a:gd name="T30" fmla="*/ 137 w 137"/>
                <a:gd name="T31" fmla="*/ 0 h 92"/>
                <a:gd name="T32" fmla="*/ 111 w 137"/>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 h="92">
                  <a:moveTo>
                    <a:pt x="111" y="72"/>
                  </a:moveTo>
                  <a:cubicBezTo>
                    <a:pt x="104" y="92"/>
                    <a:pt x="88" y="88"/>
                    <a:pt x="88" y="88"/>
                  </a:cubicBezTo>
                  <a:cubicBezTo>
                    <a:pt x="68" y="28"/>
                    <a:pt x="68" y="28"/>
                    <a:pt x="68" y="28"/>
                  </a:cubicBezTo>
                  <a:cubicBezTo>
                    <a:pt x="68" y="28"/>
                    <a:pt x="68" y="28"/>
                    <a:pt x="68" y="28"/>
                  </a:cubicBezTo>
                  <a:cubicBezTo>
                    <a:pt x="68" y="28"/>
                    <a:pt x="59"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7" y="60"/>
                    <a:pt x="97" y="60"/>
                    <a:pt x="97" y="60"/>
                  </a:cubicBezTo>
                  <a:cubicBezTo>
                    <a:pt x="97" y="60"/>
                    <a:pt x="97" y="60"/>
                    <a:pt x="97" y="60"/>
                  </a:cubicBezTo>
                  <a:cubicBezTo>
                    <a:pt x="115" y="0"/>
                    <a:pt x="115" y="0"/>
                    <a:pt x="115" y="0"/>
                  </a:cubicBezTo>
                  <a:cubicBezTo>
                    <a:pt x="137" y="0"/>
                    <a:pt x="137" y="0"/>
                    <a:pt x="137" y="0"/>
                  </a:cubicBezTo>
                  <a:cubicBezTo>
                    <a:pt x="137"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3" name="Freeform 16"/>
            <p:cNvSpPr>
              <a:spLocks noEditPoints="1"/>
            </p:cNvSpPr>
            <p:nvPr userDrawn="1"/>
          </p:nvSpPr>
          <p:spPr bwMode="auto">
            <a:xfrm>
              <a:off x="8423168" y="4892699"/>
              <a:ext cx="65844" cy="95129"/>
            </a:xfrm>
            <a:custGeom>
              <a:avLst/>
              <a:gdLst>
                <a:gd name="T0" fmla="*/ 1 w 87"/>
                <a:gd name="T1" fmla="*/ 0 h 131"/>
                <a:gd name="T2" fmla="*/ 0 w 87"/>
                <a:gd name="T3" fmla="*/ 131 h 131"/>
                <a:gd name="T4" fmla="*/ 41 w 87"/>
                <a:gd name="T5" fmla="*/ 131 h 131"/>
                <a:gd name="T6" fmla="*/ 87 w 87"/>
                <a:gd name="T7" fmla="*/ 92 h 131"/>
                <a:gd name="T8" fmla="*/ 65 w 87"/>
                <a:gd name="T9" fmla="*/ 61 h 131"/>
                <a:gd name="T10" fmla="*/ 62 w 87"/>
                <a:gd name="T11" fmla="*/ 60 h 131"/>
                <a:gd name="T12" fmla="*/ 64 w 87"/>
                <a:gd name="T13" fmla="*/ 59 h 131"/>
                <a:gd name="T14" fmla="*/ 79 w 87"/>
                <a:gd name="T15" fmla="*/ 32 h 131"/>
                <a:gd name="T16" fmla="*/ 42 w 87"/>
                <a:gd name="T17" fmla="*/ 0 h 131"/>
                <a:gd name="T18" fmla="*/ 1 w 87"/>
                <a:gd name="T19" fmla="*/ 0 h 131"/>
                <a:gd name="T20" fmla="*/ 23 w 87"/>
                <a:gd name="T21" fmla="*/ 17 h 131"/>
                <a:gd name="T22" fmla="*/ 36 w 87"/>
                <a:gd name="T23" fmla="*/ 17 h 131"/>
                <a:gd name="T24" fmla="*/ 56 w 87"/>
                <a:gd name="T25" fmla="*/ 35 h 131"/>
                <a:gd name="T26" fmla="*/ 38 w 87"/>
                <a:gd name="T27" fmla="*/ 55 h 131"/>
                <a:gd name="T28" fmla="*/ 22 w 87"/>
                <a:gd name="T29" fmla="*/ 55 h 131"/>
                <a:gd name="T30" fmla="*/ 23 w 87"/>
                <a:gd name="T31" fmla="*/ 17 h 131"/>
                <a:gd name="T32" fmla="*/ 22 w 87"/>
                <a:gd name="T33" fmla="*/ 74 h 131"/>
                <a:gd name="T34" fmla="*/ 40 w 87"/>
                <a:gd name="T35" fmla="*/ 74 h 131"/>
                <a:gd name="T36" fmla="*/ 64 w 87"/>
                <a:gd name="T37" fmla="*/ 92 h 131"/>
                <a:gd name="T38" fmla="*/ 39 w 87"/>
                <a:gd name="T39" fmla="*/ 113 h 131"/>
                <a:gd name="T40" fmla="*/ 22 w 87"/>
                <a:gd name="T41" fmla="*/ 113 h 131"/>
                <a:gd name="T42" fmla="*/ 22 w 87"/>
                <a:gd name="T43" fmla="*/ 7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131">
                  <a:moveTo>
                    <a:pt x="1" y="0"/>
                  </a:moveTo>
                  <a:cubicBezTo>
                    <a:pt x="1" y="3"/>
                    <a:pt x="0" y="129"/>
                    <a:pt x="0" y="131"/>
                  </a:cubicBezTo>
                  <a:cubicBezTo>
                    <a:pt x="2" y="131"/>
                    <a:pt x="41" y="131"/>
                    <a:pt x="41" y="131"/>
                  </a:cubicBezTo>
                  <a:cubicBezTo>
                    <a:pt x="73" y="131"/>
                    <a:pt x="87" y="111"/>
                    <a:pt x="87" y="92"/>
                  </a:cubicBezTo>
                  <a:cubicBezTo>
                    <a:pt x="87" y="77"/>
                    <a:pt x="79" y="65"/>
                    <a:pt x="65" y="61"/>
                  </a:cubicBezTo>
                  <a:cubicBezTo>
                    <a:pt x="62" y="60"/>
                    <a:pt x="62" y="60"/>
                    <a:pt x="62" y="60"/>
                  </a:cubicBezTo>
                  <a:cubicBezTo>
                    <a:pt x="64" y="59"/>
                    <a:pt x="64" y="59"/>
                    <a:pt x="64" y="59"/>
                  </a:cubicBezTo>
                  <a:cubicBezTo>
                    <a:pt x="74" y="54"/>
                    <a:pt x="79" y="44"/>
                    <a:pt x="79" y="32"/>
                  </a:cubicBezTo>
                  <a:cubicBezTo>
                    <a:pt x="79" y="17"/>
                    <a:pt x="68" y="0"/>
                    <a:pt x="42" y="0"/>
                  </a:cubicBezTo>
                  <a:cubicBezTo>
                    <a:pt x="42" y="0"/>
                    <a:pt x="3" y="0"/>
                    <a:pt x="1" y="0"/>
                  </a:cubicBezTo>
                  <a:close/>
                  <a:moveTo>
                    <a:pt x="23" y="17"/>
                  </a:moveTo>
                  <a:cubicBezTo>
                    <a:pt x="36" y="17"/>
                    <a:pt x="36" y="17"/>
                    <a:pt x="36" y="17"/>
                  </a:cubicBezTo>
                  <a:cubicBezTo>
                    <a:pt x="49" y="17"/>
                    <a:pt x="56" y="24"/>
                    <a:pt x="56" y="35"/>
                  </a:cubicBezTo>
                  <a:cubicBezTo>
                    <a:pt x="56" y="47"/>
                    <a:pt x="47" y="55"/>
                    <a:pt x="38" y="55"/>
                  </a:cubicBezTo>
                  <a:cubicBezTo>
                    <a:pt x="22" y="55"/>
                    <a:pt x="22" y="55"/>
                    <a:pt x="22" y="55"/>
                  </a:cubicBezTo>
                  <a:lnTo>
                    <a:pt x="23" y="17"/>
                  </a:lnTo>
                  <a:close/>
                  <a:moveTo>
                    <a:pt x="22" y="74"/>
                  </a:moveTo>
                  <a:cubicBezTo>
                    <a:pt x="40" y="74"/>
                    <a:pt x="40" y="74"/>
                    <a:pt x="40" y="74"/>
                  </a:cubicBezTo>
                  <a:cubicBezTo>
                    <a:pt x="55" y="74"/>
                    <a:pt x="64" y="81"/>
                    <a:pt x="64" y="92"/>
                  </a:cubicBezTo>
                  <a:cubicBezTo>
                    <a:pt x="64" y="105"/>
                    <a:pt x="55" y="113"/>
                    <a:pt x="39" y="113"/>
                  </a:cubicBezTo>
                  <a:cubicBezTo>
                    <a:pt x="22" y="113"/>
                    <a:pt x="22" y="113"/>
                    <a:pt x="22" y="113"/>
                  </a:cubicBezTo>
                  <a:lnTo>
                    <a:pt x="22" y="74"/>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4" name="Freeform 17"/>
            <p:cNvSpPr>
              <a:spLocks noEditPoints="1"/>
            </p:cNvSpPr>
            <p:nvPr userDrawn="1"/>
          </p:nvSpPr>
          <p:spPr bwMode="auto">
            <a:xfrm>
              <a:off x="8546184" y="4923177"/>
              <a:ext cx="66486" cy="66190"/>
            </a:xfrm>
            <a:custGeom>
              <a:avLst/>
              <a:gdLst>
                <a:gd name="T0" fmla="*/ 75 w 88"/>
                <a:gd name="T1" fmla="*/ 78 h 91"/>
                <a:gd name="T2" fmla="*/ 44 w 88"/>
                <a:gd name="T3" fmla="*/ 91 h 91"/>
                <a:gd name="T4" fmla="*/ 14 w 88"/>
                <a:gd name="T5" fmla="*/ 80 h 91"/>
                <a:gd name="T6" fmla="*/ 0 w 88"/>
                <a:gd name="T7" fmla="*/ 46 h 91"/>
                <a:gd name="T8" fmla="*/ 13 w 88"/>
                <a:gd name="T9" fmla="*/ 12 h 91"/>
                <a:gd name="T10" fmla="*/ 44 w 88"/>
                <a:gd name="T11" fmla="*/ 0 h 91"/>
                <a:gd name="T12" fmla="*/ 76 w 88"/>
                <a:gd name="T13" fmla="*/ 12 h 91"/>
                <a:gd name="T14" fmla="*/ 88 w 88"/>
                <a:gd name="T15" fmla="*/ 45 h 91"/>
                <a:gd name="T16" fmla="*/ 75 w 88"/>
                <a:gd name="T17" fmla="*/ 78 h 91"/>
                <a:gd name="T18" fmla="*/ 44 w 88"/>
                <a:gd name="T19" fmla="*/ 17 h 91"/>
                <a:gd name="T20" fmla="*/ 23 w 88"/>
                <a:gd name="T21" fmla="*/ 45 h 91"/>
                <a:gd name="T22" fmla="*/ 44 w 88"/>
                <a:gd name="T23" fmla="*/ 73 h 91"/>
                <a:gd name="T24" fmla="*/ 65 w 88"/>
                <a:gd name="T25" fmla="*/ 45 h 91"/>
                <a:gd name="T26" fmla="*/ 44 w 88"/>
                <a:gd name="T27"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91">
                  <a:moveTo>
                    <a:pt x="75" y="78"/>
                  </a:moveTo>
                  <a:cubicBezTo>
                    <a:pt x="68" y="86"/>
                    <a:pt x="57" y="91"/>
                    <a:pt x="44" y="91"/>
                  </a:cubicBezTo>
                  <a:cubicBezTo>
                    <a:pt x="32" y="91"/>
                    <a:pt x="21" y="87"/>
                    <a:pt x="14" y="80"/>
                  </a:cubicBezTo>
                  <a:cubicBezTo>
                    <a:pt x="5" y="72"/>
                    <a:pt x="0" y="60"/>
                    <a:pt x="0" y="46"/>
                  </a:cubicBezTo>
                  <a:cubicBezTo>
                    <a:pt x="0" y="32"/>
                    <a:pt x="5" y="20"/>
                    <a:pt x="13" y="12"/>
                  </a:cubicBezTo>
                  <a:cubicBezTo>
                    <a:pt x="21" y="4"/>
                    <a:pt x="31" y="0"/>
                    <a:pt x="44" y="0"/>
                  </a:cubicBezTo>
                  <a:cubicBezTo>
                    <a:pt x="57" y="0"/>
                    <a:pt x="68" y="4"/>
                    <a:pt x="76" y="12"/>
                  </a:cubicBezTo>
                  <a:cubicBezTo>
                    <a:pt x="84" y="20"/>
                    <a:pt x="88" y="32"/>
                    <a:pt x="88" y="45"/>
                  </a:cubicBezTo>
                  <a:cubicBezTo>
                    <a:pt x="88" y="58"/>
                    <a:pt x="83" y="70"/>
                    <a:pt x="75" y="78"/>
                  </a:cubicBezTo>
                  <a:close/>
                  <a:moveTo>
                    <a:pt x="44" y="17"/>
                  </a:moveTo>
                  <a:cubicBezTo>
                    <a:pt x="30" y="17"/>
                    <a:pt x="23" y="29"/>
                    <a:pt x="23" y="45"/>
                  </a:cubicBezTo>
                  <a:cubicBezTo>
                    <a:pt x="23" y="62"/>
                    <a:pt x="31" y="73"/>
                    <a:pt x="44" y="73"/>
                  </a:cubicBezTo>
                  <a:cubicBezTo>
                    <a:pt x="58" y="73"/>
                    <a:pt x="65" y="61"/>
                    <a:pt x="65" y="45"/>
                  </a:cubicBezTo>
                  <a:cubicBezTo>
                    <a:pt x="65" y="28"/>
                    <a:pt x="57" y="17"/>
                    <a:pt x="44" y="1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5" name="Freeform 18"/>
            <p:cNvSpPr>
              <a:spLocks/>
            </p:cNvSpPr>
            <p:nvPr userDrawn="1"/>
          </p:nvSpPr>
          <p:spPr bwMode="auto">
            <a:xfrm>
              <a:off x="8728298" y="4923177"/>
              <a:ext cx="60705" cy="65574"/>
            </a:xfrm>
            <a:custGeom>
              <a:avLst/>
              <a:gdLst>
                <a:gd name="T0" fmla="*/ 58 w 80"/>
                <a:gd name="T1" fmla="*/ 90 h 90"/>
                <a:gd name="T2" fmla="*/ 58 w 80"/>
                <a:gd name="T3" fmla="*/ 38 h 90"/>
                <a:gd name="T4" fmla="*/ 45 w 80"/>
                <a:gd name="T5" fmla="*/ 19 h 90"/>
                <a:gd name="T6" fmla="*/ 23 w 80"/>
                <a:gd name="T7" fmla="*/ 28 h 90"/>
                <a:gd name="T8" fmla="*/ 23 w 80"/>
                <a:gd name="T9" fmla="*/ 74 h 90"/>
                <a:gd name="T10" fmla="*/ 0 w 80"/>
                <a:gd name="T11" fmla="*/ 90 h 90"/>
                <a:gd name="T12" fmla="*/ 0 w 80"/>
                <a:gd name="T13" fmla="*/ 2 h 90"/>
                <a:gd name="T14" fmla="*/ 19 w 80"/>
                <a:gd name="T15" fmla="*/ 2 h 90"/>
                <a:gd name="T16" fmla="*/ 22 w 80"/>
                <a:gd name="T17" fmla="*/ 11 h 90"/>
                <a:gd name="T18" fmla="*/ 52 w 80"/>
                <a:gd name="T19" fmla="*/ 0 h 90"/>
                <a:gd name="T20" fmla="*/ 80 w 80"/>
                <a:gd name="T21" fmla="*/ 31 h 90"/>
                <a:gd name="T22" fmla="*/ 80 w 80"/>
                <a:gd name="T23" fmla="*/ 74 h 90"/>
                <a:gd name="T24" fmla="*/ 58 w 80"/>
                <a:gd name="T2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90">
                  <a:moveTo>
                    <a:pt x="58" y="90"/>
                  </a:moveTo>
                  <a:cubicBezTo>
                    <a:pt x="58" y="38"/>
                    <a:pt x="58" y="38"/>
                    <a:pt x="58" y="38"/>
                  </a:cubicBezTo>
                  <a:cubicBezTo>
                    <a:pt x="58" y="29"/>
                    <a:pt x="56" y="19"/>
                    <a:pt x="45" y="19"/>
                  </a:cubicBezTo>
                  <a:cubicBezTo>
                    <a:pt x="37" y="19"/>
                    <a:pt x="29" y="23"/>
                    <a:pt x="23" y="28"/>
                  </a:cubicBezTo>
                  <a:cubicBezTo>
                    <a:pt x="23" y="28"/>
                    <a:pt x="23" y="57"/>
                    <a:pt x="23" y="74"/>
                  </a:cubicBezTo>
                  <a:cubicBezTo>
                    <a:pt x="23" y="90"/>
                    <a:pt x="0" y="90"/>
                    <a:pt x="0" y="90"/>
                  </a:cubicBezTo>
                  <a:cubicBezTo>
                    <a:pt x="0" y="2"/>
                    <a:pt x="0" y="2"/>
                    <a:pt x="0" y="2"/>
                  </a:cubicBezTo>
                  <a:cubicBezTo>
                    <a:pt x="19" y="2"/>
                    <a:pt x="19" y="2"/>
                    <a:pt x="19" y="2"/>
                  </a:cubicBezTo>
                  <a:cubicBezTo>
                    <a:pt x="22" y="11"/>
                    <a:pt x="22" y="11"/>
                    <a:pt x="22" y="11"/>
                  </a:cubicBezTo>
                  <a:cubicBezTo>
                    <a:pt x="31" y="4"/>
                    <a:pt x="40" y="0"/>
                    <a:pt x="52" y="0"/>
                  </a:cubicBezTo>
                  <a:cubicBezTo>
                    <a:pt x="65" y="0"/>
                    <a:pt x="80" y="8"/>
                    <a:pt x="80" y="31"/>
                  </a:cubicBezTo>
                  <a:cubicBezTo>
                    <a:pt x="80" y="31"/>
                    <a:pt x="80" y="57"/>
                    <a:pt x="80" y="74"/>
                  </a:cubicBezTo>
                  <a:cubicBezTo>
                    <a:pt x="80" y="90"/>
                    <a:pt x="58" y="90"/>
                    <a:pt x="58" y="9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6" name="Freeform 19"/>
            <p:cNvSpPr>
              <a:spLocks/>
            </p:cNvSpPr>
            <p:nvPr userDrawn="1"/>
          </p:nvSpPr>
          <p:spPr bwMode="auto">
            <a:xfrm>
              <a:off x="8501217" y="4923177"/>
              <a:ext cx="43361" cy="65574"/>
            </a:xfrm>
            <a:custGeom>
              <a:avLst/>
              <a:gdLst>
                <a:gd name="T0" fmla="*/ 49 w 57"/>
                <a:gd name="T1" fmla="*/ 22 h 90"/>
                <a:gd name="T2" fmla="*/ 39 w 57"/>
                <a:gd name="T3" fmla="*/ 20 h 90"/>
                <a:gd name="T4" fmla="*/ 22 w 57"/>
                <a:gd name="T5" fmla="*/ 27 h 90"/>
                <a:gd name="T6" fmla="*/ 22 w 57"/>
                <a:gd name="T7" fmla="*/ 74 h 90"/>
                <a:gd name="T8" fmla="*/ 0 w 57"/>
                <a:gd name="T9" fmla="*/ 90 h 90"/>
                <a:gd name="T10" fmla="*/ 0 w 57"/>
                <a:gd name="T11" fmla="*/ 2 h 90"/>
                <a:gd name="T12" fmla="*/ 19 w 57"/>
                <a:gd name="T13" fmla="*/ 2 h 90"/>
                <a:gd name="T14" fmla="*/ 21 w 57"/>
                <a:gd name="T15" fmla="*/ 11 h 90"/>
                <a:gd name="T16" fmla="*/ 45 w 57"/>
                <a:gd name="T17" fmla="*/ 0 h 90"/>
                <a:gd name="T18" fmla="*/ 57 w 57"/>
                <a:gd name="T19" fmla="*/ 4 h 90"/>
                <a:gd name="T20" fmla="*/ 49 w 57"/>
                <a:gd name="T21" fmla="*/ 2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0">
                  <a:moveTo>
                    <a:pt x="49" y="22"/>
                  </a:moveTo>
                  <a:cubicBezTo>
                    <a:pt x="46" y="20"/>
                    <a:pt x="42" y="20"/>
                    <a:pt x="39" y="20"/>
                  </a:cubicBezTo>
                  <a:cubicBezTo>
                    <a:pt x="34" y="20"/>
                    <a:pt x="28" y="22"/>
                    <a:pt x="22" y="27"/>
                  </a:cubicBezTo>
                  <a:cubicBezTo>
                    <a:pt x="22" y="27"/>
                    <a:pt x="22" y="57"/>
                    <a:pt x="22" y="74"/>
                  </a:cubicBezTo>
                  <a:cubicBezTo>
                    <a:pt x="22" y="90"/>
                    <a:pt x="0" y="90"/>
                    <a:pt x="0" y="90"/>
                  </a:cubicBezTo>
                  <a:cubicBezTo>
                    <a:pt x="0" y="2"/>
                    <a:pt x="0" y="2"/>
                    <a:pt x="0" y="2"/>
                  </a:cubicBezTo>
                  <a:cubicBezTo>
                    <a:pt x="19" y="2"/>
                    <a:pt x="19" y="2"/>
                    <a:pt x="19"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8" name="Freeform 20"/>
            <p:cNvSpPr>
              <a:spLocks/>
            </p:cNvSpPr>
            <p:nvPr userDrawn="1"/>
          </p:nvSpPr>
          <p:spPr bwMode="auto">
            <a:xfrm>
              <a:off x="7766657" y="4864376"/>
              <a:ext cx="100211" cy="148389"/>
            </a:xfrm>
            <a:custGeom>
              <a:avLst/>
              <a:gdLst>
                <a:gd name="T0" fmla="*/ 0 w 132"/>
                <a:gd name="T1" fmla="*/ 23 h 204"/>
                <a:gd name="T2" fmla="*/ 1 w 132"/>
                <a:gd name="T3" fmla="*/ 22 h 204"/>
                <a:gd name="T4" fmla="*/ 67 w 132"/>
                <a:gd name="T5" fmla="*/ 20 h 204"/>
                <a:gd name="T6" fmla="*/ 80 w 132"/>
                <a:gd name="T7" fmla="*/ 52 h 204"/>
                <a:gd name="T8" fmla="*/ 113 w 132"/>
                <a:gd name="T9" fmla="*/ 65 h 204"/>
                <a:gd name="T10" fmla="*/ 111 w 132"/>
                <a:gd name="T11" fmla="*/ 132 h 204"/>
                <a:gd name="T12" fmla="*/ 38 w 132"/>
                <a:gd name="T13" fmla="*/ 204 h 204"/>
                <a:gd name="T14" fmla="*/ 16 w 132"/>
                <a:gd name="T15" fmla="*/ 182 h 204"/>
                <a:gd name="T16" fmla="*/ 88 w 132"/>
                <a:gd name="T17" fmla="*/ 110 h 204"/>
                <a:gd name="T18" fmla="*/ 91 w 132"/>
                <a:gd name="T19" fmla="*/ 86 h 204"/>
                <a:gd name="T20" fmla="*/ 67 w 132"/>
                <a:gd name="T21" fmla="*/ 88 h 204"/>
                <a:gd name="T22" fmla="*/ 0 w 132"/>
                <a:gd name="T23" fmla="*/ 155 h 204"/>
                <a:gd name="T24" fmla="*/ 0 w 132"/>
                <a:gd name="T25" fmla="*/ 111 h 204"/>
                <a:gd name="T26" fmla="*/ 45 w 132"/>
                <a:gd name="T27" fmla="*/ 66 h 204"/>
                <a:gd name="T28" fmla="*/ 46 w 132"/>
                <a:gd name="T29" fmla="*/ 42 h 204"/>
                <a:gd name="T30" fmla="*/ 22 w 132"/>
                <a:gd name="T31" fmla="*/ 44 h 204"/>
                <a:gd name="T32" fmla="*/ 0 w 132"/>
                <a:gd name="T33" fmla="*/ 66 h 204"/>
                <a:gd name="T34" fmla="*/ 0 w 132"/>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204">
                  <a:moveTo>
                    <a:pt x="0" y="23"/>
                  </a:moveTo>
                  <a:cubicBezTo>
                    <a:pt x="1" y="22"/>
                    <a:pt x="1" y="22"/>
                    <a:pt x="1" y="22"/>
                  </a:cubicBezTo>
                  <a:cubicBezTo>
                    <a:pt x="23" y="0"/>
                    <a:pt x="50" y="2"/>
                    <a:pt x="67" y="20"/>
                  </a:cubicBezTo>
                  <a:cubicBezTo>
                    <a:pt x="80" y="32"/>
                    <a:pt x="81" y="46"/>
                    <a:pt x="80" y="52"/>
                  </a:cubicBezTo>
                  <a:cubicBezTo>
                    <a:pt x="86" y="51"/>
                    <a:pt x="100" y="52"/>
                    <a:pt x="113" y="65"/>
                  </a:cubicBezTo>
                  <a:cubicBezTo>
                    <a:pt x="130" y="82"/>
                    <a:pt x="132" y="110"/>
                    <a:pt x="111" y="132"/>
                  </a:cubicBezTo>
                  <a:cubicBezTo>
                    <a:pt x="38" y="204"/>
                    <a:pt x="38" y="204"/>
                    <a:pt x="38" y="204"/>
                  </a:cubicBezTo>
                  <a:cubicBezTo>
                    <a:pt x="16" y="182"/>
                    <a:pt x="16" y="182"/>
                    <a:pt x="16" y="182"/>
                  </a:cubicBezTo>
                  <a:cubicBezTo>
                    <a:pt x="88" y="110"/>
                    <a:pt x="88" y="110"/>
                    <a:pt x="88" y="110"/>
                  </a:cubicBezTo>
                  <a:cubicBezTo>
                    <a:pt x="97" y="101"/>
                    <a:pt x="96" y="91"/>
                    <a:pt x="91" y="86"/>
                  </a:cubicBezTo>
                  <a:cubicBezTo>
                    <a:pt x="85" y="80"/>
                    <a:pt x="75" y="79"/>
                    <a:pt x="67" y="88"/>
                  </a:cubicBezTo>
                  <a:cubicBezTo>
                    <a:pt x="0" y="155"/>
                    <a:pt x="0" y="155"/>
                    <a:pt x="0" y="155"/>
                  </a:cubicBezTo>
                  <a:cubicBezTo>
                    <a:pt x="0" y="111"/>
                    <a:pt x="0" y="111"/>
                    <a:pt x="0" y="111"/>
                  </a:cubicBezTo>
                  <a:cubicBezTo>
                    <a:pt x="45" y="66"/>
                    <a:pt x="45" y="66"/>
                    <a:pt x="45" y="66"/>
                  </a:cubicBezTo>
                  <a:cubicBezTo>
                    <a:pt x="53" y="57"/>
                    <a:pt x="52" y="47"/>
                    <a:pt x="46" y="42"/>
                  </a:cubicBezTo>
                  <a:cubicBezTo>
                    <a:pt x="41" y="36"/>
                    <a:pt x="31" y="35"/>
                    <a:pt x="22" y="44"/>
                  </a:cubicBezTo>
                  <a:cubicBezTo>
                    <a:pt x="0" y="66"/>
                    <a:pt x="0" y="66"/>
                    <a:pt x="0" y="66"/>
                  </a:cubicBezTo>
                  <a:lnTo>
                    <a:pt x="0"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9" name="Freeform 21"/>
            <p:cNvSpPr>
              <a:spLocks noEditPoints="1"/>
            </p:cNvSpPr>
            <p:nvPr userDrawn="1"/>
          </p:nvSpPr>
          <p:spPr bwMode="auto">
            <a:xfrm>
              <a:off x="7980890" y="5040472"/>
              <a:ext cx="51390" cy="57878"/>
            </a:xfrm>
            <a:custGeom>
              <a:avLst/>
              <a:gdLst>
                <a:gd name="T0" fmla="*/ 0 w 68"/>
                <a:gd name="T1" fmla="*/ 40 h 80"/>
                <a:gd name="T2" fmla="*/ 35 w 68"/>
                <a:gd name="T3" fmla="*/ 0 h 80"/>
                <a:gd name="T4" fmla="*/ 68 w 68"/>
                <a:gd name="T5" fmla="*/ 41 h 80"/>
                <a:gd name="T6" fmla="*/ 68 w 68"/>
                <a:gd name="T7" fmla="*/ 46 h 80"/>
                <a:gd name="T8" fmla="*/ 20 w 68"/>
                <a:gd name="T9" fmla="*/ 46 h 80"/>
                <a:gd name="T10" fmla="*/ 41 w 68"/>
                <a:gd name="T11" fmla="*/ 65 h 80"/>
                <a:gd name="T12" fmla="*/ 60 w 68"/>
                <a:gd name="T13" fmla="*/ 60 h 80"/>
                <a:gd name="T14" fmla="*/ 66 w 68"/>
                <a:gd name="T15" fmla="*/ 73 h 80"/>
                <a:gd name="T16" fmla="*/ 39 w 68"/>
                <a:gd name="T17" fmla="*/ 80 h 80"/>
                <a:gd name="T18" fmla="*/ 0 w 68"/>
                <a:gd name="T19" fmla="*/ 40 h 80"/>
                <a:gd name="T20" fmla="*/ 49 w 68"/>
                <a:gd name="T21" fmla="*/ 32 h 80"/>
                <a:gd name="T22" fmla="*/ 34 w 68"/>
                <a:gd name="T23" fmla="*/ 15 h 80"/>
                <a:gd name="T24" fmla="*/ 19 w 68"/>
                <a:gd name="T25" fmla="*/ 32 h 80"/>
                <a:gd name="T26" fmla="*/ 49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3" y="0"/>
                    <a:pt x="35" y="0"/>
                  </a:cubicBezTo>
                  <a:cubicBezTo>
                    <a:pt x="56" y="0"/>
                    <a:pt x="68" y="16"/>
                    <a:pt x="68" y="41"/>
                  </a:cubicBezTo>
                  <a:cubicBezTo>
                    <a:pt x="68" y="46"/>
                    <a:pt x="68" y="46"/>
                    <a:pt x="68" y="46"/>
                  </a:cubicBezTo>
                  <a:cubicBezTo>
                    <a:pt x="20" y="46"/>
                    <a:pt x="20" y="46"/>
                    <a:pt x="20" y="46"/>
                  </a:cubicBezTo>
                  <a:cubicBezTo>
                    <a:pt x="20" y="57"/>
                    <a:pt x="28" y="65"/>
                    <a:pt x="41" y="65"/>
                  </a:cubicBezTo>
                  <a:cubicBezTo>
                    <a:pt x="49" y="65"/>
                    <a:pt x="55" y="63"/>
                    <a:pt x="60" y="60"/>
                  </a:cubicBezTo>
                  <a:cubicBezTo>
                    <a:pt x="66" y="73"/>
                    <a:pt x="66" y="73"/>
                    <a:pt x="66" y="73"/>
                  </a:cubicBezTo>
                  <a:cubicBezTo>
                    <a:pt x="58" y="78"/>
                    <a:pt x="49" y="80"/>
                    <a:pt x="39" y="80"/>
                  </a:cubicBezTo>
                  <a:cubicBezTo>
                    <a:pt x="11" y="80"/>
                    <a:pt x="0" y="61"/>
                    <a:pt x="0" y="40"/>
                  </a:cubicBezTo>
                  <a:close/>
                  <a:moveTo>
                    <a:pt x="49" y="32"/>
                  </a:moveTo>
                  <a:cubicBezTo>
                    <a:pt x="49" y="23"/>
                    <a:pt x="44" y="15"/>
                    <a:pt x="34" y="15"/>
                  </a:cubicBezTo>
                  <a:cubicBezTo>
                    <a:pt x="25" y="15"/>
                    <a:pt x="19" y="23"/>
                    <a:pt x="19" y="32"/>
                  </a:cubicBezTo>
                  <a:lnTo>
                    <a:pt x="49"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0" name="Freeform 22"/>
            <p:cNvSpPr>
              <a:spLocks/>
            </p:cNvSpPr>
            <p:nvPr userDrawn="1"/>
          </p:nvSpPr>
          <p:spPr bwMode="auto">
            <a:xfrm>
              <a:off x="8295656" y="5041088"/>
              <a:ext cx="37258" cy="56031"/>
            </a:xfrm>
            <a:custGeom>
              <a:avLst/>
              <a:gdLst>
                <a:gd name="T0" fmla="*/ 42 w 49"/>
                <a:gd name="T1" fmla="*/ 19 h 77"/>
                <a:gd name="T2" fmla="*/ 33 w 49"/>
                <a:gd name="T3" fmla="*/ 16 h 77"/>
                <a:gd name="T4" fmla="*/ 19 w 49"/>
                <a:gd name="T5" fmla="*/ 23 h 77"/>
                <a:gd name="T6" fmla="*/ 19 w 49"/>
                <a:gd name="T7" fmla="*/ 63 h 77"/>
                <a:gd name="T8" fmla="*/ 0 w 49"/>
                <a:gd name="T9" fmla="*/ 77 h 77"/>
                <a:gd name="T10" fmla="*/ 0 w 49"/>
                <a:gd name="T11" fmla="*/ 1 h 77"/>
                <a:gd name="T12" fmla="*/ 16 w 49"/>
                <a:gd name="T13" fmla="*/ 1 h 77"/>
                <a:gd name="T14" fmla="*/ 18 w 49"/>
                <a:gd name="T15" fmla="*/ 9 h 77"/>
                <a:gd name="T16" fmla="*/ 39 w 49"/>
                <a:gd name="T17" fmla="*/ 0 h 77"/>
                <a:gd name="T18" fmla="*/ 49 w 49"/>
                <a:gd name="T19" fmla="*/ 3 h 77"/>
                <a:gd name="T20" fmla="*/ 42 w 49"/>
                <a:gd name="T21"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77">
                  <a:moveTo>
                    <a:pt x="42" y="19"/>
                  </a:moveTo>
                  <a:cubicBezTo>
                    <a:pt x="39" y="17"/>
                    <a:pt x="36" y="16"/>
                    <a:pt x="33" y="16"/>
                  </a:cubicBezTo>
                  <a:cubicBezTo>
                    <a:pt x="29" y="16"/>
                    <a:pt x="24" y="18"/>
                    <a:pt x="19" y="23"/>
                  </a:cubicBezTo>
                  <a:cubicBezTo>
                    <a:pt x="19" y="2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2"/>
                    <a:pt x="32" y="0"/>
                    <a:pt x="39" y="0"/>
                  </a:cubicBezTo>
                  <a:cubicBezTo>
                    <a:pt x="42" y="0"/>
                    <a:pt x="46" y="1"/>
                    <a:pt x="49" y="3"/>
                  </a:cubicBezTo>
                  <a:lnTo>
                    <a:pt x="42" y="1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1" name="Freeform 23"/>
            <p:cNvSpPr>
              <a:spLocks noEditPoints="1"/>
            </p:cNvSpPr>
            <p:nvPr userDrawn="1"/>
          </p:nvSpPr>
          <p:spPr bwMode="auto">
            <a:xfrm>
              <a:off x="8178743" y="5040472"/>
              <a:ext cx="51712" cy="57878"/>
            </a:xfrm>
            <a:custGeom>
              <a:avLst/>
              <a:gdLst>
                <a:gd name="T0" fmla="*/ 0 w 68"/>
                <a:gd name="T1" fmla="*/ 40 h 80"/>
                <a:gd name="T2" fmla="*/ 34 w 68"/>
                <a:gd name="T3" fmla="*/ 0 h 80"/>
                <a:gd name="T4" fmla="*/ 68 w 68"/>
                <a:gd name="T5" fmla="*/ 41 h 80"/>
                <a:gd name="T6" fmla="*/ 68 w 68"/>
                <a:gd name="T7" fmla="*/ 46 h 80"/>
                <a:gd name="T8" fmla="*/ 19 w 68"/>
                <a:gd name="T9" fmla="*/ 46 h 80"/>
                <a:gd name="T10" fmla="*/ 41 w 68"/>
                <a:gd name="T11" fmla="*/ 65 h 80"/>
                <a:gd name="T12" fmla="*/ 60 w 68"/>
                <a:gd name="T13" fmla="*/ 60 h 80"/>
                <a:gd name="T14" fmla="*/ 66 w 68"/>
                <a:gd name="T15" fmla="*/ 73 h 80"/>
                <a:gd name="T16" fmla="*/ 39 w 68"/>
                <a:gd name="T17" fmla="*/ 80 h 80"/>
                <a:gd name="T18" fmla="*/ 0 w 68"/>
                <a:gd name="T19" fmla="*/ 40 h 80"/>
                <a:gd name="T20" fmla="*/ 49 w 68"/>
                <a:gd name="T21" fmla="*/ 32 h 80"/>
                <a:gd name="T22" fmla="*/ 34 w 68"/>
                <a:gd name="T23" fmla="*/ 15 h 80"/>
                <a:gd name="T24" fmla="*/ 19 w 68"/>
                <a:gd name="T25" fmla="*/ 32 h 80"/>
                <a:gd name="T26" fmla="*/ 49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3" y="0"/>
                    <a:pt x="34" y="0"/>
                  </a:cubicBezTo>
                  <a:cubicBezTo>
                    <a:pt x="56" y="0"/>
                    <a:pt x="68" y="16"/>
                    <a:pt x="68" y="41"/>
                  </a:cubicBezTo>
                  <a:cubicBezTo>
                    <a:pt x="68" y="46"/>
                    <a:pt x="68" y="46"/>
                    <a:pt x="68" y="46"/>
                  </a:cubicBezTo>
                  <a:cubicBezTo>
                    <a:pt x="19" y="46"/>
                    <a:pt x="19" y="46"/>
                    <a:pt x="19" y="46"/>
                  </a:cubicBezTo>
                  <a:cubicBezTo>
                    <a:pt x="20" y="57"/>
                    <a:pt x="28" y="65"/>
                    <a:pt x="41" y="65"/>
                  </a:cubicBezTo>
                  <a:cubicBezTo>
                    <a:pt x="49" y="65"/>
                    <a:pt x="55" y="63"/>
                    <a:pt x="60" y="60"/>
                  </a:cubicBezTo>
                  <a:cubicBezTo>
                    <a:pt x="66" y="73"/>
                    <a:pt x="66" y="73"/>
                    <a:pt x="66" y="73"/>
                  </a:cubicBezTo>
                  <a:cubicBezTo>
                    <a:pt x="58" y="78"/>
                    <a:pt x="48" y="80"/>
                    <a:pt x="39" y="80"/>
                  </a:cubicBezTo>
                  <a:cubicBezTo>
                    <a:pt x="11" y="80"/>
                    <a:pt x="0" y="61"/>
                    <a:pt x="0" y="40"/>
                  </a:cubicBezTo>
                  <a:close/>
                  <a:moveTo>
                    <a:pt x="49" y="32"/>
                  </a:moveTo>
                  <a:cubicBezTo>
                    <a:pt x="48" y="23"/>
                    <a:pt x="44" y="15"/>
                    <a:pt x="34" y="15"/>
                  </a:cubicBezTo>
                  <a:cubicBezTo>
                    <a:pt x="25" y="15"/>
                    <a:pt x="19" y="23"/>
                    <a:pt x="19" y="32"/>
                  </a:cubicBezTo>
                  <a:lnTo>
                    <a:pt x="49"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2" name="Freeform 24"/>
            <p:cNvSpPr>
              <a:spLocks noEditPoints="1"/>
            </p:cNvSpPr>
            <p:nvPr userDrawn="1"/>
          </p:nvSpPr>
          <p:spPr bwMode="auto">
            <a:xfrm>
              <a:off x="8236557" y="5040472"/>
              <a:ext cx="51390" cy="57878"/>
            </a:xfrm>
            <a:custGeom>
              <a:avLst/>
              <a:gdLst>
                <a:gd name="T0" fmla="*/ 0 w 68"/>
                <a:gd name="T1" fmla="*/ 40 h 80"/>
                <a:gd name="T2" fmla="*/ 34 w 68"/>
                <a:gd name="T3" fmla="*/ 0 h 80"/>
                <a:gd name="T4" fmla="*/ 68 w 68"/>
                <a:gd name="T5" fmla="*/ 41 h 80"/>
                <a:gd name="T6" fmla="*/ 68 w 68"/>
                <a:gd name="T7" fmla="*/ 46 h 80"/>
                <a:gd name="T8" fmla="*/ 19 w 68"/>
                <a:gd name="T9" fmla="*/ 46 h 80"/>
                <a:gd name="T10" fmla="*/ 40 w 68"/>
                <a:gd name="T11" fmla="*/ 65 h 80"/>
                <a:gd name="T12" fmla="*/ 60 w 68"/>
                <a:gd name="T13" fmla="*/ 60 h 80"/>
                <a:gd name="T14" fmla="*/ 65 w 68"/>
                <a:gd name="T15" fmla="*/ 73 h 80"/>
                <a:gd name="T16" fmla="*/ 39 w 68"/>
                <a:gd name="T17" fmla="*/ 80 h 80"/>
                <a:gd name="T18" fmla="*/ 0 w 68"/>
                <a:gd name="T19" fmla="*/ 40 h 80"/>
                <a:gd name="T20" fmla="*/ 48 w 68"/>
                <a:gd name="T21" fmla="*/ 32 h 80"/>
                <a:gd name="T22" fmla="*/ 34 w 68"/>
                <a:gd name="T23" fmla="*/ 15 h 80"/>
                <a:gd name="T24" fmla="*/ 19 w 68"/>
                <a:gd name="T25" fmla="*/ 32 h 80"/>
                <a:gd name="T26" fmla="*/ 48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2" y="0"/>
                    <a:pt x="34" y="0"/>
                  </a:cubicBezTo>
                  <a:cubicBezTo>
                    <a:pt x="55" y="0"/>
                    <a:pt x="68" y="16"/>
                    <a:pt x="68" y="41"/>
                  </a:cubicBezTo>
                  <a:cubicBezTo>
                    <a:pt x="68" y="46"/>
                    <a:pt x="68" y="46"/>
                    <a:pt x="68" y="46"/>
                  </a:cubicBezTo>
                  <a:cubicBezTo>
                    <a:pt x="19" y="46"/>
                    <a:pt x="19" y="46"/>
                    <a:pt x="19" y="46"/>
                  </a:cubicBezTo>
                  <a:cubicBezTo>
                    <a:pt x="19" y="57"/>
                    <a:pt x="28" y="65"/>
                    <a:pt x="40" y="65"/>
                  </a:cubicBezTo>
                  <a:cubicBezTo>
                    <a:pt x="48" y="65"/>
                    <a:pt x="54" y="63"/>
                    <a:pt x="60" y="60"/>
                  </a:cubicBezTo>
                  <a:cubicBezTo>
                    <a:pt x="65" y="73"/>
                    <a:pt x="65" y="73"/>
                    <a:pt x="65" y="73"/>
                  </a:cubicBezTo>
                  <a:cubicBezTo>
                    <a:pt x="57" y="78"/>
                    <a:pt x="48" y="80"/>
                    <a:pt x="39" y="80"/>
                  </a:cubicBezTo>
                  <a:cubicBezTo>
                    <a:pt x="11" y="80"/>
                    <a:pt x="0" y="61"/>
                    <a:pt x="0" y="40"/>
                  </a:cubicBezTo>
                  <a:close/>
                  <a:moveTo>
                    <a:pt x="48" y="32"/>
                  </a:moveTo>
                  <a:cubicBezTo>
                    <a:pt x="48" y="23"/>
                    <a:pt x="44" y="15"/>
                    <a:pt x="34" y="15"/>
                  </a:cubicBezTo>
                  <a:cubicBezTo>
                    <a:pt x="24" y="15"/>
                    <a:pt x="19" y="23"/>
                    <a:pt x="19" y="32"/>
                  </a:cubicBezTo>
                  <a:lnTo>
                    <a:pt x="48"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3" name="Freeform 25"/>
            <p:cNvSpPr>
              <a:spLocks/>
            </p:cNvSpPr>
            <p:nvPr userDrawn="1"/>
          </p:nvSpPr>
          <p:spPr bwMode="auto">
            <a:xfrm>
              <a:off x="8040631" y="5041088"/>
              <a:ext cx="37258" cy="56031"/>
            </a:xfrm>
            <a:custGeom>
              <a:avLst/>
              <a:gdLst>
                <a:gd name="T0" fmla="*/ 42 w 49"/>
                <a:gd name="T1" fmla="*/ 19 h 77"/>
                <a:gd name="T2" fmla="*/ 33 w 49"/>
                <a:gd name="T3" fmla="*/ 16 h 77"/>
                <a:gd name="T4" fmla="*/ 19 w 49"/>
                <a:gd name="T5" fmla="*/ 23 h 77"/>
                <a:gd name="T6" fmla="*/ 19 w 49"/>
                <a:gd name="T7" fmla="*/ 63 h 77"/>
                <a:gd name="T8" fmla="*/ 0 w 49"/>
                <a:gd name="T9" fmla="*/ 77 h 77"/>
                <a:gd name="T10" fmla="*/ 0 w 49"/>
                <a:gd name="T11" fmla="*/ 1 h 77"/>
                <a:gd name="T12" fmla="*/ 16 w 49"/>
                <a:gd name="T13" fmla="*/ 1 h 77"/>
                <a:gd name="T14" fmla="*/ 18 w 49"/>
                <a:gd name="T15" fmla="*/ 9 h 77"/>
                <a:gd name="T16" fmla="*/ 38 w 49"/>
                <a:gd name="T17" fmla="*/ 0 h 77"/>
                <a:gd name="T18" fmla="*/ 49 w 49"/>
                <a:gd name="T19" fmla="*/ 3 h 77"/>
                <a:gd name="T20" fmla="*/ 42 w 49"/>
                <a:gd name="T21"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77">
                  <a:moveTo>
                    <a:pt x="42" y="19"/>
                  </a:moveTo>
                  <a:cubicBezTo>
                    <a:pt x="39" y="17"/>
                    <a:pt x="35" y="16"/>
                    <a:pt x="33" y="16"/>
                  </a:cubicBezTo>
                  <a:cubicBezTo>
                    <a:pt x="29" y="16"/>
                    <a:pt x="24" y="18"/>
                    <a:pt x="19" y="23"/>
                  </a:cubicBezTo>
                  <a:cubicBezTo>
                    <a:pt x="19" y="2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2"/>
                    <a:pt x="31" y="0"/>
                    <a:pt x="38" y="0"/>
                  </a:cubicBezTo>
                  <a:cubicBezTo>
                    <a:pt x="42" y="0"/>
                    <a:pt x="46" y="1"/>
                    <a:pt x="49" y="3"/>
                  </a:cubicBezTo>
                  <a:lnTo>
                    <a:pt x="42" y="1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4" name="Freeform 26"/>
            <p:cNvSpPr>
              <a:spLocks/>
            </p:cNvSpPr>
            <p:nvPr userDrawn="1"/>
          </p:nvSpPr>
          <p:spPr bwMode="auto">
            <a:xfrm>
              <a:off x="8083992" y="5041088"/>
              <a:ext cx="86400" cy="56031"/>
            </a:xfrm>
            <a:custGeom>
              <a:avLst/>
              <a:gdLst>
                <a:gd name="T0" fmla="*/ 114 w 114"/>
                <a:gd name="T1" fmla="*/ 25 h 77"/>
                <a:gd name="T2" fmla="*/ 114 w 114"/>
                <a:gd name="T3" fmla="*/ 63 h 77"/>
                <a:gd name="T4" fmla="*/ 95 w 114"/>
                <a:gd name="T5" fmla="*/ 77 h 77"/>
                <a:gd name="T6" fmla="*/ 95 w 114"/>
                <a:gd name="T7" fmla="*/ 31 h 77"/>
                <a:gd name="T8" fmla="*/ 84 w 114"/>
                <a:gd name="T9" fmla="*/ 16 h 77"/>
                <a:gd name="T10" fmla="*/ 66 w 114"/>
                <a:gd name="T11" fmla="*/ 23 h 77"/>
                <a:gd name="T12" fmla="*/ 66 w 114"/>
                <a:gd name="T13" fmla="*/ 63 h 77"/>
                <a:gd name="T14" fmla="*/ 66 w 114"/>
                <a:gd name="T15" fmla="*/ 63 h 77"/>
                <a:gd name="T16" fmla="*/ 47 w 114"/>
                <a:gd name="T17" fmla="*/ 77 h 77"/>
                <a:gd name="T18" fmla="*/ 47 w 114"/>
                <a:gd name="T19" fmla="*/ 31 h 77"/>
                <a:gd name="T20" fmla="*/ 37 w 114"/>
                <a:gd name="T21" fmla="*/ 16 h 77"/>
                <a:gd name="T22" fmla="*/ 19 w 114"/>
                <a:gd name="T23" fmla="*/ 23 h 77"/>
                <a:gd name="T24" fmla="*/ 19 w 114"/>
                <a:gd name="T25" fmla="*/ 63 h 77"/>
                <a:gd name="T26" fmla="*/ 19 w 114"/>
                <a:gd name="T27" fmla="*/ 63 h 77"/>
                <a:gd name="T28" fmla="*/ 0 w 114"/>
                <a:gd name="T29" fmla="*/ 77 h 77"/>
                <a:gd name="T30" fmla="*/ 0 w 114"/>
                <a:gd name="T31" fmla="*/ 1 h 77"/>
                <a:gd name="T32" fmla="*/ 16 w 114"/>
                <a:gd name="T33" fmla="*/ 1 h 77"/>
                <a:gd name="T34" fmla="*/ 18 w 114"/>
                <a:gd name="T35" fmla="*/ 9 h 77"/>
                <a:gd name="T36" fmla="*/ 43 w 114"/>
                <a:gd name="T37" fmla="*/ 0 h 77"/>
                <a:gd name="T38" fmla="*/ 63 w 114"/>
                <a:gd name="T39" fmla="*/ 11 h 77"/>
                <a:gd name="T40" fmla="*/ 89 w 114"/>
                <a:gd name="T41" fmla="*/ 0 h 77"/>
                <a:gd name="T42" fmla="*/ 114 w 114"/>
                <a:gd name="T43" fmla="*/ 2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77">
                  <a:moveTo>
                    <a:pt x="114" y="25"/>
                  </a:moveTo>
                  <a:cubicBezTo>
                    <a:pt x="114" y="63"/>
                    <a:pt x="114" y="63"/>
                    <a:pt x="114" y="63"/>
                  </a:cubicBezTo>
                  <a:cubicBezTo>
                    <a:pt x="114" y="77"/>
                    <a:pt x="95" y="77"/>
                    <a:pt x="95" y="77"/>
                  </a:cubicBezTo>
                  <a:cubicBezTo>
                    <a:pt x="95" y="31"/>
                    <a:pt x="95" y="31"/>
                    <a:pt x="95" y="31"/>
                  </a:cubicBezTo>
                  <a:cubicBezTo>
                    <a:pt x="95" y="22"/>
                    <a:pt x="93" y="16"/>
                    <a:pt x="84" y="16"/>
                  </a:cubicBezTo>
                  <a:cubicBezTo>
                    <a:pt x="77" y="16"/>
                    <a:pt x="71" y="19"/>
                    <a:pt x="66" y="23"/>
                  </a:cubicBezTo>
                  <a:cubicBezTo>
                    <a:pt x="66" y="63"/>
                    <a:pt x="66" y="63"/>
                    <a:pt x="66" y="63"/>
                  </a:cubicBezTo>
                  <a:cubicBezTo>
                    <a:pt x="66" y="63"/>
                    <a:pt x="66" y="49"/>
                    <a:pt x="66" y="63"/>
                  </a:cubicBezTo>
                  <a:cubicBezTo>
                    <a:pt x="66" y="77"/>
                    <a:pt x="47" y="77"/>
                    <a:pt x="47" y="77"/>
                  </a:cubicBezTo>
                  <a:cubicBezTo>
                    <a:pt x="47" y="31"/>
                    <a:pt x="47" y="31"/>
                    <a:pt x="47" y="31"/>
                  </a:cubicBezTo>
                  <a:cubicBezTo>
                    <a:pt x="47" y="23"/>
                    <a:pt x="46" y="16"/>
                    <a:pt x="37" y="16"/>
                  </a:cubicBezTo>
                  <a:cubicBezTo>
                    <a:pt x="30" y="16"/>
                    <a:pt x="19" y="23"/>
                    <a:pt x="19" y="23"/>
                  </a:cubicBezTo>
                  <a:cubicBezTo>
                    <a:pt x="19" y="63"/>
                    <a:pt x="19" y="63"/>
                    <a:pt x="19" y="63"/>
                  </a:cubicBezTo>
                  <a:cubicBezTo>
                    <a:pt x="19" y="6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3"/>
                    <a:pt x="34" y="0"/>
                    <a:pt x="43" y="0"/>
                  </a:cubicBezTo>
                  <a:cubicBezTo>
                    <a:pt x="52" y="0"/>
                    <a:pt x="59" y="4"/>
                    <a:pt x="63" y="11"/>
                  </a:cubicBezTo>
                  <a:cubicBezTo>
                    <a:pt x="71" y="3"/>
                    <a:pt x="81" y="0"/>
                    <a:pt x="89" y="0"/>
                  </a:cubicBezTo>
                  <a:cubicBezTo>
                    <a:pt x="102" y="0"/>
                    <a:pt x="114" y="6"/>
                    <a:pt x="114" y="25"/>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5" name="Freeform 27"/>
            <p:cNvSpPr>
              <a:spLocks/>
            </p:cNvSpPr>
            <p:nvPr userDrawn="1"/>
          </p:nvSpPr>
          <p:spPr bwMode="auto">
            <a:xfrm>
              <a:off x="7908622" y="5019846"/>
              <a:ext cx="77407" cy="77889"/>
            </a:xfrm>
            <a:custGeom>
              <a:avLst/>
              <a:gdLst>
                <a:gd name="T0" fmla="*/ 43 w 102"/>
                <a:gd name="T1" fmla="*/ 107 h 107"/>
                <a:gd name="T2" fmla="*/ 65 w 102"/>
                <a:gd name="T3" fmla="*/ 91 h 107"/>
                <a:gd name="T4" fmla="*/ 102 w 102"/>
                <a:gd name="T5" fmla="*/ 0 h 107"/>
                <a:gd name="T6" fmla="*/ 81 w 102"/>
                <a:gd name="T7" fmla="*/ 0 h 107"/>
                <a:gd name="T8" fmla="*/ 51 w 102"/>
                <a:gd name="T9" fmla="*/ 78 h 107"/>
                <a:gd name="T10" fmla="*/ 51 w 102"/>
                <a:gd name="T11" fmla="*/ 78 h 107"/>
                <a:gd name="T12" fmla="*/ 21 w 102"/>
                <a:gd name="T13" fmla="*/ 0 h 107"/>
                <a:gd name="T14" fmla="*/ 0 w 102"/>
                <a:gd name="T15" fmla="*/ 0 h 107"/>
                <a:gd name="T16" fmla="*/ 43 w 102"/>
                <a:gd name="T17"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107">
                  <a:moveTo>
                    <a:pt x="43" y="107"/>
                  </a:moveTo>
                  <a:cubicBezTo>
                    <a:pt x="57" y="107"/>
                    <a:pt x="61" y="101"/>
                    <a:pt x="65" y="91"/>
                  </a:cubicBezTo>
                  <a:cubicBezTo>
                    <a:pt x="102" y="0"/>
                    <a:pt x="102" y="0"/>
                    <a:pt x="102" y="0"/>
                  </a:cubicBezTo>
                  <a:cubicBezTo>
                    <a:pt x="81" y="0"/>
                    <a:pt x="81" y="0"/>
                    <a:pt x="81" y="0"/>
                  </a:cubicBezTo>
                  <a:cubicBezTo>
                    <a:pt x="51" y="78"/>
                    <a:pt x="51" y="78"/>
                    <a:pt x="51" y="78"/>
                  </a:cubicBezTo>
                  <a:cubicBezTo>
                    <a:pt x="51" y="78"/>
                    <a:pt x="51" y="78"/>
                    <a:pt x="51" y="78"/>
                  </a:cubicBezTo>
                  <a:cubicBezTo>
                    <a:pt x="21" y="0"/>
                    <a:pt x="21" y="0"/>
                    <a:pt x="21" y="0"/>
                  </a:cubicBezTo>
                  <a:cubicBezTo>
                    <a:pt x="0" y="0"/>
                    <a:pt x="0" y="0"/>
                    <a:pt x="0" y="0"/>
                  </a:cubicBezTo>
                  <a:cubicBezTo>
                    <a:pt x="43" y="107"/>
                    <a:pt x="43" y="107"/>
                    <a:pt x="43" y="10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76" name="Group 75"/>
          <p:cNvGrpSpPr/>
          <p:nvPr userDrawn="1"/>
        </p:nvGrpSpPr>
        <p:grpSpPr>
          <a:xfrm>
            <a:off x="7686461" y="4906654"/>
            <a:ext cx="1124815" cy="151147"/>
            <a:chOff x="7686461" y="4581466"/>
            <a:chExt cx="1124815" cy="151147"/>
          </a:xfrm>
          <a:solidFill>
            <a:schemeClr val="bg1"/>
          </a:solidFill>
        </p:grpSpPr>
        <p:sp>
          <p:nvSpPr>
            <p:cNvPr id="78"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79"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0"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1"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2"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3"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4"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5"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6"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7"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8"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9"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90"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91"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92"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grpSp>
      <p:sp>
        <p:nvSpPr>
          <p:cNvPr id="93"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solidFill>
                  <a:schemeClr val="tx2">
                    <a:lumMod val="75000"/>
                  </a:schemeClr>
                </a:solidFill>
                <a:latin typeface="+mn-lt"/>
              </a:rPr>
              <a:t>Private and Confidental</a:t>
            </a:r>
            <a:endParaRPr lang="pt-BR" sz="500" dirty="0">
              <a:solidFill>
                <a:schemeClr val="tx2">
                  <a:lumMod val="75000"/>
                </a:schemeClr>
              </a:solidFill>
              <a:latin typeface="+mn-lt"/>
            </a:endParaRPr>
          </a:p>
        </p:txBody>
      </p:sp>
    </p:spTree>
    <p:extLst>
      <p:ext uri="{BB962C8B-B14F-4D97-AF65-F5344CB8AC3E}">
        <p14:creationId xmlns:p14="http://schemas.microsoft.com/office/powerpoint/2010/main" val="245845886"/>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_FF_MB_Orange">
    <p:bg>
      <p:bgPr>
        <a:solidFill>
          <a:schemeClr val="bg1"/>
        </a:solidFill>
        <a:effectLst/>
      </p:bgPr>
    </p:bg>
    <p:spTree>
      <p:nvGrpSpPr>
        <p:cNvPr id="1" name=""/>
        <p:cNvGrpSpPr/>
        <p:nvPr/>
      </p:nvGrpSpPr>
      <p:grpSpPr>
        <a:xfrm>
          <a:off x="0" y="0"/>
          <a:ext cx="0" cy="0"/>
          <a:chOff x="0" y="0"/>
          <a:chExt cx="0" cy="0"/>
        </a:xfrm>
      </p:grpSpPr>
      <p:sp>
        <p:nvSpPr>
          <p:cNvPr id="31" name="Rectangle 30"/>
          <p:cNvSpPr/>
          <p:nvPr userDrawn="1"/>
        </p:nvSpPr>
        <p:spPr>
          <a:xfrm>
            <a:off x="0" y="0"/>
            <a:ext cx="9144000" cy="5148263"/>
          </a:xfrm>
          <a:prstGeom prst="rect">
            <a:avLst/>
          </a:prstGeom>
          <a:solidFill>
            <a:schemeClr val="accent4">
              <a:lumMod val="75000"/>
            </a:schemeClr>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en-GB" sz="1050" smtClean="0">
              <a:solidFill>
                <a:schemeClr val="bg1"/>
              </a:solidFill>
              <a:latin typeface="Arial" panose="020B0604020202020204" pitchFamily="34" charset="0"/>
              <a:cs typeface="Arial" panose="020B0604020202020204" pitchFamily="34" charset="0"/>
            </a:endParaRPr>
          </a:p>
        </p:txBody>
      </p:sp>
      <p:pic>
        <p:nvPicPr>
          <p:cNvPr id="33" name="Picture 32" descr="cookie_white.png"/>
          <p:cNvPicPr>
            <a:picLocks noChangeAspect="1"/>
          </p:cNvPicPr>
          <p:nvPr userDrawn="1"/>
        </p:nvPicPr>
        <p:blipFill rotWithShape="1">
          <a:blip r:embed="rId2" cstate="screen">
            <a:alphaModFix amt="16000"/>
            <a:extLst>
              <a:ext uri="{28A0092B-C50C-407E-A947-70E740481C1C}">
                <a14:useLocalDpi xmlns:a14="http://schemas.microsoft.com/office/drawing/2010/main"/>
              </a:ext>
            </a:extLst>
          </a:blip>
          <a:srcRect/>
          <a:stretch/>
        </p:blipFill>
        <p:spPr>
          <a:xfrm flipH="1">
            <a:off x="5149029" y="2289839"/>
            <a:ext cx="4020091" cy="2880000"/>
          </a:xfrm>
          <a:prstGeom prst="rect">
            <a:avLst/>
          </a:prstGeom>
        </p:spPr>
      </p:pic>
      <p:cxnSp>
        <p:nvCxnSpPr>
          <p:cNvPr id="32" name="Straight Connector 31"/>
          <p:cNvCxnSpPr/>
          <p:nvPr userDrawn="1"/>
        </p:nvCxnSpPr>
        <p:spPr>
          <a:xfrm>
            <a:off x="343365" y="470176"/>
            <a:ext cx="8460000" cy="0"/>
          </a:xfrm>
          <a:prstGeom prst="line">
            <a:avLst/>
          </a:prstGeom>
          <a:ln w="6350" cmpd="sng">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343365" y="4801146"/>
            <a:ext cx="8460000" cy="0"/>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sp>
        <p:nvSpPr>
          <p:cNvPr id="67"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rgbClr val="FFFFFF"/>
                </a:solidFill>
                <a:latin typeface="+mn-lt"/>
              </a:defRPr>
            </a:lvl1pPr>
          </a:lstStyle>
          <a:p>
            <a:fld id="{19AB4E72-7858-48F1-A40D-12FF09E4BFB8}" type="slidenum">
              <a:rPr lang="en-GB" smtClean="0"/>
              <a:pPr/>
              <a:t>‹Nº›</a:t>
            </a:fld>
            <a:endParaRPr lang="en-GB"/>
          </a:p>
        </p:txBody>
      </p:sp>
      <p:sp>
        <p:nvSpPr>
          <p:cNvPr id="36" name="Title 1"/>
          <p:cNvSpPr>
            <a:spLocks noGrp="1"/>
          </p:cNvSpPr>
          <p:nvPr>
            <p:ph type="ctrTitle" hasCustomPrompt="1"/>
          </p:nvPr>
        </p:nvSpPr>
        <p:spPr>
          <a:xfrm>
            <a:off x="343365" y="2867487"/>
            <a:ext cx="8460000" cy="443198"/>
          </a:xfrm>
          <a:prstGeom prst="rect">
            <a:avLst/>
          </a:prstGeom>
        </p:spPr>
        <p:txBody>
          <a:bodyPr lIns="0" tIns="0" rIns="0" bIns="0" anchor="b"/>
          <a:lstStyle>
            <a:lvl1pPr>
              <a:lnSpc>
                <a:spcPct val="90000"/>
              </a:lnSpc>
              <a:defRPr sz="3200" b="0">
                <a:solidFill>
                  <a:schemeClr val="bg1"/>
                </a:solidFill>
              </a:defRPr>
            </a:lvl1pPr>
          </a:lstStyle>
          <a:p>
            <a:r>
              <a:rPr lang="en-US" dirty="0" smtClean="0"/>
              <a:t>Click to edit Master title Style</a:t>
            </a:r>
            <a:endParaRPr lang="en-US" dirty="0"/>
          </a:p>
        </p:txBody>
      </p:sp>
      <p:sp>
        <p:nvSpPr>
          <p:cNvPr id="37" name="Subtitle 2"/>
          <p:cNvSpPr>
            <a:spLocks noGrp="1"/>
          </p:cNvSpPr>
          <p:nvPr>
            <p:ph type="subTitle" idx="1" hasCustomPrompt="1"/>
          </p:nvPr>
        </p:nvSpPr>
        <p:spPr>
          <a:xfrm>
            <a:off x="343364" y="3474100"/>
            <a:ext cx="8460000" cy="202165"/>
          </a:xfrm>
          <a:prstGeom prst="rect">
            <a:avLst/>
          </a:prstGeom>
        </p:spPr>
        <p:txBody>
          <a:bodyPr lIns="0" tIns="0" rIns="0" bIns="0">
            <a:noAutofit/>
          </a:bodyPr>
          <a:lstStyle>
            <a:lvl1pPr marL="0" indent="0" algn="l">
              <a:buNone/>
              <a:defRPr sz="14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cxnSp>
        <p:nvCxnSpPr>
          <p:cNvPr id="38" name="Straight Connector 37"/>
          <p:cNvCxnSpPr/>
          <p:nvPr userDrawn="1"/>
        </p:nvCxnSpPr>
        <p:spPr>
          <a:xfrm>
            <a:off x="346086" y="3395058"/>
            <a:ext cx="8460000" cy="0"/>
          </a:xfrm>
          <a:prstGeom prst="line">
            <a:avLst/>
          </a:prstGeom>
          <a:ln w="12700"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73" name="Text Placeholder 2"/>
          <p:cNvSpPr>
            <a:spLocks noGrp="1"/>
          </p:cNvSpPr>
          <p:nvPr>
            <p:ph type="body" sz="quarter" idx="25" hasCustomPrompt="1"/>
          </p:nvPr>
        </p:nvSpPr>
        <p:spPr>
          <a:xfrm>
            <a:off x="3342796" y="4807465"/>
            <a:ext cx="1160462" cy="341313"/>
          </a:xfrm>
          <a:prstGeom prst="rect">
            <a:avLst/>
          </a:prstGeom>
        </p:spPr>
        <p:txBody>
          <a:bodyPr anchor="ctr"/>
          <a:lstStyle>
            <a:lvl1pPr marL="0" indent="0" algn="ctr">
              <a:buNone/>
              <a:defRPr sz="800">
                <a:solidFill>
                  <a:schemeClr val="bg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pic>
        <p:nvPicPr>
          <p:cNvPr id="75" name="Picture 7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643755" y="4829728"/>
            <a:ext cx="288000" cy="288000"/>
          </a:xfrm>
          <a:prstGeom prst="rect">
            <a:avLst/>
          </a:prstGeom>
        </p:spPr>
      </p:pic>
      <p:grpSp>
        <p:nvGrpSpPr>
          <p:cNvPr id="76" name="Group 75"/>
          <p:cNvGrpSpPr/>
          <p:nvPr userDrawn="1"/>
        </p:nvGrpSpPr>
        <p:grpSpPr>
          <a:xfrm>
            <a:off x="4750866" y="4840100"/>
            <a:ext cx="1123200" cy="233974"/>
            <a:chOff x="7665803" y="4864376"/>
            <a:chExt cx="1123200" cy="233974"/>
          </a:xfrm>
          <a:solidFill>
            <a:schemeClr val="bg1"/>
          </a:solidFill>
        </p:grpSpPr>
        <p:sp>
          <p:nvSpPr>
            <p:cNvPr id="77" name="Freeform 6"/>
            <p:cNvSpPr>
              <a:spLocks/>
            </p:cNvSpPr>
            <p:nvPr userDrawn="1"/>
          </p:nvSpPr>
          <p:spPr bwMode="auto">
            <a:xfrm>
              <a:off x="8119644" y="4924717"/>
              <a:ext cx="103102" cy="66806"/>
            </a:xfrm>
            <a:custGeom>
              <a:avLst/>
              <a:gdLst>
                <a:gd name="T0" fmla="*/ 111 w 136"/>
                <a:gd name="T1" fmla="*/ 72 h 92"/>
                <a:gd name="T2" fmla="*/ 87 w 136"/>
                <a:gd name="T3" fmla="*/ 88 h 92"/>
                <a:gd name="T4" fmla="*/ 68 w 136"/>
                <a:gd name="T5" fmla="*/ 28 h 92"/>
                <a:gd name="T6" fmla="*/ 67 w 136"/>
                <a:gd name="T7" fmla="*/ 28 h 92"/>
                <a:gd name="T8" fmla="*/ 53 w 136"/>
                <a:gd name="T9" fmla="*/ 72 h 92"/>
                <a:gd name="T10" fmla="*/ 31 w 136"/>
                <a:gd name="T11" fmla="*/ 88 h 92"/>
                <a:gd name="T12" fmla="*/ 0 w 136"/>
                <a:gd name="T13" fmla="*/ 0 h 92"/>
                <a:gd name="T14" fmla="*/ 22 w 136"/>
                <a:gd name="T15" fmla="*/ 0 h 92"/>
                <a:gd name="T16" fmla="*/ 41 w 136"/>
                <a:gd name="T17" fmla="*/ 60 h 92"/>
                <a:gd name="T18" fmla="*/ 41 w 136"/>
                <a:gd name="T19" fmla="*/ 60 h 92"/>
                <a:gd name="T20" fmla="*/ 60 w 136"/>
                <a:gd name="T21" fmla="*/ 0 h 92"/>
                <a:gd name="T22" fmla="*/ 77 w 136"/>
                <a:gd name="T23" fmla="*/ 0 h 92"/>
                <a:gd name="T24" fmla="*/ 96 w 136"/>
                <a:gd name="T25" fmla="*/ 60 h 92"/>
                <a:gd name="T26" fmla="*/ 97 w 136"/>
                <a:gd name="T27" fmla="*/ 60 h 92"/>
                <a:gd name="T28" fmla="*/ 115 w 136"/>
                <a:gd name="T29" fmla="*/ 0 h 92"/>
                <a:gd name="T30" fmla="*/ 136 w 136"/>
                <a:gd name="T31" fmla="*/ 0 h 92"/>
                <a:gd name="T32" fmla="*/ 111 w 136"/>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 h="92">
                  <a:moveTo>
                    <a:pt x="111" y="72"/>
                  </a:moveTo>
                  <a:cubicBezTo>
                    <a:pt x="103" y="92"/>
                    <a:pt x="87" y="88"/>
                    <a:pt x="87" y="88"/>
                  </a:cubicBezTo>
                  <a:cubicBezTo>
                    <a:pt x="68" y="28"/>
                    <a:pt x="68" y="28"/>
                    <a:pt x="68" y="28"/>
                  </a:cubicBezTo>
                  <a:cubicBezTo>
                    <a:pt x="67" y="28"/>
                    <a:pt x="67" y="28"/>
                    <a:pt x="67" y="28"/>
                  </a:cubicBezTo>
                  <a:cubicBezTo>
                    <a:pt x="67" y="28"/>
                    <a:pt x="58"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6" y="60"/>
                    <a:pt x="96" y="60"/>
                    <a:pt x="96" y="60"/>
                  </a:cubicBezTo>
                  <a:cubicBezTo>
                    <a:pt x="97" y="60"/>
                    <a:pt x="97" y="60"/>
                    <a:pt x="97" y="60"/>
                  </a:cubicBezTo>
                  <a:cubicBezTo>
                    <a:pt x="115" y="0"/>
                    <a:pt x="115" y="0"/>
                    <a:pt x="115" y="0"/>
                  </a:cubicBezTo>
                  <a:cubicBezTo>
                    <a:pt x="136" y="0"/>
                    <a:pt x="136" y="0"/>
                    <a:pt x="136" y="0"/>
                  </a:cubicBezTo>
                  <a:cubicBezTo>
                    <a:pt x="136"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8" name="Freeform 7"/>
            <p:cNvSpPr>
              <a:spLocks noEditPoints="1"/>
            </p:cNvSpPr>
            <p:nvPr userDrawn="1"/>
          </p:nvSpPr>
          <p:spPr bwMode="auto">
            <a:xfrm>
              <a:off x="8225958" y="4923177"/>
              <a:ext cx="57493" cy="66190"/>
            </a:xfrm>
            <a:custGeom>
              <a:avLst/>
              <a:gdLst>
                <a:gd name="T0" fmla="*/ 57 w 76"/>
                <a:gd name="T1" fmla="*/ 90 h 91"/>
                <a:gd name="T2" fmla="*/ 53 w 76"/>
                <a:gd name="T3" fmla="*/ 81 h 91"/>
                <a:gd name="T4" fmla="*/ 28 w 76"/>
                <a:gd name="T5" fmla="*/ 91 h 91"/>
                <a:gd name="T6" fmla="*/ 0 w 76"/>
                <a:gd name="T7" fmla="*/ 63 h 91"/>
                <a:gd name="T8" fmla="*/ 36 w 76"/>
                <a:gd name="T9" fmla="*/ 34 h 91"/>
                <a:gd name="T10" fmla="*/ 51 w 76"/>
                <a:gd name="T11" fmla="*/ 34 h 91"/>
                <a:gd name="T12" fmla="*/ 51 w 76"/>
                <a:gd name="T13" fmla="*/ 31 h 91"/>
                <a:gd name="T14" fmla="*/ 35 w 76"/>
                <a:gd name="T15" fmla="*/ 17 h 91"/>
                <a:gd name="T16" fmla="*/ 12 w 76"/>
                <a:gd name="T17" fmla="*/ 23 h 91"/>
                <a:gd name="T18" fmla="*/ 5 w 76"/>
                <a:gd name="T19" fmla="*/ 9 h 91"/>
                <a:gd name="T20" fmla="*/ 39 w 76"/>
                <a:gd name="T21" fmla="*/ 0 h 91"/>
                <a:gd name="T22" fmla="*/ 74 w 76"/>
                <a:gd name="T23" fmla="*/ 31 h 91"/>
                <a:gd name="T24" fmla="*/ 74 w 76"/>
                <a:gd name="T25" fmla="*/ 66 h 91"/>
                <a:gd name="T26" fmla="*/ 76 w 76"/>
                <a:gd name="T27" fmla="*/ 90 h 91"/>
                <a:gd name="T28" fmla="*/ 57 w 76"/>
                <a:gd name="T29" fmla="*/ 90 h 91"/>
                <a:gd name="T30" fmla="*/ 51 w 76"/>
                <a:gd name="T31" fmla="*/ 49 h 91"/>
                <a:gd name="T32" fmla="*/ 39 w 76"/>
                <a:gd name="T33" fmla="*/ 49 h 91"/>
                <a:gd name="T34" fmla="*/ 22 w 76"/>
                <a:gd name="T35" fmla="*/ 61 h 91"/>
                <a:gd name="T36" fmla="*/ 36 w 76"/>
                <a:gd name="T37" fmla="*/ 73 h 91"/>
                <a:gd name="T38" fmla="*/ 51 w 76"/>
                <a:gd name="T39" fmla="*/ 68 h 91"/>
                <a:gd name="T40" fmla="*/ 51 w 76"/>
                <a:gd name="T41" fmla="*/ 4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91">
                  <a:moveTo>
                    <a:pt x="57" y="90"/>
                  </a:moveTo>
                  <a:cubicBezTo>
                    <a:pt x="53" y="81"/>
                    <a:pt x="53" y="81"/>
                    <a:pt x="53" y="81"/>
                  </a:cubicBezTo>
                  <a:cubicBezTo>
                    <a:pt x="48" y="86"/>
                    <a:pt x="40" y="91"/>
                    <a:pt x="28" y="91"/>
                  </a:cubicBezTo>
                  <a:cubicBezTo>
                    <a:pt x="12" y="91"/>
                    <a:pt x="0" y="80"/>
                    <a:pt x="0" y="63"/>
                  </a:cubicBezTo>
                  <a:cubicBezTo>
                    <a:pt x="0" y="45"/>
                    <a:pt x="14" y="35"/>
                    <a:pt x="36" y="34"/>
                  </a:cubicBezTo>
                  <a:cubicBezTo>
                    <a:pt x="51" y="34"/>
                    <a:pt x="51" y="34"/>
                    <a:pt x="51" y="34"/>
                  </a:cubicBezTo>
                  <a:cubicBezTo>
                    <a:pt x="51" y="33"/>
                    <a:pt x="51" y="32"/>
                    <a:pt x="51" y="31"/>
                  </a:cubicBezTo>
                  <a:cubicBezTo>
                    <a:pt x="51" y="21"/>
                    <a:pt x="44" y="17"/>
                    <a:pt x="35" y="17"/>
                  </a:cubicBezTo>
                  <a:cubicBezTo>
                    <a:pt x="25" y="17"/>
                    <a:pt x="18" y="20"/>
                    <a:pt x="12" y="23"/>
                  </a:cubicBezTo>
                  <a:cubicBezTo>
                    <a:pt x="5" y="9"/>
                    <a:pt x="5" y="9"/>
                    <a:pt x="5" y="9"/>
                  </a:cubicBezTo>
                  <a:cubicBezTo>
                    <a:pt x="17" y="2"/>
                    <a:pt x="28" y="0"/>
                    <a:pt x="39" y="0"/>
                  </a:cubicBezTo>
                  <a:cubicBezTo>
                    <a:pt x="61" y="0"/>
                    <a:pt x="74" y="9"/>
                    <a:pt x="74" y="31"/>
                  </a:cubicBezTo>
                  <a:cubicBezTo>
                    <a:pt x="74" y="66"/>
                    <a:pt x="74" y="66"/>
                    <a:pt x="74" y="66"/>
                  </a:cubicBezTo>
                  <a:cubicBezTo>
                    <a:pt x="74" y="78"/>
                    <a:pt x="75" y="86"/>
                    <a:pt x="76" y="90"/>
                  </a:cubicBezTo>
                  <a:lnTo>
                    <a:pt x="57" y="90"/>
                  </a:lnTo>
                  <a:close/>
                  <a:moveTo>
                    <a:pt x="51" y="49"/>
                  </a:moveTo>
                  <a:cubicBezTo>
                    <a:pt x="39" y="49"/>
                    <a:pt x="39" y="49"/>
                    <a:pt x="39" y="49"/>
                  </a:cubicBezTo>
                  <a:cubicBezTo>
                    <a:pt x="27" y="50"/>
                    <a:pt x="22" y="54"/>
                    <a:pt x="22" y="61"/>
                  </a:cubicBezTo>
                  <a:cubicBezTo>
                    <a:pt x="22" y="68"/>
                    <a:pt x="27" y="73"/>
                    <a:pt x="36" y="73"/>
                  </a:cubicBezTo>
                  <a:cubicBezTo>
                    <a:pt x="44" y="73"/>
                    <a:pt x="49" y="70"/>
                    <a:pt x="51" y="68"/>
                  </a:cubicBezTo>
                  <a:lnTo>
                    <a:pt x="51" y="4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9" name="Freeform 8"/>
            <p:cNvSpPr>
              <a:spLocks noEditPoints="1"/>
            </p:cNvSpPr>
            <p:nvPr userDrawn="1"/>
          </p:nvSpPr>
          <p:spPr bwMode="auto">
            <a:xfrm>
              <a:off x="8342550" y="4892699"/>
              <a:ext cx="62311" cy="96668"/>
            </a:xfrm>
            <a:custGeom>
              <a:avLst/>
              <a:gdLst>
                <a:gd name="T0" fmla="*/ 47 w 82"/>
                <a:gd name="T1" fmla="*/ 133 h 133"/>
                <a:gd name="T2" fmla="*/ 0 w 82"/>
                <a:gd name="T3" fmla="*/ 88 h 133"/>
                <a:gd name="T4" fmla="*/ 48 w 82"/>
                <a:gd name="T5" fmla="*/ 42 h 133"/>
                <a:gd name="T6" fmla="*/ 59 w 82"/>
                <a:gd name="T7" fmla="*/ 42 h 133"/>
                <a:gd name="T8" fmla="*/ 60 w 82"/>
                <a:gd name="T9" fmla="*/ 0 h 133"/>
                <a:gd name="T10" fmla="*/ 82 w 82"/>
                <a:gd name="T11" fmla="*/ 0 h 133"/>
                <a:gd name="T12" fmla="*/ 81 w 82"/>
                <a:gd name="T13" fmla="*/ 126 h 133"/>
                <a:gd name="T14" fmla="*/ 47 w 82"/>
                <a:gd name="T15" fmla="*/ 133 h 133"/>
                <a:gd name="T16" fmla="*/ 59 w 82"/>
                <a:gd name="T17" fmla="*/ 60 h 133"/>
                <a:gd name="T18" fmla="*/ 49 w 82"/>
                <a:gd name="T19" fmla="*/ 59 h 133"/>
                <a:gd name="T20" fmla="*/ 22 w 82"/>
                <a:gd name="T21" fmla="*/ 87 h 133"/>
                <a:gd name="T22" fmla="*/ 49 w 82"/>
                <a:gd name="T23" fmla="*/ 114 h 133"/>
                <a:gd name="T24" fmla="*/ 59 w 82"/>
                <a:gd name="T25" fmla="*/ 113 h 133"/>
                <a:gd name="T26" fmla="*/ 59 w 82"/>
                <a:gd name="T27" fmla="*/ 6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3">
                  <a:moveTo>
                    <a:pt x="47" y="133"/>
                  </a:moveTo>
                  <a:cubicBezTo>
                    <a:pt x="21" y="133"/>
                    <a:pt x="0" y="117"/>
                    <a:pt x="0" y="88"/>
                  </a:cubicBezTo>
                  <a:cubicBezTo>
                    <a:pt x="0" y="61"/>
                    <a:pt x="20" y="42"/>
                    <a:pt x="48" y="42"/>
                  </a:cubicBezTo>
                  <a:cubicBezTo>
                    <a:pt x="52" y="42"/>
                    <a:pt x="56" y="42"/>
                    <a:pt x="59" y="42"/>
                  </a:cubicBezTo>
                  <a:cubicBezTo>
                    <a:pt x="60" y="0"/>
                    <a:pt x="60" y="0"/>
                    <a:pt x="60" y="0"/>
                  </a:cubicBezTo>
                  <a:cubicBezTo>
                    <a:pt x="82" y="0"/>
                    <a:pt x="82" y="0"/>
                    <a:pt x="82" y="0"/>
                  </a:cubicBezTo>
                  <a:cubicBezTo>
                    <a:pt x="81" y="126"/>
                    <a:pt x="81" y="126"/>
                    <a:pt x="81" y="126"/>
                  </a:cubicBezTo>
                  <a:cubicBezTo>
                    <a:pt x="73" y="130"/>
                    <a:pt x="62" y="133"/>
                    <a:pt x="47" y="133"/>
                  </a:cubicBezTo>
                  <a:close/>
                  <a:moveTo>
                    <a:pt x="59" y="60"/>
                  </a:moveTo>
                  <a:cubicBezTo>
                    <a:pt x="56" y="60"/>
                    <a:pt x="54" y="59"/>
                    <a:pt x="49" y="59"/>
                  </a:cubicBezTo>
                  <a:cubicBezTo>
                    <a:pt x="33" y="59"/>
                    <a:pt x="22" y="70"/>
                    <a:pt x="22" y="87"/>
                  </a:cubicBezTo>
                  <a:cubicBezTo>
                    <a:pt x="22" y="103"/>
                    <a:pt x="32" y="114"/>
                    <a:pt x="49" y="114"/>
                  </a:cubicBezTo>
                  <a:cubicBezTo>
                    <a:pt x="53" y="114"/>
                    <a:pt x="57" y="114"/>
                    <a:pt x="59" y="113"/>
                  </a:cubicBezTo>
                  <a:lnTo>
                    <a:pt x="59" y="60"/>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0" name="Freeform 9"/>
            <p:cNvSpPr>
              <a:spLocks/>
            </p:cNvSpPr>
            <p:nvPr userDrawn="1"/>
          </p:nvSpPr>
          <p:spPr bwMode="auto">
            <a:xfrm>
              <a:off x="8093949"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1" name="Freeform 10"/>
            <p:cNvSpPr>
              <a:spLocks/>
            </p:cNvSpPr>
            <p:nvPr userDrawn="1"/>
          </p:nvSpPr>
          <p:spPr bwMode="auto">
            <a:xfrm>
              <a:off x="8060545"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2" name="Freeform 11"/>
            <p:cNvSpPr>
              <a:spLocks/>
            </p:cNvSpPr>
            <p:nvPr userDrawn="1"/>
          </p:nvSpPr>
          <p:spPr bwMode="auto">
            <a:xfrm>
              <a:off x="8297262" y="4923177"/>
              <a:ext cx="43039" cy="66190"/>
            </a:xfrm>
            <a:custGeom>
              <a:avLst/>
              <a:gdLst>
                <a:gd name="T0" fmla="*/ 49 w 57"/>
                <a:gd name="T1" fmla="*/ 22 h 91"/>
                <a:gd name="T2" fmla="*/ 39 w 57"/>
                <a:gd name="T3" fmla="*/ 20 h 91"/>
                <a:gd name="T4" fmla="*/ 22 w 57"/>
                <a:gd name="T5" fmla="*/ 27 h 91"/>
                <a:gd name="T6" fmla="*/ 22 w 57"/>
                <a:gd name="T7" fmla="*/ 74 h 91"/>
                <a:gd name="T8" fmla="*/ 0 w 57"/>
                <a:gd name="T9" fmla="*/ 90 h 91"/>
                <a:gd name="T10" fmla="*/ 0 w 57"/>
                <a:gd name="T11" fmla="*/ 2 h 91"/>
                <a:gd name="T12" fmla="*/ 18 w 57"/>
                <a:gd name="T13" fmla="*/ 2 h 91"/>
                <a:gd name="T14" fmla="*/ 21 w 57"/>
                <a:gd name="T15" fmla="*/ 11 h 91"/>
                <a:gd name="T16" fmla="*/ 45 w 57"/>
                <a:gd name="T17" fmla="*/ 0 h 91"/>
                <a:gd name="T18" fmla="*/ 57 w 57"/>
                <a:gd name="T19" fmla="*/ 4 h 91"/>
                <a:gd name="T20" fmla="*/ 49 w 57"/>
                <a:gd name="T21" fmla="*/ 2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1">
                  <a:moveTo>
                    <a:pt x="49" y="22"/>
                  </a:moveTo>
                  <a:cubicBezTo>
                    <a:pt x="45" y="20"/>
                    <a:pt x="41" y="20"/>
                    <a:pt x="39" y="20"/>
                  </a:cubicBezTo>
                  <a:cubicBezTo>
                    <a:pt x="34" y="20"/>
                    <a:pt x="28" y="22"/>
                    <a:pt x="22" y="27"/>
                  </a:cubicBezTo>
                  <a:cubicBezTo>
                    <a:pt x="22" y="27"/>
                    <a:pt x="22" y="57"/>
                    <a:pt x="22" y="74"/>
                  </a:cubicBezTo>
                  <a:cubicBezTo>
                    <a:pt x="22" y="91"/>
                    <a:pt x="0" y="90"/>
                    <a:pt x="0" y="90"/>
                  </a:cubicBezTo>
                  <a:cubicBezTo>
                    <a:pt x="0" y="2"/>
                    <a:pt x="0" y="2"/>
                    <a:pt x="0" y="2"/>
                  </a:cubicBezTo>
                  <a:cubicBezTo>
                    <a:pt x="18" y="2"/>
                    <a:pt x="18" y="2"/>
                    <a:pt x="18"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3" name="Freeform 12"/>
            <p:cNvSpPr>
              <a:spLocks/>
            </p:cNvSpPr>
            <p:nvPr userDrawn="1"/>
          </p:nvSpPr>
          <p:spPr bwMode="auto">
            <a:xfrm>
              <a:off x="7907980" y="4892699"/>
              <a:ext cx="98605" cy="95129"/>
            </a:xfrm>
            <a:custGeom>
              <a:avLst/>
              <a:gdLst>
                <a:gd name="T0" fmla="*/ 106 w 130"/>
                <a:gd name="T1" fmla="*/ 131 h 131"/>
                <a:gd name="T2" fmla="*/ 106 w 130"/>
                <a:gd name="T3" fmla="*/ 53 h 131"/>
                <a:gd name="T4" fmla="*/ 107 w 130"/>
                <a:gd name="T5" fmla="*/ 39 h 131"/>
                <a:gd name="T6" fmla="*/ 106 w 130"/>
                <a:gd name="T7" fmla="*/ 39 h 131"/>
                <a:gd name="T8" fmla="*/ 99 w 130"/>
                <a:gd name="T9" fmla="*/ 52 h 131"/>
                <a:gd name="T10" fmla="*/ 72 w 130"/>
                <a:gd name="T11" fmla="*/ 93 h 131"/>
                <a:gd name="T12" fmla="*/ 60 w 130"/>
                <a:gd name="T13" fmla="*/ 93 h 131"/>
                <a:gd name="T14" fmla="*/ 32 w 130"/>
                <a:gd name="T15" fmla="*/ 51 h 131"/>
                <a:gd name="T16" fmla="*/ 24 w 130"/>
                <a:gd name="T17" fmla="*/ 39 h 131"/>
                <a:gd name="T18" fmla="*/ 23 w 130"/>
                <a:gd name="T19" fmla="*/ 39 h 131"/>
                <a:gd name="T20" fmla="*/ 24 w 130"/>
                <a:gd name="T21" fmla="*/ 52 h 131"/>
                <a:gd name="T22" fmla="*/ 24 w 130"/>
                <a:gd name="T23" fmla="*/ 131 h 131"/>
                <a:gd name="T24" fmla="*/ 0 w 130"/>
                <a:gd name="T25" fmla="*/ 131 h 131"/>
                <a:gd name="T26" fmla="*/ 0 w 130"/>
                <a:gd name="T27" fmla="*/ 0 h 131"/>
                <a:gd name="T28" fmla="*/ 22 w 130"/>
                <a:gd name="T29" fmla="*/ 0 h 131"/>
                <a:gd name="T30" fmla="*/ 58 w 130"/>
                <a:gd name="T31" fmla="*/ 52 h 131"/>
                <a:gd name="T32" fmla="*/ 66 w 130"/>
                <a:gd name="T33" fmla="*/ 66 h 131"/>
                <a:gd name="T34" fmla="*/ 67 w 130"/>
                <a:gd name="T35" fmla="*/ 66 h 131"/>
                <a:gd name="T36" fmla="*/ 75 w 130"/>
                <a:gd name="T37" fmla="*/ 52 h 131"/>
                <a:gd name="T38" fmla="*/ 108 w 130"/>
                <a:gd name="T39" fmla="*/ 0 h 131"/>
                <a:gd name="T40" fmla="*/ 130 w 130"/>
                <a:gd name="T41" fmla="*/ 0 h 131"/>
                <a:gd name="T42" fmla="*/ 130 w 130"/>
                <a:gd name="T43" fmla="*/ 131 h 131"/>
                <a:gd name="T44" fmla="*/ 106 w 130"/>
                <a:gd name="T45"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0" h="131">
                  <a:moveTo>
                    <a:pt x="106" y="131"/>
                  </a:moveTo>
                  <a:cubicBezTo>
                    <a:pt x="106" y="53"/>
                    <a:pt x="106" y="53"/>
                    <a:pt x="106" y="53"/>
                  </a:cubicBezTo>
                  <a:cubicBezTo>
                    <a:pt x="106" y="48"/>
                    <a:pt x="106" y="44"/>
                    <a:pt x="107" y="39"/>
                  </a:cubicBezTo>
                  <a:cubicBezTo>
                    <a:pt x="106" y="39"/>
                    <a:pt x="106" y="39"/>
                    <a:pt x="106" y="39"/>
                  </a:cubicBezTo>
                  <a:cubicBezTo>
                    <a:pt x="105" y="43"/>
                    <a:pt x="101" y="49"/>
                    <a:pt x="99" y="52"/>
                  </a:cubicBezTo>
                  <a:cubicBezTo>
                    <a:pt x="72" y="93"/>
                    <a:pt x="72" y="93"/>
                    <a:pt x="72" y="93"/>
                  </a:cubicBezTo>
                  <a:cubicBezTo>
                    <a:pt x="60" y="93"/>
                    <a:pt x="60" y="93"/>
                    <a:pt x="60" y="93"/>
                  </a:cubicBezTo>
                  <a:cubicBezTo>
                    <a:pt x="32" y="51"/>
                    <a:pt x="32" y="51"/>
                    <a:pt x="32" y="51"/>
                  </a:cubicBezTo>
                  <a:cubicBezTo>
                    <a:pt x="29" y="48"/>
                    <a:pt x="26" y="44"/>
                    <a:pt x="24" y="39"/>
                  </a:cubicBezTo>
                  <a:cubicBezTo>
                    <a:pt x="23" y="39"/>
                    <a:pt x="23" y="39"/>
                    <a:pt x="23" y="39"/>
                  </a:cubicBezTo>
                  <a:cubicBezTo>
                    <a:pt x="24" y="44"/>
                    <a:pt x="24" y="48"/>
                    <a:pt x="24" y="52"/>
                  </a:cubicBezTo>
                  <a:cubicBezTo>
                    <a:pt x="24" y="131"/>
                    <a:pt x="24" y="131"/>
                    <a:pt x="24" y="131"/>
                  </a:cubicBezTo>
                  <a:cubicBezTo>
                    <a:pt x="0" y="131"/>
                    <a:pt x="0" y="131"/>
                    <a:pt x="0" y="131"/>
                  </a:cubicBezTo>
                  <a:cubicBezTo>
                    <a:pt x="0" y="0"/>
                    <a:pt x="0" y="0"/>
                    <a:pt x="0" y="0"/>
                  </a:cubicBezTo>
                  <a:cubicBezTo>
                    <a:pt x="22" y="0"/>
                    <a:pt x="22" y="0"/>
                    <a:pt x="22" y="0"/>
                  </a:cubicBezTo>
                  <a:cubicBezTo>
                    <a:pt x="58" y="52"/>
                    <a:pt x="58" y="52"/>
                    <a:pt x="58" y="52"/>
                  </a:cubicBezTo>
                  <a:cubicBezTo>
                    <a:pt x="61" y="57"/>
                    <a:pt x="64" y="61"/>
                    <a:pt x="66" y="66"/>
                  </a:cubicBezTo>
                  <a:cubicBezTo>
                    <a:pt x="67" y="66"/>
                    <a:pt x="67" y="66"/>
                    <a:pt x="67" y="66"/>
                  </a:cubicBezTo>
                  <a:cubicBezTo>
                    <a:pt x="69" y="61"/>
                    <a:pt x="71" y="57"/>
                    <a:pt x="75" y="52"/>
                  </a:cubicBezTo>
                  <a:cubicBezTo>
                    <a:pt x="108" y="0"/>
                    <a:pt x="108" y="0"/>
                    <a:pt x="108" y="0"/>
                  </a:cubicBezTo>
                  <a:cubicBezTo>
                    <a:pt x="130" y="0"/>
                    <a:pt x="130" y="0"/>
                    <a:pt x="130" y="0"/>
                  </a:cubicBezTo>
                  <a:cubicBezTo>
                    <a:pt x="130" y="131"/>
                    <a:pt x="130" y="131"/>
                    <a:pt x="130" y="131"/>
                  </a:cubicBezTo>
                  <a:lnTo>
                    <a:pt x="106" y="131"/>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4" name="Freeform 13"/>
            <p:cNvSpPr>
              <a:spLocks/>
            </p:cNvSpPr>
            <p:nvPr userDrawn="1"/>
          </p:nvSpPr>
          <p:spPr bwMode="auto">
            <a:xfrm>
              <a:off x="7665803" y="4864376"/>
              <a:ext cx="100854" cy="148389"/>
            </a:xfrm>
            <a:custGeom>
              <a:avLst/>
              <a:gdLst>
                <a:gd name="T0" fmla="*/ 133 w 133"/>
                <a:gd name="T1" fmla="*/ 23 h 204"/>
                <a:gd name="T2" fmla="*/ 132 w 133"/>
                <a:gd name="T3" fmla="*/ 22 h 204"/>
                <a:gd name="T4" fmla="*/ 65 w 133"/>
                <a:gd name="T5" fmla="*/ 20 h 204"/>
                <a:gd name="T6" fmla="*/ 52 w 133"/>
                <a:gd name="T7" fmla="*/ 52 h 204"/>
                <a:gd name="T8" fmla="*/ 20 w 133"/>
                <a:gd name="T9" fmla="*/ 65 h 204"/>
                <a:gd name="T10" fmla="*/ 22 w 133"/>
                <a:gd name="T11" fmla="*/ 132 h 204"/>
                <a:gd name="T12" fmla="*/ 95 w 133"/>
                <a:gd name="T13" fmla="*/ 204 h 204"/>
                <a:gd name="T14" fmla="*/ 117 w 133"/>
                <a:gd name="T15" fmla="*/ 182 h 204"/>
                <a:gd name="T16" fmla="*/ 44 w 133"/>
                <a:gd name="T17" fmla="*/ 110 h 204"/>
                <a:gd name="T18" fmla="*/ 42 w 133"/>
                <a:gd name="T19" fmla="*/ 86 h 204"/>
                <a:gd name="T20" fmla="*/ 66 w 133"/>
                <a:gd name="T21" fmla="*/ 88 h 204"/>
                <a:gd name="T22" fmla="*/ 133 w 133"/>
                <a:gd name="T23" fmla="*/ 155 h 204"/>
                <a:gd name="T24" fmla="*/ 133 w 133"/>
                <a:gd name="T25" fmla="*/ 111 h 204"/>
                <a:gd name="T26" fmla="*/ 88 w 133"/>
                <a:gd name="T27" fmla="*/ 66 h 204"/>
                <a:gd name="T28" fmla="*/ 86 w 133"/>
                <a:gd name="T29" fmla="*/ 42 h 204"/>
                <a:gd name="T30" fmla="*/ 110 w 133"/>
                <a:gd name="T31" fmla="*/ 44 h 204"/>
                <a:gd name="T32" fmla="*/ 133 w 133"/>
                <a:gd name="T33" fmla="*/ 66 h 204"/>
                <a:gd name="T34" fmla="*/ 133 w 133"/>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204">
                  <a:moveTo>
                    <a:pt x="133" y="23"/>
                  </a:moveTo>
                  <a:cubicBezTo>
                    <a:pt x="132" y="22"/>
                    <a:pt x="132" y="22"/>
                    <a:pt x="132" y="22"/>
                  </a:cubicBezTo>
                  <a:cubicBezTo>
                    <a:pt x="110" y="0"/>
                    <a:pt x="82" y="2"/>
                    <a:pt x="65" y="20"/>
                  </a:cubicBezTo>
                  <a:cubicBezTo>
                    <a:pt x="53" y="32"/>
                    <a:pt x="51" y="46"/>
                    <a:pt x="52" y="52"/>
                  </a:cubicBezTo>
                  <a:cubicBezTo>
                    <a:pt x="47" y="51"/>
                    <a:pt x="32" y="52"/>
                    <a:pt x="20" y="65"/>
                  </a:cubicBezTo>
                  <a:cubicBezTo>
                    <a:pt x="3" y="82"/>
                    <a:pt x="0" y="110"/>
                    <a:pt x="22" y="132"/>
                  </a:cubicBezTo>
                  <a:cubicBezTo>
                    <a:pt x="95" y="204"/>
                    <a:pt x="95" y="204"/>
                    <a:pt x="95" y="204"/>
                  </a:cubicBezTo>
                  <a:cubicBezTo>
                    <a:pt x="117" y="182"/>
                    <a:pt x="117" y="182"/>
                    <a:pt x="117" y="182"/>
                  </a:cubicBezTo>
                  <a:cubicBezTo>
                    <a:pt x="44" y="110"/>
                    <a:pt x="44" y="110"/>
                    <a:pt x="44" y="110"/>
                  </a:cubicBezTo>
                  <a:cubicBezTo>
                    <a:pt x="35" y="101"/>
                    <a:pt x="36" y="91"/>
                    <a:pt x="42" y="86"/>
                  </a:cubicBezTo>
                  <a:cubicBezTo>
                    <a:pt x="47" y="80"/>
                    <a:pt x="58" y="79"/>
                    <a:pt x="66" y="88"/>
                  </a:cubicBezTo>
                  <a:cubicBezTo>
                    <a:pt x="133" y="155"/>
                    <a:pt x="133" y="155"/>
                    <a:pt x="133" y="155"/>
                  </a:cubicBezTo>
                  <a:cubicBezTo>
                    <a:pt x="133" y="111"/>
                    <a:pt x="133" y="111"/>
                    <a:pt x="133" y="111"/>
                  </a:cubicBezTo>
                  <a:cubicBezTo>
                    <a:pt x="88" y="66"/>
                    <a:pt x="88" y="66"/>
                    <a:pt x="88" y="66"/>
                  </a:cubicBezTo>
                  <a:cubicBezTo>
                    <a:pt x="80" y="57"/>
                    <a:pt x="80" y="47"/>
                    <a:pt x="86" y="42"/>
                  </a:cubicBezTo>
                  <a:cubicBezTo>
                    <a:pt x="92" y="36"/>
                    <a:pt x="102" y="35"/>
                    <a:pt x="110" y="44"/>
                  </a:cubicBezTo>
                  <a:cubicBezTo>
                    <a:pt x="133" y="66"/>
                    <a:pt x="133" y="66"/>
                    <a:pt x="133" y="66"/>
                  </a:cubicBezTo>
                  <a:lnTo>
                    <a:pt x="133"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5" name="Freeform 14"/>
            <p:cNvSpPr>
              <a:spLocks noEditPoints="1"/>
            </p:cNvSpPr>
            <p:nvPr userDrawn="1"/>
          </p:nvSpPr>
          <p:spPr bwMode="auto">
            <a:xfrm>
              <a:off x="8023287" y="4895470"/>
              <a:ext cx="20556" cy="93282"/>
            </a:xfrm>
            <a:custGeom>
              <a:avLst/>
              <a:gdLst>
                <a:gd name="T0" fmla="*/ 14 w 27"/>
                <a:gd name="T1" fmla="*/ 26 h 128"/>
                <a:gd name="T2" fmla="*/ 0 w 27"/>
                <a:gd name="T3" fmla="*/ 13 h 128"/>
                <a:gd name="T4" fmla="*/ 14 w 27"/>
                <a:gd name="T5" fmla="*/ 0 h 128"/>
                <a:gd name="T6" fmla="*/ 27 w 27"/>
                <a:gd name="T7" fmla="*/ 13 h 128"/>
                <a:gd name="T8" fmla="*/ 14 w 27"/>
                <a:gd name="T9" fmla="*/ 26 h 128"/>
                <a:gd name="T10" fmla="*/ 3 w 27"/>
                <a:gd name="T11" fmla="*/ 128 h 128"/>
                <a:gd name="T12" fmla="*/ 3 w 27"/>
                <a:gd name="T13" fmla="*/ 40 h 128"/>
                <a:gd name="T14" fmla="*/ 25 w 27"/>
                <a:gd name="T15" fmla="*/ 40 h 128"/>
                <a:gd name="T16" fmla="*/ 25 w 27"/>
                <a:gd name="T17" fmla="*/ 112 h 128"/>
                <a:gd name="T18" fmla="*/ 3 w 27"/>
                <a:gd name="T1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128">
                  <a:moveTo>
                    <a:pt x="14" y="26"/>
                  </a:moveTo>
                  <a:cubicBezTo>
                    <a:pt x="6" y="26"/>
                    <a:pt x="0" y="20"/>
                    <a:pt x="0" y="13"/>
                  </a:cubicBezTo>
                  <a:cubicBezTo>
                    <a:pt x="0" y="6"/>
                    <a:pt x="6" y="0"/>
                    <a:pt x="14" y="0"/>
                  </a:cubicBezTo>
                  <a:cubicBezTo>
                    <a:pt x="21" y="0"/>
                    <a:pt x="27" y="5"/>
                    <a:pt x="27" y="13"/>
                  </a:cubicBezTo>
                  <a:cubicBezTo>
                    <a:pt x="27" y="20"/>
                    <a:pt x="21" y="26"/>
                    <a:pt x="14" y="26"/>
                  </a:cubicBezTo>
                  <a:close/>
                  <a:moveTo>
                    <a:pt x="3" y="128"/>
                  </a:moveTo>
                  <a:cubicBezTo>
                    <a:pt x="3" y="40"/>
                    <a:pt x="3" y="40"/>
                    <a:pt x="3" y="40"/>
                  </a:cubicBezTo>
                  <a:cubicBezTo>
                    <a:pt x="25" y="40"/>
                    <a:pt x="25" y="40"/>
                    <a:pt x="25" y="40"/>
                  </a:cubicBezTo>
                  <a:cubicBezTo>
                    <a:pt x="25" y="40"/>
                    <a:pt x="25" y="95"/>
                    <a:pt x="25" y="112"/>
                  </a:cubicBezTo>
                  <a:cubicBezTo>
                    <a:pt x="25" y="128"/>
                    <a:pt x="3" y="128"/>
                    <a:pt x="3" y="1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6" name="Freeform 15"/>
            <p:cNvSpPr>
              <a:spLocks/>
            </p:cNvSpPr>
            <p:nvPr userDrawn="1"/>
          </p:nvSpPr>
          <p:spPr bwMode="auto">
            <a:xfrm>
              <a:off x="8615239" y="4924717"/>
              <a:ext cx="103744" cy="66806"/>
            </a:xfrm>
            <a:custGeom>
              <a:avLst/>
              <a:gdLst>
                <a:gd name="T0" fmla="*/ 111 w 137"/>
                <a:gd name="T1" fmla="*/ 72 h 92"/>
                <a:gd name="T2" fmla="*/ 88 w 137"/>
                <a:gd name="T3" fmla="*/ 88 h 92"/>
                <a:gd name="T4" fmla="*/ 68 w 137"/>
                <a:gd name="T5" fmla="*/ 28 h 92"/>
                <a:gd name="T6" fmla="*/ 68 w 137"/>
                <a:gd name="T7" fmla="*/ 28 h 92"/>
                <a:gd name="T8" fmla="*/ 53 w 137"/>
                <a:gd name="T9" fmla="*/ 72 h 92"/>
                <a:gd name="T10" fmla="*/ 31 w 137"/>
                <a:gd name="T11" fmla="*/ 88 h 92"/>
                <a:gd name="T12" fmla="*/ 0 w 137"/>
                <a:gd name="T13" fmla="*/ 0 h 92"/>
                <a:gd name="T14" fmla="*/ 22 w 137"/>
                <a:gd name="T15" fmla="*/ 0 h 92"/>
                <a:gd name="T16" fmla="*/ 41 w 137"/>
                <a:gd name="T17" fmla="*/ 60 h 92"/>
                <a:gd name="T18" fmla="*/ 41 w 137"/>
                <a:gd name="T19" fmla="*/ 60 h 92"/>
                <a:gd name="T20" fmla="*/ 60 w 137"/>
                <a:gd name="T21" fmla="*/ 0 h 92"/>
                <a:gd name="T22" fmla="*/ 77 w 137"/>
                <a:gd name="T23" fmla="*/ 0 h 92"/>
                <a:gd name="T24" fmla="*/ 97 w 137"/>
                <a:gd name="T25" fmla="*/ 60 h 92"/>
                <a:gd name="T26" fmla="*/ 97 w 137"/>
                <a:gd name="T27" fmla="*/ 60 h 92"/>
                <a:gd name="T28" fmla="*/ 115 w 137"/>
                <a:gd name="T29" fmla="*/ 0 h 92"/>
                <a:gd name="T30" fmla="*/ 137 w 137"/>
                <a:gd name="T31" fmla="*/ 0 h 92"/>
                <a:gd name="T32" fmla="*/ 111 w 137"/>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 h="92">
                  <a:moveTo>
                    <a:pt x="111" y="72"/>
                  </a:moveTo>
                  <a:cubicBezTo>
                    <a:pt x="104" y="92"/>
                    <a:pt x="88" y="88"/>
                    <a:pt x="88" y="88"/>
                  </a:cubicBezTo>
                  <a:cubicBezTo>
                    <a:pt x="68" y="28"/>
                    <a:pt x="68" y="28"/>
                    <a:pt x="68" y="28"/>
                  </a:cubicBezTo>
                  <a:cubicBezTo>
                    <a:pt x="68" y="28"/>
                    <a:pt x="68" y="28"/>
                    <a:pt x="68" y="28"/>
                  </a:cubicBezTo>
                  <a:cubicBezTo>
                    <a:pt x="68" y="28"/>
                    <a:pt x="59"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7" y="60"/>
                    <a:pt x="97" y="60"/>
                    <a:pt x="97" y="60"/>
                  </a:cubicBezTo>
                  <a:cubicBezTo>
                    <a:pt x="97" y="60"/>
                    <a:pt x="97" y="60"/>
                    <a:pt x="97" y="60"/>
                  </a:cubicBezTo>
                  <a:cubicBezTo>
                    <a:pt x="115" y="0"/>
                    <a:pt x="115" y="0"/>
                    <a:pt x="115" y="0"/>
                  </a:cubicBezTo>
                  <a:cubicBezTo>
                    <a:pt x="137" y="0"/>
                    <a:pt x="137" y="0"/>
                    <a:pt x="137" y="0"/>
                  </a:cubicBezTo>
                  <a:cubicBezTo>
                    <a:pt x="137"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7" name="Freeform 16"/>
            <p:cNvSpPr>
              <a:spLocks noEditPoints="1"/>
            </p:cNvSpPr>
            <p:nvPr userDrawn="1"/>
          </p:nvSpPr>
          <p:spPr bwMode="auto">
            <a:xfrm>
              <a:off x="8423168" y="4892699"/>
              <a:ext cx="65844" cy="95129"/>
            </a:xfrm>
            <a:custGeom>
              <a:avLst/>
              <a:gdLst>
                <a:gd name="T0" fmla="*/ 1 w 87"/>
                <a:gd name="T1" fmla="*/ 0 h 131"/>
                <a:gd name="T2" fmla="*/ 0 w 87"/>
                <a:gd name="T3" fmla="*/ 131 h 131"/>
                <a:gd name="T4" fmla="*/ 41 w 87"/>
                <a:gd name="T5" fmla="*/ 131 h 131"/>
                <a:gd name="T6" fmla="*/ 87 w 87"/>
                <a:gd name="T7" fmla="*/ 92 h 131"/>
                <a:gd name="T8" fmla="*/ 65 w 87"/>
                <a:gd name="T9" fmla="*/ 61 h 131"/>
                <a:gd name="T10" fmla="*/ 62 w 87"/>
                <a:gd name="T11" fmla="*/ 60 h 131"/>
                <a:gd name="T12" fmla="*/ 64 w 87"/>
                <a:gd name="T13" fmla="*/ 59 h 131"/>
                <a:gd name="T14" fmla="*/ 79 w 87"/>
                <a:gd name="T15" fmla="*/ 32 h 131"/>
                <a:gd name="T16" fmla="*/ 42 w 87"/>
                <a:gd name="T17" fmla="*/ 0 h 131"/>
                <a:gd name="T18" fmla="*/ 1 w 87"/>
                <a:gd name="T19" fmla="*/ 0 h 131"/>
                <a:gd name="T20" fmla="*/ 23 w 87"/>
                <a:gd name="T21" fmla="*/ 17 h 131"/>
                <a:gd name="T22" fmla="*/ 36 w 87"/>
                <a:gd name="T23" fmla="*/ 17 h 131"/>
                <a:gd name="T24" fmla="*/ 56 w 87"/>
                <a:gd name="T25" fmla="*/ 35 h 131"/>
                <a:gd name="T26" fmla="*/ 38 w 87"/>
                <a:gd name="T27" fmla="*/ 55 h 131"/>
                <a:gd name="T28" fmla="*/ 22 w 87"/>
                <a:gd name="T29" fmla="*/ 55 h 131"/>
                <a:gd name="T30" fmla="*/ 23 w 87"/>
                <a:gd name="T31" fmla="*/ 17 h 131"/>
                <a:gd name="T32" fmla="*/ 22 w 87"/>
                <a:gd name="T33" fmla="*/ 74 h 131"/>
                <a:gd name="T34" fmla="*/ 40 w 87"/>
                <a:gd name="T35" fmla="*/ 74 h 131"/>
                <a:gd name="T36" fmla="*/ 64 w 87"/>
                <a:gd name="T37" fmla="*/ 92 h 131"/>
                <a:gd name="T38" fmla="*/ 39 w 87"/>
                <a:gd name="T39" fmla="*/ 113 h 131"/>
                <a:gd name="T40" fmla="*/ 22 w 87"/>
                <a:gd name="T41" fmla="*/ 113 h 131"/>
                <a:gd name="T42" fmla="*/ 22 w 87"/>
                <a:gd name="T43" fmla="*/ 7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131">
                  <a:moveTo>
                    <a:pt x="1" y="0"/>
                  </a:moveTo>
                  <a:cubicBezTo>
                    <a:pt x="1" y="3"/>
                    <a:pt x="0" y="129"/>
                    <a:pt x="0" y="131"/>
                  </a:cubicBezTo>
                  <a:cubicBezTo>
                    <a:pt x="2" y="131"/>
                    <a:pt x="41" y="131"/>
                    <a:pt x="41" y="131"/>
                  </a:cubicBezTo>
                  <a:cubicBezTo>
                    <a:pt x="73" y="131"/>
                    <a:pt x="87" y="111"/>
                    <a:pt x="87" y="92"/>
                  </a:cubicBezTo>
                  <a:cubicBezTo>
                    <a:pt x="87" y="77"/>
                    <a:pt x="79" y="65"/>
                    <a:pt x="65" y="61"/>
                  </a:cubicBezTo>
                  <a:cubicBezTo>
                    <a:pt x="62" y="60"/>
                    <a:pt x="62" y="60"/>
                    <a:pt x="62" y="60"/>
                  </a:cubicBezTo>
                  <a:cubicBezTo>
                    <a:pt x="64" y="59"/>
                    <a:pt x="64" y="59"/>
                    <a:pt x="64" y="59"/>
                  </a:cubicBezTo>
                  <a:cubicBezTo>
                    <a:pt x="74" y="54"/>
                    <a:pt x="79" y="44"/>
                    <a:pt x="79" y="32"/>
                  </a:cubicBezTo>
                  <a:cubicBezTo>
                    <a:pt x="79" y="17"/>
                    <a:pt x="68" y="0"/>
                    <a:pt x="42" y="0"/>
                  </a:cubicBezTo>
                  <a:cubicBezTo>
                    <a:pt x="42" y="0"/>
                    <a:pt x="3" y="0"/>
                    <a:pt x="1" y="0"/>
                  </a:cubicBezTo>
                  <a:close/>
                  <a:moveTo>
                    <a:pt x="23" y="17"/>
                  </a:moveTo>
                  <a:cubicBezTo>
                    <a:pt x="36" y="17"/>
                    <a:pt x="36" y="17"/>
                    <a:pt x="36" y="17"/>
                  </a:cubicBezTo>
                  <a:cubicBezTo>
                    <a:pt x="49" y="17"/>
                    <a:pt x="56" y="24"/>
                    <a:pt x="56" y="35"/>
                  </a:cubicBezTo>
                  <a:cubicBezTo>
                    <a:pt x="56" y="47"/>
                    <a:pt x="47" y="55"/>
                    <a:pt x="38" y="55"/>
                  </a:cubicBezTo>
                  <a:cubicBezTo>
                    <a:pt x="22" y="55"/>
                    <a:pt x="22" y="55"/>
                    <a:pt x="22" y="55"/>
                  </a:cubicBezTo>
                  <a:lnTo>
                    <a:pt x="23" y="17"/>
                  </a:lnTo>
                  <a:close/>
                  <a:moveTo>
                    <a:pt x="22" y="74"/>
                  </a:moveTo>
                  <a:cubicBezTo>
                    <a:pt x="40" y="74"/>
                    <a:pt x="40" y="74"/>
                    <a:pt x="40" y="74"/>
                  </a:cubicBezTo>
                  <a:cubicBezTo>
                    <a:pt x="55" y="74"/>
                    <a:pt x="64" y="81"/>
                    <a:pt x="64" y="92"/>
                  </a:cubicBezTo>
                  <a:cubicBezTo>
                    <a:pt x="64" y="105"/>
                    <a:pt x="55" y="113"/>
                    <a:pt x="39" y="113"/>
                  </a:cubicBezTo>
                  <a:cubicBezTo>
                    <a:pt x="22" y="113"/>
                    <a:pt x="22" y="113"/>
                    <a:pt x="22" y="113"/>
                  </a:cubicBezTo>
                  <a:lnTo>
                    <a:pt x="22" y="74"/>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8" name="Freeform 17"/>
            <p:cNvSpPr>
              <a:spLocks noEditPoints="1"/>
            </p:cNvSpPr>
            <p:nvPr userDrawn="1"/>
          </p:nvSpPr>
          <p:spPr bwMode="auto">
            <a:xfrm>
              <a:off x="8546184" y="4923177"/>
              <a:ext cx="66486" cy="66190"/>
            </a:xfrm>
            <a:custGeom>
              <a:avLst/>
              <a:gdLst>
                <a:gd name="T0" fmla="*/ 75 w 88"/>
                <a:gd name="T1" fmla="*/ 78 h 91"/>
                <a:gd name="T2" fmla="*/ 44 w 88"/>
                <a:gd name="T3" fmla="*/ 91 h 91"/>
                <a:gd name="T4" fmla="*/ 14 w 88"/>
                <a:gd name="T5" fmla="*/ 80 h 91"/>
                <a:gd name="T6" fmla="*/ 0 w 88"/>
                <a:gd name="T7" fmla="*/ 46 h 91"/>
                <a:gd name="T8" fmla="*/ 13 w 88"/>
                <a:gd name="T9" fmla="*/ 12 h 91"/>
                <a:gd name="T10" fmla="*/ 44 w 88"/>
                <a:gd name="T11" fmla="*/ 0 h 91"/>
                <a:gd name="T12" fmla="*/ 76 w 88"/>
                <a:gd name="T13" fmla="*/ 12 h 91"/>
                <a:gd name="T14" fmla="*/ 88 w 88"/>
                <a:gd name="T15" fmla="*/ 45 h 91"/>
                <a:gd name="T16" fmla="*/ 75 w 88"/>
                <a:gd name="T17" fmla="*/ 78 h 91"/>
                <a:gd name="T18" fmla="*/ 44 w 88"/>
                <a:gd name="T19" fmla="*/ 17 h 91"/>
                <a:gd name="T20" fmla="*/ 23 w 88"/>
                <a:gd name="T21" fmla="*/ 45 h 91"/>
                <a:gd name="T22" fmla="*/ 44 w 88"/>
                <a:gd name="T23" fmla="*/ 73 h 91"/>
                <a:gd name="T24" fmla="*/ 65 w 88"/>
                <a:gd name="T25" fmla="*/ 45 h 91"/>
                <a:gd name="T26" fmla="*/ 44 w 88"/>
                <a:gd name="T27"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91">
                  <a:moveTo>
                    <a:pt x="75" y="78"/>
                  </a:moveTo>
                  <a:cubicBezTo>
                    <a:pt x="68" y="86"/>
                    <a:pt x="57" y="91"/>
                    <a:pt x="44" y="91"/>
                  </a:cubicBezTo>
                  <a:cubicBezTo>
                    <a:pt x="32" y="91"/>
                    <a:pt x="21" y="87"/>
                    <a:pt x="14" y="80"/>
                  </a:cubicBezTo>
                  <a:cubicBezTo>
                    <a:pt x="5" y="72"/>
                    <a:pt x="0" y="60"/>
                    <a:pt x="0" y="46"/>
                  </a:cubicBezTo>
                  <a:cubicBezTo>
                    <a:pt x="0" y="32"/>
                    <a:pt x="5" y="20"/>
                    <a:pt x="13" y="12"/>
                  </a:cubicBezTo>
                  <a:cubicBezTo>
                    <a:pt x="21" y="4"/>
                    <a:pt x="31" y="0"/>
                    <a:pt x="44" y="0"/>
                  </a:cubicBezTo>
                  <a:cubicBezTo>
                    <a:pt x="57" y="0"/>
                    <a:pt x="68" y="4"/>
                    <a:pt x="76" y="12"/>
                  </a:cubicBezTo>
                  <a:cubicBezTo>
                    <a:pt x="84" y="20"/>
                    <a:pt x="88" y="32"/>
                    <a:pt x="88" y="45"/>
                  </a:cubicBezTo>
                  <a:cubicBezTo>
                    <a:pt x="88" y="58"/>
                    <a:pt x="83" y="70"/>
                    <a:pt x="75" y="78"/>
                  </a:cubicBezTo>
                  <a:close/>
                  <a:moveTo>
                    <a:pt x="44" y="17"/>
                  </a:moveTo>
                  <a:cubicBezTo>
                    <a:pt x="30" y="17"/>
                    <a:pt x="23" y="29"/>
                    <a:pt x="23" y="45"/>
                  </a:cubicBezTo>
                  <a:cubicBezTo>
                    <a:pt x="23" y="62"/>
                    <a:pt x="31" y="73"/>
                    <a:pt x="44" y="73"/>
                  </a:cubicBezTo>
                  <a:cubicBezTo>
                    <a:pt x="58" y="73"/>
                    <a:pt x="65" y="61"/>
                    <a:pt x="65" y="45"/>
                  </a:cubicBezTo>
                  <a:cubicBezTo>
                    <a:pt x="65" y="28"/>
                    <a:pt x="57" y="17"/>
                    <a:pt x="44" y="1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9" name="Freeform 18"/>
            <p:cNvSpPr>
              <a:spLocks/>
            </p:cNvSpPr>
            <p:nvPr userDrawn="1"/>
          </p:nvSpPr>
          <p:spPr bwMode="auto">
            <a:xfrm>
              <a:off x="8728298" y="4923177"/>
              <a:ext cx="60705" cy="65574"/>
            </a:xfrm>
            <a:custGeom>
              <a:avLst/>
              <a:gdLst>
                <a:gd name="T0" fmla="*/ 58 w 80"/>
                <a:gd name="T1" fmla="*/ 90 h 90"/>
                <a:gd name="T2" fmla="*/ 58 w 80"/>
                <a:gd name="T3" fmla="*/ 38 h 90"/>
                <a:gd name="T4" fmla="*/ 45 w 80"/>
                <a:gd name="T5" fmla="*/ 19 h 90"/>
                <a:gd name="T6" fmla="*/ 23 w 80"/>
                <a:gd name="T7" fmla="*/ 28 h 90"/>
                <a:gd name="T8" fmla="*/ 23 w 80"/>
                <a:gd name="T9" fmla="*/ 74 h 90"/>
                <a:gd name="T10" fmla="*/ 0 w 80"/>
                <a:gd name="T11" fmla="*/ 90 h 90"/>
                <a:gd name="T12" fmla="*/ 0 w 80"/>
                <a:gd name="T13" fmla="*/ 2 h 90"/>
                <a:gd name="T14" fmla="*/ 19 w 80"/>
                <a:gd name="T15" fmla="*/ 2 h 90"/>
                <a:gd name="T16" fmla="*/ 22 w 80"/>
                <a:gd name="T17" fmla="*/ 11 h 90"/>
                <a:gd name="T18" fmla="*/ 52 w 80"/>
                <a:gd name="T19" fmla="*/ 0 h 90"/>
                <a:gd name="T20" fmla="*/ 80 w 80"/>
                <a:gd name="T21" fmla="*/ 31 h 90"/>
                <a:gd name="T22" fmla="*/ 80 w 80"/>
                <a:gd name="T23" fmla="*/ 74 h 90"/>
                <a:gd name="T24" fmla="*/ 58 w 80"/>
                <a:gd name="T2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90">
                  <a:moveTo>
                    <a:pt x="58" y="90"/>
                  </a:moveTo>
                  <a:cubicBezTo>
                    <a:pt x="58" y="38"/>
                    <a:pt x="58" y="38"/>
                    <a:pt x="58" y="38"/>
                  </a:cubicBezTo>
                  <a:cubicBezTo>
                    <a:pt x="58" y="29"/>
                    <a:pt x="56" y="19"/>
                    <a:pt x="45" y="19"/>
                  </a:cubicBezTo>
                  <a:cubicBezTo>
                    <a:pt x="37" y="19"/>
                    <a:pt x="29" y="23"/>
                    <a:pt x="23" y="28"/>
                  </a:cubicBezTo>
                  <a:cubicBezTo>
                    <a:pt x="23" y="28"/>
                    <a:pt x="23" y="57"/>
                    <a:pt x="23" y="74"/>
                  </a:cubicBezTo>
                  <a:cubicBezTo>
                    <a:pt x="23" y="90"/>
                    <a:pt x="0" y="90"/>
                    <a:pt x="0" y="90"/>
                  </a:cubicBezTo>
                  <a:cubicBezTo>
                    <a:pt x="0" y="2"/>
                    <a:pt x="0" y="2"/>
                    <a:pt x="0" y="2"/>
                  </a:cubicBezTo>
                  <a:cubicBezTo>
                    <a:pt x="19" y="2"/>
                    <a:pt x="19" y="2"/>
                    <a:pt x="19" y="2"/>
                  </a:cubicBezTo>
                  <a:cubicBezTo>
                    <a:pt x="22" y="11"/>
                    <a:pt x="22" y="11"/>
                    <a:pt x="22" y="11"/>
                  </a:cubicBezTo>
                  <a:cubicBezTo>
                    <a:pt x="31" y="4"/>
                    <a:pt x="40" y="0"/>
                    <a:pt x="52" y="0"/>
                  </a:cubicBezTo>
                  <a:cubicBezTo>
                    <a:pt x="65" y="0"/>
                    <a:pt x="80" y="8"/>
                    <a:pt x="80" y="31"/>
                  </a:cubicBezTo>
                  <a:cubicBezTo>
                    <a:pt x="80" y="31"/>
                    <a:pt x="80" y="57"/>
                    <a:pt x="80" y="74"/>
                  </a:cubicBezTo>
                  <a:cubicBezTo>
                    <a:pt x="80" y="90"/>
                    <a:pt x="58" y="90"/>
                    <a:pt x="58" y="9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0" name="Freeform 19"/>
            <p:cNvSpPr>
              <a:spLocks/>
            </p:cNvSpPr>
            <p:nvPr userDrawn="1"/>
          </p:nvSpPr>
          <p:spPr bwMode="auto">
            <a:xfrm>
              <a:off x="8501217" y="4923177"/>
              <a:ext cx="43361" cy="65574"/>
            </a:xfrm>
            <a:custGeom>
              <a:avLst/>
              <a:gdLst>
                <a:gd name="T0" fmla="*/ 49 w 57"/>
                <a:gd name="T1" fmla="*/ 22 h 90"/>
                <a:gd name="T2" fmla="*/ 39 w 57"/>
                <a:gd name="T3" fmla="*/ 20 h 90"/>
                <a:gd name="T4" fmla="*/ 22 w 57"/>
                <a:gd name="T5" fmla="*/ 27 h 90"/>
                <a:gd name="T6" fmla="*/ 22 w 57"/>
                <a:gd name="T7" fmla="*/ 74 h 90"/>
                <a:gd name="T8" fmla="*/ 0 w 57"/>
                <a:gd name="T9" fmla="*/ 90 h 90"/>
                <a:gd name="T10" fmla="*/ 0 w 57"/>
                <a:gd name="T11" fmla="*/ 2 h 90"/>
                <a:gd name="T12" fmla="*/ 19 w 57"/>
                <a:gd name="T13" fmla="*/ 2 h 90"/>
                <a:gd name="T14" fmla="*/ 21 w 57"/>
                <a:gd name="T15" fmla="*/ 11 h 90"/>
                <a:gd name="T16" fmla="*/ 45 w 57"/>
                <a:gd name="T17" fmla="*/ 0 h 90"/>
                <a:gd name="T18" fmla="*/ 57 w 57"/>
                <a:gd name="T19" fmla="*/ 4 h 90"/>
                <a:gd name="T20" fmla="*/ 49 w 57"/>
                <a:gd name="T21" fmla="*/ 2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0">
                  <a:moveTo>
                    <a:pt x="49" y="22"/>
                  </a:moveTo>
                  <a:cubicBezTo>
                    <a:pt x="46" y="20"/>
                    <a:pt x="42" y="20"/>
                    <a:pt x="39" y="20"/>
                  </a:cubicBezTo>
                  <a:cubicBezTo>
                    <a:pt x="34" y="20"/>
                    <a:pt x="28" y="22"/>
                    <a:pt x="22" y="27"/>
                  </a:cubicBezTo>
                  <a:cubicBezTo>
                    <a:pt x="22" y="27"/>
                    <a:pt x="22" y="57"/>
                    <a:pt x="22" y="74"/>
                  </a:cubicBezTo>
                  <a:cubicBezTo>
                    <a:pt x="22" y="90"/>
                    <a:pt x="0" y="90"/>
                    <a:pt x="0" y="90"/>
                  </a:cubicBezTo>
                  <a:cubicBezTo>
                    <a:pt x="0" y="2"/>
                    <a:pt x="0" y="2"/>
                    <a:pt x="0" y="2"/>
                  </a:cubicBezTo>
                  <a:cubicBezTo>
                    <a:pt x="19" y="2"/>
                    <a:pt x="19" y="2"/>
                    <a:pt x="19"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1" name="Freeform 20"/>
            <p:cNvSpPr>
              <a:spLocks/>
            </p:cNvSpPr>
            <p:nvPr userDrawn="1"/>
          </p:nvSpPr>
          <p:spPr bwMode="auto">
            <a:xfrm>
              <a:off x="7766657" y="4864376"/>
              <a:ext cx="100211" cy="148389"/>
            </a:xfrm>
            <a:custGeom>
              <a:avLst/>
              <a:gdLst>
                <a:gd name="T0" fmla="*/ 0 w 132"/>
                <a:gd name="T1" fmla="*/ 23 h 204"/>
                <a:gd name="T2" fmla="*/ 1 w 132"/>
                <a:gd name="T3" fmla="*/ 22 h 204"/>
                <a:gd name="T4" fmla="*/ 67 w 132"/>
                <a:gd name="T5" fmla="*/ 20 h 204"/>
                <a:gd name="T6" fmla="*/ 80 w 132"/>
                <a:gd name="T7" fmla="*/ 52 h 204"/>
                <a:gd name="T8" fmla="*/ 113 w 132"/>
                <a:gd name="T9" fmla="*/ 65 h 204"/>
                <a:gd name="T10" fmla="*/ 111 w 132"/>
                <a:gd name="T11" fmla="*/ 132 h 204"/>
                <a:gd name="T12" fmla="*/ 38 w 132"/>
                <a:gd name="T13" fmla="*/ 204 h 204"/>
                <a:gd name="T14" fmla="*/ 16 w 132"/>
                <a:gd name="T15" fmla="*/ 182 h 204"/>
                <a:gd name="T16" fmla="*/ 88 w 132"/>
                <a:gd name="T17" fmla="*/ 110 h 204"/>
                <a:gd name="T18" fmla="*/ 91 w 132"/>
                <a:gd name="T19" fmla="*/ 86 h 204"/>
                <a:gd name="T20" fmla="*/ 67 w 132"/>
                <a:gd name="T21" fmla="*/ 88 h 204"/>
                <a:gd name="T22" fmla="*/ 0 w 132"/>
                <a:gd name="T23" fmla="*/ 155 h 204"/>
                <a:gd name="T24" fmla="*/ 0 w 132"/>
                <a:gd name="T25" fmla="*/ 111 h 204"/>
                <a:gd name="T26" fmla="*/ 45 w 132"/>
                <a:gd name="T27" fmla="*/ 66 h 204"/>
                <a:gd name="T28" fmla="*/ 46 w 132"/>
                <a:gd name="T29" fmla="*/ 42 h 204"/>
                <a:gd name="T30" fmla="*/ 22 w 132"/>
                <a:gd name="T31" fmla="*/ 44 h 204"/>
                <a:gd name="T32" fmla="*/ 0 w 132"/>
                <a:gd name="T33" fmla="*/ 66 h 204"/>
                <a:gd name="T34" fmla="*/ 0 w 132"/>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204">
                  <a:moveTo>
                    <a:pt x="0" y="23"/>
                  </a:moveTo>
                  <a:cubicBezTo>
                    <a:pt x="1" y="22"/>
                    <a:pt x="1" y="22"/>
                    <a:pt x="1" y="22"/>
                  </a:cubicBezTo>
                  <a:cubicBezTo>
                    <a:pt x="23" y="0"/>
                    <a:pt x="50" y="2"/>
                    <a:pt x="67" y="20"/>
                  </a:cubicBezTo>
                  <a:cubicBezTo>
                    <a:pt x="80" y="32"/>
                    <a:pt x="81" y="46"/>
                    <a:pt x="80" y="52"/>
                  </a:cubicBezTo>
                  <a:cubicBezTo>
                    <a:pt x="86" y="51"/>
                    <a:pt x="100" y="52"/>
                    <a:pt x="113" y="65"/>
                  </a:cubicBezTo>
                  <a:cubicBezTo>
                    <a:pt x="130" y="82"/>
                    <a:pt x="132" y="110"/>
                    <a:pt x="111" y="132"/>
                  </a:cubicBezTo>
                  <a:cubicBezTo>
                    <a:pt x="38" y="204"/>
                    <a:pt x="38" y="204"/>
                    <a:pt x="38" y="204"/>
                  </a:cubicBezTo>
                  <a:cubicBezTo>
                    <a:pt x="16" y="182"/>
                    <a:pt x="16" y="182"/>
                    <a:pt x="16" y="182"/>
                  </a:cubicBezTo>
                  <a:cubicBezTo>
                    <a:pt x="88" y="110"/>
                    <a:pt x="88" y="110"/>
                    <a:pt x="88" y="110"/>
                  </a:cubicBezTo>
                  <a:cubicBezTo>
                    <a:pt x="97" y="101"/>
                    <a:pt x="96" y="91"/>
                    <a:pt x="91" y="86"/>
                  </a:cubicBezTo>
                  <a:cubicBezTo>
                    <a:pt x="85" y="80"/>
                    <a:pt x="75" y="79"/>
                    <a:pt x="67" y="88"/>
                  </a:cubicBezTo>
                  <a:cubicBezTo>
                    <a:pt x="0" y="155"/>
                    <a:pt x="0" y="155"/>
                    <a:pt x="0" y="155"/>
                  </a:cubicBezTo>
                  <a:cubicBezTo>
                    <a:pt x="0" y="111"/>
                    <a:pt x="0" y="111"/>
                    <a:pt x="0" y="111"/>
                  </a:cubicBezTo>
                  <a:cubicBezTo>
                    <a:pt x="45" y="66"/>
                    <a:pt x="45" y="66"/>
                    <a:pt x="45" y="66"/>
                  </a:cubicBezTo>
                  <a:cubicBezTo>
                    <a:pt x="53" y="57"/>
                    <a:pt x="52" y="47"/>
                    <a:pt x="46" y="42"/>
                  </a:cubicBezTo>
                  <a:cubicBezTo>
                    <a:pt x="41" y="36"/>
                    <a:pt x="31" y="35"/>
                    <a:pt x="22" y="44"/>
                  </a:cubicBezTo>
                  <a:cubicBezTo>
                    <a:pt x="0" y="66"/>
                    <a:pt x="0" y="66"/>
                    <a:pt x="0" y="66"/>
                  </a:cubicBezTo>
                  <a:lnTo>
                    <a:pt x="0"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2" name="Freeform 21"/>
            <p:cNvSpPr>
              <a:spLocks noEditPoints="1"/>
            </p:cNvSpPr>
            <p:nvPr userDrawn="1"/>
          </p:nvSpPr>
          <p:spPr bwMode="auto">
            <a:xfrm>
              <a:off x="7980890" y="5040472"/>
              <a:ext cx="51390" cy="57878"/>
            </a:xfrm>
            <a:custGeom>
              <a:avLst/>
              <a:gdLst>
                <a:gd name="T0" fmla="*/ 0 w 68"/>
                <a:gd name="T1" fmla="*/ 40 h 80"/>
                <a:gd name="T2" fmla="*/ 35 w 68"/>
                <a:gd name="T3" fmla="*/ 0 h 80"/>
                <a:gd name="T4" fmla="*/ 68 w 68"/>
                <a:gd name="T5" fmla="*/ 41 h 80"/>
                <a:gd name="T6" fmla="*/ 68 w 68"/>
                <a:gd name="T7" fmla="*/ 46 h 80"/>
                <a:gd name="T8" fmla="*/ 20 w 68"/>
                <a:gd name="T9" fmla="*/ 46 h 80"/>
                <a:gd name="T10" fmla="*/ 41 w 68"/>
                <a:gd name="T11" fmla="*/ 65 h 80"/>
                <a:gd name="T12" fmla="*/ 60 w 68"/>
                <a:gd name="T13" fmla="*/ 60 h 80"/>
                <a:gd name="T14" fmla="*/ 66 w 68"/>
                <a:gd name="T15" fmla="*/ 73 h 80"/>
                <a:gd name="T16" fmla="*/ 39 w 68"/>
                <a:gd name="T17" fmla="*/ 80 h 80"/>
                <a:gd name="T18" fmla="*/ 0 w 68"/>
                <a:gd name="T19" fmla="*/ 40 h 80"/>
                <a:gd name="T20" fmla="*/ 49 w 68"/>
                <a:gd name="T21" fmla="*/ 32 h 80"/>
                <a:gd name="T22" fmla="*/ 34 w 68"/>
                <a:gd name="T23" fmla="*/ 15 h 80"/>
                <a:gd name="T24" fmla="*/ 19 w 68"/>
                <a:gd name="T25" fmla="*/ 32 h 80"/>
                <a:gd name="T26" fmla="*/ 49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3" y="0"/>
                    <a:pt x="35" y="0"/>
                  </a:cubicBezTo>
                  <a:cubicBezTo>
                    <a:pt x="56" y="0"/>
                    <a:pt x="68" y="16"/>
                    <a:pt x="68" y="41"/>
                  </a:cubicBezTo>
                  <a:cubicBezTo>
                    <a:pt x="68" y="46"/>
                    <a:pt x="68" y="46"/>
                    <a:pt x="68" y="46"/>
                  </a:cubicBezTo>
                  <a:cubicBezTo>
                    <a:pt x="20" y="46"/>
                    <a:pt x="20" y="46"/>
                    <a:pt x="20" y="46"/>
                  </a:cubicBezTo>
                  <a:cubicBezTo>
                    <a:pt x="20" y="57"/>
                    <a:pt x="28" y="65"/>
                    <a:pt x="41" y="65"/>
                  </a:cubicBezTo>
                  <a:cubicBezTo>
                    <a:pt x="49" y="65"/>
                    <a:pt x="55" y="63"/>
                    <a:pt x="60" y="60"/>
                  </a:cubicBezTo>
                  <a:cubicBezTo>
                    <a:pt x="66" y="73"/>
                    <a:pt x="66" y="73"/>
                    <a:pt x="66" y="73"/>
                  </a:cubicBezTo>
                  <a:cubicBezTo>
                    <a:pt x="58" y="78"/>
                    <a:pt x="49" y="80"/>
                    <a:pt x="39" y="80"/>
                  </a:cubicBezTo>
                  <a:cubicBezTo>
                    <a:pt x="11" y="80"/>
                    <a:pt x="0" y="61"/>
                    <a:pt x="0" y="40"/>
                  </a:cubicBezTo>
                  <a:close/>
                  <a:moveTo>
                    <a:pt x="49" y="32"/>
                  </a:moveTo>
                  <a:cubicBezTo>
                    <a:pt x="49" y="23"/>
                    <a:pt x="44" y="15"/>
                    <a:pt x="34" y="15"/>
                  </a:cubicBezTo>
                  <a:cubicBezTo>
                    <a:pt x="25" y="15"/>
                    <a:pt x="19" y="23"/>
                    <a:pt x="19" y="32"/>
                  </a:cubicBezTo>
                  <a:lnTo>
                    <a:pt x="49"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3" name="Freeform 22"/>
            <p:cNvSpPr>
              <a:spLocks/>
            </p:cNvSpPr>
            <p:nvPr userDrawn="1"/>
          </p:nvSpPr>
          <p:spPr bwMode="auto">
            <a:xfrm>
              <a:off x="8295656" y="5041088"/>
              <a:ext cx="37258" cy="56031"/>
            </a:xfrm>
            <a:custGeom>
              <a:avLst/>
              <a:gdLst>
                <a:gd name="T0" fmla="*/ 42 w 49"/>
                <a:gd name="T1" fmla="*/ 19 h 77"/>
                <a:gd name="T2" fmla="*/ 33 w 49"/>
                <a:gd name="T3" fmla="*/ 16 h 77"/>
                <a:gd name="T4" fmla="*/ 19 w 49"/>
                <a:gd name="T5" fmla="*/ 23 h 77"/>
                <a:gd name="T6" fmla="*/ 19 w 49"/>
                <a:gd name="T7" fmla="*/ 63 h 77"/>
                <a:gd name="T8" fmla="*/ 0 w 49"/>
                <a:gd name="T9" fmla="*/ 77 h 77"/>
                <a:gd name="T10" fmla="*/ 0 w 49"/>
                <a:gd name="T11" fmla="*/ 1 h 77"/>
                <a:gd name="T12" fmla="*/ 16 w 49"/>
                <a:gd name="T13" fmla="*/ 1 h 77"/>
                <a:gd name="T14" fmla="*/ 18 w 49"/>
                <a:gd name="T15" fmla="*/ 9 h 77"/>
                <a:gd name="T16" fmla="*/ 39 w 49"/>
                <a:gd name="T17" fmla="*/ 0 h 77"/>
                <a:gd name="T18" fmla="*/ 49 w 49"/>
                <a:gd name="T19" fmla="*/ 3 h 77"/>
                <a:gd name="T20" fmla="*/ 42 w 49"/>
                <a:gd name="T21"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77">
                  <a:moveTo>
                    <a:pt x="42" y="19"/>
                  </a:moveTo>
                  <a:cubicBezTo>
                    <a:pt x="39" y="17"/>
                    <a:pt x="36" y="16"/>
                    <a:pt x="33" y="16"/>
                  </a:cubicBezTo>
                  <a:cubicBezTo>
                    <a:pt x="29" y="16"/>
                    <a:pt x="24" y="18"/>
                    <a:pt x="19" y="23"/>
                  </a:cubicBezTo>
                  <a:cubicBezTo>
                    <a:pt x="19" y="2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2"/>
                    <a:pt x="32" y="0"/>
                    <a:pt x="39" y="0"/>
                  </a:cubicBezTo>
                  <a:cubicBezTo>
                    <a:pt x="42" y="0"/>
                    <a:pt x="46" y="1"/>
                    <a:pt x="49" y="3"/>
                  </a:cubicBezTo>
                  <a:lnTo>
                    <a:pt x="42" y="1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4" name="Freeform 23"/>
            <p:cNvSpPr>
              <a:spLocks noEditPoints="1"/>
            </p:cNvSpPr>
            <p:nvPr userDrawn="1"/>
          </p:nvSpPr>
          <p:spPr bwMode="auto">
            <a:xfrm>
              <a:off x="8178743" y="5040472"/>
              <a:ext cx="51712" cy="57878"/>
            </a:xfrm>
            <a:custGeom>
              <a:avLst/>
              <a:gdLst>
                <a:gd name="T0" fmla="*/ 0 w 68"/>
                <a:gd name="T1" fmla="*/ 40 h 80"/>
                <a:gd name="T2" fmla="*/ 34 w 68"/>
                <a:gd name="T3" fmla="*/ 0 h 80"/>
                <a:gd name="T4" fmla="*/ 68 w 68"/>
                <a:gd name="T5" fmla="*/ 41 h 80"/>
                <a:gd name="T6" fmla="*/ 68 w 68"/>
                <a:gd name="T7" fmla="*/ 46 h 80"/>
                <a:gd name="T8" fmla="*/ 19 w 68"/>
                <a:gd name="T9" fmla="*/ 46 h 80"/>
                <a:gd name="T10" fmla="*/ 41 w 68"/>
                <a:gd name="T11" fmla="*/ 65 h 80"/>
                <a:gd name="T12" fmla="*/ 60 w 68"/>
                <a:gd name="T13" fmla="*/ 60 h 80"/>
                <a:gd name="T14" fmla="*/ 66 w 68"/>
                <a:gd name="T15" fmla="*/ 73 h 80"/>
                <a:gd name="T16" fmla="*/ 39 w 68"/>
                <a:gd name="T17" fmla="*/ 80 h 80"/>
                <a:gd name="T18" fmla="*/ 0 w 68"/>
                <a:gd name="T19" fmla="*/ 40 h 80"/>
                <a:gd name="T20" fmla="*/ 49 w 68"/>
                <a:gd name="T21" fmla="*/ 32 h 80"/>
                <a:gd name="T22" fmla="*/ 34 w 68"/>
                <a:gd name="T23" fmla="*/ 15 h 80"/>
                <a:gd name="T24" fmla="*/ 19 w 68"/>
                <a:gd name="T25" fmla="*/ 32 h 80"/>
                <a:gd name="T26" fmla="*/ 49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3" y="0"/>
                    <a:pt x="34" y="0"/>
                  </a:cubicBezTo>
                  <a:cubicBezTo>
                    <a:pt x="56" y="0"/>
                    <a:pt x="68" y="16"/>
                    <a:pt x="68" y="41"/>
                  </a:cubicBezTo>
                  <a:cubicBezTo>
                    <a:pt x="68" y="46"/>
                    <a:pt x="68" y="46"/>
                    <a:pt x="68" y="46"/>
                  </a:cubicBezTo>
                  <a:cubicBezTo>
                    <a:pt x="19" y="46"/>
                    <a:pt x="19" y="46"/>
                    <a:pt x="19" y="46"/>
                  </a:cubicBezTo>
                  <a:cubicBezTo>
                    <a:pt x="20" y="57"/>
                    <a:pt x="28" y="65"/>
                    <a:pt x="41" y="65"/>
                  </a:cubicBezTo>
                  <a:cubicBezTo>
                    <a:pt x="49" y="65"/>
                    <a:pt x="55" y="63"/>
                    <a:pt x="60" y="60"/>
                  </a:cubicBezTo>
                  <a:cubicBezTo>
                    <a:pt x="66" y="73"/>
                    <a:pt x="66" y="73"/>
                    <a:pt x="66" y="73"/>
                  </a:cubicBezTo>
                  <a:cubicBezTo>
                    <a:pt x="58" y="78"/>
                    <a:pt x="48" y="80"/>
                    <a:pt x="39" y="80"/>
                  </a:cubicBezTo>
                  <a:cubicBezTo>
                    <a:pt x="11" y="80"/>
                    <a:pt x="0" y="61"/>
                    <a:pt x="0" y="40"/>
                  </a:cubicBezTo>
                  <a:close/>
                  <a:moveTo>
                    <a:pt x="49" y="32"/>
                  </a:moveTo>
                  <a:cubicBezTo>
                    <a:pt x="48" y="23"/>
                    <a:pt x="44" y="15"/>
                    <a:pt x="34" y="15"/>
                  </a:cubicBezTo>
                  <a:cubicBezTo>
                    <a:pt x="25" y="15"/>
                    <a:pt x="19" y="23"/>
                    <a:pt x="19" y="32"/>
                  </a:cubicBezTo>
                  <a:lnTo>
                    <a:pt x="49"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5" name="Freeform 24"/>
            <p:cNvSpPr>
              <a:spLocks noEditPoints="1"/>
            </p:cNvSpPr>
            <p:nvPr userDrawn="1"/>
          </p:nvSpPr>
          <p:spPr bwMode="auto">
            <a:xfrm>
              <a:off x="8236557" y="5040472"/>
              <a:ext cx="51390" cy="57878"/>
            </a:xfrm>
            <a:custGeom>
              <a:avLst/>
              <a:gdLst>
                <a:gd name="T0" fmla="*/ 0 w 68"/>
                <a:gd name="T1" fmla="*/ 40 h 80"/>
                <a:gd name="T2" fmla="*/ 34 w 68"/>
                <a:gd name="T3" fmla="*/ 0 h 80"/>
                <a:gd name="T4" fmla="*/ 68 w 68"/>
                <a:gd name="T5" fmla="*/ 41 h 80"/>
                <a:gd name="T6" fmla="*/ 68 w 68"/>
                <a:gd name="T7" fmla="*/ 46 h 80"/>
                <a:gd name="T8" fmla="*/ 19 w 68"/>
                <a:gd name="T9" fmla="*/ 46 h 80"/>
                <a:gd name="T10" fmla="*/ 40 w 68"/>
                <a:gd name="T11" fmla="*/ 65 h 80"/>
                <a:gd name="T12" fmla="*/ 60 w 68"/>
                <a:gd name="T13" fmla="*/ 60 h 80"/>
                <a:gd name="T14" fmla="*/ 65 w 68"/>
                <a:gd name="T15" fmla="*/ 73 h 80"/>
                <a:gd name="T16" fmla="*/ 39 w 68"/>
                <a:gd name="T17" fmla="*/ 80 h 80"/>
                <a:gd name="T18" fmla="*/ 0 w 68"/>
                <a:gd name="T19" fmla="*/ 40 h 80"/>
                <a:gd name="T20" fmla="*/ 48 w 68"/>
                <a:gd name="T21" fmla="*/ 32 h 80"/>
                <a:gd name="T22" fmla="*/ 34 w 68"/>
                <a:gd name="T23" fmla="*/ 15 h 80"/>
                <a:gd name="T24" fmla="*/ 19 w 68"/>
                <a:gd name="T25" fmla="*/ 32 h 80"/>
                <a:gd name="T26" fmla="*/ 48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2" y="0"/>
                    <a:pt x="34" y="0"/>
                  </a:cubicBezTo>
                  <a:cubicBezTo>
                    <a:pt x="55" y="0"/>
                    <a:pt x="68" y="16"/>
                    <a:pt x="68" y="41"/>
                  </a:cubicBezTo>
                  <a:cubicBezTo>
                    <a:pt x="68" y="46"/>
                    <a:pt x="68" y="46"/>
                    <a:pt x="68" y="46"/>
                  </a:cubicBezTo>
                  <a:cubicBezTo>
                    <a:pt x="19" y="46"/>
                    <a:pt x="19" y="46"/>
                    <a:pt x="19" y="46"/>
                  </a:cubicBezTo>
                  <a:cubicBezTo>
                    <a:pt x="19" y="57"/>
                    <a:pt x="28" y="65"/>
                    <a:pt x="40" y="65"/>
                  </a:cubicBezTo>
                  <a:cubicBezTo>
                    <a:pt x="48" y="65"/>
                    <a:pt x="54" y="63"/>
                    <a:pt x="60" y="60"/>
                  </a:cubicBezTo>
                  <a:cubicBezTo>
                    <a:pt x="65" y="73"/>
                    <a:pt x="65" y="73"/>
                    <a:pt x="65" y="73"/>
                  </a:cubicBezTo>
                  <a:cubicBezTo>
                    <a:pt x="57" y="78"/>
                    <a:pt x="48" y="80"/>
                    <a:pt x="39" y="80"/>
                  </a:cubicBezTo>
                  <a:cubicBezTo>
                    <a:pt x="11" y="80"/>
                    <a:pt x="0" y="61"/>
                    <a:pt x="0" y="40"/>
                  </a:cubicBezTo>
                  <a:close/>
                  <a:moveTo>
                    <a:pt x="48" y="32"/>
                  </a:moveTo>
                  <a:cubicBezTo>
                    <a:pt x="48" y="23"/>
                    <a:pt x="44" y="15"/>
                    <a:pt x="34" y="15"/>
                  </a:cubicBezTo>
                  <a:cubicBezTo>
                    <a:pt x="24" y="15"/>
                    <a:pt x="19" y="23"/>
                    <a:pt x="19" y="32"/>
                  </a:cubicBezTo>
                  <a:lnTo>
                    <a:pt x="48"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6" name="Freeform 25"/>
            <p:cNvSpPr>
              <a:spLocks/>
            </p:cNvSpPr>
            <p:nvPr userDrawn="1"/>
          </p:nvSpPr>
          <p:spPr bwMode="auto">
            <a:xfrm>
              <a:off x="8040631" y="5041088"/>
              <a:ext cx="37258" cy="56031"/>
            </a:xfrm>
            <a:custGeom>
              <a:avLst/>
              <a:gdLst>
                <a:gd name="T0" fmla="*/ 42 w 49"/>
                <a:gd name="T1" fmla="*/ 19 h 77"/>
                <a:gd name="T2" fmla="*/ 33 w 49"/>
                <a:gd name="T3" fmla="*/ 16 h 77"/>
                <a:gd name="T4" fmla="*/ 19 w 49"/>
                <a:gd name="T5" fmla="*/ 23 h 77"/>
                <a:gd name="T6" fmla="*/ 19 w 49"/>
                <a:gd name="T7" fmla="*/ 63 h 77"/>
                <a:gd name="T8" fmla="*/ 0 w 49"/>
                <a:gd name="T9" fmla="*/ 77 h 77"/>
                <a:gd name="T10" fmla="*/ 0 w 49"/>
                <a:gd name="T11" fmla="*/ 1 h 77"/>
                <a:gd name="T12" fmla="*/ 16 w 49"/>
                <a:gd name="T13" fmla="*/ 1 h 77"/>
                <a:gd name="T14" fmla="*/ 18 w 49"/>
                <a:gd name="T15" fmla="*/ 9 h 77"/>
                <a:gd name="T16" fmla="*/ 38 w 49"/>
                <a:gd name="T17" fmla="*/ 0 h 77"/>
                <a:gd name="T18" fmla="*/ 49 w 49"/>
                <a:gd name="T19" fmla="*/ 3 h 77"/>
                <a:gd name="T20" fmla="*/ 42 w 49"/>
                <a:gd name="T21"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77">
                  <a:moveTo>
                    <a:pt x="42" y="19"/>
                  </a:moveTo>
                  <a:cubicBezTo>
                    <a:pt x="39" y="17"/>
                    <a:pt x="35" y="16"/>
                    <a:pt x="33" y="16"/>
                  </a:cubicBezTo>
                  <a:cubicBezTo>
                    <a:pt x="29" y="16"/>
                    <a:pt x="24" y="18"/>
                    <a:pt x="19" y="23"/>
                  </a:cubicBezTo>
                  <a:cubicBezTo>
                    <a:pt x="19" y="2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2"/>
                    <a:pt x="31" y="0"/>
                    <a:pt x="38" y="0"/>
                  </a:cubicBezTo>
                  <a:cubicBezTo>
                    <a:pt x="42" y="0"/>
                    <a:pt x="46" y="1"/>
                    <a:pt x="49" y="3"/>
                  </a:cubicBezTo>
                  <a:lnTo>
                    <a:pt x="42" y="1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7" name="Freeform 26"/>
            <p:cNvSpPr>
              <a:spLocks/>
            </p:cNvSpPr>
            <p:nvPr userDrawn="1"/>
          </p:nvSpPr>
          <p:spPr bwMode="auto">
            <a:xfrm>
              <a:off x="8083992" y="5041088"/>
              <a:ext cx="86400" cy="56031"/>
            </a:xfrm>
            <a:custGeom>
              <a:avLst/>
              <a:gdLst>
                <a:gd name="T0" fmla="*/ 114 w 114"/>
                <a:gd name="T1" fmla="*/ 25 h 77"/>
                <a:gd name="T2" fmla="*/ 114 w 114"/>
                <a:gd name="T3" fmla="*/ 63 h 77"/>
                <a:gd name="T4" fmla="*/ 95 w 114"/>
                <a:gd name="T5" fmla="*/ 77 h 77"/>
                <a:gd name="T6" fmla="*/ 95 w 114"/>
                <a:gd name="T7" fmla="*/ 31 h 77"/>
                <a:gd name="T8" fmla="*/ 84 w 114"/>
                <a:gd name="T9" fmla="*/ 16 h 77"/>
                <a:gd name="T10" fmla="*/ 66 w 114"/>
                <a:gd name="T11" fmla="*/ 23 h 77"/>
                <a:gd name="T12" fmla="*/ 66 w 114"/>
                <a:gd name="T13" fmla="*/ 63 h 77"/>
                <a:gd name="T14" fmla="*/ 66 w 114"/>
                <a:gd name="T15" fmla="*/ 63 h 77"/>
                <a:gd name="T16" fmla="*/ 47 w 114"/>
                <a:gd name="T17" fmla="*/ 77 h 77"/>
                <a:gd name="T18" fmla="*/ 47 w 114"/>
                <a:gd name="T19" fmla="*/ 31 h 77"/>
                <a:gd name="T20" fmla="*/ 37 w 114"/>
                <a:gd name="T21" fmla="*/ 16 h 77"/>
                <a:gd name="T22" fmla="*/ 19 w 114"/>
                <a:gd name="T23" fmla="*/ 23 h 77"/>
                <a:gd name="T24" fmla="*/ 19 w 114"/>
                <a:gd name="T25" fmla="*/ 63 h 77"/>
                <a:gd name="T26" fmla="*/ 19 w 114"/>
                <a:gd name="T27" fmla="*/ 63 h 77"/>
                <a:gd name="T28" fmla="*/ 0 w 114"/>
                <a:gd name="T29" fmla="*/ 77 h 77"/>
                <a:gd name="T30" fmla="*/ 0 w 114"/>
                <a:gd name="T31" fmla="*/ 1 h 77"/>
                <a:gd name="T32" fmla="*/ 16 w 114"/>
                <a:gd name="T33" fmla="*/ 1 h 77"/>
                <a:gd name="T34" fmla="*/ 18 w 114"/>
                <a:gd name="T35" fmla="*/ 9 h 77"/>
                <a:gd name="T36" fmla="*/ 43 w 114"/>
                <a:gd name="T37" fmla="*/ 0 h 77"/>
                <a:gd name="T38" fmla="*/ 63 w 114"/>
                <a:gd name="T39" fmla="*/ 11 h 77"/>
                <a:gd name="T40" fmla="*/ 89 w 114"/>
                <a:gd name="T41" fmla="*/ 0 h 77"/>
                <a:gd name="T42" fmla="*/ 114 w 114"/>
                <a:gd name="T43" fmla="*/ 2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77">
                  <a:moveTo>
                    <a:pt x="114" y="25"/>
                  </a:moveTo>
                  <a:cubicBezTo>
                    <a:pt x="114" y="63"/>
                    <a:pt x="114" y="63"/>
                    <a:pt x="114" y="63"/>
                  </a:cubicBezTo>
                  <a:cubicBezTo>
                    <a:pt x="114" y="77"/>
                    <a:pt x="95" y="77"/>
                    <a:pt x="95" y="77"/>
                  </a:cubicBezTo>
                  <a:cubicBezTo>
                    <a:pt x="95" y="31"/>
                    <a:pt x="95" y="31"/>
                    <a:pt x="95" y="31"/>
                  </a:cubicBezTo>
                  <a:cubicBezTo>
                    <a:pt x="95" y="22"/>
                    <a:pt x="93" y="16"/>
                    <a:pt x="84" y="16"/>
                  </a:cubicBezTo>
                  <a:cubicBezTo>
                    <a:pt x="77" y="16"/>
                    <a:pt x="71" y="19"/>
                    <a:pt x="66" y="23"/>
                  </a:cubicBezTo>
                  <a:cubicBezTo>
                    <a:pt x="66" y="63"/>
                    <a:pt x="66" y="63"/>
                    <a:pt x="66" y="63"/>
                  </a:cubicBezTo>
                  <a:cubicBezTo>
                    <a:pt x="66" y="63"/>
                    <a:pt x="66" y="49"/>
                    <a:pt x="66" y="63"/>
                  </a:cubicBezTo>
                  <a:cubicBezTo>
                    <a:pt x="66" y="77"/>
                    <a:pt x="47" y="77"/>
                    <a:pt x="47" y="77"/>
                  </a:cubicBezTo>
                  <a:cubicBezTo>
                    <a:pt x="47" y="31"/>
                    <a:pt x="47" y="31"/>
                    <a:pt x="47" y="31"/>
                  </a:cubicBezTo>
                  <a:cubicBezTo>
                    <a:pt x="47" y="23"/>
                    <a:pt x="46" y="16"/>
                    <a:pt x="37" y="16"/>
                  </a:cubicBezTo>
                  <a:cubicBezTo>
                    <a:pt x="30" y="16"/>
                    <a:pt x="19" y="23"/>
                    <a:pt x="19" y="23"/>
                  </a:cubicBezTo>
                  <a:cubicBezTo>
                    <a:pt x="19" y="63"/>
                    <a:pt x="19" y="63"/>
                    <a:pt x="19" y="63"/>
                  </a:cubicBezTo>
                  <a:cubicBezTo>
                    <a:pt x="19" y="6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3"/>
                    <a:pt x="34" y="0"/>
                    <a:pt x="43" y="0"/>
                  </a:cubicBezTo>
                  <a:cubicBezTo>
                    <a:pt x="52" y="0"/>
                    <a:pt x="59" y="4"/>
                    <a:pt x="63" y="11"/>
                  </a:cubicBezTo>
                  <a:cubicBezTo>
                    <a:pt x="71" y="3"/>
                    <a:pt x="81" y="0"/>
                    <a:pt x="89" y="0"/>
                  </a:cubicBezTo>
                  <a:cubicBezTo>
                    <a:pt x="102" y="0"/>
                    <a:pt x="114" y="6"/>
                    <a:pt x="114" y="25"/>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32" name="Freeform 27"/>
            <p:cNvSpPr>
              <a:spLocks/>
            </p:cNvSpPr>
            <p:nvPr userDrawn="1"/>
          </p:nvSpPr>
          <p:spPr bwMode="auto">
            <a:xfrm>
              <a:off x="7908622" y="5019846"/>
              <a:ext cx="77407" cy="77889"/>
            </a:xfrm>
            <a:custGeom>
              <a:avLst/>
              <a:gdLst>
                <a:gd name="T0" fmla="*/ 43 w 102"/>
                <a:gd name="T1" fmla="*/ 107 h 107"/>
                <a:gd name="T2" fmla="*/ 65 w 102"/>
                <a:gd name="T3" fmla="*/ 91 h 107"/>
                <a:gd name="T4" fmla="*/ 102 w 102"/>
                <a:gd name="T5" fmla="*/ 0 h 107"/>
                <a:gd name="T6" fmla="*/ 81 w 102"/>
                <a:gd name="T7" fmla="*/ 0 h 107"/>
                <a:gd name="T8" fmla="*/ 51 w 102"/>
                <a:gd name="T9" fmla="*/ 78 h 107"/>
                <a:gd name="T10" fmla="*/ 51 w 102"/>
                <a:gd name="T11" fmla="*/ 78 h 107"/>
                <a:gd name="T12" fmla="*/ 21 w 102"/>
                <a:gd name="T13" fmla="*/ 0 h 107"/>
                <a:gd name="T14" fmla="*/ 0 w 102"/>
                <a:gd name="T15" fmla="*/ 0 h 107"/>
                <a:gd name="T16" fmla="*/ 43 w 102"/>
                <a:gd name="T17"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107">
                  <a:moveTo>
                    <a:pt x="43" y="107"/>
                  </a:moveTo>
                  <a:cubicBezTo>
                    <a:pt x="57" y="107"/>
                    <a:pt x="61" y="101"/>
                    <a:pt x="65" y="91"/>
                  </a:cubicBezTo>
                  <a:cubicBezTo>
                    <a:pt x="102" y="0"/>
                    <a:pt x="102" y="0"/>
                    <a:pt x="102" y="0"/>
                  </a:cubicBezTo>
                  <a:cubicBezTo>
                    <a:pt x="81" y="0"/>
                    <a:pt x="81" y="0"/>
                    <a:pt x="81" y="0"/>
                  </a:cubicBezTo>
                  <a:cubicBezTo>
                    <a:pt x="51" y="78"/>
                    <a:pt x="51" y="78"/>
                    <a:pt x="51" y="78"/>
                  </a:cubicBezTo>
                  <a:cubicBezTo>
                    <a:pt x="51" y="78"/>
                    <a:pt x="51" y="78"/>
                    <a:pt x="51" y="78"/>
                  </a:cubicBezTo>
                  <a:cubicBezTo>
                    <a:pt x="21" y="0"/>
                    <a:pt x="21" y="0"/>
                    <a:pt x="21" y="0"/>
                  </a:cubicBezTo>
                  <a:cubicBezTo>
                    <a:pt x="0" y="0"/>
                    <a:pt x="0" y="0"/>
                    <a:pt x="0" y="0"/>
                  </a:cubicBezTo>
                  <a:cubicBezTo>
                    <a:pt x="43" y="107"/>
                    <a:pt x="43" y="107"/>
                    <a:pt x="43" y="10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133" name="Group 132"/>
          <p:cNvGrpSpPr/>
          <p:nvPr userDrawn="1"/>
        </p:nvGrpSpPr>
        <p:grpSpPr>
          <a:xfrm>
            <a:off x="7686461" y="4906654"/>
            <a:ext cx="1124815" cy="151147"/>
            <a:chOff x="7686461" y="4581466"/>
            <a:chExt cx="1124815" cy="151147"/>
          </a:xfrm>
          <a:solidFill>
            <a:schemeClr val="bg1"/>
          </a:solidFill>
        </p:grpSpPr>
        <p:sp>
          <p:nvSpPr>
            <p:cNvPr id="134"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35"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36"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37"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38"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39"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40"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41"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42"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43"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44"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45"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46"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47"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48"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grpSp>
      <p:sp>
        <p:nvSpPr>
          <p:cNvPr id="51"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solidFill>
                  <a:schemeClr val="accent4">
                    <a:lumMod val="50000"/>
                  </a:schemeClr>
                </a:solidFill>
                <a:latin typeface="+mn-lt"/>
              </a:rPr>
              <a:t>Private and Confidental</a:t>
            </a:r>
            <a:endParaRPr lang="pt-BR" sz="500" dirty="0">
              <a:solidFill>
                <a:schemeClr val="accent4">
                  <a:lumMod val="50000"/>
                </a:schemeClr>
              </a:solidFill>
              <a:latin typeface="+mn-lt"/>
            </a:endParaRPr>
          </a:p>
        </p:txBody>
      </p:sp>
    </p:spTree>
    <p:extLst>
      <p:ext uri="{BB962C8B-B14F-4D97-AF65-F5344CB8AC3E}">
        <p14:creationId xmlns:p14="http://schemas.microsoft.com/office/powerpoint/2010/main" val="1476374526"/>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_FF_MB_Slate3">
    <p:bg>
      <p:bgPr>
        <a:solidFill>
          <a:schemeClr val="bg1"/>
        </a:solidFill>
        <a:effectLst/>
      </p:bgPr>
    </p:bg>
    <p:spTree>
      <p:nvGrpSpPr>
        <p:cNvPr id="1" name=""/>
        <p:cNvGrpSpPr/>
        <p:nvPr/>
      </p:nvGrpSpPr>
      <p:grpSpPr>
        <a:xfrm>
          <a:off x="0" y="0"/>
          <a:ext cx="0" cy="0"/>
          <a:chOff x="0" y="0"/>
          <a:chExt cx="0" cy="0"/>
        </a:xfrm>
      </p:grpSpPr>
      <p:sp>
        <p:nvSpPr>
          <p:cNvPr id="31" name="Rectangle 30"/>
          <p:cNvSpPr/>
          <p:nvPr userDrawn="1"/>
        </p:nvSpPr>
        <p:spPr>
          <a:xfrm>
            <a:off x="0" y="0"/>
            <a:ext cx="9144000" cy="5148263"/>
          </a:xfrm>
          <a:prstGeom prst="rect">
            <a:avLst/>
          </a:prstGeom>
          <a:solidFill>
            <a:srgbClr val="4B4E53"/>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en-GB" sz="1050" smtClean="0">
              <a:solidFill>
                <a:schemeClr val="bg1"/>
              </a:solidFill>
              <a:latin typeface="Arial" panose="020B0604020202020204" pitchFamily="34" charset="0"/>
              <a:cs typeface="Arial" panose="020B0604020202020204" pitchFamily="34" charset="0"/>
            </a:endParaRPr>
          </a:p>
        </p:txBody>
      </p:sp>
      <p:pic>
        <p:nvPicPr>
          <p:cNvPr id="33" name="Picture 32" descr="cookie_white.png"/>
          <p:cNvPicPr>
            <a:picLocks noChangeAspect="1"/>
          </p:cNvPicPr>
          <p:nvPr userDrawn="1"/>
        </p:nvPicPr>
        <p:blipFill rotWithShape="1">
          <a:blip r:embed="rId2" cstate="screen">
            <a:alphaModFix amt="16000"/>
            <a:extLst>
              <a:ext uri="{28A0092B-C50C-407E-A947-70E740481C1C}">
                <a14:useLocalDpi xmlns:a14="http://schemas.microsoft.com/office/drawing/2010/main"/>
              </a:ext>
            </a:extLst>
          </a:blip>
          <a:srcRect/>
          <a:stretch/>
        </p:blipFill>
        <p:spPr>
          <a:xfrm flipH="1">
            <a:off x="5149029" y="2289839"/>
            <a:ext cx="4020091" cy="2880000"/>
          </a:xfrm>
          <a:prstGeom prst="rect">
            <a:avLst/>
          </a:prstGeom>
        </p:spPr>
      </p:pic>
      <p:cxnSp>
        <p:nvCxnSpPr>
          <p:cNvPr id="32" name="Straight Connector 31"/>
          <p:cNvCxnSpPr/>
          <p:nvPr userDrawn="1"/>
        </p:nvCxnSpPr>
        <p:spPr>
          <a:xfrm>
            <a:off x="343365" y="470176"/>
            <a:ext cx="8460000" cy="0"/>
          </a:xfrm>
          <a:prstGeom prst="line">
            <a:avLst/>
          </a:prstGeom>
          <a:ln w="6350" cmpd="sng">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343365" y="4801146"/>
            <a:ext cx="8460000" cy="0"/>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sp>
        <p:nvSpPr>
          <p:cNvPr id="67"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rgbClr val="FFFFFF"/>
                </a:solidFill>
                <a:latin typeface="+mn-lt"/>
              </a:defRPr>
            </a:lvl1pPr>
          </a:lstStyle>
          <a:p>
            <a:fld id="{19AB4E72-7858-48F1-A40D-12FF09E4BFB8}" type="slidenum">
              <a:rPr lang="en-GB" smtClean="0"/>
              <a:pPr/>
              <a:t>‹Nº›</a:t>
            </a:fld>
            <a:endParaRPr lang="en-GB"/>
          </a:p>
        </p:txBody>
      </p:sp>
      <p:sp>
        <p:nvSpPr>
          <p:cNvPr id="36" name="Title 1"/>
          <p:cNvSpPr>
            <a:spLocks noGrp="1"/>
          </p:cNvSpPr>
          <p:nvPr>
            <p:ph type="ctrTitle" hasCustomPrompt="1"/>
          </p:nvPr>
        </p:nvSpPr>
        <p:spPr>
          <a:xfrm>
            <a:off x="343365" y="2867487"/>
            <a:ext cx="8460000" cy="443198"/>
          </a:xfrm>
          <a:prstGeom prst="rect">
            <a:avLst/>
          </a:prstGeom>
        </p:spPr>
        <p:txBody>
          <a:bodyPr lIns="0" tIns="0" rIns="0" bIns="0" anchor="b"/>
          <a:lstStyle>
            <a:lvl1pPr>
              <a:lnSpc>
                <a:spcPct val="90000"/>
              </a:lnSpc>
              <a:defRPr sz="3200" b="0">
                <a:solidFill>
                  <a:schemeClr val="bg1"/>
                </a:solidFill>
              </a:defRPr>
            </a:lvl1pPr>
          </a:lstStyle>
          <a:p>
            <a:r>
              <a:rPr lang="en-US" dirty="0" smtClean="0"/>
              <a:t>Click to edit Master title Style</a:t>
            </a:r>
            <a:endParaRPr lang="en-US" dirty="0"/>
          </a:p>
        </p:txBody>
      </p:sp>
      <p:sp>
        <p:nvSpPr>
          <p:cNvPr id="37" name="Subtitle 2"/>
          <p:cNvSpPr>
            <a:spLocks noGrp="1"/>
          </p:cNvSpPr>
          <p:nvPr>
            <p:ph type="subTitle" idx="1" hasCustomPrompt="1"/>
          </p:nvPr>
        </p:nvSpPr>
        <p:spPr>
          <a:xfrm>
            <a:off x="343364" y="3474100"/>
            <a:ext cx="8460000" cy="202165"/>
          </a:xfrm>
          <a:prstGeom prst="rect">
            <a:avLst/>
          </a:prstGeom>
        </p:spPr>
        <p:txBody>
          <a:bodyPr lIns="0" tIns="0" rIns="0" bIns="0">
            <a:noAutofit/>
          </a:bodyPr>
          <a:lstStyle>
            <a:lvl1pPr marL="0" indent="0" algn="l">
              <a:buNone/>
              <a:defRPr sz="1400">
                <a:solidFill>
                  <a:schemeClr val="tx2"/>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cxnSp>
        <p:nvCxnSpPr>
          <p:cNvPr id="38" name="Straight Connector 37"/>
          <p:cNvCxnSpPr/>
          <p:nvPr userDrawn="1"/>
        </p:nvCxnSpPr>
        <p:spPr>
          <a:xfrm>
            <a:off x="346086" y="3395058"/>
            <a:ext cx="8460000" cy="0"/>
          </a:xfrm>
          <a:prstGeom prst="line">
            <a:avLst/>
          </a:prstGeom>
          <a:ln w="12700"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51" name="Text Placeholder 2"/>
          <p:cNvSpPr>
            <a:spLocks noGrp="1"/>
          </p:cNvSpPr>
          <p:nvPr>
            <p:ph type="body" sz="quarter" idx="25" hasCustomPrompt="1"/>
          </p:nvPr>
        </p:nvSpPr>
        <p:spPr>
          <a:xfrm>
            <a:off x="3342796" y="4807465"/>
            <a:ext cx="1160462" cy="341313"/>
          </a:xfrm>
          <a:prstGeom prst="rect">
            <a:avLst/>
          </a:prstGeom>
        </p:spPr>
        <p:txBody>
          <a:bodyPr anchor="ctr"/>
          <a:lstStyle>
            <a:lvl1pPr marL="0" indent="0" algn="ctr">
              <a:buNone/>
              <a:defRPr sz="800">
                <a:solidFill>
                  <a:schemeClr val="bg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pic>
        <p:nvPicPr>
          <p:cNvPr id="52" name="Picture 5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643755" y="4829728"/>
            <a:ext cx="288000" cy="288000"/>
          </a:xfrm>
          <a:prstGeom prst="rect">
            <a:avLst/>
          </a:prstGeom>
        </p:spPr>
      </p:pic>
      <p:grpSp>
        <p:nvGrpSpPr>
          <p:cNvPr id="53" name="Group 52"/>
          <p:cNvGrpSpPr/>
          <p:nvPr userDrawn="1"/>
        </p:nvGrpSpPr>
        <p:grpSpPr>
          <a:xfrm>
            <a:off x="4750866" y="4840100"/>
            <a:ext cx="1123200" cy="233974"/>
            <a:chOff x="7665803" y="4864376"/>
            <a:chExt cx="1123200" cy="233974"/>
          </a:xfrm>
          <a:solidFill>
            <a:schemeClr val="bg1"/>
          </a:solidFill>
        </p:grpSpPr>
        <p:sp>
          <p:nvSpPr>
            <p:cNvPr id="54" name="Freeform 6"/>
            <p:cNvSpPr>
              <a:spLocks/>
            </p:cNvSpPr>
            <p:nvPr userDrawn="1"/>
          </p:nvSpPr>
          <p:spPr bwMode="auto">
            <a:xfrm>
              <a:off x="8119644" y="4924717"/>
              <a:ext cx="103102" cy="66806"/>
            </a:xfrm>
            <a:custGeom>
              <a:avLst/>
              <a:gdLst>
                <a:gd name="T0" fmla="*/ 111 w 136"/>
                <a:gd name="T1" fmla="*/ 72 h 92"/>
                <a:gd name="T2" fmla="*/ 87 w 136"/>
                <a:gd name="T3" fmla="*/ 88 h 92"/>
                <a:gd name="T4" fmla="*/ 68 w 136"/>
                <a:gd name="T5" fmla="*/ 28 h 92"/>
                <a:gd name="T6" fmla="*/ 67 w 136"/>
                <a:gd name="T7" fmla="*/ 28 h 92"/>
                <a:gd name="T8" fmla="*/ 53 w 136"/>
                <a:gd name="T9" fmla="*/ 72 h 92"/>
                <a:gd name="T10" fmla="*/ 31 w 136"/>
                <a:gd name="T11" fmla="*/ 88 h 92"/>
                <a:gd name="T12" fmla="*/ 0 w 136"/>
                <a:gd name="T13" fmla="*/ 0 h 92"/>
                <a:gd name="T14" fmla="*/ 22 w 136"/>
                <a:gd name="T15" fmla="*/ 0 h 92"/>
                <a:gd name="T16" fmla="*/ 41 w 136"/>
                <a:gd name="T17" fmla="*/ 60 h 92"/>
                <a:gd name="T18" fmla="*/ 41 w 136"/>
                <a:gd name="T19" fmla="*/ 60 h 92"/>
                <a:gd name="T20" fmla="*/ 60 w 136"/>
                <a:gd name="T21" fmla="*/ 0 h 92"/>
                <a:gd name="T22" fmla="*/ 77 w 136"/>
                <a:gd name="T23" fmla="*/ 0 h 92"/>
                <a:gd name="T24" fmla="*/ 96 w 136"/>
                <a:gd name="T25" fmla="*/ 60 h 92"/>
                <a:gd name="T26" fmla="*/ 97 w 136"/>
                <a:gd name="T27" fmla="*/ 60 h 92"/>
                <a:gd name="T28" fmla="*/ 115 w 136"/>
                <a:gd name="T29" fmla="*/ 0 h 92"/>
                <a:gd name="T30" fmla="*/ 136 w 136"/>
                <a:gd name="T31" fmla="*/ 0 h 92"/>
                <a:gd name="T32" fmla="*/ 111 w 136"/>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 h="92">
                  <a:moveTo>
                    <a:pt x="111" y="72"/>
                  </a:moveTo>
                  <a:cubicBezTo>
                    <a:pt x="103" y="92"/>
                    <a:pt x="87" y="88"/>
                    <a:pt x="87" y="88"/>
                  </a:cubicBezTo>
                  <a:cubicBezTo>
                    <a:pt x="68" y="28"/>
                    <a:pt x="68" y="28"/>
                    <a:pt x="68" y="28"/>
                  </a:cubicBezTo>
                  <a:cubicBezTo>
                    <a:pt x="67" y="28"/>
                    <a:pt x="67" y="28"/>
                    <a:pt x="67" y="28"/>
                  </a:cubicBezTo>
                  <a:cubicBezTo>
                    <a:pt x="67" y="28"/>
                    <a:pt x="58"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6" y="60"/>
                    <a:pt x="96" y="60"/>
                    <a:pt x="96" y="60"/>
                  </a:cubicBezTo>
                  <a:cubicBezTo>
                    <a:pt x="97" y="60"/>
                    <a:pt x="97" y="60"/>
                    <a:pt x="97" y="60"/>
                  </a:cubicBezTo>
                  <a:cubicBezTo>
                    <a:pt x="115" y="0"/>
                    <a:pt x="115" y="0"/>
                    <a:pt x="115" y="0"/>
                  </a:cubicBezTo>
                  <a:cubicBezTo>
                    <a:pt x="136" y="0"/>
                    <a:pt x="136" y="0"/>
                    <a:pt x="136" y="0"/>
                  </a:cubicBezTo>
                  <a:cubicBezTo>
                    <a:pt x="136"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55" name="Freeform 7"/>
            <p:cNvSpPr>
              <a:spLocks noEditPoints="1"/>
            </p:cNvSpPr>
            <p:nvPr userDrawn="1"/>
          </p:nvSpPr>
          <p:spPr bwMode="auto">
            <a:xfrm>
              <a:off x="8225958" y="4923177"/>
              <a:ext cx="57493" cy="66190"/>
            </a:xfrm>
            <a:custGeom>
              <a:avLst/>
              <a:gdLst>
                <a:gd name="T0" fmla="*/ 57 w 76"/>
                <a:gd name="T1" fmla="*/ 90 h 91"/>
                <a:gd name="T2" fmla="*/ 53 w 76"/>
                <a:gd name="T3" fmla="*/ 81 h 91"/>
                <a:gd name="T4" fmla="*/ 28 w 76"/>
                <a:gd name="T5" fmla="*/ 91 h 91"/>
                <a:gd name="T6" fmla="*/ 0 w 76"/>
                <a:gd name="T7" fmla="*/ 63 h 91"/>
                <a:gd name="T8" fmla="*/ 36 w 76"/>
                <a:gd name="T9" fmla="*/ 34 h 91"/>
                <a:gd name="T10" fmla="*/ 51 w 76"/>
                <a:gd name="T11" fmla="*/ 34 h 91"/>
                <a:gd name="T12" fmla="*/ 51 w 76"/>
                <a:gd name="T13" fmla="*/ 31 h 91"/>
                <a:gd name="T14" fmla="*/ 35 w 76"/>
                <a:gd name="T15" fmla="*/ 17 h 91"/>
                <a:gd name="T16" fmla="*/ 12 w 76"/>
                <a:gd name="T17" fmla="*/ 23 h 91"/>
                <a:gd name="T18" fmla="*/ 5 w 76"/>
                <a:gd name="T19" fmla="*/ 9 h 91"/>
                <a:gd name="T20" fmla="*/ 39 w 76"/>
                <a:gd name="T21" fmla="*/ 0 h 91"/>
                <a:gd name="T22" fmla="*/ 74 w 76"/>
                <a:gd name="T23" fmla="*/ 31 h 91"/>
                <a:gd name="T24" fmla="*/ 74 w 76"/>
                <a:gd name="T25" fmla="*/ 66 h 91"/>
                <a:gd name="T26" fmla="*/ 76 w 76"/>
                <a:gd name="T27" fmla="*/ 90 h 91"/>
                <a:gd name="T28" fmla="*/ 57 w 76"/>
                <a:gd name="T29" fmla="*/ 90 h 91"/>
                <a:gd name="T30" fmla="*/ 51 w 76"/>
                <a:gd name="T31" fmla="*/ 49 h 91"/>
                <a:gd name="T32" fmla="*/ 39 w 76"/>
                <a:gd name="T33" fmla="*/ 49 h 91"/>
                <a:gd name="T34" fmla="*/ 22 w 76"/>
                <a:gd name="T35" fmla="*/ 61 h 91"/>
                <a:gd name="T36" fmla="*/ 36 w 76"/>
                <a:gd name="T37" fmla="*/ 73 h 91"/>
                <a:gd name="T38" fmla="*/ 51 w 76"/>
                <a:gd name="T39" fmla="*/ 68 h 91"/>
                <a:gd name="T40" fmla="*/ 51 w 76"/>
                <a:gd name="T41" fmla="*/ 4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91">
                  <a:moveTo>
                    <a:pt x="57" y="90"/>
                  </a:moveTo>
                  <a:cubicBezTo>
                    <a:pt x="53" y="81"/>
                    <a:pt x="53" y="81"/>
                    <a:pt x="53" y="81"/>
                  </a:cubicBezTo>
                  <a:cubicBezTo>
                    <a:pt x="48" y="86"/>
                    <a:pt x="40" y="91"/>
                    <a:pt x="28" y="91"/>
                  </a:cubicBezTo>
                  <a:cubicBezTo>
                    <a:pt x="12" y="91"/>
                    <a:pt x="0" y="80"/>
                    <a:pt x="0" y="63"/>
                  </a:cubicBezTo>
                  <a:cubicBezTo>
                    <a:pt x="0" y="45"/>
                    <a:pt x="14" y="35"/>
                    <a:pt x="36" y="34"/>
                  </a:cubicBezTo>
                  <a:cubicBezTo>
                    <a:pt x="51" y="34"/>
                    <a:pt x="51" y="34"/>
                    <a:pt x="51" y="34"/>
                  </a:cubicBezTo>
                  <a:cubicBezTo>
                    <a:pt x="51" y="33"/>
                    <a:pt x="51" y="32"/>
                    <a:pt x="51" y="31"/>
                  </a:cubicBezTo>
                  <a:cubicBezTo>
                    <a:pt x="51" y="21"/>
                    <a:pt x="44" y="17"/>
                    <a:pt x="35" y="17"/>
                  </a:cubicBezTo>
                  <a:cubicBezTo>
                    <a:pt x="25" y="17"/>
                    <a:pt x="18" y="20"/>
                    <a:pt x="12" y="23"/>
                  </a:cubicBezTo>
                  <a:cubicBezTo>
                    <a:pt x="5" y="9"/>
                    <a:pt x="5" y="9"/>
                    <a:pt x="5" y="9"/>
                  </a:cubicBezTo>
                  <a:cubicBezTo>
                    <a:pt x="17" y="2"/>
                    <a:pt x="28" y="0"/>
                    <a:pt x="39" y="0"/>
                  </a:cubicBezTo>
                  <a:cubicBezTo>
                    <a:pt x="61" y="0"/>
                    <a:pt x="74" y="9"/>
                    <a:pt x="74" y="31"/>
                  </a:cubicBezTo>
                  <a:cubicBezTo>
                    <a:pt x="74" y="66"/>
                    <a:pt x="74" y="66"/>
                    <a:pt x="74" y="66"/>
                  </a:cubicBezTo>
                  <a:cubicBezTo>
                    <a:pt x="74" y="78"/>
                    <a:pt x="75" y="86"/>
                    <a:pt x="76" y="90"/>
                  </a:cubicBezTo>
                  <a:lnTo>
                    <a:pt x="57" y="90"/>
                  </a:lnTo>
                  <a:close/>
                  <a:moveTo>
                    <a:pt x="51" y="49"/>
                  </a:moveTo>
                  <a:cubicBezTo>
                    <a:pt x="39" y="49"/>
                    <a:pt x="39" y="49"/>
                    <a:pt x="39" y="49"/>
                  </a:cubicBezTo>
                  <a:cubicBezTo>
                    <a:pt x="27" y="50"/>
                    <a:pt x="22" y="54"/>
                    <a:pt x="22" y="61"/>
                  </a:cubicBezTo>
                  <a:cubicBezTo>
                    <a:pt x="22" y="68"/>
                    <a:pt x="27" y="73"/>
                    <a:pt x="36" y="73"/>
                  </a:cubicBezTo>
                  <a:cubicBezTo>
                    <a:pt x="44" y="73"/>
                    <a:pt x="49" y="70"/>
                    <a:pt x="51" y="68"/>
                  </a:cubicBezTo>
                  <a:lnTo>
                    <a:pt x="51" y="4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56" name="Freeform 8"/>
            <p:cNvSpPr>
              <a:spLocks noEditPoints="1"/>
            </p:cNvSpPr>
            <p:nvPr userDrawn="1"/>
          </p:nvSpPr>
          <p:spPr bwMode="auto">
            <a:xfrm>
              <a:off x="8342550" y="4892699"/>
              <a:ext cx="62311" cy="96668"/>
            </a:xfrm>
            <a:custGeom>
              <a:avLst/>
              <a:gdLst>
                <a:gd name="T0" fmla="*/ 47 w 82"/>
                <a:gd name="T1" fmla="*/ 133 h 133"/>
                <a:gd name="T2" fmla="*/ 0 w 82"/>
                <a:gd name="T3" fmla="*/ 88 h 133"/>
                <a:gd name="T4" fmla="*/ 48 w 82"/>
                <a:gd name="T5" fmla="*/ 42 h 133"/>
                <a:gd name="T6" fmla="*/ 59 w 82"/>
                <a:gd name="T7" fmla="*/ 42 h 133"/>
                <a:gd name="T8" fmla="*/ 60 w 82"/>
                <a:gd name="T9" fmla="*/ 0 h 133"/>
                <a:gd name="T10" fmla="*/ 82 w 82"/>
                <a:gd name="T11" fmla="*/ 0 h 133"/>
                <a:gd name="T12" fmla="*/ 81 w 82"/>
                <a:gd name="T13" fmla="*/ 126 h 133"/>
                <a:gd name="T14" fmla="*/ 47 w 82"/>
                <a:gd name="T15" fmla="*/ 133 h 133"/>
                <a:gd name="T16" fmla="*/ 59 w 82"/>
                <a:gd name="T17" fmla="*/ 60 h 133"/>
                <a:gd name="T18" fmla="*/ 49 w 82"/>
                <a:gd name="T19" fmla="*/ 59 h 133"/>
                <a:gd name="T20" fmla="*/ 22 w 82"/>
                <a:gd name="T21" fmla="*/ 87 h 133"/>
                <a:gd name="T22" fmla="*/ 49 w 82"/>
                <a:gd name="T23" fmla="*/ 114 h 133"/>
                <a:gd name="T24" fmla="*/ 59 w 82"/>
                <a:gd name="T25" fmla="*/ 113 h 133"/>
                <a:gd name="T26" fmla="*/ 59 w 82"/>
                <a:gd name="T27" fmla="*/ 6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3">
                  <a:moveTo>
                    <a:pt x="47" y="133"/>
                  </a:moveTo>
                  <a:cubicBezTo>
                    <a:pt x="21" y="133"/>
                    <a:pt x="0" y="117"/>
                    <a:pt x="0" y="88"/>
                  </a:cubicBezTo>
                  <a:cubicBezTo>
                    <a:pt x="0" y="61"/>
                    <a:pt x="20" y="42"/>
                    <a:pt x="48" y="42"/>
                  </a:cubicBezTo>
                  <a:cubicBezTo>
                    <a:pt x="52" y="42"/>
                    <a:pt x="56" y="42"/>
                    <a:pt x="59" y="42"/>
                  </a:cubicBezTo>
                  <a:cubicBezTo>
                    <a:pt x="60" y="0"/>
                    <a:pt x="60" y="0"/>
                    <a:pt x="60" y="0"/>
                  </a:cubicBezTo>
                  <a:cubicBezTo>
                    <a:pt x="82" y="0"/>
                    <a:pt x="82" y="0"/>
                    <a:pt x="82" y="0"/>
                  </a:cubicBezTo>
                  <a:cubicBezTo>
                    <a:pt x="81" y="126"/>
                    <a:pt x="81" y="126"/>
                    <a:pt x="81" y="126"/>
                  </a:cubicBezTo>
                  <a:cubicBezTo>
                    <a:pt x="73" y="130"/>
                    <a:pt x="62" y="133"/>
                    <a:pt x="47" y="133"/>
                  </a:cubicBezTo>
                  <a:close/>
                  <a:moveTo>
                    <a:pt x="59" y="60"/>
                  </a:moveTo>
                  <a:cubicBezTo>
                    <a:pt x="56" y="60"/>
                    <a:pt x="54" y="59"/>
                    <a:pt x="49" y="59"/>
                  </a:cubicBezTo>
                  <a:cubicBezTo>
                    <a:pt x="33" y="59"/>
                    <a:pt x="22" y="70"/>
                    <a:pt x="22" y="87"/>
                  </a:cubicBezTo>
                  <a:cubicBezTo>
                    <a:pt x="22" y="103"/>
                    <a:pt x="32" y="114"/>
                    <a:pt x="49" y="114"/>
                  </a:cubicBezTo>
                  <a:cubicBezTo>
                    <a:pt x="53" y="114"/>
                    <a:pt x="57" y="114"/>
                    <a:pt x="59" y="113"/>
                  </a:cubicBezTo>
                  <a:lnTo>
                    <a:pt x="59" y="60"/>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57" name="Freeform 9"/>
            <p:cNvSpPr>
              <a:spLocks/>
            </p:cNvSpPr>
            <p:nvPr userDrawn="1"/>
          </p:nvSpPr>
          <p:spPr bwMode="auto">
            <a:xfrm>
              <a:off x="8093949"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10"/>
            <p:cNvSpPr>
              <a:spLocks/>
            </p:cNvSpPr>
            <p:nvPr userDrawn="1"/>
          </p:nvSpPr>
          <p:spPr bwMode="auto">
            <a:xfrm>
              <a:off x="8060545"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59" name="Freeform 11"/>
            <p:cNvSpPr>
              <a:spLocks/>
            </p:cNvSpPr>
            <p:nvPr userDrawn="1"/>
          </p:nvSpPr>
          <p:spPr bwMode="auto">
            <a:xfrm>
              <a:off x="8297262" y="4923177"/>
              <a:ext cx="43039" cy="66190"/>
            </a:xfrm>
            <a:custGeom>
              <a:avLst/>
              <a:gdLst>
                <a:gd name="T0" fmla="*/ 49 w 57"/>
                <a:gd name="T1" fmla="*/ 22 h 91"/>
                <a:gd name="T2" fmla="*/ 39 w 57"/>
                <a:gd name="T3" fmla="*/ 20 h 91"/>
                <a:gd name="T4" fmla="*/ 22 w 57"/>
                <a:gd name="T5" fmla="*/ 27 h 91"/>
                <a:gd name="T6" fmla="*/ 22 w 57"/>
                <a:gd name="T7" fmla="*/ 74 h 91"/>
                <a:gd name="T8" fmla="*/ 0 w 57"/>
                <a:gd name="T9" fmla="*/ 90 h 91"/>
                <a:gd name="T10" fmla="*/ 0 w 57"/>
                <a:gd name="T11" fmla="*/ 2 h 91"/>
                <a:gd name="T12" fmla="*/ 18 w 57"/>
                <a:gd name="T13" fmla="*/ 2 h 91"/>
                <a:gd name="T14" fmla="*/ 21 w 57"/>
                <a:gd name="T15" fmla="*/ 11 h 91"/>
                <a:gd name="T16" fmla="*/ 45 w 57"/>
                <a:gd name="T17" fmla="*/ 0 h 91"/>
                <a:gd name="T18" fmla="*/ 57 w 57"/>
                <a:gd name="T19" fmla="*/ 4 h 91"/>
                <a:gd name="T20" fmla="*/ 49 w 57"/>
                <a:gd name="T21" fmla="*/ 2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1">
                  <a:moveTo>
                    <a:pt x="49" y="22"/>
                  </a:moveTo>
                  <a:cubicBezTo>
                    <a:pt x="45" y="20"/>
                    <a:pt x="41" y="20"/>
                    <a:pt x="39" y="20"/>
                  </a:cubicBezTo>
                  <a:cubicBezTo>
                    <a:pt x="34" y="20"/>
                    <a:pt x="28" y="22"/>
                    <a:pt x="22" y="27"/>
                  </a:cubicBezTo>
                  <a:cubicBezTo>
                    <a:pt x="22" y="27"/>
                    <a:pt x="22" y="57"/>
                    <a:pt x="22" y="74"/>
                  </a:cubicBezTo>
                  <a:cubicBezTo>
                    <a:pt x="22" y="91"/>
                    <a:pt x="0" y="90"/>
                    <a:pt x="0" y="90"/>
                  </a:cubicBezTo>
                  <a:cubicBezTo>
                    <a:pt x="0" y="2"/>
                    <a:pt x="0" y="2"/>
                    <a:pt x="0" y="2"/>
                  </a:cubicBezTo>
                  <a:cubicBezTo>
                    <a:pt x="18" y="2"/>
                    <a:pt x="18" y="2"/>
                    <a:pt x="18"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0" name="Freeform 12"/>
            <p:cNvSpPr>
              <a:spLocks/>
            </p:cNvSpPr>
            <p:nvPr userDrawn="1"/>
          </p:nvSpPr>
          <p:spPr bwMode="auto">
            <a:xfrm>
              <a:off x="7907980" y="4892699"/>
              <a:ext cx="98605" cy="95129"/>
            </a:xfrm>
            <a:custGeom>
              <a:avLst/>
              <a:gdLst>
                <a:gd name="T0" fmla="*/ 106 w 130"/>
                <a:gd name="T1" fmla="*/ 131 h 131"/>
                <a:gd name="T2" fmla="*/ 106 w 130"/>
                <a:gd name="T3" fmla="*/ 53 h 131"/>
                <a:gd name="T4" fmla="*/ 107 w 130"/>
                <a:gd name="T5" fmla="*/ 39 h 131"/>
                <a:gd name="T6" fmla="*/ 106 w 130"/>
                <a:gd name="T7" fmla="*/ 39 h 131"/>
                <a:gd name="T8" fmla="*/ 99 w 130"/>
                <a:gd name="T9" fmla="*/ 52 h 131"/>
                <a:gd name="T10" fmla="*/ 72 w 130"/>
                <a:gd name="T11" fmla="*/ 93 h 131"/>
                <a:gd name="T12" fmla="*/ 60 w 130"/>
                <a:gd name="T13" fmla="*/ 93 h 131"/>
                <a:gd name="T14" fmla="*/ 32 w 130"/>
                <a:gd name="T15" fmla="*/ 51 h 131"/>
                <a:gd name="T16" fmla="*/ 24 w 130"/>
                <a:gd name="T17" fmla="*/ 39 h 131"/>
                <a:gd name="T18" fmla="*/ 23 w 130"/>
                <a:gd name="T19" fmla="*/ 39 h 131"/>
                <a:gd name="T20" fmla="*/ 24 w 130"/>
                <a:gd name="T21" fmla="*/ 52 h 131"/>
                <a:gd name="T22" fmla="*/ 24 w 130"/>
                <a:gd name="T23" fmla="*/ 131 h 131"/>
                <a:gd name="T24" fmla="*/ 0 w 130"/>
                <a:gd name="T25" fmla="*/ 131 h 131"/>
                <a:gd name="T26" fmla="*/ 0 w 130"/>
                <a:gd name="T27" fmla="*/ 0 h 131"/>
                <a:gd name="T28" fmla="*/ 22 w 130"/>
                <a:gd name="T29" fmla="*/ 0 h 131"/>
                <a:gd name="T30" fmla="*/ 58 w 130"/>
                <a:gd name="T31" fmla="*/ 52 h 131"/>
                <a:gd name="T32" fmla="*/ 66 w 130"/>
                <a:gd name="T33" fmla="*/ 66 h 131"/>
                <a:gd name="T34" fmla="*/ 67 w 130"/>
                <a:gd name="T35" fmla="*/ 66 h 131"/>
                <a:gd name="T36" fmla="*/ 75 w 130"/>
                <a:gd name="T37" fmla="*/ 52 h 131"/>
                <a:gd name="T38" fmla="*/ 108 w 130"/>
                <a:gd name="T39" fmla="*/ 0 h 131"/>
                <a:gd name="T40" fmla="*/ 130 w 130"/>
                <a:gd name="T41" fmla="*/ 0 h 131"/>
                <a:gd name="T42" fmla="*/ 130 w 130"/>
                <a:gd name="T43" fmla="*/ 131 h 131"/>
                <a:gd name="T44" fmla="*/ 106 w 130"/>
                <a:gd name="T45"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0" h="131">
                  <a:moveTo>
                    <a:pt x="106" y="131"/>
                  </a:moveTo>
                  <a:cubicBezTo>
                    <a:pt x="106" y="53"/>
                    <a:pt x="106" y="53"/>
                    <a:pt x="106" y="53"/>
                  </a:cubicBezTo>
                  <a:cubicBezTo>
                    <a:pt x="106" y="48"/>
                    <a:pt x="106" y="44"/>
                    <a:pt x="107" y="39"/>
                  </a:cubicBezTo>
                  <a:cubicBezTo>
                    <a:pt x="106" y="39"/>
                    <a:pt x="106" y="39"/>
                    <a:pt x="106" y="39"/>
                  </a:cubicBezTo>
                  <a:cubicBezTo>
                    <a:pt x="105" y="43"/>
                    <a:pt x="101" y="49"/>
                    <a:pt x="99" y="52"/>
                  </a:cubicBezTo>
                  <a:cubicBezTo>
                    <a:pt x="72" y="93"/>
                    <a:pt x="72" y="93"/>
                    <a:pt x="72" y="93"/>
                  </a:cubicBezTo>
                  <a:cubicBezTo>
                    <a:pt x="60" y="93"/>
                    <a:pt x="60" y="93"/>
                    <a:pt x="60" y="93"/>
                  </a:cubicBezTo>
                  <a:cubicBezTo>
                    <a:pt x="32" y="51"/>
                    <a:pt x="32" y="51"/>
                    <a:pt x="32" y="51"/>
                  </a:cubicBezTo>
                  <a:cubicBezTo>
                    <a:pt x="29" y="48"/>
                    <a:pt x="26" y="44"/>
                    <a:pt x="24" y="39"/>
                  </a:cubicBezTo>
                  <a:cubicBezTo>
                    <a:pt x="23" y="39"/>
                    <a:pt x="23" y="39"/>
                    <a:pt x="23" y="39"/>
                  </a:cubicBezTo>
                  <a:cubicBezTo>
                    <a:pt x="24" y="44"/>
                    <a:pt x="24" y="48"/>
                    <a:pt x="24" y="52"/>
                  </a:cubicBezTo>
                  <a:cubicBezTo>
                    <a:pt x="24" y="131"/>
                    <a:pt x="24" y="131"/>
                    <a:pt x="24" y="131"/>
                  </a:cubicBezTo>
                  <a:cubicBezTo>
                    <a:pt x="0" y="131"/>
                    <a:pt x="0" y="131"/>
                    <a:pt x="0" y="131"/>
                  </a:cubicBezTo>
                  <a:cubicBezTo>
                    <a:pt x="0" y="0"/>
                    <a:pt x="0" y="0"/>
                    <a:pt x="0" y="0"/>
                  </a:cubicBezTo>
                  <a:cubicBezTo>
                    <a:pt x="22" y="0"/>
                    <a:pt x="22" y="0"/>
                    <a:pt x="22" y="0"/>
                  </a:cubicBezTo>
                  <a:cubicBezTo>
                    <a:pt x="58" y="52"/>
                    <a:pt x="58" y="52"/>
                    <a:pt x="58" y="52"/>
                  </a:cubicBezTo>
                  <a:cubicBezTo>
                    <a:pt x="61" y="57"/>
                    <a:pt x="64" y="61"/>
                    <a:pt x="66" y="66"/>
                  </a:cubicBezTo>
                  <a:cubicBezTo>
                    <a:pt x="67" y="66"/>
                    <a:pt x="67" y="66"/>
                    <a:pt x="67" y="66"/>
                  </a:cubicBezTo>
                  <a:cubicBezTo>
                    <a:pt x="69" y="61"/>
                    <a:pt x="71" y="57"/>
                    <a:pt x="75" y="52"/>
                  </a:cubicBezTo>
                  <a:cubicBezTo>
                    <a:pt x="108" y="0"/>
                    <a:pt x="108" y="0"/>
                    <a:pt x="108" y="0"/>
                  </a:cubicBezTo>
                  <a:cubicBezTo>
                    <a:pt x="130" y="0"/>
                    <a:pt x="130" y="0"/>
                    <a:pt x="130" y="0"/>
                  </a:cubicBezTo>
                  <a:cubicBezTo>
                    <a:pt x="130" y="131"/>
                    <a:pt x="130" y="131"/>
                    <a:pt x="130" y="131"/>
                  </a:cubicBezTo>
                  <a:lnTo>
                    <a:pt x="106" y="131"/>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1" name="Freeform 13"/>
            <p:cNvSpPr>
              <a:spLocks/>
            </p:cNvSpPr>
            <p:nvPr userDrawn="1"/>
          </p:nvSpPr>
          <p:spPr bwMode="auto">
            <a:xfrm>
              <a:off x="7665803" y="4864376"/>
              <a:ext cx="100854" cy="148389"/>
            </a:xfrm>
            <a:custGeom>
              <a:avLst/>
              <a:gdLst>
                <a:gd name="T0" fmla="*/ 133 w 133"/>
                <a:gd name="T1" fmla="*/ 23 h 204"/>
                <a:gd name="T2" fmla="*/ 132 w 133"/>
                <a:gd name="T3" fmla="*/ 22 h 204"/>
                <a:gd name="T4" fmla="*/ 65 w 133"/>
                <a:gd name="T5" fmla="*/ 20 h 204"/>
                <a:gd name="T6" fmla="*/ 52 w 133"/>
                <a:gd name="T7" fmla="*/ 52 h 204"/>
                <a:gd name="T8" fmla="*/ 20 w 133"/>
                <a:gd name="T9" fmla="*/ 65 h 204"/>
                <a:gd name="T10" fmla="*/ 22 w 133"/>
                <a:gd name="T11" fmla="*/ 132 h 204"/>
                <a:gd name="T12" fmla="*/ 95 w 133"/>
                <a:gd name="T13" fmla="*/ 204 h 204"/>
                <a:gd name="T14" fmla="*/ 117 w 133"/>
                <a:gd name="T15" fmla="*/ 182 h 204"/>
                <a:gd name="T16" fmla="*/ 44 w 133"/>
                <a:gd name="T17" fmla="*/ 110 h 204"/>
                <a:gd name="T18" fmla="*/ 42 w 133"/>
                <a:gd name="T19" fmla="*/ 86 h 204"/>
                <a:gd name="T20" fmla="*/ 66 w 133"/>
                <a:gd name="T21" fmla="*/ 88 h 204"/>
                <a:gd name="T22" fmla="*/ 133 w 133"/>
                <a:gd name="T23" fmla="*/ 155 h 204"/>
                <a:gd name="T24" fmla="*/ 133 w 133"/>
                <a:gd name="T25" fmla="*/ 111 h 204"/>
                <a:gd name="T26" fmla="*/ 88 w 133"/>
                <a:gd name="T27" fmla="*/ 66 h 204"/>
                <a:gd name="T28" fmla="*/ 86 w 133"/>
                <a:gd name="T29" fmla="*/ 42 h 204"/>
                <a:gd name="T30" fmla="*/ 110 w 133"/>
                <a:gd name="T31" fmla="*/ 44 h 204"/>
                <a:gd name="T32" fmla="*/ 133 w 133"/>
                <a:gd name="T33" fmla="*/ 66 h 204"/>
                <a:gd name="T34" fmla="*/ 133 w 133"/>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204">
                  <a:moveTo>
                    <a:pt x="133" y="23"/>
                  </a:moveTo>
                  <a:cubicBezTo>
                    <a:pt x="132" y="22"/>
                    <a:pt x="132" y="22"/>
                    <a:pt x="132" y="22"/>
                  </a:cubicBezTo>
                  <a:cubicBezTo>
                    <a:pt x="110" y="0"/>
                    <a:pt x="82" y="2"/>
                    <a:pt x="65" y="20"/>
                  </a:cubicBezTo>
                  <a:cubicBezTo>
                    <a:pt x="53" y="32"/>
                    <a:pt x="51" y="46"/>
                    <a:pt x="52" y="52"/>
                  </a:cubicBezTo>
                  <a:cubicBezTo>
                    <a:pt x="47" y="51"/>
                    <a:pt x="32" y="52"/>
                    <a:pt x="20" y="65"/>
                  </a:cubicBezTo>
                  <a:cubicBezTo>
                    <a:pt x="3" y="82"/>
                    <a:pt x="0" y="110"/>
                    <a:pt x="22" y="132"/>
                  </a:cubicBezTo>
                  <a:cubicBezTo>
                    <a:pt x="95" y="204"/>
                    <a:pt x="95" y="204"/>
                    <a:pt x="95" y="204"/>
                  </a:cubicBezTo>
                  <a:cubicBezTo>
                    <a:pt x="117" y="182"/>
                    <a:pt x="117" y="182"/>
                    <a:pt x="117" y="182"/>
                  </a:cubicBezTo>
                  <a:cubicBezTo>
                    <a:pt x="44" y="110"/>
                    <a:pt x="44" y="110"/>
                    <a:pt x="44" y="110"/>
                  </a:cubicBezTo>
                  <a:cubicBezTo>
                    <a:pt x="35" y="101"/>
                    <a:pt x="36" y="91"/>
                    <a:pt x="42" y="86"/>
                  </a:cubicBezTo>
                  <a:cubicBezTo>
                    <a:pt x="47" y="80"/>
                    <a:pt x="58" y="79"/>
                    <a:pt x="66" y="88"/>
                  </a:cubicBezTo>
                  <a:cubicBezTo>
                    <a:pt x="133" y="155"/>
                    <a:pt x="133" y="155"/>
                    <a:pt x="133" y="155"/>
                  </a:cubicBezTo>
                  <a:cubicBezTo>
                    <a:pt x="133" y="111"/>
                    <a:pt x="133" y="111"/>
                    <a:pt x="133" y="111"/>
                  </a:cubicBezTo>
                  <a:cubicBezTo>
                    <a:pt x="88" y="66"/>
                    <a:pt x="88" y="66"/>
                    <a:pt x="88" y="66"/>
                  </a:cubicBezTo>
                  <a:cubicBezTo>
                    <a:pt x="80" y="57"/>
                    <a:pt x="80" y="47"/>
                    <a:pt x="86" y="42"/>
                  </a:cubicBezTo>
                  <a:cubicBezTo>
                    <a:pt x="92" y="36"/>
                    <a:pt x="102" y="35"/>
                    <a:pt x="110" y="44"/>
                  </a:cubicBezTo>
                  <a:cubicBezTo>
                    <a:pt x="133" y="66"/>
                    <a:pt x="133" y="66"/>
                    <a:pt x="133" y="66"/>
                  </a:cubicBezTo>
                  <a:lnTo>
                    <a:pt x="133"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2" name="Freeform 14"/>
            <p:cNvSpPr>
              <a:spLocks noEditPoints="1"/>
            </p:cNvSpPr>
            <p:nvPr userDrawn="1"/>
          </p:nvSpPr>
          <p:spPr bwMode="auto">
            <a:xfrm>
              <a:off x="8023287" y="4895470"/>
              <a:ext cx="20556" cy="93282"/>
            </a:xfrm>
            <a:custGeom>
              <a:avLst/>
              <a:gdLst>
                <a:gd name="T0" fmla="*/ 14 w 27"/>
                <a:gd name="T1" fmla="*/ 26 h 128"/>
                <a:gd name="T2" fmla="*/ 0 w 27"/>
                <a:gd name="T3" fmla="*/ 13 h 128"/>
                <a:gd name="T4" fmla="*/ 14 w 27"/>
                <a:gd name="T5" fmla="*/ 0 h 128"/>
                <a:gd name="T6" fmla="*/ 27 w 27"/>
                <a:gd name="T7" fmla="*/ 13 h 128"/>
                <a:gd name="T8" fmla="*/ 14 w 27"/>
                <a:gd name="T9" fmla="*/ 26 h 128"/>
                <a:gd name="T10" fmla="*/ 3 w 27"/>
                <a:gd name="T11" fmla="*/ 128 h 128"/>
                <a:gd name="T12" fmla="*/ 3 w 27"/>
                <a:gd name="T13" fmla="*/ 40 h 128"/>
                <a:gd name="T14" fmla="*/ 25 w 27"/>
                <a:gd name="T15" fmla="*/ 40 h 128"/>
                <a:gd name="T16" fmla="*/ 25 w 27"/>
                <a:gd name="T17" fmla="*/ 112 h 128"/>
                <a:gd name="T18" fmla="*/ 3 w 27"/>
                <a:gd name="T1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128">
                  <a:moveTo>
                    <a:pt x="14" y="26"/>
                  </a:moveTo>
                  <a:cubicBezTo>
                    <a:pt x="6" y="26"/>
                    <a:pt x="0" y="20"/>
                    <a:pt x="0" y="13"/>
                  </a:cubicBezTo>
                  <a:cubicBezTo>
                    <a:pt x="0" y="6"/>
                    <a:pt x="6" y="0"/>
                    <a:pt x="14" y="0"/>
                  </a:cubicBezTo>
                  <a:cubicBezTo>
                    <a:pt x="21" y="0"/>
                    <a:pt x="27" y="5"/>
                    <a:pt x="27" y="13"/>
                  </a:cubicBezTo>
                  <a:cubicBezTo>
                    <a:pt x="27" y="20"/>
                    <a:pt x="21" y="26"/>
                    <a:pt x="14" y="26"/>
                  </a:cubicBezTo>
                  <a:close/>
                  <a:moveTo>
                    <a:pt x="3" y="128"/>
                  </a:moveTo>
                  <a:cubicBezTo>
                    <a:pt x="3" y="40"/>
                    <a:pt x="3" y="40"/>
                    <a:pt x="3" y="40"/>
                  </a:cubicBezTo>
                  <a:cubicBezTo>
                    <a:pt x="25" y="40"/>
                    <a:pt x="25" y="40"/>
                    <a:pt x="25" y="40"/>
                  </a:cubicBezTo>
                  <a:cubicBezTo>
                    <a:pt x="25" y="40"/>
                    <a:pt x="25" y="95"/>
                    <a:pt x="25" y="112"/>
                  </a:cubicBezTo>
                  <a:cubicBezTo>
                    <a:pt x="25" y="128"/>
                    <a:pt x="3" y="128"/>
                    <a:pt x="3" y="1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3" name="Freeform 15"/>
            <p:cNvSpPr>
              <a:spLocks/>
            </p:cNvSpPr>
            <p:nvPr userDrawn="1"/>
          </p:nvSpPr>
          <p:spPr bwMode="auto">
            <a:xfrm>
              <a:off x="8615239" y="4924717"/>
              <a:ext cx="103744" cy="66806"/>
            </a:xfrm>
            <a:custGeom>
              <a:avLst/>
              <a:gdLst>
                <a:gd name="T0" fmla="*/ 111 w 137"/>
                <a:gd name="T1" fmla="*/ 72 h 92"/>
                <a:gd name="T2" fmla="*/ 88 w 137"/>
                <a:gd name="T3" fmla="*/ 88 h 92"/>
                <a:gd name="T4" fmla="*/ 68 w 137"/>
                <a:gd name="T5" fmla="*/ 28 h 92"/>
                <a:gd name="T6" fmla="*/ 68 w 137"/>
                <a:gd name="T7" fmla="*/ 28 h 92"/>
                <a:gd name="T8" fmla="*/ 53 w 137"/>
                <a:gd name="T9" fmla="*/ 72 h 92"/>
                <a:gd name="T10" fmla="*/ 31 w 137"/>
                <a:gd name="T11" fmla="*/ 88 h 92"/>
                <a:gd name="T12" fmla="*/ 0 w 137"/>
                <a:gd name="T13" fmla="*/ 0 h 92"/>
                <a:gd name="T14" fmla="*/ 22 w 137"/>
                <a:gd name="T15" fmla="*/ 0 h 92"/>
                <a:gd name="T16" fmla="*/ 41 w 137"/>
                <a:gd name="T17" fmla="*/ 60 h 92"/>
                <a:gd name="T18" fmla="*/ 41 w 137"/>
                <a:gd name="T19" fmla="*/ 60 h 92"/>
                <a:gd name="T20" fmla="*/ 60 w 137"/>
                <a:gd name="T21" fmla="*/ 0 h 92"/>
                <a:gd name="T22" fmla="*/ 77 w 137"/>
                <a:gd name="T23" fmla="*/ 0 h 92"/>
                <a:gd name="T24" fmla="*/ 97 w 137"/>
                <a:gd name="T25" fmla="*/ 60 h 92"/>
                <a:gd name="T26" fmla="*/ 97 w 137"/>
                <a:gd name="T27" fmla="*/ 60 h 92"/>
                <a:gd name="T28" fmla="*/ 115 w 137"/>
                <a:gd name="T29" fmla="*/ 0 h 92"/>
                <a:gd name="T30" fmla="*/ 137 w 137"/>
                <a:gd name="T31" fmla="*/ 0 h 92"/>
                <a:gd name="T32" fmla="*/ 111 w 137"/>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 h="92">
                  <a:moveTo>
                    <a:pt x="111" y="72"/>
                  </a:moveTo>
                  <a:cubicBezTo>
                    <a:pt x="104" y="92"/>
                    <a:pt x="88" y="88"/>
                    <a:pt x="88" y="88"/>
                  </a:cubicBezTo>
                  <a:cubicBezTo>
                    <a:pt x="68" y="28"/>
                    <a:pt x="68" y="28"/>
                    <a:pt x="68" y="28"/>
                  </a:cubicBezTo>
                  <a:cubicBezTo>
                    <a:pt x="68" y="28"/>
                    <a:pt x="68" y="28"/>
                    <a:pt x="68" y="28"/>
                  </a:cubicBezTo>
                  <a:cubicBezTo>
                    <a:pt x="68" y="28"/>
                    <a:pt x="59"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7" y="60"/>
                    <a:pt x="97" y="60"/>
                    <a:pt x="97" y="60"/>
                  </a:cubicBezTo>
                  <a:cubicBezTo>
                    <a:pt x="97" y="60"/>
                    <a:pt x="97" y="60"/>
                    <a:pt x="97" y="60"/>
                  </a:cubicBezTo>
                  <a:cubicBezTo>
                    <a:pt x="115" y="0"/>
                    <a:pt x="115" y="0"/>
                    <a:pt x="115" y="0"/>
                  </a:cubicBezTo>
                  <a:cubicBezTo>
                    <a:pt x="137" y="0"/>
                    <a:pt x="137" y="0"/>
                    <a:pt x="137" y="0"/>
                  </a:cubicBezTo>
                  <a:cubicBezTo>
                    <a:pt x="137"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4" name="Freeform 16"/>
            <p:cNvSpPr>
              <a:spLocks noEditPoints="1"/>
            </p:cNvSpPr>
            <p:nvPr userDrawn="1"/>
          </p:nvSpPr>
          <p:spPr bwMode="auto">
            <a:xfrm>
              <a:off x="8423168" y="4892699"/>
              <a:ext cx="65844" cy="95129"/>
            </a:xfrm>
            <a:custGeom>
              <a:avLst/>
              <a:gdLst>
                <a:gd name="T0" fmla="*/ 1 w 87"/>
                <a:gd name="T1" fmla="*/ 0 h 131"/>
                <a:gd name="T2" fmla="*/ 0 w 87"/>
                <a:gd name="T3" fmla="*/ 131 h 131"/>
                <a:gd name="T4" fmla="*/ 41 w 87"/>
                <a:gd name="T5" fmla="*/ 131 h 131"/>
                <a:gd name="T6" fmla="*/ 87 w 87"/>
                <a:gd name="T7" fmla="*/ 92 h 131"/>
                <a:gd name="T8" fmla="*/ 65 w 87"/>
                <a:gd name="T9" fmla="*/ 61 h 131"/>
                <a:gd name="T10" fmla="*/ 62 w 87"/>
                <a:gd name="T11" fmla="*/ 60 h 131"/>
                <a:gd name="T12" fmla="*/ 64 w 87"/>
                <a:gd name="T13" fmla="*/ 59 h 131"/>
                <a:gd name="T14" fmla="*/ 79 w 87"/>
                <a:gd name="T15" fmla="*/ 32 h 131"/>
                <a:gd name="T16" fmla="*/ 42 w 87"/>
                <a:gd name="T17" fmla="*/ 0 h 131"/>
                <a:gd name="T18" fmla="*/ 1 w 87"/>
                <a:gd name="T19" fmla="*/ 0 h 131"/>
                <a:gd name="T20" fmla="*/ 23 w 87"/>
                <a:gd name="T21" fmla="*/ 17 h 131"/>
                <a:gd name="T22" fmla="*/ 36 w 87"/>
                <a:gd name="T23" fmla="*/ 17 h 131"/>
                <a:gd name="T24" fmla="*/ 56 w 87"/>
                <a:gd name="T25" fmla="*/ 35 h 131"/>
                <a:gd name="T26" fmla="*/ 38 w 87"/>
                <a:gd name="T27" fmla="*/ 55 h 131"/>
                <a:gd name="T28" fmla="*/ 22 w 87"/>
                <a:gd name="T29" fmla="*/ 55 h 131"/>
                <a:gd name="T30" fmla="*/ 23 w 87"/>
                <a:gd name="T31" fmla="*/ 17 h 131"/>
                <a:gd name="T32" fmla="*/ 22 w 87"/>
                <a:gd name="T33" fmla="*/ 74 h 131"/>
                <a:gd name="T34" fmla="*/ 40 w 87"/>
                <a:gd name="T35" fmla="*/ 74 h 131"/>
                <a:gd name="T36" fmla="*/ 64 w 87"/>
                <a:gd name="T37" fmla="*/ 92 h 131"/>
                <a:gd name="T38" fmla="*/ 39 w 87"/>
                <a:gd name="T39" fmla="*/ 113 h 131"/>
                <a:gd name="T40" fmla="*/ 22 w 87"/>
                <a:gd name="T41" fmla="*/ 113 h 131"/>
                <a:gd name="T42" fmla="*/ 22 w 87"/>
                <a:gd name="T43" fmla="*/ 7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131">
                  <a:moveTo>
                    <a:pt x="1" y="0"/>
                  </a:moveTo>
                  <a:cubicBezTo>
                    <a:pt x="1" y="3"/>
                    <a:pt x="0" y="129"/>
                    <a:pt x="0" y="131"/>
                  </a:cubicBezTo>
                  <a:cubicBezTo>
                    <a:pt x="2" y="131"/>
                    <a:pt x="41" y="131"/>
                    <a:pt x="41" y="131"/>
                  </a:cubicBezTo>
                  <a:cubicBezTo>
                    <a:pt x="73" y="131"/>
                    <a:pt x="87" y="111"/>
                    <a:pt x="87" y="92"/>
                  </a:cubicBezTo>
                  <a:cubicBezTo>
                    <a:pt x="87" y="77"/>
                    <a:pt x="79" y="65"/>
                    <a:pt x="65" y="61"/>
                  </a:cubicBezTo>
                  <a:cubicBezTo>
                    <a:pt x="62" y="60"/>
                    <a:pt x="62" y="60"/>
                    <a:pt x="62" y="60"/>
                  </a:cubicBezTo>
                  <a:cubicBezTo>
                    <a:pt x="64" y="59"/>
                    <a:pt x="64" y="59"/>
                    <a:pt x="64" y="59"/>
                  </a:cubicBezTo>
                  <a:cubicBezTo>
                    <a:pt x="74" y="54"/>
                    <a:pt x="79" y="44"/>
                    <a:pt x="79" y="32"/>
                  </a:cubicBezTo>
                  <a:cubicBezTo>
                    <a:pt x="79" y="17"/>
                    <a:pt x="68" y="0"/>
                    <a:pt x="42" y="0"/>
                  </a:cubicBezTo>
                  <a:cubicBezTo>
                    <a:pt x="42" y="0"/>
                    <a:pt x="3" y="0"/>
                    <a:pt x="1" y="0"/>
                  </a:cubicBezTo>
                  <a:close/>
                  <a:moveTo>
                    <a:pt x="23" y="17"/>
                  </a:moveTo>
                  <a:cubicBezTo>
                    <a:pt x="36" y="17"/>
                    <a:pt x="36" y="17"/>
                    <a:pt x="36" y="17"/>
                  </a:cubicBezTo>
                  <a:cubicBezTo>
                    <a:pt x="49" y="17"/>
                    <a:pt x="56" y="24"/>
                    <a:pt x="56" y="35"/>
                  </a:cubicBezTo>
                  <a:cubicBezTo>
                    <a:pt x="56" y="47"/>
                    <a:pt x="47" y="55"/>
                    <a:pt x="38" y="55"/>
                  </a:cubicBezTo>
                  <a:cubicBezTo>
                    <a:pt x="22" y="55"/>
                    <a:pt x="22" y="55"/>
                    <a:pt x="22" y="55"/>
                  </a:cubicBezTo>
                  <a:lnTo>
                    <a:pt x="23" y="17"/>
                  </a:lnTo>
                  <a:close/>
                  <a:moveTo>
                    <a:pt x="22" y="74"/>
                  </a:moveTo>
                  <a:cubicBezTo>
                    <a:pt x="40" y="74"/>
                    <a:pt x="40" y="74"/>
                    <a:pt x="40" y="74"/>
                  </a:cubicBezTo>
                  <a:cubicBezTo>
                    <a:pt x="55" y="74"/>
                    <a:pt x="64" y="81"/>
                    <a:pt x="64" y="92"/>
                  </a:cubicBezTo>
                  <a:cubicBezTo>
                    <a:pt x="64" y="105"/>
                    <a:pt x="55" y="113"/>
                    <a:pt x="39" y="113"/>
                  </a:cubicBezTo>
                  <a:cubicBezTo>
                    <a:pt x="22" y="113"/>
                    <a:pt x="22" y="113"/>
                    <a:pt x="22" y="113"/>
                  </a:cubicBezTo>
                  <a:lnTo>
                    <a:pt x="22" y="74"/>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5" name="Freeform 17"/>
            <p:cNvSpPr>
              <a:spLocks noEditPoints="1"/>
            </p:cNvSpPr>
            <p:nvPr userDrawn="1"/>
          </p:nvSpPr>
          <p:spPr bwMode="auto">
            <a:xfrm>
              <a:off x="8546184" y="4923177"/>
              <a:ext cx="66486" cy="66190"/>
            </a:xfrm>
            <a:custGeom>
              <a:avLst/>
              <a:gdLst>
                <a:gd name="T0" fmla="*/ 75 w 88"/>
                <a:gd name="T1" fmla="*/ 78 h 91"/>
                <a:gd name="T2" fmla="*/ 44 w 88"/>
                <a:gd name="T3" fmla="*/ 91 h 91"/>
                <a:gd name="T4" fmla="*/ 14 w 88"/>
                <a:gd name="T5" fmla="*/ 80 h 91"/>
                <a:gd name="T6" fmla="*/ 0 w 88"/>
                <a:gd name="T7" fmla="*/ 46 h 91"/>
                <a:gd name="T8" fmla="*/ 13 w 88"/>
                <a:gd name="T9" fmla="*/ 12 h 91"/>
                <a:gd name="T10" fmla="*/ 44 w 88"/>
                <a:gd name="T11" fmla="*/ 0 h 91"/>
                <a:gd name="T12" fmla="*/ 76 w 88"/>
                <a:gd name="T13" fmla="*/ 12 h 91"/>
                <a:gd name="T14" fmla="*/ 88 w 88"/>
                <a:gd name="T15" fmla="*/ 45 h 91"/>
                <a:gd name="T16" fmla="*/ 75 w 88"/>
                <a:gd name="T17" fmla="*/ 78 h 91"/>
                <a:gd name="T18" fmla="*/ 44 w 88"/>
                <a:gd name="T19" fmla="*/ 17 h 91"/>
                <a:gd name="T20" fmla="*/ 23 w 88"/>
                <a:gd name="T21" fmla="*/ 45 h 91"/>
                <a:gd name="T22" fmla="*/ 44 w 88"/>
                <a:gd name="T23" fmla="*/ 73 h 91"/>
                <a:gd name="T24" fmla="*/ 65 w 88"/>
                <a:gd name="T25" fmla="*/ 45 h 91"/>
                <a:gd name="T26" fmla="*/ 44 w 88"/>
                <a:gd name="T27"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91">
                  <a:moveTo>
                    <a:pt x="75" y="78"/>
                  </a:moveTo>
                  <a:cubicBezTo>
                    <a:pt x="68" y="86"/>
                    <a:pt x="57" y="91"/>
                    <a:pt x="44" y="91"/>
                  </a:cubicBezTo>
                  <a:cubicBezTo>
                    <a:pt x="32" y="91"/>
                    <a:pt x="21" y="87"/>
                    <a:pt x="14" y="80"/>
                  </a:cubicBezTo>
                  <a:cubicBezTo>
                    <a:pt x="5" y="72"/>
                    <a:pt x="0" y="60"/>
                    <a:pt x="0" y="46"/>
                  </a:cubicBezTo>
                  <a:cubicBezTo>
                    <a:pt x="0" y="32"/>
                    <a:pt x="5" y="20"/>
                    <a:pt x="13" y="12"/>
                  </a:cubicBezTo>
                  <a:cubicBezTo>
                    <a:pt x="21" y="4"/>
                    <a:pt x="31" y="0"/>
                    <a:pt x="44" y="0"/>
                  </a:cubicBezTo>
                  <a:cubicBezTo>
                    <a:pt x="57" y="0"/>
                    <a:pt x="68" y="4"/>
                    <a:pt x="76" y="12"/>
                  </a:cubicBezTo>
                  <a:cubicBezTo>
                    <a:pt x="84" y="20"/>
                    <a:pt x="88" y="32"/>
                    <a:pt x="88" y="45"/>
                  </a:cubicBezTo>
                  <a:cubicBezTo>
                    <a:pt x="88" y="58"/>
                    <a:pt x="83" y="70"/>
                    <a:pt x="75" y="78"/>
                  </a:cubicBezTo>
                  <a:close/>
                  <a:moveTo>
                    <a:pt x="44" y="17"/>
                  </a:moveTo>
                  <a:cubicBezTo>
                    <a:pt x="30" y="17"/>
                    <a:pt x="23" y="29"/>
                    <a:pt x="23" y="45"/>
                  </a:cubicBezTo>
                  <a:cubicBezTo>
                    <a:pt x="23" y="62"/>
                    <a:pt x="31" y="73"/>
                    <a:pt x="44" y="73"/>
                  </a:cubicBezTo>
                  <a:cubicBezTo>
                    <a:pt x="58" y="73"/>
                    <a:pt x="65" y="61"/>
                    <a:pt x="65" y="45"/>
                  </a:cubicBezTo>
                  <a:cubicBezTo>
                    <a:pt x="65" y="28"/>
                    <a:pt x="57" y="17"/>
                    <a:pt x="44" y="1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6" name="Freeform 18"/>
            <p:cNvSpPr>
              <a:spLocks/>
            </p:cNvSpPr>
            <p:nvPr userDrawn="1"/>
          </p:nvSpPr>
          <p:spPr bwMode="auto">
            <a:xfrm>
              <a:off x="8728298" y="4923177"/>
              <a:ext cx="60705" cy="65574"/>
            </a:xfrm>
            <a:custGeom>
              <a:avLst/>
              <a:gdLst>
                <a:gd name="T0" fmla="*/ 58 w 80"/>
                <a:gd name="T1" fmla="*/ 90 h 90"/>
                <a:gd name="T2" fmla="*/ 58 w 80"/>
                <a:gd name="T3" fmla="*/ 38 h 90"/>
                <a:gd name="T4" fmla="*/ 45 w 80"/>
                <a:gd name="T5" fmla="*/ 19 h 90"/>
                <a:gd name="T6" fmla="*/ 23 w 80"/>
                <a:gd name="T7" fmla="*/ 28 h 90"/>
                <a:gd name="T8" fmla="*/ 23 w 80"/>
                <a:gd name="T9" fmla="*/ 74 h 90"/>
                <a:gd name="T10" fmla="*/ 0 w 80"/>
                <a:gd name="T11" fmla="*/ 90 h 90"/>
                <a:gd name="T12" fmla="*/ 0 w 80"/>
                <a:gd name="T13" fmla="*/ 2 h 90"/>
                <a:gd name="T14" fmla="*/ 19 w 80"/>
                <a:gd name="T15" fmla="*/ 2 h 90"/>
                <a:gd name="T16" fmla="*/ 22 w 80"/>
                <a:gd name="T17" fmla="*/ 11 h 90"/>
                <a:gd name="T18" fmla="*/ 52 w 80"/>
                <a:gd name="T19" fmla="*/ 0 h 90"/>
                <a:gd name="T20" fmla="*/ 80 w 80"/>
                <a:gd name="T21" fmla="*/ 31 h 90"/>
                <a:gd name="T22" fmla="*/ 80 w 80"/>
                <a:gd name="T23" fmla="*/ 74 h 90"/>
                <a:gd name="T24" fmla="*/ 58 w 80"/>
                <a:gd name="T2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90">
                  <a:moveTo>
                    <a:pt x="58" y="90"/>
                  </a:moveTo>
                  <a:cubicBezTo>
                    <a:pt x="58" y="38"/>
                    <a:pt x="58" y="38"/>
                    <a:pt x="58" y="38"/>
                  </a:cubicBezTo>
                  <a:cubicBezTo>
                    <a:pt x="58" y="29"/>
                    <a:pt x="56" y="19"/>
                    <a:pt x="45" y="19"/>
                  </a:cubicBezTo>
                  <a:cubicBezTo>
                    <a:pt x="37" y="19"/>
                    <a:pt x="29" y="23"/>
                    <a:pt x="23" y="28"/>
                  </a:cubicBezTo>
                  <a:cubicBezTo>
                    <a:pt x="23" y="28"/>
                    <a:pt x="23" y="57"/>
                    <a:pt x="23" y="74"/>
                  </a:cubicBezTo>
                  <a:cubicBezTo>
                    <a:pt x="23" y="90"/>
                    <a:pt x="0" y="90"/>
                    <a:pt x="0" y="90"/>
                  </a:cubicBezTo>
                  <a:cubicBezTo>
                    <a:pt x="0" y="2"/>
                    <a:pt x="0" y="2"/>
                    <a:pt x="0" y="2"/>
                  </a:cubicBezTo>
                  <a:cubicBezTo>
                    <a:pt x="19" y="2"/>
                    <a:pt x="19" y="2"/>
                    <a:pt x="19" y="2"/>
                  </a:cubicBezTo>
                  <a:cubicBezTo>
                    <a:pt x="22" y="11"/>
                    <a:pt x="22" y="11"/>
                    <a:pt x="22" y="11"/>
                  </a:cubicBezTo>
                  <a:cubicBezTo>
                    <a:pt x="31" y="4"/>
                    <a:pt x="40" y="0"/>
                    <a:pt x="52" y="0"/>
                  </a:cubicBezTo>
                  <a:cubicBezTo>
                    <a:pt x="65" y="0"/>
                    <a:pt x="80" y="8"/>
                    <a:pt x="80" y="31"/>
                  </a:cubicBezTo>
                  <a:cubicBezTo>
                    <a:pt x="80" y="31"/>
                    <a:pt x="80" y="57"/>
                    <a:pt x="80" y="74"/>
                  </a:cubicBezTo>
                  <a:cubicBezTo>
                    <a:pt x="80" y="90"/>
                    <a:pt x="58" y="90"/>
                    <a:pt x="58" y="9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8" name="Freeform 19"/>
            <p:cNvSpPr>
              <a:spLocks/>
            </p:cNvSpPr>
            <p:nvPr userDrawn="1"/>
          </p:nvSpPr>
          <p:spPr bwMode="auto">
            <a:xfrm>
              <a:off x="8501217" y="4923177"/>
              <a:ext cx="43361" cy="65574"/>
            </a:xfrm>
            <a:custGeom>
              <a:avLst/>
              <a:gdLst>
                <a:gd name="T0" fmla="*/ 49 w 57"/>
                <a:gd name="T1" fmla="*/ 22 h 90"/>
                <a:gd name="T2" fmla="*/ 39 w 57"/>
                <a:gd name="T3" fmla="*/ 20 h 90"/>
                <a:gd name="T4" fmla="*/ 22 w 57"/>
                <a:gd name="T5" fmla="*/ 27 h 90"/>
                <a:gd name="T6" fmla="*/ 22 w 57"/>
                <a:gd name="T7" fmla="*/ 74 h 90"/>
                <a:gd name="T8" fmla="*/ 0 w 57"/>
                <a:gd name="T9" fmla="*/ 90 h 90"/>
                <a:gd name="T10" fmla="*/ 0 w 57"/>
                <a:gd name="T11" fmla="*/ 2 h 90"/>
                <a:gd name="T12" fmla="*/ 19 w 57"/>
                <a:gd name="T13" fmla="*/ 2 h 90"/>
                <a:gd name="T14" fmla="*/ 21 w 57"/>
                <a:gd name="T15" fmla="*/ 11 h 90"/>
                <a:gd name="T16" fmla="*/ 45 w 57"/>
                <a:gd name="T17" fmla="*/ 0 h 90"/>
                <a:gd name="T18" fmla="*/ 57 w 57"/>
                <a:gd name="T19" fmla="*/ 4 h 90"/>
                <a:gd name="T20" fmla="*/ 49 w 57"/>
                <a:gd name="T21" fmla="*/ 2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0">
                  <a:moveTo>
                    <a:pt x="49" y="22"/>
                  </a:moveTo>
                  <a:cubicBezTo>
                    <a:pt x="46" y="20"/>
                    <a:pt x="42" y="20"/>
                    <a:pt x="39" y="20"/>
                  </a:cubicBezTo>
                  <a:cubicBezTo>
                    <a:pt x="34" y="20"/>
                    <a:pt x="28" y="22"/>
                    <a:pt x="22" y="27"/>
                  </a:cubicBezTo>
                  <a:cubicBezTo>
                    <a:pt x="22" y="27"/>
                    <a:pt x="22" y="57"/>
                    <a:pt x="22" y="74"/>
                  </a:cubicBezTo>
                  <a:cubicBezTo>
                    <a:pt x="22" y="90"/>
                    <a:pt x="0" y="90"/>
                    <a:pt x="0" y="90"/>
                  </a:cubicBezTo>
                  <a:cubicBezTo>
                    <a:pt x="0" y="2"/>
                    <a:pt x="0" y="2"/>
                    <a:pt x="0" y="2"/>
                  </a:cubicBezTo>
                  <a:cubicBezTo>
                    <a:pt x="19" y="2"/>
                    <a:pt x="19" y="2"/>
                    <a:pt x="19"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9" name="Freeform 20"/>
            <p:cNvSpPr>
              <a:spLocks/>
            </p:cNvSpPr>
            <p:nvPr userDrawn="1"/>
          </p:nvSpPr>
          <p:spPr bwMode="auto">
            <a:xfrm>
              <a:off x="7766657" y="4864376"/>
              <a:ext cx="100211" cy="148389"/>
            </a:xfrm>
            <a:custGeom>
              <a:avLst/>
              <a:gdLst>
                <a:gd name="T0" fmla="*/ 0 w 132"/>
                <a:gd name="T1" fmla="*/ 23 h 204"/>
                <a:gd name="T2" fmla="*/ 1 w 132"/>
                <a:gd name="T3" fmla="*/ 22 h 204"/>
                <a:gd name="T4" fmla="*/ 67 w 132"/>
                <a:gd name="T5" fmla="*/ 20 h 204"/>
                <a:gd name="T6" fmla="*/ 80 w 132"/>
                <a:gd name="T7" fmla="*/ 52 h 204"/>
                <a:gd name="T8" fmla="*/ 113 w 132"/>
                <a:gd name="T9" fmla="*/ 65 h 204"/>
                <a:gd name="T10" fmla="*/ 111 w 132"/>
                <a:gd name="T11" fmla="*/ 132 h 204"/>
                <a:gd name="T12" fmla="*/ 38 w 132"/>
                <a:gd name="T13" fmla="*/ 204 h 204"/>
                <a:gd name="T14" fmla="*/ 16 w 132"/>
                <a:gd name="T15" fmla="*/ 182 h 204"/>
                <a:gd name="T16" fmla="*/ 88 w 132"/>
                <a:gd name="T17" fmla="*/ 110 h 204"/>
                <a:gd name="T18" fmla="*/ 91 w 132"/>
                <a:gd name="T19" fmla="*/ 86 h 204"/>
                <a:gd name="T20" fmla="*/ 67 w 132"/>
                <a:gd name="T21" fmla="*/ 88 h 204"/>
                <a:gd name="T22" fmla="*/ 0 w 132"/>
                <a:gd name="T23" fmla="*/ 155 h 204"/>
                <a:gd name="T24" fmla="*/ 0 w 132"/>
                <a:gd name="T25" fmla="*/ 111 h 204"/>
                <a:gd name="T26" fmla="*/ 45 w 132"/>
                <a:gd name="T27" fmla="*/ 66 h 204"/>
                <a:gd name="T28" fmla="*/ 46 w 132"/>
                <a:gd name="T29" fmla="*/ 42 h 204"/>
                <a:gd name="T30" fmla="*/ 22 w 132"/>
                <a:gd name="T31" fmla="*/ 44 h 204"/>
                <a:gd name="T32" fmla="*/ 0 w 132"/>
                <a:gd name="T33" fmla="*/ 66 h 204"/>
                <a:gd name="T34" fmla="*/ 0 w 132"/>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204">
                  <a:moveTo>
                    <a:pt x="0" y="23"/>
                  </a:moveTo>
                  <a:cubicBezTo>
                    <a:pt x="1" y="22"/>
                    <a:pt x="1" y="22"/>
                    <a:pt x="1" y="22"/>
                  </a:cubicBezTo>
                  <a:cubicBezTo>
                    <a:pt x="23" y="0"/>
                    <a:pt x="50" y="2"/>
                    <a:pt x="67" y="20"/>
                  </a:cubicBezTo>
                  <a:cubicBezTo>
                    <a:pt x="80" y="32"/>
                    <a:pt x="81" y="46"/>
                    <a:pt x="80" y="52"/>
                  </a:cubicBezTo>
                  <a:cubicBezTo>
                    <a:pt x="86" y="51"/>
                    <a:pt x="100" y="52"/>
                    <a:pt x="113" y="65"/>
                  </a:cubicBezTo>
                  <a:cubicBezTo>
                    <a:pt x="130" y="82"/>
                    <a:pt x="132" y="110"/>
                    <a:pt x="111" y="132"/>
                  </a:cubicBezTo>
                  <a:cubicBezTo>
                    <a:pt x="38" y="204"/>
                    <a:pt x="38" y="204"/>
                    <a:pt x="38" y="204"/>
                  </a:cubicBezTo>
                  <a:cubicBezTo>
                    <a:pt x="16" y="182"/>
                    <a:pt x="16" y="182"/>
                    <a:pt x="16" y="182"/>
                  </a:cubicBezTo>
                  <a:cubicBezTo>
                    <a:pt x="88" y="110"/>
                    <a:pt x="88" y="110"/>
                    <a:pt x="88" y="110"/>
                  </a:cubicBezTo>
                  <a:cubicBezTo>
                    <a:pt x="97" y="101"/>
                    <a:pt x="96" y="91"/>
                    <a:pt x="91" y="86"/>
                  </a:cubicBezTo>
                  <a:cubicBezTo>
                    <a:pt x="85" y="80"/>
                    <a:pt x="75" y="79"/>
                    <a:pt x="67" y="88"/>
                  </a:cubicBezTo>
                  <a:cubicBezTo>
                    <a:pt x="0" y="155"/>
                    <a:pt x="0" y="155"/>
                    <a:pt x="0" y="155"/>
                  </a:cubicBezTo>
                  <a:cubicBezTo>
                    <a:pt x="0" y="111"/>
                    <a:pt x="0" y="111"/>
                    <a:pt x="0" y="111"/>
                  </a:cubicBezTo>
                  <a:cubicBezTo>
                    <a:pt x="45" y="66"/>
                    <a:pt x="45" y="66"/>
                    <a:pt x="45" y="66"/>
                  </a:cubicBezTo>
                  <a:cubicBezTo>
                    <a:pt x="53" y="57"/>
                    <a:pt x="52" y="47"/>
                    <a:pt x="46" y="42"/>
                  </a:cubicBezTo>
                  <a:cubicBezTo>
                    <a:pt x="41" y="36"/>
                    <a:pt x="31" y="35"/>
                    <a:pt x="22" y="44"/>
                  </a:cubicBezTo>
                  <a:cubicBezTo>
                    <a:pt x="0" y="66"/>
                    <a:pt x="0" y="66"/>
                    <a:pt x="0" y="66"/>
                  </a:cubicBezTo>
                  <a:lnTo>
                    <a:pt x="0"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0" name="Freeform 21"/>
            <p:cNvSpPr>
              <a:spLocks noEditPoints="1"/>
            </p:cNvSpPr>
            <p:nvPr userDrawn="1"/>
          </p:nvSpPr>
          <p:spPr bwMode="auto">
            <a:xfrm>
              <a:off x="7980890" y="5040472"/>
              <a:ext cx="51390" cy="57878"/>
            </a:xfrm>
            <a:custGeom>
              <a:avLst/>
              <a:gdLst>
                <a:gd name="T0" fmla="*/ 0 w 68"/>
                <a:gd name="T1" fmla="*/ 40 h 80"/>
                <a:gd name="T2" fmla="*/ 35 w 68"/>
                <a:gd name="T3" fmla="*/ 0 h 80"/>
                <a:gd name="T4" fmla="*/ 68 w 68"/>
                <a:gd name="T5" fmla="*/ 41 h 80"/>
                <a:gd name="T6" fmla="*/ 68 w 68"/>
                <a:gd name="T7" fmla="*/ 46 h 80"/>
                <a:gd name="T8" fmla="*/ 20 w 68"/>
                <a:gd name="T9" fmla="*/ 46 h 80"/>
                <a:gd name="T10" fmla="*/ 41 w 68"/>
                <a:gd name="T11" fmla="*/ 65 h 80"/>
                <a:gd name="T12" fmla="*/ 60 w 68"/>
                <a:gd name="T13" fmla="*/ 60 h 80"/>
                <a:gd name="T14" fmla="*/ 66 w 68"/>
                <a:gd name="T15" fmla="*/ 73 h 80"/>
                <a:gd name="T16" fmla="*/ 39 w 68"/>
                <a:gd name="T17" fmla="*/ 80 h 80"/>
                <a:gd name="T18" fmla="*/ 0 w 68"/>
                <a:gd name="T19" fmla="*/ 40 h 80"/>
                <a:gd name="T20" fmla="*/ 49 w 68"/>
                <a:gd name="T21" fmla="*/ 32 h 80"/>
                <a:gd name="T22" fmla="*/ 34 w 68"/>
                <a:gd name="T23" fmla="*/ 15 h 80"/>
                <a:gd name="T24" fmla="*/ 19 w 68"/>
                <a:gd name="T25" fmla="*/ 32 h 80"/>
                <a:gd name="T26" fmla="*/ 49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3" y="0"/>
                    <a:pt x="35" y="0"/>
                  </a:cubicBezTo>
                  <a:cubicBezTo>
                    <a:pt x="56" y="0"/>
                    <a:pt x="68" y="16"/>
                    <a:pt x="68" y="41"/>
                  </a:cubicBezTo>
                  <a:cubicBezTo>
                    <a:pt x="68" y="46"/>
                    <a:pt x="68" y="46"/>
                    <a:pt x="68" y="46"/>
                  </a:cubicBezTo>
                  <a:cubicBezTo>
                    <a:pt x="20" y="46"/>
                    <a:pt x="20" y="46"/>
                    <a:pt x="20" y="46"/>
                  </a:cubicBezTo>
                  <a:cubicBezTo>
                    <a:pt x="20" y="57"/>
                    <a:pt x="28" y="65"/>
                    <a:pt x="41" y="65"/>
                  </a:cubicBezTo>
                  <a:cubicBezTo>
                    <a:pt x="49" y="65"/>
                    <a:pt x="55" y="63"/>
                    <a:pt x="60" y="60"/>
                  </a:cubicBezTo>
                  <a:cubicBezTo>
                    <a:pt x="66" y="73"/>
                    <a:pt x="66" y="73"/>
                    <a:pt x="66" y="73"/>
                  </a:cubicBezTo>
                  <a:cubicBezTo>
                    <a:pt x="58" y="78"/>
                    <a:pt x="49" y="80"/>
                    <a:pt x="39" y="80"/>
                  </a:cubicBezTo>
                  <a:cubicBezTo>
                    <a:pt x="11" y="80"/>
                    <a:pt x="0" y="61"/>
                    <a:pt x="0" y="40"/>
                  </a:cubicBezTo>
                  <a:close/>
                  <a:moveTo>
                    <a:pt x="49" y="32"/>
                  </a:moveTo>
                  <a:cubicBezTo>
                    <a:pt x="49" y="23"/>
                    <a:pt x="44" y="15"/>
                    <a:pt x="34" y="15"/>
                  </a:cubicBezTo>
                  <a:cubicBezTo>
                    <a:pt x="25" y="15"/>
                    <a:pt x="19" y="23"/>
                    <a:pt x="19" y="32"/>
                  </a:cubicBezTo>
                  <a:lnTo>
                    <a:pt x="49"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1" name="Freeform 22"/>
            <p:cNvSpPr>
              <a:spLocks/>
            </p:cNvSpPr>
            <p:nvPr userDrawn="1"/>
          </p:nvSpPr>
          <p:spPr bwMode="auto">
            <a:xfrm>
              <a:off x="8295656" y="5041088"/>
              <a:ext cx="37258" cy="56031"/>
            </a:xfrm>
            <a:custGeom>
              <a:avLst/>
              <a:gdLst>
                <a:gd name="T0" fmla="*/ 42 w 49"/>
                <a:gd name="T1" fmla="*/ 19 h 77"/>
                <a:gd name="T2" fmla="*/ 33 w 49"/>
                <a:gd name="T3" fmla="*/ 16 h 77"/>
                <a:gd name="T4" fmla="*/ 19 w 49"/>
                <a:gd name="T5" fmla="*/ 23 h 77"/>
                <a:gd name="T6" fmla="*/ 19 w 49"/>
                <a:gd name="T7" fmla="*/ 63 h 77"/>
                <a:gd name="T8" fmla="*/ 0 w 49"/>
                <a:gd name="T9" fmla="*/ 77 h 77"/>
                <a:gd name="T10" fmla="*/ 0 w 49"/>
                <a:gd name="T11" fmla="*/ 1 h 77"/>
                <a:gd name="T12" fmla="*/ 16 w 49"/>
                <a:gd name="T13" fmla="*/ 1 h 77"/>
                <a:gd name="T14" fmla="*/ 18 w 49"/>
                <a:gd name="T15" fmla="*/ 9 h 77"/>
                <a:gd name="T16" fmla="*/ 39 w 49"/>
                <a:gd name="T17" fmla="*/ 0 h 77"/>
                <a:gd name="T18" fmla="*/ 49 w 49"/>
                <a:gd name="T19" fmla="*/ 3 h 77"/>
                <a:gd name="T20" fmla="*/ 42 w 49"/>
                <a:gd name="T21"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77">
                  <a:moveTo>
                    <a:pt x="42" y="19"/>
                  </a:moveTo>
                  <a:cubicBezTo>
                    <a:pt x="39" y="17"/>
                    <a:pt x="36" y="16"/>
                    <a:pt x="33" y="16"/>
                  </a:cubicBezTo>
                  <a:cubicBezTo>
                    <a:pt x="29" y="16"/>
                    <a:pt x="24" y="18"/>
                    <a:pt x="19" y="23"/>
                  </a:cubicBezTo>
                  <a:cubicBezTo>
                    <a:pt x="19" y="2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2"/>
                    <a:pt x="32" y="0"/>
                    <a:pt x="39" y="0"/>
                  </a:cubicBezTo>
                  <a:cubicBezTo>
                    <a:pt x="42" y="0"/>
                    <a:pt x="46" y="1"/>
                    <a:pt x="49" y="3"/>
                  </a:cubicBezTo>
                  <a:lnTo>
                    <a:pt x="42" y="1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2" name="Freeform 23"/>
            <p:cNvSpPr>
              <a:spLocks noEditPoints="1"/>
            </p:cNvSpPr>
            <p:nvPr userDrawn="1"/>
          </p:nvSpPr>
          <p:spPr bwMode="auto">
            <a:xfrm>
              <a:off x="8178743" y="5040472"/>
              <a:ext cx="51712" cy="57878"/>
            </a:xfrm>
            <a:custGeom>
              <a:avLst/>
              <a:gdLst>
                <a:gd name="T0" fmla="*/ 0 w 68"/>
                <a:gd name="T1" fmla="*/ 40 h 80"/>
                <a:gd name="T2" fmla="*/ 34 w 68"/>
                <a:gd name="T3" fmla="*/ 0 h 80"/>
                <a:gd name="T4" fmla="*/ 68 w 68"/>
                <a:gd name="T5" fmla="*/ 41 h 80"/>
                <a:gd name="T6" fmla="*/ 68 w 68"/>
                <a:gd name="T7" fmla="*/ 46 h 80"/>
                <a:gd name="T8" fmla="*/ 19 w 68"/>
                <a:gd name="T9" fmla="*/ 46 h 80"/>
                <a:gd name="T10" fmla="*/ 41 w 68"/>
                <a:gd name="T11" fmla="*/ 65 h 80"/>
                <a:gd name="T12" fmla="*/ 60 w 68"/>
                <a:gd name="T13" fmla="*/ 60 h 80"/>
                <a:gd name="T14" fmla="*/ 66 w 68"/>
                <a:gd name="T15" fmla="*/ 73 h 80"/>
                <a:gd name="T16" fmla="*/ 39 w 68"/>
                <a:gd name="T17" fmla="*/ 80 h 80"/>
                <a:gd name="T18" fmla="*/ 0 w 68"/>
                <a:gd name="T19" fmla="*/ 40 h 80"/>
                <a:gd name="T20" fmla="*/ 49 w 68"/>
                <a:gd name="T21" fmla="*/ 32 h 80"/>
                <a:gd name="T22" fmla="*/ 34 w 68"/>
                <a:gd name="T23" fmla="*/ 15 h 80"/>
                <a:gd name="T24" fmla="*/ 19 w 68"/>
                <a:gd name="T25" fmla="*/ 32 h 80"/>
                <a:gd name="T26" fmla="*/ 49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3" y="0"/>
                    <a:pt x="34" y="0"/>
                  </a:cubicBezTo>
                  <a:cubicBezTo>
                    <a:pt x="56" y="0"/>
                    <a:pt x="68" y="16"/>
                    <a:pt x="68" y="41"/>
                  </a:cubicBezTo>
                  <a:cubicBezTo>
                    <a:pt x="68" y="46"/>
                    <a:pt x="68" y="46"/>
                    <a:pt x="68" y="46"/>
                  </a:cubicBezTo>
                  <a:cubicBezTo>
                    <a:pt x="19" y="46"/>
                    <a:pt x="19" y="46"/>
                    <a:pt x="19" y="46"/>
                  </a:cubicBezTo>
                  <a:cubicBezTo>
                    <a:pt x="20" y="57"/>
                    <a:pt x="28" y="65"/>
                    <a:pt x="41" y="65"/>
                  </a:cubicBezTo>
                  <a:cubicBezTo>
                    <a:pt x="49" y="65"/>
                    <a:pt x="55" y="63"/>
                    <a:pt x="60" y="60"/>
                  </a:cubicBezTo>
                  <a:cubicBezTo>
                    <a:pt x="66" y="73"/>
                    <a:pt x="66" y="73"/>
                    <a:pt x="66" y="73"/>
                  </a:cubicBezTo>
                  <a:cubicBezTo>
                    <a:pt x="58" y="78"/>
                    <a:pt x="48" y="80"/>
                    <a:pt x="39" y="80"/>
                  </a:cubicBezTo>
                  <a:cubicBezTo>
                    <a:pt x="11" y="80"/>
                    <a:pt x="0" y="61"/>
                    <a:pt x="0" y="40"/>
                  </a:cubicBezTo>
                  <a:close/>
                  <a:moveTo>
                    <a:pt x="49" y="32"/>
                  </a:moveTo>
                  <a:cubicBezTo>
                    <a:pt x="48" y="23"/>
                    <a:pt x="44" y="15"/>
                    <a:pt x="34" y="15"/>
                  </a:cubicBezTo>
                  <a:cubicBezTo>
                    <a:pt x="25" y="15"/>
                    <a:pt x="19" y="23"/>
                    <a:pt x="19" y="32"/>
                  </a:cubicBezTo>
                  <a:lnTo>
                    <a:pt x="49"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6" name="Freeform 24"/>
            <p:cNvSpPr>
              <a:spLocks noEditPoints="1"/>
            </p:cNvSpPr>
            <p:nvPr userDrawn="1"/>
          </p:nvSpPr>
          <p:spPr bwMode="auto">
            <a:xfrm>
              <a:off x="8236557" y="5040472"/>
              <a:ext cx="51390" cy="57878"/>
            </a:xfrm>
            <a:custGeom>
              <a:avLst/>
              <a:gdLst>
                <a:gd name="T0" fmla="*/ 0 w 68"/>
                <a:gd name="T1" fmla="*/ 40 h 80"/>
                <a:gd name="T2" fmla="*/ 34 w 68"/>
                <a:gd name="T3" fmla="*/ 0 h 80"/>
                <a:gd name="T4" fmla="*/ 68 w 68"/>
                <a:gd name="T5" fmla="*/ 41 h 80"/>
                <a:gd name="T6" fmla="*/ 68 w 68"/>
                <a:gd name="T7" fmla="*/ 46 h 80"/>
                <a:gd name="T8" fmla="*/ 19 w 68"/>
                <a:gd name="T9" fmla="*/ 46 h 80"/>
                <a:gd name="T10" fmla="*/ 40 w 68"/>
                <a:gd name="T11" fmla="*/ 65 h 80"/>
                <a:gd name="T12" fmla="*/ 60 w 68"/>
                <a:gd name="T13" fmla="*/ 60 h 80"/>
                <a:gd name="T14" fmla="*/ 65 w 68"/>
                <a:gd name="T15" fmla="*/ 73 h 80"/>
                <a:gd name="T16" fmla="*/ 39 w 68"/>
                <a:gd name="T17" fmla="*/ 80 h 80"/>
                <a:gd name="T18" fmla="*/ 0 w 68"/>
                <a:gd name="T19" fmla="*/ 40 h 80"/>
                <a:gd name="T20" fmla="*/ 48 w 68"/>
                <a:gd name="T21" fmla="*/ 32 h 80"/>
                <a:gd name="T22" fmla="*/ 34 w 68"/>
                <a:gd name="T23" fmla="*/ 15 h 80"/>
                <a:gd name="T24" fmla="*/ 19 w 68"/>
                <a:gd name="T25" fmla="*/ 32 h 80"/>
                <a:gd name="T26" fmla="*/ 48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2" y="0"/>
                    <a:pt x="34" y="0"/>
                  </a:cubicBezTo>
                  <a:cubicBezTo>
                    <a:pt x="55" y="0"/>
                    <a:pt x="68" y="16"/>
                    <a:pt x="68" y="41"/>
                  </a:cubicBezTo>
                  <a:cubicBezTo>
                    <a:pt x="68" y="46"/>
                    <a:pt x="68" y="46"/>
                    <a:pt x="68" y="46"/>
                  </a:cubicBezTo>
                  <a:cubicBezTo>
                    <a:pt x="19" y="46"/>
                    <a:pt x="19" y="46"/>
                    <a:pt x="19" y="46"/>
                  </a:cubicBezTo>
                  <a:cubicBezTo>
                    <a:pt x="19" y="57"/>
                    <a:pt x="28" y="65"/>
                    <a:pt x="40" y="65"/>
                  </a:cubicBezTo>
                  <a:cubicBezTo>
                    <a:pt x="48" y="65"/>
                    <a:pt x="54" y="63"/>
                    <a:pt x="60" y="60"/>
                  </a:cubicBezTo>
                  <a:cubicBezTo>
                    <a:pt x="65" y="73"/>
                    <a:pt x="65" y="73"/>
                    <a:pt x="65" y="73"/>
                  </a:cubicBezTo>
                  <a:cubicBezTo>
                    <a:pt x="57" y="78"/>
                    <a:pt x="48" y="80"/>
                    <a:pt x="39" y="80"/>
                  </a:cubicBezTo>
                  <a:cubicBezTo>
                    <a:pt x="11" y="80"/>
                    <a:pt x="0" y="61"/>
                    <a:pt x="0" y="40"/>
                  </a:cubicBezTo>
                  <a:close/>
                  <a:moveTo>
                    <a:pt x="48" y="32"/>
                  </a:moveTo>
                  <a:cubicBezTo>
                    <a:pt x="48" y="23"/>
                    <a:pt x="44" y="15"/>
                    <a:pt x="34" y="15"/>
                  </a:cubicBezTo>
                  <a:cubicBezTo>
                    <a:pt x="24" y="15"/>
                    <a:pt x="19" y="23"/>
                    <a:pt x="19" y="32"/>
                  </a:cubicBezTo>
                  <a:lnTo>
                    <a:pt x="48"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7" name="Freeform 25"/>
            <p:cNvSpPr>
              <a:spLocks/>
            </p:cNvSpPr>
            <p:nvPr userDrawn="1"/>
          </p:nvSpPr>
          <p:spPr bwMode="auto">
            <a:xfrm>
              <a:off x="8040631" y="5041088"/>
              <a:ext cx="37258" cy="56031"/>
            </a:xfrm>
            <a:custGeom>
              <a:avLst/>
              <a:gdLst>
                <a:gd name="T0" fmla="*/ 42 w 49"/>
                <a:gd name="T1" fmla="*/ 19 h 77"/>
                <a:gd name="T2" fmla="*/ 33 w 49"/>
                <a:gd name="T3" fmla="*/ 16 h 77"/>
                <a:gd name="T4" fmla="*/ 19 w 49"/>
                <a:gd name="T5" fmla="*/ 23 h 77"/>
                <a:gd name="T6" fmla="*/ 19 w 49"/>
                <a:gd name="T7" fmla="*/ 63 h 77"/>
                <a:gd name="T8" fmla="*/ 0 w 49"/>
                <a:gd name="T9" fmla="*/ 77 h 77"/>
                <a:gd name="T10" fmla="*/ 0 w 49"/>
                <a:gd name="T11" fmla="*/ 1 h 77"/>
                <a:gd name="T12" fmla="*/ 16 w 49"/>
                <a:gd name="T13" fmla="*/ 1 h 77"/>
                <a:gd name="T14" fmla="*/ 18 w 49"/>
                <a:gd name="T15" fmla="*/ 9 h 77"/>
                <a:gd name="T16" fmla="*/ 38 w 49"/>
                <a:gd name="T17" fmla="*/ 0 h 77"/>
                <a:gd name="T18" fmla="*/ 49 w 49"/>
                <a:gd name="T19" fmla="*/ 3 h 77"/>
                <a:gd name="T20" fmla="*/ 42 w 49"/>
                <a:gd name="T21"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77">
                  <a:moveTo>
                    <a:pt x="42" y="19"/>
                  </a:moveTo>
                  <a:cubicBezTo>
                    <a:pt x="39" y="17"/>
                    <a:pt x="35" y="16"/>
                    <a:pt x="33" y="16"/>
                  </a:cubicBezTo>
                  <a:cubicBezTo>
                    <a:pt x="29" y="16"/>
                    <a:pt x="24" y="18"/>
                    <a:pt x="19" y="23"/>
                  </a:cubicBezTo>
                  <a:cubicBezTo>
                    <a:pt x="19" y="2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2"/>
                    <a:pt x="31" y="0"/>
                    <a:pt x="38" y="0"/>
                  </a:cubicBezTo>
                  <a:cubicBezTo>
                    <a:pt x="42" y="0"/>
                    <a:pt x="46" y="1"/>
                    <a:pt x="49" y="3"/>
                  </a:cubicBezTo>
                  <a:lnTo>
                    <a:pt x="42" y="1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8" name="Freeform 26"/>
            <p:cNvSpPr>
              <a:spLocks/>
            </p:cNvSpPr>
            <p:nvPr userDrawn="1"/>
          </p:nvSpPr>
          <p:spPr bwMode="auto">
            <a:xfrm>
              <a:off x="8083992" y="5041088"/>
              <a:ext cx="86400" cy="56031"/>
            </a:xfrm>
            <a:custGeom>
              <a:avLst/>
              <a:gdLst>
                <a:gd name="T0" fmla="*/ 114 w 114"/>
                <a:gd name="T1" fmla="*/ 25 h 77"/>
                <a:gd name="T2" fmla="*/ 114 w 114"/>
                <a:gd name="T3" fmla="*/ 63 h 77"/>
                <a:gd name="T4" fmla="*/ 95 w 114"/>
                <a:gd name="T5" fmla="*/ 77 h 77"/>
                <a:gd name="T6" fmla="*/ 95 w 114"/>
                <a:gd name="T7" fmla="*/ 31 h 77"/>
                <a:gd name="T8" fmla="*/ 84 w 114"/>
                <a:gd name="T9" fmla="*/ 16 h 77"/>
                <a:gd name="T10" fmla="*/ 66 w 114"/>
                <a:gd name="T11" fmla="*/ 23 h 77"/>
                <a:gd name="T12" fmla="*/ 66 w 114"/>
                <a:gd name="T13" fmla="*/ 63 h 77"/>
                <a:gd name="T14" fmla="*/ 66 w 114"/>
                <a:gd name="T15" fmla="*/ 63 h 77"/>
                <a:gd name="T16" fmla="*/ 47 w 114"/>
                <a:gd name="T17" fmla="*/ 77 h 77"/>
                <a:gd name="T18" fmla="*/ 47 w 114"/>
                <a:gd name="T19" fmla="*/ 31 h 77"/>
                <a:gd name="T20" fmla="*/ 37 w 114"/>
                <a:gd name="T21" fmla="*/ 16 h 77"/>
                <a:gd name="T22" fmla="*/ 19 w 114"/>
                <a:gd name="T23" fmla="*/ 23 h 77"/>
                <a:gd name="T24" fmla="*/ 19 w 114"/>
                <a:gd name="T25" fmla="*/ 63 h 77"/>
                <a:gd name="T26" fmla="*/ 19 w 114"/>
                <a:gd name="T27" fmla="*/ 63 h 77"/>
                <a:gd name="T28" fmla="*/ 0 w 114"/>
                <a:gd name="T29" fmla="*/ 77 h 77"/>
                <a:gd name="T30" fmla="*/ 0 w 114"/>
                <a:gd name="T31" fmla="*/ 1 h 77"/>
                <a:gd name="T32" fmla="*/ 16 w 114"/>
                <a:gd name="T33" fmla="*/ 1 h 77"/>
                <a:gd name="T34" fmla="*/ 18 w 114"/>
                <a:gd name="T35" fmla="*/ 9 h 77"/>
                <a:gd name="T36" fmla="*/ 43 w 114"/>
                <a:gd name="T37" fmla="*/ 0 h 77"/>
                <a:gd name="T38" fmla="*/ 63 w 114"/>
                <a:gd name="T39" fmla="*/ 11 h 77"/>
                <a:gd name="T40" fmla="*/ 89 w 114"/>
                <a:gd name="T41" fmla="*/ 0 h 77"/>
                <a:gd name="T42" fmla="*/ 114 w 114"/>
                <a:gd name="T43" fmla="*/ 2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77">
                  <a:moveTo>
                    <a:pt x="114" y="25"/>
                  </a:moveTo>
                  <a:cubicBezTo>
                    <a:pt x="114" y="63"/>
                    <a:pt x="114" y="63"/>
                    <a:pt x="114" y="63"/>
                  </a:cubicBezTo>
                  <a:cubicBezTo>
                    <a:pt x="114" y="77"/>
                    <a:pt x="95" y="77"/>
                    <a:pt x="95" y="77"/>
                  </a:cubicBezTo>
                  <a:cubicBezTo>
                    <a:pt x="95" y="31"/>
                    <a:pt x="95" y="31"/>
                    <a:pt x="95" y="31"/>
                  </a:cubicBezTo>
                  <a:cubicBezTo>
                    <a:pt x="95" y="22"/>
                    <a:pt x="93" y="16"/>
                    <a:pt x="84" y="16"/>
                  </a:cubicBezTo>
                  <a:cubicBezTo>
                    <a:pt x="77" y="16"/>
                    <a:pt x="71" y="19"/>
                    <a:pt x="66" y="23"/>
                  </a:cubicBezTo>
                  <a:cubicBezTo>
                    <a:pt x="66" y="63"/>
                    <a:pt x="66" y="63"/>
                    <a:pt x="66" y="63"/>
                  </a:cubicBezTo>
                  <a:cubicBezTo>
                    <a:pt x="66" y="63"/>
                    <a:pt x="66" y="49"/>
                    <a:pt x="66" y="63"/>
                  </a:cubicBezTo>
                  <a:cubicBezTo>
                    <a:pt x="66" y="77"/>
                    <a:pt x="47" y="77"/>
                    <a:pt x="47" y="77"/>
                  </a:cubicBezTo>
                  <a:cubicBezTo>
                    <a:pt x="47" y="31"/>
                    <a:pt x="47" y="31"/>
                    <a:pt x="47" y="31"/>
                  </a:cubicBezTo>
                  <a:cubicBezTo>
                    <a:pt x="47" y="23"/>
                    <a:pt x="46" y="16"/>
                    <a:pt x="37" y="16"/>
                  </a:cubicBezTo>
                  <a:cubicBezTo>
                    <a:pt x="30" y="16"/>
                    <a:pt x="19" y="23"/>
                    <a:pt x="19" y="23"/>
                  </a:cubicBezTo>
                  <a:cubicBezTo>
                    <a:pt x="19" y="63"/>
                    <a:pt x="19" y="63"/>
                    <a:pt x="19" y="63"/>
                  </a:cubicBezTo>
                  <a:cubicBezTo>
                    <a:pt x="19" y="6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3"/>
                    <a:pt x="34" y="0"/>
                    <a:pt x="43" y="0"/>
                  </a:cubicBezTo>
                  <a:cubicBezTo>
                    <a:pt x="52" y="0"/>
                    <a:pt x="59" y="4"/>
                    <a:pt x="63" y="11"/>
                  </a:cubicBezTo>
                  <a:cubicBezTo>
                    <a:pt x="71" y="3"/>
                    <a:pt x="81" y="0"/>
                    <a:pt x="89" y="0"/>
                  </a:cubicBezTo>
                  <a:cubicBezTo>
                    <a:pt x="102" y="0"/>
                    <a:pt x="114" y="6"/>
                    <a:pt x="114" y="25"/>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9" name="Freeform 27"/>
            <p:cNvSpPr>
              <a:spLocks/>
            </p:cNvSpPr>
            <p:nvPr userDrawn="1"/>
          </p:nvSpPr>
          <p:spPr bwMode="auto">
            <a:xfrm>
              <a:off x="7908622" y="5019846"/>
              <a:ext cx="77407" cy="77889"/>
            </a:xfrm>
            <a:custGeom>
              <a:avLst/>
              <a:gdLst>
                <a:gd name="T0" fmla="*/ 43 w 102"/>
                <a:gd name="T1" fmla="*/ 107 h 107"/>
                <a:gd name="T2" fmla="*/ 65 w 102"/>
                <a:gd name="T3" fmla="*/ 91 h 107"/>
                <a:gd name="T4" fmla="*/ 102 w 102"/>
                <a:gd name="T5" fmla="*/ 0 h 107"/>
                <a:gd name="T6" fmla="*/ 81 w 102"/>
                <a:gd name="T7" fmla="*/ 0 h 107"/>
                <a:gd name="T8" fmla="*/ 51 w 102"/>
                <a:gd name="T9" fmla="*/ 78 h 107"/>
                <a:gd name="T10" fmla="*/ 51 w 102"/>
                <a:gd name="T11" fmla="*/ 78 h 107"/>
                <a:gd name="T12" fmla="*/ 21 w 102"/>
                <a:gd name="T13" fmla="*/ 0 h 107"/>
                <a:gd name="T14" fmla="*/ 0 w 102"/>
                <a:gd name="T15" fmla="*/ 0 h 107"/>
                <a:gd name="T16" fmla="*/ 43 w 102"/>
                <a:gd name="T17"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107">
                  <a:moveTo>
                    <a:pt x="43" y="107"/>
                  </a:moveTo>
                  <a:cubicBezTo>
                    <a:pt x="57" y="107"/>
                    <a:pt x="61" y="101"/>
                    <a:pt x="65" y="91"/>
                  </a:cubicBezTo>
                  <a:cubicBezTo>
                    <a:pt x="102" y="0"/>
                    <a:pt x="102" y="0"/>
                    <a:pt x="102" y="0"/>
                  </a:cubicBezTo>
                  <a:cubicBezTo>
                    <a:pt x="81" y="0"/>
                    <a:pt x="81" y="0"/>
                    <a:pt x="81" y="0"/>
                  </a:cubicBezTo>
                  <a:cubicBezTo>
                    <a:pt x="51" y="78"/>
                    <a:pt x="51" y="78"/>
                    <a:pt x="51" y="78"/>
                  </a:cubicBezTo>
                  <a:cubicBezTo>
                    <a:pt x="51" y="78"/>
                    <a:pt x="51" y="78"/>
                    <a:pt x="51" y="78"/>
                  </a:cubicBezTo>
                  <a:cubicBezTo>
                    <a:pt x="21" y="0"/>
                    <a:pt x="21" y="0"/>
                    <a:pt x="21" y="0"/>
                  </a:cubicBezTo>
                  <a:cubicBezTo>
                    <a:pt x="0" y="0"/>
                    <a:pt x="0" y="0"/>
                    <a:pt x="0" y="0"/>
                  </a:cubicBezTo>
                  <a:cubicBezTo>
                    <a:pt x="43" y="107"/>
                    <a:pt x="43" y="107"/>
                    <a:pt x="43" y="10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90" name="Group 89"/>
          <p:cNvGrpSpPr/>
          <p:nvPr userDrawn="1"/>
        </p:nvGrpSpPr>
        <p:grpSpPr>
          <a:xfrm>
            <a:off x="7686461" y="4906654"/>
            <a:ext cx="1124815" cy="151147"/>
            <a:chOff x="7686461" y="4581466"/>
            <a:chExt cx="1124815" cy="151147"/>
          </a:xfrm>
          <a:solidFill>
            <a:schemeClr val="bg1"/>
          </a:solidFill>
        </p:grpSpPr>
        <p:sp>
          <p:nvSpPr>
            <p:cNvPr id="91"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92"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93"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94"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95"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96"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97"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98"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99"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00"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01"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02"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03"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04"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05"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grpSp>
      <p:sp>
        <p:nvSpPr>
          <p:cNvPr id="73"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solidFill>
                  <a:schemeClr val="tx1">
                    <a:lumMod val="50000"/>
                    <a:lumOff val="50000"/>
                  </a:schemeClr>
                </a:solidFill>
                <a:latin typeface="+mn-lt"/>
              </a:rPr>
              <a:t>Private and Confidental</a:t>
            </a:r>
            <a:endParaRPr lang="pt-BR" sz="500" dirty="0">
              <a:solidFill>
                <a:schemeClr val="tx1">
                  <a:lumMod val="50000"/>
                  <a:lumOff val="50000"/>
                </a:schemeClr>
              </a:solidFill>
              <a:latin typeface="+mn-lt"/>
            </a:endParaRPr>
          </a:p>
        </p:txBody>
      </p:sp>
    </p:spTree>
    <p:extLst>
      <p:ext uri="{BB962C8B-B14F-4D97-AF65-F5344CB8AC3E}">
        <p14:creationId xmlns:p14="http://schemas.microsoft.com/office/powerpoint/2010/main" val="804830727"/>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_D_MB_Leaf">
    <p:bg>
      <p:bgPr>
        <a:solidFill>
          <a:schemeClr val="bg1"/>
        </a:solidFill>
        <a:effectLst/>
      </p:bgPr>
    </p:bg>
    <p:spTree>
      <p:nvGrpSpPr>
        <p:cNvPr id="1" name=""/>
        <p:cNvGrpSpPr/>
        <p:nvPr/>
      </p:nvGrpSpPr>
      <p:grpSpPr>
        <a:xfrm>
          <a:off x="0" y="0"/>
          <a:ext cx="0" cy="0"/>
          <a:chOff x="0" y="0"/>
          <a:chExt cx="0" cy="0"/>
        </a:xfrm>
      </p:grpSpPr>
      <p:sp>
        <p:nvSpPr>
          <p:cNvPr id="31" name="Rectangle 30"/>
          <p:cNvSpPr/>
          <p:nvPr userDrawn="1"/>
        </p:nvSpPr>
        <p:spPr>
          <a:xfrm>
            <a:off x="0" y="0"/>
            <a:ext cx="9144000" cy="5148263"/>
          </a:xfrm>
          <a:prstGeom prst="rect">
            <a:avLst/>
          </a:prstGeom>
          <a:solidFill>
            <a:schemeClr val="tx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en-GB" sz="1050" smtClean="0">
              <a:solidFill>
                <a:schemeClr val="bg1"/>
              </a:solidFill>
              <a:latin typeface="Arial" panose="020B0604020202020204" pitchFamily="34" charset="0"/>
              <a:cs typeface="Arial" panose="020B0604020202020204" pitchFamily="34" charset="0"/>
            </a:endParaRPr>
          </a:p>
        </p:txBody>
      </p:sp>
      <p:pic>
        <p:nvPicPr>
          <p:cNvPr id="33" name="Picture 32" descr="cookie_white.png"/>
          <p:cNvPicPr>
            <a:picLocks noChangeAspect="1"/>
          </p:cNvPicPr>
          <p:nvPr userDrawn="1"/>
        </p:nvPicPr>
        <p:blipFill rotWithShape="1">
          <a:blip r:embed="rId2" cstate="screen">
            <a:alphaModFix amt="16000"/>
            <a:extLst>
              <a:ext uri="{28A0092B-C50C-407E-A947-70E740481C1C}">
                <a14:useLocalDpi xmlns:a14="http://schemas.microsoft.com/office/drawing/2010/main"/>
              </a:ext>
            </a:extLst>
          </a:blip>
          <a:srcRect/>
          <a:stretch/>
        </p:blipFill>
        <p:spPr>
          <a:xfrm flipH="1">
            <a:off x="5149029" y="2289839"/>
            <a:ext cx="4020091" cy="2880000"/>
          </a:xfrm>
          <a:prstGeom prst="rect">
            <a:avLst/>
          </a:prstGeom>
        </p:spPr>
      </p:pic>
      <p:grpSp>
        <p:nvGrpSpPr>
          <p:cNvPr id="51" name="Group 50"/>
          <p:cNvGrpSpPr/>
          <p:nvPr userDrawn="1"/>
        </p:nvGrpSpPr>
        <p:grpSpPr>
          <a:xfrm>
            <a:off x="4750866" y="4840100"/>
            <a:ext cx="1123200" cy="233974"/>
            <a:chOff x="7665803" y="4864376"/>
            <a:chExt cx="1123200" cy="233974"/>
          </a:xfrm>
          <a:solidFill>
            <a:schemeClr val="bg1"/>
          </a:solidFill>
        </p:grpSpPr>
        <p:sp>
          <p:nvSpPr>
            <p:cNvPr id="52" name="Freeform 6"/>
            <p:cNvSpPr>
              <a:spLocks/>
            </p:cNvSpPr>
            <p:nvPr userDrawn="1"/>
          </p:nvSpPr>
          <p:spPr bwMode="auto">
            <a:xfrm>
              <a:off x="8119644" y="4924717"/>
              <a:ext cx="103102" cy="66806"/>
            </a:xfrm>
            <a:custGeom>
              <a:avLst/>
              <a:gdLst>
                <a:gd name="T0" fmla="*/ 111 w 136"/>
                <a:gd name="T1" fmla="*/ 72 h 92"/>
                <a:gd name="T2" fmla="*/ 87 w 136"/>
                <a:gd name="T3" fmla="*/ 88 h 92"/>
                <a:gd name="T4" fmla="*/ 68 w 136"/>
                <a:gd name="T5" fmla="*/ 28 h 92"/>
                <a:gd name="T6" fmla="*/ 67 w 136"/>
                <a:gd name="T7" fmla="*/ 28 h 92"/>
                <a:gd name="T8" fmla="*/ 53 w 136"/>
                <a:gd name="T9" fmla="*/ 72 h 92"/>
                <a:gd name="T10" fmla="*/ 31 w 136"/>
                <a:gd name="T11" fmla="*/ 88 h 92"/>
                <a:gd name="T12" fmla="*/ 0 w 136"/>
                <a:gd name="T13" fmla="*/ 0 h 92"/>
                <a:gd name="T14" fmla="*/ 22 w 136"/>
                <a:gd name="T15" fmla="*/ 0 h 92"/>
                <a:gd name="T16" fmla="*/ 41 w 136"/>
                <a:gd name="T17" fmla="*/ 60 h 92"/>
                <a:gd name="T18" fmla="*/ 41 w 136"/>
                <a:gd name="T19" fmla="*/ 60 h 92"/>
                <a:gd name="T20" fmla="*/ 60 w 136"/>
                <a:gd name="T21" fmla="*/ 0 h 92"/>
                <a:gd name="T22" fmla="*/ 77 w 136"/>
                <a:gd name="T23" fmla="*/ 0 h 92"/>
                <a:gd name="T24" fmla="*/ 96 w 136"/>
                <a:gd name="T25" fmla="*/ 60 h 92"/>
                <a:gd name="T26" fmla="*/ 97 w 136"/>
                <a:gd name="T27" fmla="*/ 60 h 92"/>
                <a:gd name="T28" fmla="*/ 115 w 136"/>
                <a:gd name="T29" fmla="*/ 0 h 92"/>
                <a:gd name="T30" fmla="*/ 136 w 136"/>
                <a:gd name="T31" fmla="*/ 0 h 92"/>
                <a:gd name="T32" fmla="*/ 111 w 136"/>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 h="92">
                  <a:moveTo>
                    <a:pt x="111" y="72"/>
                  </a:moveTo>
                  <a:cubicBezTo>
                    <a:pt x="103" y="92"/>
                    <a:pt x="87" y="88"/>
                    <a:pt x="87" y="88"/>
                  </a:cubicBezTo>
                  <a:cubicBezTo>
                    <a:pt x="68" y="28"/>
                    <a:pt x="68" y="28"/>
                    <a:pt x="68" y="28"/>
                  </a:cubicBezTo>
                  <a:cubicBezTo>
                    <a:pt x="67" y="28"/>
                    <a:pt x="67" y="28"/>
                    <a:pt x="67" y="28"/>
                  </a:cubicBezTo>
                  <a:cubicBezTo>
                    <a:pt x="67" y="28"/>
                    <a:pt x="58"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6" y="60"/>
                    <a:pt x="96" y="60"/>
                    <a:pt x="96" y="60"/>
                  </a:cubicBezTo>
                  <a:cubicBezTo>
                    <a:pt x="97" y="60"/>
                    <a:pt x="97" y="60"/>
                    <a:pt x="97" y="60"/>
                  </a:cubicBezTo>
                  <a:cubicBezTo>
                    <a:pt x="115" y="0"/>
                    <a:pt x="115" y="0"/>
                    <a:pt x="115" y="0"/>
                  </a:cubicBezTo>
                  <a:cubicBezTo>
                    <a:pt x="136" y="0"/>
                    <a:pt x="136" y="0"/>
                    <a:pt x="136" y="0"/>
                  </a:cubicBezTo>
                  <a:cubicBezTo>
                    <a:pt x="136"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53" name="Freeform 7"/>
            <p:cNvSpPr>
              <a:spLocks noEditPoints="1"/>
            </p:cNvSpPr>
            <p:nvPr userDrawn="1"/>
          </p:nvSpPr>
          <p:spPr bwMode="auto">
            <a:xfrm>
              <a:off x="8225958" y="4923177"/>
              <a:ext cx="57493" cy="66190"/>
            </a:xfrm>
            <a:custGeom>
              <a:avLst/>
              <a:gdLst>
                <a:gd name="T0" fmla="*/ 57 w 76"/>
                <a:gd name="T1" fmla="*/ 90 h 91"/>
                <a:gd name="T2" fmla="*/ 53 w 76"/>
                <a:gd name="T3" fmla="*/ 81 h 91"/>
                <a:gd name="T4" fmla="*/ 28 w 76"/>
                <a:gd name="T5" fmla="*/ 91 h 91"/>
                <a:gd name="T6" fmla="*/ 0 w 76"/>
                <a:gd name="T7" fmla="*/ 63 h 91"/>
                <a:gd name="T8" fmla="*/ 36 w 76"/>
                <a:gd name="T9" fmla="*/ 34 h 91"/>
                <a:gd name="T10" fmla="*/ 51 w 76"/>
                <a:gd name="T11" fmla="*/ 34 h 91"/>
                <a:gd name="T12" fmla="*/ 51 w 76"/>
                <a:gd name="T13" fmla="*/ 31 h 91"/>
                <a:gd name="T14" fmla="*/ 35 w 76"/>
                <a:gd name="T15" fmla="*/ 17 h 91"/>
                <a:gd name="T16" fmla="*/ 12 w 76"/>
                <a:gd name="T17" fmla="*/ 23 h 91"/>
                <a:gd name="T18" fmla="*/ 5 w 76"/>
                <a:gd name="T19" fmla="*/ 9 h 91"/>
                <a:gd name="T20" fmla="*/ 39 w 76"/>
                <a:gd name="T21" fmla="*/ 0 h 91"/>
                <a:gd name="T22" fmla="*/ 74 w 76"/>
                <a:gd name="T23" fmla="*/ 31 h 91"/>
                <a:gd name="T24" fmla="*/ 74 w 76"/>
                <a:gd name="T25" fmla="*/ 66 h 91"/>
                <a:gd name="T26" fmla="*/ 76 w 76"/>
                <a:gd name="T27" fmla="*/ 90 h 91"/>
                <a:gd name="T28" fmla="*/ 57 w 76"/>
                <a:gd name="T29" fmla="*/ 90 h 91"/>
                <a:gd name="T30" fmla="*/ 51 w 76"/>
                <a:gd name="T31" fmla="*/ 49 h 91"/>
                <a:gd name="T32" fmla="*/ 39 w 76"/>
                <a:gd name="T33" fmla="*/ 49 h 91"/>
                <a:gd name="T34" fmla="*/ 22 w 76"/>
                <a:gd name="T35" fmla="*/ 61 h 91"/>
                <a:gd name="T36" fmla="*/ 36 w 76"/>
                <a:gd name="T37" fmla="*/ 73 h 91"/>
                <a:gd name="T38" fmla="*/ 51 w 76"/>
                <a:gd name="T39" fmla="*/ 68 h 91"/>
                <a:gd name="T40" fmla="*/ 51 w 76"/>
                <a:gd name="T41" fmla="*/ 4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91">
                  <a:moveTo>
                    <a:pt x="57" y="90"/>
                  </a:moveTo>
                  <a:cubicBezTo>
                    <a:pt x="53" y="81"/>
                    <a:pt x="53" y="81"/>
                    <a:pt x="53" y="81"/>
                  </a:cubicBezTo>
                  <a:cubicBezTo>
                    <a:pt x="48" y="86"/>
                    <a:pt x="40" y="91"/>
                    <a:pt x="28" y="91"/>
                  </a:cubicBezTo>
                  <a:cubicBezTo>
                    <a:pt x="12" y="91"/>
                    <a:pt x="0" y="80"/>
                    <a:pt x="0" y="63"/>
                  </a:cubicBezTo>
                  <a:cubicBezTo>
                    <a:pt x="0" y="45"/>
                    <a:pt x="14" y="35"/>
                    <a:pt x="36" y="34"/>
                  </a:cubicBezTo>
                  <a:cubicBezTo>
                    <a:pt x="51" y="34"/>
                    <a:pt x="51" y="34"/>
                    <a:pt x="51" y="34"/>
                  </a:cubicBezTo>
                  <a:cubicBezTo>
                    <a:pt x="51" y="33"/>
                    <a:pt x="51" y="32"/>
                    <a:pt x="51" y="31"/>
                  </a:cubicBezTo>
                  <a:cubicBezTo>
                    <a:pt x="51" y="21"/>
                    <a:pt x="44" y="17"/>
                    <a:pt x="35" y="17"/>
                  </a:cubicBezTo>
                  <a:cubicBezTo>
                    <a:pt x="25" y="17"/>
                    <a:pt x="18" y="20"/>
                    <a:pt x="12" y="23"/>
                  </a:cubicBezTo>
                  <a:cubicBezTo>
                    <a:pt x="5" y="9"/>
                    <a:pt x="5" y="9"/>
                    <a:pt x="5" y="9"/>
                  </a:cubicBezTo>
                  <a:cubicBezTo>
                    <a:pt x="17" y="2"/>
                    <a:pt x="28" y="0"/>
                    <a:pt x="39" y="0"/>
                  </a:cubicBezTo>
                  <a:cubicBezTo>
                    <a:pt x="61" y="0"/>
                    <a:pt x="74" y="9"/>
                    <a:pt x="74" y="31"/>
                  </a:cubicBezTo>
                  <a:cubicBezTo>
                    <a:pt x="74" y="66"/>
                    <a:pt x="74" y="66"/>
                    <a:pt x="74" y="66"/>
                  </a:cubicBezTo>
                  <a:cubicBezTo>
                    <a:pt x="74" y="78"/>
                    <a:pt x="75" y="86"/>
                    <a:pt x="76" y="90"/>
                  </a:cubicBezTo>
                  <a:lnTo>
                    <a:pt x="57" y="90"/>
                  </a:lnTo>
                  <a:close/>
                  <a:moveTo>
                    <a:pt x="51" y="49"/>
                  </a:moveTo>
                  <a:cubicBezTo>
                    <a:pt x="39" y="49"/>
                    <a:pt x="39" y="49"/>
                    <a:pt x="39" y="49"/>
                  </a:cubicBezTo>
                  <a:cubicBezTo>
                    <a:pt x="27" y="50"/>
                    <a:pt x="22" y="54"/>
                    <a:pt x="22" y="61"/>
                  </a:cubicBezTo>
                  <a:cubicBezTo>
                    <a:pt x="22" y="68"/>
                    <a:pt x="27" y="73"/>
                    <a:pt x="36" y="73"/>
                  </a:cubicBezTo>
                  <a:cubicBezTo>
                    <a:pt x="44" y="73"/>
                    <a:pt x="49" y="70"/>
                    <a:pt x="51" y="68"/>
                  </a:cubicBezTo>
                  <a:lnTo>
                    <a:pt x="51" y="4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54" name="Freeform 8"/>
            <p:cNvSpPr>
              <a:spLocks noEditPoints="1"/>
            </p:cNvSpPr>
            <p:nvPr userDrawn="1"/>
          </p:nvSpPr>
          <p:spPr bwMode="auto">
            <a:xfrm>
              <a:off x="8342550" y="4892699"/>
              <a:ext cx="62311" cy="96668"/>
            </a:xfrm>
            <a:custGeom>
              <a:avLst/>
              <a:gdLst>
                <a:gd name="T0" fmla="*/ 47 w 82"/>
                <a:gd name="T1" fmla="*/ 133 h 133"/>
                <a:gd name="T2" fmla="*/ 0 w 82"/>
                <a:gd name="T3" fmla="*/ 88 h 133"/>
                <a:gd name="T4" fmla="*/ 48 w 82"/>
                <a:gd name="T5" fmla="*/ 42 h 133"/>
                <a:gd name="T6" fmla="*/ 59 w 82"/>
                <a:gd name="T7" fmla="*/ 42 h 133"/>
                <a:gd name="T8" fmla="*/ 60 w 82"/>
                <a:gd name="T9" fmla="*/ 0 h 133"/>
                <a:gd name="T10" fmla="*/ 82 w 82"/>
                <a:gd name="T11" fmla="*/ 0 h 133"/>
                <a:gd name="T12" fmla="*/ 81 w 82"/>
                <a:gd name="T13" fmla="*/ 126 h 133"/>
                <a:gd name="T14" fmla="*/ 47 w 82"/>
                <a:gd name="T15" fmla="*/ 133 h 133"/>
                <a:gd name="T16" fmla="*/ 59 w 82"/>
                <a:gd name="T17" fmla="*/ 60 h 133"/>
                <a:gd name="T18" fmla="*/ 49 w 82"/>
                <a:gd name="T19" fmla="*/ 59 h 133"/>
                <a:gd name="T20" fmla="*/ 22 w 82"/>
                <a:gd name="T21" fmla="*/ 87 h 133"/>
                <a:gd name="T22" fmla="*/ 49 w 82"/>
                <a:gd name="T23" fmla="*/ 114 h 133"/>
                <a:gd name="T24" fmla="*/ 59 w 82"/>
                <a:gd name="T25" fmla="*/ 113 h 133"/>
                <a:gd name="T26" fmla="*/ 59 w 82"/>
                <a:gd name="T27" fmla="*/ 6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3">
                  <a:moveTo>
                    <a:pt x="47" y="133"/>
                  </a:moveTo>
                  <a:cubicBezTo>
                    <a:pt x="21" y="133"/>
                    <a:pt x="0" y="117"/>
                    <a:pt x="0" y="88"/>
                  </a:cubicBezTo>
                  <a:cubicBezTo>
                    <a:pt x="0" y="61"/>
                    <a:pt x="20" y="42"/>
                    <a:pt x="48" y="42"/>
                  </a:cubicBezTo>
                  <a:cubicBezTo>
                    <a:pt x="52" y="42"/>
                    <a:pt x="56" y="42"/>
                    <a:pt x="59" y="42"/>
                  </a:cubicBezTo>
                  <a:cubicBezTo>
                    <a:pt x="60" y="0"/>
                    <a:pt x="60" y="0"/>
                    <a:pt x="60" y="0"/>
                  </a:cubicBezTo>
                  <a:cubicBezTo>
                    <a:pt x="82" y="0"/>
                    <a:pt x="82" y="0"/>
                    <a:pt x="82" y="0"/>
                  </a:cubicBezTo>
                  <a:cubicBezTo>
                    <a:pt x="81" y="126"/>
                    <a:pt x="81" y="126"/>
                    <a:pt x="81" y="126"/>
                  </a:cubicBezTo>
                  <a:cubicBezTo>
                    <a:pt x="73" y="130"/>
                    <a:pt x="62" y="133"/>
                    <a:pt x="47" y="133"/>
                  </a:cubicBezTo>
                  <a:close/>
                  <a:moveTo>
                    <a:pt x="59" y="60"/>
                  </a:moveTo>
                  <a:cubicBezTo>
                    <a:pt x="56" y="60"/>
                    <a:pt x="54" y="59"/>
                    <a:pt x="49" y="59"/>
                  </a:cubicBezTo>
                  <a:cubicBezTo>
                    <a:pt x="33" y="59"/>
                    <a:pt x="22" y="70"/>
                    <a:pt x="22" y="87"/>
                  </a:cubicBezTo>
                  <a:cubicBezTo>
                    <a:pt x="22" y="103"/>
                    <a:pt x="32" y="114"/>
                    <a:pt x="49" y="114"/>
                  </a:cubicBezTo>
                  <a:cubicBezTo>
                    <a:pt x="53" y="114"/>
                    <a:pt x="57" y="114"/>
                    <a:pt x="59" y="113"/>
                  </a:cubicBezTo>
                  <a:lnTo>
                    <a:pt x="59" y="60"/>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55" name="Freeform 9"/>
            <p:cNvSpPr>
              <a:spLocks/>
            </p:cNvSpPr>
            <p:nvPr userDrawn="1"/>
          </p:nvSpPr>
          <p:spPr bwMode="auto">
            <a:xfrm>
              <a:off x="8093949"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56" name="Freeform 10"/>
            <p:cNvSpPr>
              <a:spLocks/>
            </p:cNvSpPr>
            <p:nvPr userDrawn="1"/>
          </p:nvSpPr>
          <p:spPr bwMode="auto">
            <a:xfrm>
              <a:off x="8060545"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57" name="Freeform 11"/>
            <p:cNvSpPr>
              <a:spLocks/>
            </p:cNvSpPr>
            <p:nvPr userDrawn="1"/>
          </p:nvSpPr>
          <p:spPr bwMode="auto">
            <a:xfrm>
              <a:off x="8297262" y="4923177"/>
              <a:ext cx="43039" cy="66190"/>
            </a:xfrm>
            <a:custGeom>
              <a:avLst/>
              <a:gdLst>
                <a:gd name="T0" fmla="*/ 49 w 57"/>
                <a:gd name="T1" fmla="*/ 22 h 91"/>
                <a:gd name="T2" fmla="*/ 39 w 57"/>
                <a:gd name="T3" fmla="*/ 20 h 91"/>
                <a:gd name="T4" fmla="*/ 22 w 57"/>
                <a:gd name="T5" fmla="*/ 27 h 91"/>
                <a:gd name="T6" fmla="*/ 22 w 57"/>
                <a:gd name="T7" fmla="*/ 74 h 91"/>
                <a:gd name="T8" fmla="*/ 0 w 57"/>
                <a:gd name="T9" fmla="*/ 90 h 91"/>
                <a:gd name="T10" fmla="*/ 0 w 57"/>
                <a:gd name="T11" fmla="*/ 2 h 91"/>
                <a:gd name="T12" fmla="*/ 18 w 57"/>
                <a:gd name="T13" fmla="*/ 2 h 91"/>
                <a:gd name="T14" fmla="*/ 21 w 57"/>
                <a:gd name="T15" fmla="*/ 11 h 91"/>
                <a:gd name="T16" fmla="*/ 45 w 57"/>
                <a:gd name="T17" fmla="*/ 0 h 91"/>
                <a:gd name="T18" fmla="*/ 57 w 57"/>
                <a:gd name="T19" fmla="*/ 4 h 91"/>
                <a:gd name="T20" fmla="*/ 49 w 57"/>
                <a:gd name="T21" fmla="*/ 2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1">
                  <a:moveTo>
                    <a:pt x="49" y="22"/>
                  </a:moveTo>
                  <a:cubicBezTo>
                    <a:pt x="45" y="20"/>
                    <a:pt x="41" y="20"/>
                    <a:pt x="39" y="20"/>
                  </a:cubicBezTo>
                  <a:cubicBezTo>
                    <a:pt x="34" y="20"/>
                    <a:pt x="28" y="22"/>
                    <a:pt x="22" y="27"/>
                  </a:cubicBezTo>
                  <a:cubicBezTo>
                    <a:pt x="22" y="27"/>
                    <a:pt x="22" y="57"/>
                    <a:pt x="22" y="74"/>
                  </a:cubicBezTo>
                  <a:cubicBezTo>
                    <a:pt x="22" y="91"/>
                    <a:pt x="0" y="90"/>
                    <a:pt x="0" y="90"/>
                  </a:cubicBezTo>
                  <a:cubicBezTo>
                    <a:pt x="0" y="2"/>
                    <a:pt x="0" y="2"/>
                    <a:pt x="0" y="2"/>
                  </a:cubicBezTo>
                  <a:cubicBezTo>
                    <a:pt x="18" y="2"/>
                    <a:pt x="18" y="2"/>
                    <a:pt x="18"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12"/>
            <p:cNvSpPr>
              <a:spLocks/>
            </p:cNvSpPr>
            <p:nvPr userDrawn="1"/>
          </p:nvSpPr>
          <p:spPr bwMode="auto">
            <a:xfrm>
              <a:off x="7907980" y="4892699"/>
              <a:ext cx="98605" cy="95129"/>
            </a:xfrm>
            <a:custGeom>
              <a:avLst/>
              <a:gdLst>
                <a:gd name="T0" fmla="*/ 106 w 130"/>
                <a:gd name="T1" fmla="*/ 131 h 131"/>
                <a:gd name="T2" fmla="*/ 106 w 130"/>
                <a:gd name="T3" fmla="*/ 53 h 131"/>
                <a:gd name="T4" fmla="*/ 107 w 130"/>
                <a:gd name="T5" fmla="*/ 39 h 131"/>
                <a:gd name="T6" fmla="*/ 106 w 130"/>
                <a:gd name="T7" fmla="*/ 39 h 131"/>
                <a:gd name="T8" fmla="*/ 99 w 130"/>
                <a:gd name="T9" fmla="*/ 52 h 131"/>
                <a:gd name="T10" fmla="*/ 72 w 130"/>
                <a:gd name="T11" fmla="*/ 93 h 131"/>
                <a:gd name="T12" fmla="*/ 60 w 130"/>
                <a:gd name="T13" fmla="*/ 93 h 131"/>
                <a:gd name="T14" fmla="*/ 32 w 130"/>
                <a:gd name="T15" fmla="*/ 51 h 131"/>
                <a:gd name="T16" fmla="*/ 24 w 130"/>
                <a:gd name="T17" fmla="*/ 39 h 131"/>
                <a:gd name="T18" fmla="*/ 23 w 130"/>
                <a:gd name="T19" fmla="*/ 39 h 131"/>
                <a:gd name="T20" fmla="*/ 24 w 130"/>
                <a:gd name="T21" fmla="*/ 52 h 131"/>
                <a:gd name="T22" fmla="*/ 24 w 130"/>
                <a:gd name="T23" fmla="*/ 131 h 131"/>
                <a:gd name="T24" fmla="*/ 0 w 130"/>
                <a:gd name="T25" fmla="*/ 131 h 131"/>
                <a:gd name="T26" fmla="*/ 0 w 130"/>
                <a:gd name="T27" fmla="*/ 0 h 131"/>
                <a:gd name="T28" fmla="*/ 22 w 130"/>
                <a:gd name="T29" fmla="*/ 0 h 131"/>
                <a:gd name="T30" fmla="*/ 58 w 130"/>
                <a:gd name="T31" fmla="*/ 52 h 131"/>
                <a:gd name="T32" fmla="*/ 66 w 130"/>
                <a:gd name="T33" fmla="*/ 66 h 131"/>
                <a:gd name="T34" fmla="*/ 67 w 130"/>
                <a:gd name="T35" fmla="*/ 66 h 131"/>
                <a:gd name="T36" fmla="*/ 75 w 130"/>
                <a:gd name="T37" fmla="*/ 52 h 131"/>
                <a:gd name="T38" fmla="*/ 108 w 130"/>
                <a:gd name="T39" fmla="*/ 0 h 131"/>
                <a:gd name="T40" fmla="*/ 130 w 130"/>
                <a:gd name="T41" fmla="*/ 0 h 131"/>
                <a:gd name="T42" fmla="*/ 130 w 130"/>
                <a:gd name="T43" fmla="*/ 131 h 131"/>
                <a:gd name="T44" fmla="*/ 106 w 130"/>
                <a:gd name="T45"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0" h="131">
                  <a:moveTo>
                    <a:pt x="106" y="131"/>
                  </a:moveTo>
                  <a:cubicBezTo>
                    <a:pt x="106" y="53"/>
                    <a:pt x="106" y="53"/>
                    <a:pt x="106" y="53"/>
                  </a:cubicBezTo>
                  <a:cubicBezTo>
                    <a:pt x="106" y="48"/>
                    <a:pt x="106" y="44"/>
                    <a:pt x="107" y="39"/>
                  </a:cubicBezTo>
                  <a:cubicBezTo>
                    <a:pt x="106" y="39"/>
                    <a:pt x="106" y="39"/>
                    <a:pt x="106" y="39"/>
                  </a:cubicBezTo>
                  <a:cubicBezTo>
                    <a:pt x="105" y="43"/>
                    <a:pt x="101" y="49"/>
                    <a:pt x="99" y="52"/>
                  </a:cubicBezTo>
                  <a:cubicBezTo>
                    <a:pt x="72" y="93"/>
                    <a:pt x="72" y="93"/>
                    <a:pt x="72" y="93"/>
                  </a:cubicBezTo>
                  <a:cubicBezTo>
                    <a:pt x="60" y="93"/>
                    <a:pt x="60" y="93"/>
                    <a:pt x="60" y="93"/>
                  </a:cubicBezTo>
                  <a:cubicBezTo>
                    <a:pt x="32" y="51"/>
                    <a:pt x="32" y="51"/>
                    <a:pt x="32" y="51"/>
                  </a:cubicBezTo>
                  <a:cubicBezTo>
                    <a:pt x="29" y="48"/>
                    <a:pt x="26" y="44"/>
                    <a:pt x="24" y="39"/>
                  </a:cubicBezTo>
                  <a:cubicBezTo>
                    <a:pt x="23" y="39"/>
                    <a:pt x="23" y="39"/>
                    <a:pt x="23" y="39"/>
                  </a:cubicBezTo>
                  <a:cubicBezTo>
                    <a:pt x="24" y="44"/>
                    <a:pt x="24" y="48"/>
                    <a:pt x="24" y="52"/>
                  </a:cubicBezTo>
                  <a:cubicBezTo>
                    <a:pt x="24" y="131"/>
                    <a:pt x="24" y="131"/>
                    <a:pt x="24" y="131"/>
                  </a:cubicBezTo>
                  <a:cubicBezTo>
                    <a:pt x="0" y="131"/>
                    <a:pt x="0" y="131"/>
                    <a:pt x="0" y="131"/>
                  </a:cubicBezTo>
                  <a:cubicBezTo>
                    <a:pt x="0" y="0"/>
                    <a:pt x="0" y="0"/>
                    <a:pt x="0" y="0"/>
                  </a:cubicBezTo>
                  <a:cubicBezTo>
                    <a:pt x="22" y="0"/>
                    <a:pt x="22" y="0"/>
                    <a:pt x="22" y="0"/>
                  </a:cubicBezTo>
                  <a:cubicBezTo>
                    <a:pt x="58" y="52"/>
                    <a:pt x="58" y="52"/>
                    <a:pt x="58" y="52"/>
                  </a:cubicBezTo>
                  <a:cubicBezTo>
                    <a:pt x="61" y="57"/>
                    <a:pt x="64" y="61"/>
                    <a:pt x="66" y="66"/>
                  </a:cubicBezTo>
                  <a:cubicBezTo>
                    <a:pt x="67" y="66"/>
                    <a:pt x="67" y="66"/>
                    <a:pt x="67" y="66"/>
                  </a:cubicBezTo>
                  <a:cubicBezTo>
                    <a:pt x="69" y="61"/>
                    <a:pt x="71" y="57"/>
                    <a:pt x="75" y="52"/>
                  </a:cubicBezTo>
                  <a:cubicBezTo>
                    <a:pt x="108" y="0"/>
                    <a:pt x="108" y="0"/>
                    <a:pt x="108" y="0"/>
                  </a:cubicBezTo>
                  <a:cubicBezTo>
                    <a:pt x="130" y="0"/>
                    <a:pt x="130" y="0"/>
                    <a:pt x="130" y="0"/>
                  </a:cubicBezTo>
                  <a:cubicBezTo>
                    <a:pt x="130" y="131"/>
                    <a:pt x="130" y="131"/>
                    <a:pt x="130" y="131"/>
                  </a:cubicBezTo>
                  <a:lnTo>
                    <a:pt x="106" y="131"/>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59" name="Freeform 13"/>
            <p:cNvSpPr>
              <a:spLocks/>
            </p:cNvSpPr>
            <p:nvPr userDrawn="1"/>
          </p:nvSpPr>
          <p:spPr bwMode="auto">
            <a:xfrm>
              <a:off x="7665803" y="4864376"/>
              <a:ext cx="100854" cy="148389"/>
            </a:xfrm>
            <a:custGeom>
              <a:avLst/>
              <a:gdLst>
                <a:gd name="T0" fmla="*/ 133 w 133"/>
                <a:gd name="T1" fmla="*/ 23 h 204"/>
                <a:gd name="T2" fmla="*/ 132 w 133"/>
                <a:gd name="T3" fmla="*/ 22 h 204"/>
                <a:gd name="T4" fmla="*/ 65 w 133"/>
                <a:gd name="T5" fmla="*/ 20 h 204"/>
                <a:gd name="T6" fmla="*/ 52 w 133"/>
                <a:gd name="T7" fmla="*/ 52 h 204"/>
                <a:gd name="T8" fmla="*/ 20 w 133"/>
                <a:gd name="T9" fmla="*/ 65 h 204"/>
                <a:gd name="T10" fmla="*/ 22 w 133"/>
                <a:gd name="T11" fmla="*/ 132 h 204"/>
                <a:gd name="T12" fmla="*/ 95 w 133"/>
                <a:gd name="T13" fmla="*/ 204 h 204"/>
                <a:gd name="T14" fmla="*/ 117 w 133"/>
                <a:gd name="T15" fmla="*/ 182 h 204"/>
                <a:gd name="T16" fmla="*/ 44 w 133"/>
                <a:gd name="T17" fmla="*/ 110 h 204"/>
                <a:gd name="T18" fmla="*/ 42 w 133"/>
                <a:gd name="T19" fmla="*/ 86 h 204"/>
                <a:gd name="T20" fmla="*/ 66 w 133"/>
                <a:gd name="T21" fmla="*/ 88 h 204"/>
                <a:gd name="T22" fmla="*/ 133 w 133"/>
                <a:gd name="T23" fmla="*/ 155 h 204"/>
                <a:gd name="T24" fmla="*/ 133 w 133"/>
                <a:gd name="T25" fmla="*/ 111 h 204"/>
                <a:gd name="T26" fmla="*/ 88 w 133"/>
                <a:gd name="T27" fmla="*/ 66 h 204"/>
                <a:gd name="T28" fmla="*/ 86 w 133"/>
                <a:gd name="T29" fmla="*/ 42 h 204"/>
                <a:gd name="T30" fmla="*/ 110 w 133"/>
                <a:gd name="T31" fmla="*/ 44 h 204"/>
                <a:gd name="T32" fmla="*/ 133 w 133"/>
                <a:gd name="T33" fmla="*/ 66 h 204"/>
                <a:gd name="T34" fmla="*/ 133 w 133"/>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204">
                  <a:moveTo>
                    <a:pt x="133" y="23"/>
                  </a:moveTo>
                  <a:cubicBezTo>
                    <a:pt x="132" y="22"/>
                    <a:pt x="132" y="22"/>
                    <a:pt x="132" y="22"/>
                  </a:cubicBezTo>
                  <a:cubicBezTo>
                    <a:pt x="110" y="0"/>
                    <a:pt x="82" y="2"/>
                    <a:pt x="65" y="20"/>
                  </a:cubicBezTo>
                  <a:cubicBezTo>
                    <a:pt x="53" y="32"/>
                    <a:pt x="51" y="46"/>
                    <a:pt x="52" y="52"/>
                  </a:cubicBezTo>
                  <a:cubicBezTo>
                    <a:pt x="47" y="51"/>
                    <a:pt x="32" y="52"/>
                    <a:pt x="20" y="65"/>
                  </a:cubicBezTo>
                  <a:cubicBezTo>
                    <a:pt x="3" y="82"/>
                    <a:pt x="0" y="110"/>
                    <a:pt x="22" y="132"/>
                  </a:cubicBezTo>
                  <a:cubicBezTo>
                    <a:pt x="95" y="204"/>
                    <a:pt x="95" y="204"/>
                    <a:pt x="95" y="204"/>
                  </a:cubicBezTo>
                  <a:cubicBezTo>
                    <a:pt x="117" y="182"/>
                    <a:pt x="117" y="182"/>
                    <a:pt x="117" y="182"/>
                  </a:cubicBezTo>
                  <a:cubicBezTo>
                    <a:pt x="44" y="110"/>
                    <a:pt x="44" y="110"/>
                    <a:pt x="44" y="110"/>
                  </a:cubicBezTo>
                  <a:cubicBezTo>
                    <a:pt x="35" y="101"/>
                    <a:pt x="36" y="91"/>
                    <a:pt x="42" y="86"/>
                  </a:cubicBezTo>
                  <a:cubicBezTo>
                    <a:pt x="47" y="80"/>
                    <a:pt x="58" y="79"/>
                    <a:pt x="66" y="88"/>
                  </a:cubicBezTo>
                  <a:cubicBezTo>
                    <a:pt x="133" y="155"/>
                    <a:pt x="133" y="155"/>
                    <a:pt x="133" y="155"/>
                  </a:cubicBezTo>
                  <a:cubicBezTo>
                    <a:pt x="133" y="111"/>
                    <a:pt x="133" y="111"/>
                    <a:pt x="133" y="111"/>
                  </a:cubicBezTo>
                  <a:cubicBezTo>
                    <a:pt x="88" y="66"/>
                    <a:pt x="88" y="66"/>
                    <a:pt x="88" y="66"/>
                  </a:cubicBezTo>
                  <a:cubicBezTo>
                    <a:pt x="80" y="57"/>
                    <a:pt x="80" y="47"/>
                    <a:pt x="86" y="42"/>
                  </a:cubicBezTo>
                  <a:cubicBezTo>
                    <a:pt x="92" y="36"/>
                    <a:pt x="102" y="35"/>
                    <a:pt x="110" y="44"/>
                  </a:cubicBezTo>
                  <a:cubicBezTo>
                    <a:pt x="133" y="66"/>
                    <a:pt x="133" y="66"/>
                    <a:pt x="133" y="66"/>
                  </a:cubicBezTo>
                  <a:lnTo>
                    <a:pt x="133"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0" name="Freeform 14"/>
            <p:cNvSpPr>
              <a:spLocks noEditPoints="1"/>
            </p:cNvSpPr>
            <p:nvPr userDrawn="1"/>
          </p:nvSpPr>
          <p:spPr bwMode="auto">
            <a:xfrm>
              <a:off x="8023287" y="4895470"/>
              <a:ext cx="20556" cy="93282"/>
            </a:xfrm>
            <a:custGeom>
              <a:avLst/>
              <a:gdLst>
                <a:gd name="T0" fmla="*/ 14 w 27"/>
                <a:gd name="T1" fmla="*/ 26 h 128"/>
                <a:gd name="T2" fmla="*/ 0 w 27"/>
                <a:gd name="T3" fmla="*/ 13 h 128"/>
                <a:gd name="T4" fmla="*/ 14 w 27"/>
                <a:gd name="T5" fmla="*/ 0 h 128"/>
                <a:gd name="T6" fmla="*/ 27 w 27"/>
                <a:gd name="T7" fmla="*/ 13 h 128"/>
                <a:gd name="T8" fmla="*/ 14 w 27"/>
                <a:gd name="T9" fmla="*/ 26 h 128"/>
                <a:gd name="T10" fmla="*/ 3 w 27"/>
                <a:gd name="T11" fmla="*/ 128 h 128"/>
                <a:gd name="T12" fmla="*/ 3 w 27"/>
                <a:gd name="T13" fmla="*/ 40 h 128"/>
                <a:gd name="T14" fmla="*/ 25 w 27"/>
                <a:gd name="T15" fmla="*/ 40 h 128"/>
                <a:gd name="T16" fmla="*/ 25 w 27"/>
                <a:gd name="T17" fmla="*/ 112 h 128"/>
                <a:gd name="T18" fmla="*/ 3 w 27"/>
                <a:gd name="T1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128">
                  <a:moveTo>
                    <a:pt x="14" y="26"/>
                  </a:moveTo>
                  <a:cubicBezTo>
                    <a:pt x="6" y="26"/>
                    <a:pt x="0" y="20"/>
                    <a:pt x="0" y="13"/>
                  </a:cubicBezTo>
                  <a:cubicBezTo>
                    <a:pt x="0" y="6"/>
                    <a:pt x="6" y="0"/>
                    <a:pt x="14" y="0"/>
                  </a:cubicBezTo>
                  <a:cubicBezTo>
                    <a:pt x="21" y="0"/>
                    <a:pt x="27" y="5"/>
                    <a:pt x="27" y="13"/>
                  </a:cubicBezTo>
                  <a:cubicBezTo>
                    <a:pt x="27" y="20"/>
                    <a:pt x="21" y="26"/>
                    <a:pt x="14" y="26"/>
                  </a:cubicBezTo>
                  <a:close/>
                  <a:moveTo>
                    <a:pt x="3" y="128"/>
                  </a:moveTo>
                  <a:cubicBezTo>
                    <a:pt x="3" y="40"/>
                    <a:pt x="3" y="40"/>
                    <a:pt x="3" y="40"/>
                  </a:cubicBezTo>
                  <a:cubicBezTo>
                    <a:pt x="25" y="40"/>
                    <a:pt x="25" y="40"/>
                    <a:pt x="25" y="40"/>
                  </a:cubicBezTo>
                  <a:cubicBezTo>
                    <a:pt x="25" y="40"/>
                    <a:pt x="25" y="95"/>
                    <a:pt x="25" y="112"/>
                  </a:cubicBezTo>
                  <a:cubicBezTo>
                    <a:pt x="25" y="128"/>
                    <a:pt x="3" y="128"/>
                    <a:pt x="3" y="1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1" name="Freeform 15"/>
            <p:cNvSpPr>
              <a:spLocks/>
            </p:cNvSpPr>
            <p:nvPr userDrawn="1"/>
          </p:nvSpPr>
          <p:spPr bwMode="auto">
            <a:xfrm>
              <a:off x="8615239" y="4924717"/>
              <a:ext cx="103744" cy="66806"/>
            </a:xfrm>
            <a:custGeom>
              <a:avLst/>
              <a:gdLst>
                <a:gd name="T0" fmla="*/ 111 w 137"/>
                <a:gd name="T1" fmla="*/ 72 h 92"/>
                <a:gd name="T2" fmla="*/ 88 w 137"/>
                <a:gd name="T3" fmla="*/ 88 h 92"/>
                <a:gd name="T4" fmla="*/ 68 w 137"/>
                <a:gd name="T5" fmla="*/ 28 h 92"/>
                <a:gd name="T6" fmla="*/ 68 w 137"/>
                <a:gd name="T7" fmla="*/ 28 h 92"/>
                <a:gd name="T8" fmla="*/ 53 w 137"/>
                <a:gd name="T9" fmla="*/ 72 h 92"/>
                <a:gd name="T10" fmla="*/ 31 w 137"/>
                <a:gd name="T11" fmla="*/ 88 h 92"/>
                <a:gd name="T12" fmla="*/ 0 w 137"/>
                <a:gd name="T13" fmla="*/ 0 h 92"/>
                <a:gd name="T14" fmla="*/ 22 w 137"/>
                <a:gd name="T15" fmla="*/ 0 h 92"/>
                <a:gd name="T16" fmla="*/ 41 w 137"/>
                <a:gd name="T17" fmla="*/ 60 h 92"/>
                <a:gd name="T18" fmla="*/ 41 w 137"/>
                <a:gd name="T19" fmla="*/ 60 h 92"/>
                <a:gd name="T20" fmla="*/ 60 w 137"/>
                <a:gd name="T21" fmla="*/ 0 h 92"/>
                <a:gd name="T22" fmla="*/ 77 w 137"/>
                <a:gd name="T23" fmla="*/ 0 h 92"/>
                <a:gd name="T24" fmla="*/ 97 w 137"/>
                <a:gd name="T25" fmla="*/ 60 h 92"/>
                <a:gd name="T26" fmla="*/ 97 w 137"/>
                <a:gd name="T27" fmla="*/ 60 h 92"/>
                <a:gd name="T28" fmla="*/ 115 w 137"/>
                <a:gd name="T29" fmla="*/ 0 h 92"/>
                <a:gd name="T30" fmla="*/ 137 w 137"/>
                <a:gd name="T31" fmla="*/ 0 h 92"/>
                <a:gd name="T32" fmla="*/ 111 w 137"/>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 h="92">
                  <a:moveTo>
                    <a:pt x="111" y="72"/>
                  </a:moveTo>
                  <a:cubicBezTo>
                    <a:pt x="104" y="92"/>
                    <a:pt x="88" y="88"/>
                    <a:pt x="88" y="88"/>
                  </a:cubicBezTo>
                  <a:cubicBezTo>
                    <a:pt x="68" y="28"/>
                    <a:pt x="68" y="28"/>
                    <a:pt x="68" y="28"/>
                  </a:cubicBezTo>
                  <a:cubicBezTo>
                    <a:pt x="68" y="28"/>
                    <a:pt x="68" y="28"/>
                    <a:pt x="68" y="28"/>
                  </a:cubicBezTo>
                  <a:cubicBezTo>
                    <a:pt x="68" y="28"/>
                    <a:pt x="59"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7" y="60"/>
                    <a:pt x="97" y="60"/>
                    <a:pt x="97" y="60"/>
                  </a:cubicBezTo>
                  <a:cubicBezTo>
                    <a:pt x="97" y="60"/>
                    <a:pt x="97" y="60"/>
                    <a:pt x="97" y="60"/>
                  </a:cubicBezTo>
                  <a:cubicBezTo>
                    <a:pt x="115" y="0"/>
                    <a:pt x="115" y="0"/>
                    <a:pt x="115" y="0"/>
                  </a:cubicBezTo>
                  <a:cubicBezTo>
                    <a:pt x="137" y="0"/>
                    <a:pt x="137" y="0"/>
                    <a:pt x="137" y="0"/>
                  </a:cubicBezTo>
                  <a:cubicBezTo>
                    <a:pt x="137"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2" name="Freeform 16"/>
            <p:cNvSpPr>
              <a:spLocks noEditPoints="1"/>
            </p:cNvSpPr>
            <p:nvPr userDrawn="1"/>
          </p:nvSpPr>
          <p:spPr bwMode="auto">
            <a:xfrm>
              <a:off x="8423168" y="4892699"/>
              <a:ext cx="65844" cy="95129"/>
            </a:xfrm>
            <a:custGeom>
              <a:avLst/>
              <a:gdLst>
                <a:gd name="T0" fmla="*/ 1 w 87"/>
                <a:gd name="T1" fmla="*/ 0 h 131"/>
                <a:gd name="T2" fmla="*/ 0 w 87"/>
                <a:gd name="T3" fmla="*/ 131 h 131"/>
                <a:gd name="T4" fmla="*/ 41 w 87"/>
                <a:gd name="T5" fmla="*/ 131 h 131"/>
                <a:gd name="T6" fmla="*/ 87 w 87"/>
                <a:gd name="T7" fmla="*/ 92 h 131"/>
                <a:gd name="T8" fmla="*/ 65 w 87"/>
                <a:gd name="T9" fmla="*/ 61 h 131"/>
                <a:gd name="T10" fmla="*/ 62 w 87"/>
                <a:gd name="T11" fmla="*/ 60 h 131"/>
                <a:gd name="T12" fmla="*/ 64 w 87"/>
                <a:gd name="T13" fmla="*/ 59 h 131"/>
                <a:gd name="T14" fmla="*/ 79 w 87"/>
                <a:gd name="T15" fmla="*/ 32 h 131"/>
                <a:gd name="T16" fmla="*/ 42 w 87"/>
                <a:gd name="T17" fmla="*/ 0 h 131"/>
                <a:gd name="T18" fmla="*/ 1 w 87"/>
                <a:gd name="T19" fmla="*/ 0 h 131"/>
                <a:gd name="T20" fmla="*/ 23 w 87"/>
                <a:gd name="T21" fmla="*/ 17 h 131"/>
                <a:gd name="T22" fmla="*/ 36 w 87"/>
                <a:gd name="T23" fmla="*/ 17 h 131"/>
                <a:gd name="T24" fmla="*/ 56 w 87"/>
                <a:gd name="T25" fmla="*/ 35 h 131"/>
                <a:gd name="T26" fmla="*/ 38 w 87"/>
                <a:gd name="T27" fmla="*/ 55 h 131"/>
                <a:gd name="T28" fmla="*/ 22 w 87"/>
                <a:gd name="T29" fmla="*/ 55 h 131"/>
                <a:gd name="T30" fmla="*/ 23 w 87"/>
                <a:gd name="T31" fmla="*/ 17 h 131"/>
                <a:gd name="T32" fmla="*/ 22 w 87"/>
                <a:gd name="T33" fmla="*/ 74 h 131"/>
                <a:gd name="T34" fmla="*/ 40 w 87"/>
                <a:gd name="T35" fmla="*/ 74 h 131"/>
                <a:gd name="T36" fmla="*/ 64 w 87"/>
                <a:gd name="T37" fmla="*/ 92 h 131"/>
                <a:gd name="T38" fmla="*/ 39 w 87"/>
                <a:gd name="T39" fmla="*/ 113 h 131"/>
                <a:gd name="T40" fmla="*/ 22 w 87"/>
                <a:gd name="T41" fmla="*/ 113 h 131"/>
                <a:gd name="T42" fmla="*/ 22 w 87"/>
                <a:gd name="T43" fmla="*/ 7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131">
                  <a:moveTo>
                    <a:pt x="1" y="0"/>
                  </a:moveTo>
                  <a:cubicBezTo>
                    <a:pt x="1" y="3"/>
                    <a:pt x="0" y="129"/>
                    <a:pt x="0" y="131"/>
                  </a:cubicBezTo>
                  <a:cubicBezTo>
                    <a:pt x="2" y="131"/>
                    <a:pt x="41" y="131"/>
                    <a:pt x="41" y="131"/>
                  </a:cubicBezTo>
                  <a:cubicBezTo>
                    <a:pt x="73" y="131"/>
                    <a:pt x="87" y="111"/>
                    <a:pt x="87" y="92"/>
                  </a:cubicBezTo>
                  <a:cubicBezTo>
                    <a:pt x="87" y="77"/>
                    <a:pt x="79" y="65"/>
                    <a:pt x="65" y="61"/>
                  </a:cubicBezTo>
                  <a:cubicBezTo>
                    <a:pt x="62" y="60"/>
                    <a:pt x="62" y="60"/>
                    <a:pt x="62" y="60"/>
                  </a:cubicBezTo>
                  <a:cubicBezTo>
                    <a:pt x="64" y="59"/>
                    <a:pt x="64" y="59"/>
                    <a:pt x="64" y="59"/>
                  </a:cubicBezTo>
                  <a:cubicBezTo>
                    <a:pt x="74" y="54"/>
                    <a:pt x="79" y="44"/>
                    <a:pt x="79" y="32"/>
                  </a:cubicBezTo>
                  <a:cubicBezTo>
                    <a:pt x="79" y="17"/>
                    <a:pt x="68" y="0"/>
                    <a:pt x="42" y="0"/>
                  </a:cubicBezTo>
                  <a:cubicBezTo>
                    <a:pt x="42" y="0"/>
                    <a:pt x="3" y="0"/>
                    <a:pt x="1" y="0"/>
                  </a:cubicBezTo>
                  <a:close/>
                  <a:moveTo>
                    <a:pt x="23" y="17"/>
                  </a:moveTo>
                  <a:cubicBezTo>
                    <a:pt x="36" y="17"/>
                    <a:pt x="36" y="17"/>
                    <a:pt x="36" y="17"/>
                  </a:cubicBezTo>
                  <a:cubicBezTo>
                    <a:pt x="49" y="17"/>
                    <a:pt x="56" y="24"/>
                    <a:pt x="56" y="35"/>
                  </a:cubicBezTo>
                  <a:cubicBezTo>
                    <a:pt x="56" y="47"/>
                    <a:pt x="47" y="55"/>
                    <a:pt x="38" y="55"/>
                  </a:cubicBezTo>
                  <a:cubicBezTo>
                    <a:pt x="22" y="55"/>
                    <a:pt x="22" y="55"/>
                    <a:pt x="22" y="55"/>
                  </a:cubicBezTo>
                  <a:lnTo>
                    <a:pt x="23" y="17"/>
                  </a:lnTo>
                  <a:close/>
                  <a:moveTo>
                    <a:pt x="22" y="74"/>
                  </a:moveTo>
                  <a:cubicBezTo>
                    <a:pt x="40" y="74"/>
                    <a:pt x="40" y="74"/>
                    <a:pt x="40" y="74"/>
                  </a:cubicBezTo>
                  <a:cubicBezTo>
                    <a:pt x="55" y="74"/>
                    <a:pt x="64" y="81"/>
                    <a:pt x="64" y="92"/>
                  </a:cubicBezTo>
                  <a:cubicBezTo>
                    <a:pt x="64" y="105"/>
                    <a:pt x="55" y="113"/>
                    <a:pt x="39" y="113"/>
                  </a:cubicBezTo>
                  <a:cubicBezTo>
                    <a:pt x="22" y="113"/>
                    <a:pt x="22" y="113"/>
                    <a:pt x="22" y="113"/>
                  </a:cubicBezTo>
                  <a:lnTo>
                    <a:pt x="22" y="74"/>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3" name="Freeform 17"/>
            <p:cNvSpPr>
              <a:spLocks noEditPoints="1"/>
            </p:cNvSpPr>
            <p:nvPr userDrawn="1"/>
          </p:nvSpPr>
          <p:spPr bwMode="auto">
            <a:xfrm>
              <a:off x="8546184" y="4923177"/>
              <a:ext cx="66486" cy="66190"/>
            </a:xfrm>
            <a:custGeom>
              <a:avLst/>
              <a:gdLst>
                <a:gd name="T0" fmla="*/ 75 w 88"/>
                <a:gd name="T1" fmla="*/ 78 h 91"/>
                <a:gd name="T2" fmla="*/ 44 w 88"/>
                <a:gd name="T3" fmla="*/ 91 h 91"/>
                <a:gd name="T4" fmla="*/ 14 w 88"/>
                <a:gd name="T5" fmla="*/ 80 h 91"/>
                <a:gd name="T6" fmla="*/ 0 w 88"/>
                <a:gd name="T7" fmla="*/ 46 h 91"/>
                <a:gd name="T8" fmla="*/ 13 w 88"/>
                <a:gd name="T9" fmla="*/ 12 h 91"/>
                <a:gd name="T10" fmla="*/ 44 w 88"/>
                <a:gd name="T11" fmla="*/ 0 h 91"/>
                <a:gd name="T12" fmla="*/ 76 w 88"/>
                <a:gd name="T13" fmla="*/ 12 h 91"/>
                <a:gd name="T14" fmla="*/ 88 w 88"/>
                <a:gd name="T15" fmla="*/ 45 h 91"/>
                <a:gd name="T16" fmla="*/ 75 w 88"/>
                <a:gd name="T17" fmla="*/ 78 h 91"/>
                <a:gd name="T18" fmla="*/ 44 w 88"/>
                <a:gd name="T19" fmla="*/ 17 h 91"/>
                <a:gd name="T20" fmla="*/ 23 w 88"/>
                <a:gd name="T21" fmla="*/ 45 h 91"/>
                <a:gd name="T22" fmla="*/ 44 w 88"/>
                <a:gd name="T23" fmla="*/ 73 h 91"/>
                <a:gd name="T24" fmla="*/ 65 w 88"/>
                <a:gd name="T25" fmla="*/ 45 h 91"/>
                <a:gd name="T26" fmla="*/ 44 w 88"/>
                <a:gd name="T27"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91">
                  <a:moveTo>
                    <a:pt x="75" y="78"/>
                  </a:moveTo>
                  <a:cubicBezTo>
                    <a:pt x="68" y="86"/>
                    <a:pt x="57" y="91"/>
                    <a:pt x="44" y="91"/>
                  </a:cubicBezTo>
                  <a:cubicBezTo>
                    <a:pt x="32" y="91"/>
                    <a:pt x="21" y="87"/>
                    <a:pt x="14" y="80"/>
                  </a:cubicBezTo>
                  <a:cubicBezTo>
                    <a:pt x="5" y="72"/>
                    <a:pt x="0" y="60"/>
                    <a:pt x="0" y="46"/>
                  </a:cubicBezTo>
                  <a:cubicBezTo>
                    <a:pt x="0" y="32"/>
                    <a:pt x="5" y="20"/>
                    <a:pt x="13" y="12"/>
                  </a:cubicBezTo>
                  <a:cubicBezTo>
                    <a:pt x="21" y="4"/>
                    <a:pt x="31" y="0"/>
                    <a:pt x="44" y="0"/>
                  </a:cubicBezTo>
                  <a:cubicBezTo>
                    <a:pt x="57" y="0"/>
                    <a:pt x="68" y="4"/>
                    <a:pt x="76" y="12"/>
                  </a:cubicBezTo>
                  <a:cubicBezTo>
                    <a:pt x="84" y="20"/>
                    <a:pt x="88" y="32"/>
                    <a:pt x="88" y="45"/>
                  </a:cubicBezTo>
                  <a:cubicBezTo>
                    <a:pt x="88" y="58"/>
                    <a:pt x="83" y="70"/>
                    <a:pt x="75" y="78"/>
                  </a:cubicBezTo>
                  <a:close/>
                  <a:moveTo>
                    <a:pt x="44" y="17"/>
                  </a:moveTo>
                  <a:cubicBezTo>
                    <a:pt x="30" y="17"/>
                    <a:pt x="23" y="29"/>
                    <a:pt x="23" y="45"/>
                  </a:cubicBezTo>
                  <a:cubicBezTo>
                    <a:pt x="23" y="62"/>
                    <a:pt x="31" y="73"/>
                    <a:pt x="44" y="73"/>
                  </a:cubicBezTo>
                  <a:cubicBezTo>
                    <a:pt x="58" y="73"/>
                    <a:pt x="65" y="61"/>
                    <a:pt x="65" y="45"/>
                  </a:cubicBezTo>
                  <a:cubicBezTo>
                    <a:pt x="65" y="28"/>
                    <a:pt x="57" y="17"/>
                    <a:pt x="44" y="1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4" name="Freeform 18"/>
            <p:cNvSpPr>
              <a:spLocks/>
            </p:cNvSpPr>
            <p:nvPr userDrawn="1"/>
          </p:nvSpPr>
          <p:spPr bwMode="auto">
            <a:xfrm>
              <a:off x="8728298" y="4923177"/>
              <a:ext cx="60705" cy="65574"/>
            </a:xfrm>
            <a:custGeom>
              <a:avLst/>
              <a:gdLst>
                <a:gd name="T0" fmla="*/ 58 w 80"/>
                <a:gd name="T1" fmla="*/ 90 h 90"/>
                <a:gd name="T2" fmla="*/ 58 w 80"/>
                <a:gd name="T3" fmla="*/ 38 h 90"/>
                <a:gd name="T4" fmla="*/ 45 w 80"/>
                <a:gd name="T5" fmla="*/ 19 h 90"/>
                <a:gd name="T6" fmla="*/ 23 w 80"/>
                <a:gd name="T7" fmla="*/ 28 h 90"/>
                <a:gd name="T8" fmla="*/ 23 w 80"/>
                <a:gd name="T9" fmla="*/ 74 h 90"/>
                <a:gd name="T10" fmla="*/ 0 w 80"/>
                <a:gd name="T11" fmla="*/ 90 h 90"/>
                <a:gd name="T12" fmla="*/ 0 w 80"/>
                <a:gd name="T13" fmla="*/ 2 h 90"/>
                <a:gd name="T14" fmla="*/ 19 w 80"/>
                <a:gd name="T15" fmla="*/ 2 h 90"/>
                <a:gd name="T16" fmla="*/ 22 w 80"/>
                <a:gd name="T17" fmla="*/ 11 h 90"/>
                <a:gd name="T18" fmla="*/ 52 w 80"/>
                <a:gd name="T19" fmla="*/ 0 h 90"/>
                <a:gd name="T20" fmla="*/ 80 w 80"/>
                <a:gd name="T21" fmla="*/ 31 h 90"/>
                <a:gd name="T22" fmla="*/ 80 w 80"/>
                <a:gd name="T23" fmla="*/ 74 h 90"/>
                <a:gd name="T24" fmla="*/ 58 w 80"/>
                <a:gd name="T2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90">
                  <a:moveTo>
                    <a:pt x="58" y="90"/>
                  </a:moveTo>
                  <a:cubicBezTo>
                    <a:pt x="58" y="38"/>
                    <a:pt x="58" y="38"/>
                    <a:pt x="58" y="38"/>
                  </a:cubicBezTo>
                  <a:cubicBezTo>
                    <a:pt x="58" y="29"/>
                    <a:pt x="56" y="19"/>
                    <a:pt x="45" y="19"/>
                  </a:cubicBezTo>
                  <a:cubicBezTo>
                    <a:pt x="37" y="19"/>
                    <a:pt x="29" y="23"/>
                    <a:pt x="23" y="28"/>
                  </a:cubicBezTo>
                  <a:cubicBezTo>
                    <a:pt x="23" y="28"/>
                    <a:pt x="23" y="57"/>
                    <a:pt x="23" y="74"/>
                  </a:cubicBezTo>
                  <a:cubicBezTo>
                    <a:pt x="23" y="90"/>
                    <a:pt x="0" y="90"/>
                    <a:pt x="0" y="90"/>
                  </a:cubicBezTo>
                  <a:cubicBezTo>
                    <a:pt x="0" y="2"/>
                    <a:pt x="0" y="2"/>
                    <a:pt x="0" y="2"/>
                  </a:cubicBezTo>
                  <a:cubicBezTo>
                    <a:pt x="19" y="2"/>
                    <a:pt x="19" y="2"/>
                    <a:pt x="19" y="2"/>
                  </a:cubicBezTo>
                  <a:cubicBezTo>
                    <a:pt x="22" y="11"/>
                    <a:pt x="22" y="11"/>
                    <a:pt x="22" y="11"/>
                  </a:cubicBezTo>
                  <a:cubicBezTo>
                    <a:pt x="31" y="4"/>
                    <a:pt x="40" y="0"/>
                    <a:pt x="52" y="0"/>
                  </a:cubicBezTo>
                  <a:cubicBezTo>
                    <a:pt x="65" y="0"/>
                    <a:pt x="80" y="8"/>
                    <a:pt x="80" y="31"/>
                  </a:cubicBezTo>
                  <a:cubicBezTo>
                    <a:pt x="80" y="31"/>
                    <a:pt x="80" y="57"/>
                    <a:pt x="80" y="74"/>
                  </a:cubicBezTo>
                  <a:cubicBezTo>
                    <a:pt x="80" y="90"/>
                    <a:pt x="58" y="90"/>
                    <a:pt x="58" y="9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5" name="Freeform 19"/>
            <p:cNvSpPr>
              <a:spLocks/>
            </p:cNvSpPr>
            <p:nvPr userDrawn="1"/>
          </p:nvSpPr>
          <p:spPr bwMode="auto">
            <a:xfrm>
              <a:off x="8501217" y="4923177"/>
              <a:ext cx="43361" cy="65574"/>
            </a:xfrm>
            <a:custGeom>
              <a:avLst/>
              <a:gdLst>
                <a:gd name="T0" fmla="*/ 49 w 57"/>
                <a:gd name="T1" fmla="*/ 22 h 90"/>
                <a:gd name="T2" fmla="*/ 39 w 57"/>
                <a:gd name="T3" fmla="*/ 20 h 90"/>
                <a:gd name="T4" fmla="*/ 22 w 57"/>
                <a:gd name="T5" fmla="*/ 27 h 90"/>
                <a:gd name="T6" fmla="*/ 22 w 57"/>
                <a:gd name="T7" fmla="*/ 74 h 90"/>
                <a:gd name="T8" fmla="*/ 0 w 57"/>
                <a:gd name="T9" fmla="*/ 90 h 90"/>
                <a:gd name="T10" fmla="*/ 0 w 57"/>
                <a:gd name="T11" fmla="*/ 2 h 90"/>
                <a:gd name="T12" fmla="*/ 19 w 57"/>
                <a:gd name="T13" fmla="*/ 2 h 90"/>
                <a:gd name="T14" fmla="*/ 21 w 57"/>
                <a:gd name="T15" fmla="*/ 11 h 90"/>
                <a:gd name="T16" fmla="*/ 45 w 57"/>
                <a:gd name="T17" fmla="*/ 0 h 90"/>
                <a:gd name="T18" fmla="*/ 57 w 57"/>
                <a:gd name="T19" fmla="*/ 4 h 90"/>
                <a:gd name="T20" fmla="*/ 49 w 57"/>
                <a:gd name="T21" fmla="*/ 2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0">
                  <a:moveTo>
                    <a:pt x="49" y="22"/>
                  </a:moveTo>
                  <a:cubicBezTo>
                    <a:pt x="46" y="20"/>
                    <a:pt x="42" y="20"/>
                    <a:pt x="39" y="20"/>
                  </a:cubicBezTo>
                  <a:cubicBezTo>
                    <a:pt x="34" y="20"/>
                    <a:pt x="28" y="22"/>
                    <a:pt x="22" y="27"/>
                  </a:cubicBezTo>
                  <a:cubicBezTo>
                    <a:pt x="22" y="27"/>
                    <a:pt x="22" y="57"/>
                    <a:pt x="22" y="74"/>
                  </a:cubicBezTo>
                  <a:cubicBezTo>
                    <a:pt x="22" y="90"/>
                    <a:pt x="0" y="90"/>
                    <a:pt x="0" y="90"/>
                  </a:cubicBezTo>
                  <a:cubicBezTo>
                    <a:pt x="0" y="2"/>
                    <a:pt x="0" y="2"/>
                    <a:pt x="0" y="2"/>
                  </a:cubicBezTo>
                  <a:cubicBezTo>
                    <a:pt x="19" y="2"/>
                    <a:pt x="19" y="2"/>
                    <a:pt x="19"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6" name="Freeform 20"/>
            <p:cNvSpPr>
              <a:spLocks/>
            </p:cNvSpPr>
            <p:nvPr userDrawn="1"/>
          </p:nvSpPr>
          <p:spPr bwMode="auto">
            <a:xfrm>
              <a:off x="7766657" y="4864376"/>
              <a:ext cx="100211" cy="148389"/>
            </a:xfrm>
            <a:custGeom>
              <a:avLst/>
              <a:gdLst>
                <a:gd name="T0" fmla="*/ 0 w 132"/>
                <a:gd name="T1" fmla="*/ 23 h 204"/>
                <a:gd name="T2" fmla="*/ 1 w 132"/>
                <a:gd name="T3" fmla="*/ 22 h 204"/>
                <a:gd name="T4" fmla="*/ 67 w 132"/>
                <a:gd name="T5" fmla="*/ 20 h 204"/>
                <a:gd name="T6" fmla="*/ 80 w 132"/>
                <a:gd name="T7" fmla="*/ 52 h 204"/>
                <a:gd name="T8" fmla="*/ 113 w 132"/>
                <a:gd name="T9" fmla="*/ 65 h 204"/>
                <a:gd name="T10" fmla="*/ 111 w 132"/>
                <a:gd name="T11" fmla="*/ 132 h 204"/>
                <a:gd name="T12" fmla="*/ 38 w 132"/>
                <a:gd name="T13" fmla="*/ 204 h 204"/>
                <a:gd name="T14" fmla="*/ 16 w 132"/>
                <a:gd name="T15" fmla="*/ 182 h 204"/>
                <a:gd name="T16" fmla="*/ 88 w 132"/>
                <a:gd name="T17" fmla="*/ 110 h 204"/>
                <a:gd name="T18" fmla="*/ 91 w 132"/>
                <a:gd name="T19" fmla="*/ 86 h 204"/>
                <a:gd name="T20" fmla="*/ 67 w 132"/>
                <a:gd name="T21" fmla="*/ 88 h 204"/>
                <a:gd name="T22" fmla="*/ 0 w 132"/>
                <a:gd name="T23" fmla="*/ 155 h 204"/>
                <a:gd name="T24" fmla="*/ 0 w 132"/>
                <a:gd name="T25" fmla="*/ 111 h 204"/>
                <a:gd name="T26" fmla="*/ 45 w 132"/>
                <a:gd name="T27" fmla="*/ 66 h 204"/>
                <a:gd name="T28" fmla="*/ 46 w 132"/>
                <a:gd name="T29" fmla="*/ 42 h 204"/>
                <a:gd name="T30" fmla="*/ 22 w 132"/>
                <a:gd name="T31" fmla="*/ 44 h 204"/>
                <a:gd name="T32" fmla="*/ 0 w 132"/>
                <a:gd name="T33" fmla="*/ 66 h 204"/>
                <a:gd name="T34" fmla="*/ 0 w 132"/>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204">
                  <a:moveTo>
                    <a:pt x="0" y="23"/>
                  </a:moveTo>
                  <a:cubicBezTo>
                    <a:pt x="1" y="22"/>
                    <a:pt x="1" y="22"/>
                    <a:pt x="1" y="22"/>
                  </a:cubicBezTo>
                  <a:cubicBezTo>
                    <a:pt x="23" y="0"/>
                    <a:pt x="50" y="2"/>
                    <a:pt x="67" y="20"/>
                  </a:cubicBezTo>
                  <a:cubicBezTo>
                    <a:pt x="80" y="32"/>
                    <a:pt x="81" y="46"/>
                    <a:pt x="80" y="52"/>
                  </a:cubicBezTo>
                  <a:cubicBezTo>
                    <a:pt x="86" y="51"/>
                    <a:pt x="100" y="52"/>
                    <a:pt x="113" y="65"/>
                  </a:cubicBezTo>
                  <a:cubicBezTo>
                    <a:pt x="130" y="82"/>
                    <a:pt x="132" y="110"/>
                    <a:pt x="111" y="132"/>
                  </a:cubicBezTo>
                  <a:cubicBezTo>
                    <a:pt x="38" y="204"/>
                    <a:pt x="38" y="204"/>
                    <a:pt x="38" y="204"/>
                  </a:cubicBezTo>
                  <a:cubicBezTo>
                    <a:pt x="16" y="182"/>
                    <a:pt x="16" y="182"/>
                    <a:pt x="16" y="182"/>
                  </a:cubicBezTo>
                  <a:cubicBezTo>
                    <a:pt x="88" y="110"/>
                    <a:pt x="88" y="110"/>
                    <a:pt x="88" y="110"/>
                  </a:cubicBezTo>
                  <a:cubicBezTo>
                    <a:pt x="97" y="101"/>
                    <a:pt x="96" y="91"/>
                    <a:pt x="91" y="86"/>
                  </a:cubicBezTo>
                  <a:cubicBezTo>
                    <a:pt x="85" y="80"/>
                    <a:pt x="75" y="79"/>
                    <a:pt x="67" y="88"/>
                  </a:cubicBezTo>
                  <a:cubicBezTo>
                    <a:pt x="0" y="155"/>
                    <a:pt x="0" y="155"/>
                    <a:pt x="0" y="155"/>
                  </a:cubicBezTo>
                  <a:cubicBezTo>
                    <a:pt x="0" y="111"/>
                    <a:pt x="0" y="111"/>
                    <a:pt x="0" y="111"/>
                  </a:cubicBezTo>
                  <a:cubicBezTo>
                    <a:pt x="45" y="66"/>
                    <a:pt x="45" y="66"/>
                    <a:pt x="45" y="66"/>
                  </a:cubicBezTo>
                  <a:cubicBezTo>
                    <a:pt x="53" y="57"/>
                    <a:pt x="52" y="47"/>
                    <a:pt x="46" y="42"/>
                  </a:cubicBezTo>
                  <a:cubicBezTo>
                    <a:pt x="41" y="36"/>
                    <a:pt x="31" y="35"/>
                    <a:pt x="22" y="44"/>
                  </a:cubicBezTo>
                  <a:cubicBezTo>
                    <a:pt x="0" y="66"/>
                    <a:pt x="0" y="66"/>
                    <a:pt x="0" y="66"/>
                  </a:cubicBezTo>
                  <a:lnTo>
                    <a:pt x="0"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8" name="Freeform 21"/>
            <p:cNvSpPr>
              <a:spLocks noEditPoints="1"/>
            </p:cNvSpPr>
            <p:nvPr userDrawn="1"/>
          </p:nvSpPr>
          <p:spPr bwMode="auto">
            <a:xfrm>
              <a:off x="7980890" y="5040472"/>
              <a:ext cx="51390" cy="57878"/>
            </a:xfrm>
            <a:custGeom>
              <a:avLst/>
              <a:gdLst>
                <a:gd name="T0" fmla="*/ 0 w 68"/>
                <a:gd name="T1" fmla="*/ 40 h 80"/>
                <a:gd name="T2" fmla="*/ 35 w 68"/>
                <a:gd name="T3" fmla="*/ 0 h 80"/>
                <a:gd name="T4" fmla="*/ 68 w 68"/>
                <a:gd name="T5" fmla="*/ 41 h 80"/>
                <a:gd name="T6" fmla="*/ 68 w 68"/>
                <a:gd name="T7" fmla="*/ 46 h 80"/>
                <a:gd name="T8" fmla="*/ 20 w 68"/>
                <a:gd name="T9" fmla="*/ 46 h 80"/>
                <a:gd name="T10" fmla="*/ 41 w 68"/>
                <a:gd name="T11" fmla="*/ 65 h 80"/>
                <a:gd name="T12" fmla="*/ 60 w 68"/>
                <a:gd name="T13" fmla="*/ 60 h 80"/>
                <a:gd name="T14" fmla="*/ 66 w 68"/>
                <a:gd name="T15" fmla="*/ 73 h 80"/>
                <a:gd name="T16" fmla="*/ 39 w 68"/>
                <a:gd name="T17" fmla="*/ 80 h 80"/>
                <a:gd name="T18" fmla="*/ 0 w 68"/>
                <a:gd name="T19" fmla="*/ 40 h 80"/>
                <a:gd name="T20" fmla="*/ 49 w 68"/>
                <a:gd name="T21" fmla="*/ 32 h 80"/>
                <a:gd name="T22" fmla="*/ 34 w 68"/>
                <a:gd name="T23" fmla="*/ 15 h 80"/>
                <a:gd name="T24" fmla="*/ 19 w 68"/>
                <a:gd name="T25" fmla="*/ 32 h 80"/>
                <a:gd name="T26" fmla="*/ 49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3" y="0"/>
                    <a:pt x="35" y="0"/>
                  </a:cubicBezTo>
                  <a:cubicBezTo>
                    <a:pt x="56" y="0"/>
                    <a:pt x="68" y="16"/>
                    <a:pt x="68" y="41"/>
                  </a:cubicBezTo>
                  <a:cubicBezTo>
                    <a:pt x="68" y="46"/>
                    <a:pt x="68" y="46"/>
                    <a:pt x="68" y="46"/>
                  </a:cubicBezTo>
                  <a:cubicBezTo>
                    <a:pt x="20" y="46"/>
                    <a:pt x="20" y="46"/>
                    <a:pt x="20" y="46"/>
                  </a:cubicBezTo>
                  <a:cubicBezTo>
                    <a:pt x="20" y="57"/>
                    <a:pt x="28" y="65"/>
                    <a:pt x="41" y="65"/>
                  </a:cubicBezTo>
                  <a:cubicBezTo>
                    <a:pt x="49" y="65"/>
                    <a:pt x="55" y="63"/>
                    <a:pt x="60" y="60"/>
                  </a:cubicBezTo>
                  <a:cubicBezTo>
                    <a:pt x="66" y="73"/>
                    <a:pt x="66" y="73"/>
                    <a:pt x="66" y="73"/>
                  </a:cubicBezTo>
                  <a:cubicBezTo>
                    <a:pt x="58" y="78"/>
                    <a:pt x="49" y="80"/>
                    <a:pt x="39" y="80"/>
                  </a:cubicBezTo>
                  <a:cubicBezTo>
                    <a:pt x="11" y="80"/>
                    <a:pt x="0" y="61"/>
                    <a:pt x="0" y="40"/>
                  </a:cubicBezTo>
                  <a:close/>
                  <a:moveTo>
                    <a:pt x="49" y="32"/>
                  </a:moveTo>
                  <a:cubicBezTo>
                    <a:pt x="49" y="23"/>
                    <a:pt x="44" y="15"/>
                    <a:pt x="34" y="15"/>
                  </a:cubicBezTo>
                  <a:cubicBezTo>
                    <a:pt x="25" y="15"/>
                    <a:pt x="19" y="23"/>
                    <a:pt x="19" y="32"/>
                  </a:cubicBezTo>
                  <a:lnTo>
                    <a:pt x="49"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9" name="Freeform 22"/>
            <p:cNvSpPr>
              <a:spLocks/>
            </p:cNvSpPr>
            <p:nvPr userDrawn="1"/>
          </p:nvSpPr>
          <p:spPr bwMode="auto">
            <a:xfrm>
              <a:off x="8295656" y="5041088"/>
              <a:ext cx="37258" cy="56031"/>
            </a:xfrm>
            <a:custGeom>
              <a:avLst/>
              <a:gdLst>
                <a:gd name="T0" fmla="*/ 42 w 49"/>
                <a:gd name="T1" fmla="*/ 19 h 77"/>
                <a:gd name="T2" fmla="*/ 33 w 49"/>
                <a:gd name="T3" fmla="*/ 16 h 77"/>
                <a:gd name="T4" fmla="*/ 19 w 49"/>
                <a:gd name="T5" fmla="*/ 23 h 77"/>
                <a:gd name="T6" fmla="*/ 19 w 49"/>
                <a:gd name="T7" fmla="*/ 63 h 77"/>
                <a:gd name="T8" fmla="*/ 0 w 49"/>
                <a:gd name="T9" fmla="*/ 77 h 77"/>
                <a:gd name="T10" fmla="*/ 0 w 49"/>
                <a:gd name="T11" fmla="*/ 1 h 77"/>
                <a:gd name="T12" fmla="*/ 16 w 49"/>
                <a:gd name="T13" fmla="*/ 1 h 77"/>
                <a:gd name="T14" fmla="*/ 18 w 49"/>
                <a:gd name="T15" fmla="*/ 9 h 77"/>
                <a:gd name="T16" fmla="*/ 39 w 49"/>
                <a:gd name="T17" fmla="*/ 0 h 77"/>
                <a:gd name="T18" fmla="*/ 49 w 49"/>
                <a:gd name="T19" fmla="*/ 3 h 77"/>
                <a:gd name="T20" fmla="*/ 42 w 49"/>
                <a:gd name="T21"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77">
                  <a:moveTo>
                    <a:pt x="42" y="19"/>
                  </a:moveTo>
                  <a:cubicBezTo>
                    <a:pt x="39" y="17"/>
                    <a:pt x="36" y="16"/>
                    <a:pt x="33" y="16"/>
                  </a:cubicBezTo>
                  <a:cubicBezTo>
                    <a:pt x="29" y="16"/>
                    <a:pt x="24" y="18"/>
                    <a:pt x="19" y="23"/>
                  </a:cubicBezTo>
                  <a:cubicBezTo>
                    <a:pt x="19" y="2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2"/>
                    <a:pt x="32" y="0"/>
                    <a:pt x="39" y="0"/>
                  </a:cubicBezTo>
                  <a:cubicBezTo>
                    <a:pt x="42" y="0"/>
                    <a:pt x="46" y="1"/>
                    <a:pt x="49" y="3"/>
                  </a:cubicBezTo>
                  <a:lnTo>
                    <a:pt x="42" y="1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0" name="Freeform 23"/>
            <p:cNvSpPr>
              <a:spLocks noEditPoints="1"/>
            </p:cNvSpPr>
            <p:nvPr userDrawn="1"/>
          </p:nvSpPr>
          <p:spPr bwMode="auto">
            <a:xfrm>
              <a:off x="8178743" y="5040472"/>
              <a:ext cx="51712" cy="57878"/>
            </a:xfrm>
            <a:custGeom>
              <a:avLst/>
              <a:gdLst>
                <a:gd name="T0" fmla="*/ 0 w 68"/>
                <a:gd name="T1" fmla="*/ 40 h 80"/>
                <a:gd name="T2" fmla="*/ 34 w 68"/>
                <a:gd name="T3" fmla="*/ 0 h 80"/>
                <a:gd name="T4" fmla="*/ 68 w 68"/>
                <a:gd name="T5" fmla="*/ 41 h 80"/>
                <a:gd name="T6" fmla="*/ 68 w 68"/>
                <a:gd name="T7" fmla="*/ 46 h 80"/>
                <a:gd name="T8" fmla="*/ 19 w 68"/>
                <a:gd name="T9" fmla="*/ 46 h 80"/>
                <a:gd name="T10" fmla="*/ 41 w 68"/>
                <a:gd name="T11" fmla="*/ 65 h 80"/>
                <a:gd name="T12" fmla="*/ 60 w 68"/>
                <a:gd name="T13" fmla="*/ 60 h 80"/>
                <a:gd name="T14" fmla="*/ 66 w 68"/>
                <a:gd name="T15" fmla="*/ 73 h 80"/>
                <a:gd name="T16" fmla="*/ 39 w 68"/>
                <a:gd name="T17" fmla="*/ 80 h 80"/>
                <a:gd name="T18" fmla="*/ 0 w 68"/>
                <a:gd name="T19" fmla="*/ 40 h 80"/>
                <a:gd name="T20" fmla="*/ 49 w 68"/>
                <a:gd name="T21" fmla="*/ 32 h 80"/>
                <a:gd name="T22" fmla="*/ 34 w 68"/>
                <a:gd name="T23" fmla="*/ 15 h 80"/>
                <a:gd name="T24" fmla="*/ 19 w 68"/>
                <a:gd name="T25" fmla="*/ 32 h 80"/>
                <a:gd name="T26" fmla="*/ 49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3" y="0"/>
                    <a:pt x="34" y="0"/>
                  </a:cubicBezTo>
                  <a:cubicBezTo>
                    <a:pt x="56" y="0"/>
                    <a:pt x="68" y="16"/>
                    <a:pt x="68" y="41"/>
                  </a:cubicBezTo>
                  <a:cubicBezTo>
                    <a:pt x="68" y="46"/>
                    <a:pt x="68" y="46"/>
                    <a:pt x="68" y="46"/>
                  </a:cubicBezTo>
                  <a:cubicBezTo>
                    <a:pt x="19" y="46"/>
                    <a:pt x="19" y="46"/>
                    <a:pt x="19" y="46"/>
                  </a:cubicBezTo>
                  <a:cubicBezTo>
                    <a:pt x="20" y="57"/>
                    <a:pt x="28" y="65"/>
                    <a:pt x="41" y="65"/>
                  </a:cubicBezTo>
                  <a:cubicBezTo>
                    <a:pt x="49" y="65"/>
                    <a:pt x="55" y="63"/>
                    <a:pt x="60" y="60"/>
                  </a:cubicBezTo>
                  <a:cubicBezTo>
                    <a:pt x="66" y="73"/>
                    <a:pt x="66" y="73"/>
                    <a:pt x="66" y="73"/>
                  </a:cubicBezTo>
                  <a:cubicBezTo>
                    <a:pt x="58" y="78"/>
                    <a:pt x="48" y="80"/>
                    <a:pt x="39" y="80"/>
                  </a:cubicBezTo>
                  <a:cubicBezTo>
                    <a:pt x="11" y="80"/>
                    <a:pt x="0" y="61"/>
                    <a:pt x="0" y="40"/>
                  </a:cubicBezTo>
                  <a:close/>
                  <a:moveTo>
                    <a:pt x="49" y="32"/>
                  </a:moveTo>
                  <a:cubicBezTo>
                    <a:pt x="48" y="23"/>
                    <a:pt x="44" y="15"/>
                    <a:pt x="34" y="15"/>
                  </a:cubicBezTo>
                  <a:cubicBezTo>
                    <a:pt x="25" y="15"/>
                    <a:pt x="19" y="23"/>
                    <a:pt x="19" y="32"/>
                  </a:cubicBezTo>
                  <a:lnTo>
                    <a:pt x="49"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1" name="Freeform 24"/>
            <p:cNvSpPr>
              <a:spLocks noEditPoints="1"/>
            </p:cNvSpPr>
            <p:nvPr userDrawn="1"/>
          </p:nvSpPr>
          <p:spPr bwMode="auto">
            <a:xfrm>
              <a:off x="8236557" y="5040472"/>
              <a:ext cx="51390" cy="57878"/>
            </a:xfrm>
            <a:custGeom>
              <a:avLst/>
              <a:gdLst>
                <a:gd name="T0" fmla="*/ 0 w 68"/>
                <a:gd name="T1" fmla="*/ 40 h 80"/>
                <a:gd name="T2" fmla="*/ 34 w 68"/>
                <a:gd name="T3" fmla="*/ 0 h 80"/>
                <a:gd name="T4" fmla="*/ 68 w 68"/>
                <a:gd name="T5" fmla="*/ 41 h 80"/>
                <a:gd name="T6" fmla="*/ 68 w 68"/>
                <a:gd name="T7" fmla="*/ 46 h 80"/>
                <a:gd name="T8" fmla="*/ 19 w 68"/>
                <a:gd name="T9" fmla="*/ 46 h 80"/>
                <a:gd name="T10" fmla="*/ 40 w 68"/>
                <a:gd name="T11" fmla="*/ 65 h 80"/>
                <a:gd name="T12" fmla="*/ 60 w 68"/>
                <a:gd name="T13" fmla="*/ 60 h 80"/>
                <a:gd name="T14" fmla="*/ 65 w 68"/>
                <a:gd name="T15" fmla="*/ 73 h 80"/>
                <a:gd name="T16" fmla="*/ 39 w 68"/>
                <a:gd name="T17" fmla="*/ 80 h 80"/>
                <a:gd name="T18" fmla="*/ 0 w 68"/>
                <a:gd name="T19" fmla="*/ 40 h 80"/>
                <a:gd name="T20" fmla="*/ 48 w 68"/>
                <a:gd name="T21" fmla="*/ 32 h 80"/>
                <a:gd name="T22" fmla="*/ 34 w 68"/>
                <a:gd name="T23" fmla="*/ 15 h 80"/>
                <a:gd name="T24" fmla="*/ 19 w 68"/>
                <a:gd name="T25" fmla="*/ 32 h 80"/>
                <a:gd name="T26" fmla="*/ 48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2" y="0"/>
                    <a:pt x="34" y="0"/>
                  </a:cubicBezTo>
                  <a:cubicBezTo>
                    <a:pt x="55" y="0"/>
                    <a:pt x="68" y="16"/>
                    <a:pt x="68" y="41"/>
                  </a:cubicBezTo>
                  <a:cubicBezTo>
                    <a:pt x="68" y="46"/>
                    <a:pt x="68" y="46"/>
                    <a:pt x="68" y="46"/>
                  </a:cubicBezTo>
                  <a:cubicBezTo>
                    <a:pt x="19" y="46"/>
                    <a:pt x="19" y="46"/>
                    <a:pt x="19" y="46"/>
                  </a:cubicBezTo>
                  <a:cubicBezTo>
                    <a:pt x="19" y="57"/>
                    <a:pt x="28" y="65"/>
                    <a:pt x="40" y="65"/>
                  </a:cubicBezTo>
                  <a:cubicBezTo>
                    <a:pt x="48" y="65"/>
                    <a:pt x="54" y="63"/>
                    <a:pt x="60" y="60"/>
                  </a:cubicBezTo>
                  <a:cubicBezTo>
                    <a:pt x="65" y="73"/>
                    <a:pt x="65" y="73"/>
                    <a:pt x="65" y="73"/>
                  </a:cubicBezTo>
                  <a:cubicBezTo>
                    <a:pt x="57" y="78"/>
                    <a:pt x="48" y="80"/>
                    <a:pt x="39" y="80"/>
                  </a:cubicBezTo>
                  <a:cubicBezTo>
                    <a:pt x="11" y="80"/>
                    <a:pt x="0" y="61"/>
                    <a:pt x="0" y="40"/>
                  </a:cubicBezTo>
                  <a:close/>
                  <a:moveTo>
                    <a:pt x="48" y="32"/>
                  </a:moveTo>
                  <a:cubicBezTo>
                    <a:pt x="48" y="23"/>
                    <a:pt x="44" y="15"/>
                    <a:pt x="34" y="15"/>
                  </a:cubicBezTo>
                  <a:cubicBezTo>
                    <a:pt x="24" y="15"/>
                    <a:pt x="19" y="23"/>
                    <a:pt x="19" y="32"/>
                  </a:cubicBezTo>
                  <a:lnTo>
                    <a:pt x="48"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2" name="Freeform 25"/>
            <p:cNvSpPr>
              <a:spLocks/>
            </p:cNvSpPr>
            <p:nvPr userDrawn="1"/>
          </p:nvSpPr>
          <p:spPr bwMode="auto">
            <a:xfrm>
              <a:off x="8040631" y="5041088"/>
              <a:ext cx="37258" cy="56031"/>
            </a:xfrm>
            <a:custGeom>
              <a:avLst/>
              <a:gdLst>
                <a:gd name="T0" fmla="*/ 42 w 49"/>
                <a:gd name="T1" fmla="*/ 19 h 77"/>
                <a:gd name="T2" fmla="*/ 33 w 49"/>
                <a:gd name="T3" fmla="*/ 16 h 77"/>
                <a:gd name="T4" fmla="*/ 19 w 49"/>
                <a:gd name="T5" fmla="*/ 23 h 77"/>
                <a:gd name="T6" fmla="*/ 19 w 49"/>
                <a:gd name="T7" fmla="*/ 63 h 77"/>
                <a:gd name="T8" fmla="*/ 0 w 49"/>
                <a:gd name="T9" fmla="*/ 77 h 77"/>
                <a:gd name="T10" fmla="*/ 0 w 49"/>
                <a:gd name="T11" fmla="*/ 1 h 77"/>
                <a:gd name="T12" fmla="*/ 16 w 49"/>
                <a:gd name="T13" fmla="*/ 1 h 77"/>
                <a:gd name="T14" fmla="*/ 18 w 49"/>
                <a:gd name="T15" fmla="*/ 9 h 77"/>
                <a:gd name="T16" fmla="*/ 38 w 49"/>
                <a:gd name="T17" fmla="*/ 0 h 77"/>
                <a:gd name="T18" fmla="*/ 49 w 49"/>
                <a:gd name="T19" fmla="*/ 3 h 77"/>
                <a:gd name="T20" fmla="*/ 42 w 49"/>
                <a:gd name="T21"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77">
                  <a:moveTo>
                    <a:pt x="42" y="19"/>
                  </a:moveTo>
                  <a:cubicBezTo>
                    <a:pt x="39" y="17"/>
                    <a:pt x="35" y="16"/>
                    <a:pt x="33" y="16"/>
                  </a:cubicBezTo>
                  <a:cubicBezTo>
                    <a:pt x="29" y="16"/>
                    <a:pt x="24" y="18"/>
                    <a:pt x="19" y="23"/>
                  </a:cubicBezTo>
                  <a:cubicBezTo>
                    <a:pt x="19" y="2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2"/>
                    <a:pt x="31" y="0"/>
                    <a:pt x="38" y="0"/>
                  </a:cubicBezTo>
                  <a:cubicBezTo>
                    <a:pt x="42" y="0"/>
                    <a:pt x="46" y="1"/>
                    <a:pt x="49" y="3"/>
                  </a:cubicBezTo>
                  <a:lnTo>
                    <a:pt x="42" y="1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3" name="Freeform 26"/>
            <p:cNvSpPr>
              <a:spLocks/>
            </p:cNvSpPr>
            <p:nvPr userDrawn="1"/>
          </p:nvSpPr>
          <p:spPr bwMode="auto">
            <a:xfrm>
              <a:off x="8083992" y="5041088"/>
              <a:ext cx="86400" cy="56031"/>
            </a:xfrm>
            <a:custGeom>
              <a:avLst/>
              <a:gdLst>
                <a:gd name="T0" fmla="*/ 114 w 114"/>
                <a:gd name="T1" fmla="*/ 25 h 77"/>
                <a:gd name="T2" fmla="*/ 114 w 114"/>
                <a:gd name="T3" fmla="*/ 63 h 77"/>
                <a:gd name="T4" fmla="*/ 95 w 114"/>
                <a:gd name="T5" fmla="*/ 77 h 77"/>
                <a:gd name="T6" fmla="*/ 95 w 114"/>
                <a:gd name="T7" fmla="*/ 31 h 77"/>
                <a:gd name="T8" fmla="*/ 84 w 114"/>
                <a:gd name="T9" fmla="*/ 16 h 77"/>
                <a:gd name="T10" fmla="*/ 66 w 114"/>
                <a:gd name="T11" fmla="*/ 23 h 77"/>
                <a:gd name="T12" fmla="*/ 66 w 114"/>
                <a:gd name="T13" fmla="*/ 63 h 77"/>
                <a:gd name="T14" fmla="*/ 66 w 114"/>
                <a:gd name="T15" fmla="*/ 63 h 77"/>
                <a:gd name="T16" fmla="*/ 47 w 114"/>
                <a:gd name="T17" fmla="*/ 77 h 77"/>
                <a:gd name="T18" fmla="*/ 47 w 114"/>
                <a:gd name="T19" fmla="*/ 31 h 77"/>
                <a:gd name="T20" fmla="*/ 37 w 114"/>
                <a:gd name="T21" fmla="*/ 16 h 77"/>
                <a:gd name="T22" fmla="*/ 19 w 114"/>
                <a:gd name="T23" fmla="*/ 23 h 77"/>
                <a:gd name="T24" fmla="*/ 19 w 114"/>
                <a:gd name="T25" fmla="*/ 63 h 77"/>
                <a:gd name="T26" fmla="*/ 19 w 114"/>
                <a:gd name="T27" fmla="*/ 63 h 77"/>
                <a:gd name="T28" fmla="*/ 0 w 114"/>
                <a:gd name="T29" fmla="*/ 77 h 77"/>
                <a:gd name="T30" fmla="*/ 0 w 114"/>
                <a:gd name="T31" fmla="*/ 1 h 77"/>
                <a:gd name="T32" fmla="*/ 16 w 114"/>
                <a:gd name="T33" fmla="*/ 1 h 77"/>
                <a:gd name="T34" fmla="*/ 18 w 114"/>
                <a:gd name="T35" fmla="*/ 9 h 77"/>
                <a:gd name="T36" fmla="*/ 43 w 114"/>
                <a:gd name="T37" fmla="*/ 0 h 77"/>
                <a:gd name="T38" fmla="*/ 63 w 114"/>
                <a:gd name="T39" fmla="*/ 11 h 77"/>
                <a:gd name="T40" fmla="*/ 89 w 114"/>
                <a:gd name="T41" fmla="*/ 0 h 77"/>
                <a:gd name="T42" fmla="*/ 114 w 114"/>
                <a:gd name="T43" fmla="*/ 2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77">
                  <a:moveTo>
                    <a:pt x="114" y="25"/>
                  </a:moveTo>
                  <a:cubicBezTo>
                    <a:pt x="114" y="63"/>
                    <a:pt x="114" y="63"/>
                    <a:pt x="114" y="63"/>
                  </a:cubicBezTo>
                  <a:cubicBezTo>
                    <a:pt x="114" y="77"/>
                    <a:pt x="95" y="77"/>
                    <a:pt x="95" y="77"/>
                  </a:cubicBezTo>
                  <a:cubicBezTo>
                    <a:pt x="95" y="31"/>
                    <a:pt x="95" y="31"/>
                    <a:pt x="95" y="31"/>
                  </a:cubicBezTo>
                  <a:cubicBezTo>
                    <a:pt x="95" y="22"/>
                    <a:pt x="93" y="16"/>
                    <a:pt x="84" y="16"/>
                  </a:cubicBezTo>
                  <a:cubicBezTo>
                    <a:pt x="77" y="16"/>
                    <a:pt x="71" y="19"/>
                    <a:pt x="66" y="23"/>
                  </a:cubicBezTo>
                  <a:cubicBezTo>
                    <a:pt x="66" y="63"/>
                    <a:pt x="66" y="63"/>
                    <a:pt x="66" y="63"/>
                  </a:cubicBezTo>
                  <a:cubicBezTo>
                    <a:pt x="66" y="63"/>
                    <a:pt x="66" y="49"/>
                    <a:pt x="66" y="63"/>
                  </a:cubicBezTo>
                  <a:cubicBezTo>
                    <a:pt x="66" y="77"/>
                    <a:pt x="47" y="77"/>
                    <a:pt x="47" y="77"/>
                  </a:cubicBezTo>
                  <a:cubicBezTo>
                    <a:pt x="47" y="31"/>
                    <a:pt x="47" y="31"/>
                    <a:pt x="47" y="31"/>
                  </a:cubicBezTo>
                  <a:cubicBezTo>
                    <a:pt x="47" y="23"/>
                    <a:pt x="46" y="16"/>
                    <a:pt x="37" y="16"/>
                  </a:cubicBezTo>
                  <a:cubicBezTo>
                    <a:pt x="30" y="16"/>
                    <a:pt x="19" y="23"/>
                    <a:pt x="19" y="23"/>
                  </a:cubicBezTo>
                  <a:cubicBezTo>
                    <a:pt x="19" y="63"/>
                    <a:pt x="19" y="63"/>
                    <a:pt x="19" y="63"/>
                  </a:cubicBezTo>
                  <a:cubicBezTo>
                    <a:pt x="19" y="6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3"/>
                    <a:pt x="34" y="0"/>
                    <a:pt x="43" y="0"/>
                  </a:cubicBezTo>
                  <a:cubicBezTo>
                    <a:pt x="52" y="0"/>
                    <a:pt x="59" y="4"/>
                    <a:pt x="63" y="11"/>
                  </a:cubicBezTo>
                  <a:cubicBezTo>
                    <a:pt x="71" y="3"/>
                    <a:pt x="81" y="0"/>
                    <a:pt x="89" y="0"/>
                  </a:cubicBezTo>
                  <a:cubicBezTo>
                    <a:pt x="102" y="0"/>
                    <a:pt x="114" y="6"/>
                    <a:pt x="114" y="25"/>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4" name="Freeform 27"/>
            <p:cNvSpPr>
              <a:spLocks/>
            </p:cNvSpPr>
            <p:nvPr userDrawn="1"/>
          </p:nvSpPr>
          <p:spPr bwMode="auto">
            <a:xfrm>
              <a:off x="7908622" y="5019846"/>
              <a:ext cx="77407" cy="77889"/>
            </a:xfrm>
            <a:custGeom>
              <a:avLst/>
              <a:gdLst>
                <a:gd name="T0" fmla="*/ 43 w 102"/>
                <a:gd name="T1" fmla="*/ 107 h 107"/>
                <a:gd name="T2" fmla="*/ 65 w 102"/>
                <a:gd name="T3" fmla="*/ 91 h 107"/>
                <a:gd name="T4" fmla="*/ 102 w 102"/>
                <a:gd name="T5" fmla="*/ 0 h 107"/>
                <a:gd name="T6" fmla="*/ 81 w 102"/>
                <a:gd name="T7" fmla="*/ 0 h 107"/>
                <a:gd name="T8" fmla="*/ 51 w 102"/>
                <a:gd name="T9" fmla="*/ 78 h 107"/>
                <a:gd name="T10" fmla="*/ 51 w 102"/>
                <a:gd name="T11" fmla="*/ 78 h 107"/>
                <a:gd name="T12" fmla="*/ 21 w 102"/>
                <a:gd name="T13" fmla="*/ 0 h 107"/>
                <a:gd name="T14" fmla="*/ 0 w 102"/>
                <a:gd name="T15" fmla="*/ 0 h 107"/>
                <a:gd name="T16" fmla="*/ 43 w 102"/>
                <a:gd name="T17"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107">
                  <a:moveTo>
                    <a:pt x="43" y="107"/>
                  </a:moveTo>
                  <a:cubicBezTo>
                    <a:pt x="57" y="107"/>
                    <a:pt x="61" y="101"/>
                    <a:pt x="65" y="91"/>
                  </a:cubicBezTo>
                  <a:cubicBezTo>
                    <a:pt x="102" y="0"/>
                    <a:pt x="102" y="0"/>
                    <a:pt x="102" y="0"/>
                  </a:cubicBezTo>
                  <a:cubicBezTo>
                    <a:pt x="81" y="0"/>
                    <a:pt x="81" y="0"/>
                    <a:pt x="81" y="0"/>
                  </a:cubicBezTo>
                  <a:cubicBezTo>
                    <a:pt x="51" y="78"/>
                    <a:pt x="51" y="78"/>
                    <a:pt x="51" y="78"/>
                  </a:cubicBezTo>
                  <a:cubicBezTo>
                    <a:pt x="51" y="78"/>
                    <a:pt x="51" y="78"/>
                    <a:pt x="51" y="78"/>
                  </a:cubicBezTo>
                  <a:cubicBezTo>
                    <a:pt x="21" y="0"/>
                    <a:pt x="21" y="0"/>
                    <a:pt x="21" y="0"/>
                  </a:cubicBezTo>
                  <a:cubicBezTo>
                    <a:pt x="0" y="0"/>
                    <a:pt x="0" y="0"/>
                    <a:pt x="0" y="0"/>
                  </a:cubicBezTo>
                  <a:cubicBezTo>
                    <a:pt x="43" y="107"/>
                    <a:pt x="43" y="107"/>
                    <a:pt x="43" y="10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cxnSp>
        <p:nvCxnSpPr>
          <p:cNvPr id="32" name="Straight Connector 31"/>
          <p:cNvCxnSpPr/>
          <p:nvPr userDrawn="1"/>
        </p:nvCxnSpPr>
        <p:spPr>
          <a:xfrm>
            <a:off x="343365" y="470176"/>
            <a:ext cx="8460000" cy="0"/>
          </a:xfrm>
          <a:prstGeom prst="line">
            <a:avLst/>
          </a:prstGeom>
          <a:ln w="6350" cmpd="sng">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343365" y="4801146"/>
            <a:ext cx="8460000" cy="0"/>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sp>
        <p:nvSpPr>
          <p:cNvPr id="67"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rgbClr val="FFFFFF"/>
                </a:solidFill>
                <a:latin typeface="+mn-lt"/>
              </a:defRPr>
            </a:lvl1pPr>
          </a:lstStyle>
          <a:p>
            <a:fld id="{19AB4E72-7858-48F1-A40D-12FF09E4BFB8}" type="slidenum">
              <a:rPr lang="en-GB" smtClean="0"/>
              <a:pPr/>
              <a:t>‹Nº›</a:t>
            </a:fld>
            <a:endParaRPr lang="en-GB"/>
          </a:p>
        </p:txBody>
      </p:sp>
      <p:sp>
        <p:nvSpPr>
          <p:cNvPr id="36" name="Title 1"/>
          <p:cNvSpPr>
            <a:spLocks noGrp="1"/>
          </p:cNvSpPr>
          <p:nvPr>
            <p:ph type="ctrTitle" hasCustomPrompt="1"/>
          </p:nvPr>
        </p:nvSpPr>
        <p:spPr>
          <a:xfrm>
            <a:off x="343365" y="2867487"/>
            <a:ext cx="8460000" cy="443198"/>
          </a:xfrm>
          <a:prstGeom prst="rect">
            <a:avLst/>
          </a:prstGeom>
        </p:spPr>
        <p:txBody>
          <a:bodyPr lIns="0" tIns="0" rIns="0" bIns="0" anchor="b"/>
          <a:lstStyle>
            <a:lvl1pPr>
              <a:lnSpc>
                <a:spcPct val="90000"/>
              </a:lnSpc>
              <a:defRPr sz="3200" b="0">
                <a:solidFill>
                  <a:schemeClr val="bg1"/>
                </a:solidFill>
              </a:defRPr>
            </a:lvl1pPr>
          </a:lstStyle>
          <a:p>
            <a:r>
              <a:rPr lang="en-US" dirty="0" smtClean="0"/>
              <a:t>Click to edit Master title Style</a:t>
            </a:r>
            <a:endParaRPr lang="en-US" dirty="0"/>
          </a:p>
        </p:txBody>
      </p:sp>
      <p:sp>
        <p:nvSpPr>
          <p:cNvPr id="37" name="Subtitle 2"/>
          <p:cNvSpPr>
            <a:spLocks noGrp="1"/>
          </p:cNvSpPr>
          <p:nvPr>
            <p:ph type="subTitle" idx="1" hasCustomPrompt="1"/>
          </p:nvPr>
        </p:nvSpPr>
        <p:spPr>
          <a:xfrm>
            <a:off x="343364" y="3474100"/>
            <a:ext cx="8460000" cy="202165"/>
          </a:xfrm>
          <a:prstGeom prst="rect">
            <a:avLst/>
          </a:prstGeom>
        </p:spPr>
        <p:txBody>
          <a:bodyPr lIns="0" tIns="0" rIns="0" bIns="0">
            <a:noAutofit/>
          </a:bodyPr>
          <a:lstStyle>
            <a:lvl1pPr marL="0" indent="0" algn="l">
              <a:buNone/>
              <a:defRPr sz="14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cxnSp>
        <p:nvCxnSpPr>
          <p:cNvPr id="38" name="Straight Connector 37"/>
          <p:cNvCxnSpPr/>
          <p:nvPr userDrawn="1"/>
        </p:nvCxnSpPr>
        <p:spPr>
          <a:xfrm>
            <a:off x="346086" y="3395058"/>
            <a:ext cx="8460000" cy="0"/>
          </a:xfrm>
          <a:prstGeom prst="line">
            <a:avLst/>
          </a:prstGeom>
          <a:ln w="12700" cmpd="sng">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52" name="Group 151"/>
          <p:cNvGrpSpPr/>
          <p:nvPr userDrawn="1"/>
        </p:nvGrpSpPr>
        <p:grpSpPr>
          <a:xfrm>
            <a:off x="6226041" y="4843403"/>
            <a:ext cx="1123200" cy="262117"/>
            <a:chOff x="7686782" y="4354553"/>
            <a:chExt cx="1123200" cy="262117"/>
          </a:xfrm>
          <a:solidFill>
            <a:schemeClr val="bg1"/>
          </a:solidFill>
        </p:grpSpPr>
        <p:sp>
          <p:nvSpPr>
            <p:cNvPr id="153" name="Freeform 152"/>
            <p:cNvSpPr>
              <a:spLocks/>
            </p:cNvSpPr>
            <p:nvPr/>
          </p:nvSpPr>
          <p:spPr bwMode="auto">
            <a:xfrm>
              <a:off x="8637817" y="4415076"/>
              <a:ext cx="103629" cy="66531"/>
            </a:xfrm>
            <a:custGeom>
              <a:avLst/>
              <a:gdLst>
                <a:gd name="T0" fmla="*/ 50 w 62"/>
                <a:gd name="T1" fmla="*/ 33 h 42"/>
                <a:gd name="T2" fmla="*/ 39 w 62"/>
                <a:gd name="T3" fmla="*/ 40 h 42"/>
                <a:gd name="T4" fmla="*/ 31 w 62"/>
                <a:gd name="T5" fmla="*/ 13 h 42"/>
                <a:gd name="T6" fmla="*/ 30 w 62"/>
                <a:gd name="T7" fmla="*/ 13 h 42"/>
                <a:gd name="T8" fmla="*/ 24 w 62"/>
                <a:gd name="T9" fmla="*/ 33 h 42"/>
                <a:gd name="T10" fmla="*/ 14 w 62"/>
                <a:gd name="T11" fmla="*/ 40 h 42"/>
                <a:gd name="T12" fmla="*/ 0 w 62"/>
                <a:gd name="T13" fmla="*/ 0 h 42"/>
                <a:gd name="T14" fmla="*/ 10 w 62"/>
                <a:gd name="T15" fmla="*/ 0 h 42"/>
                <a:gd name="T16" fmla="*/ 18 w 62"/>
                <a:gd name="T17" fmla="*/ 27 h 42"/>
                <a:gd name="T18" fmla="*/ 18 w 62"/>
                <a:gd name="T19" fmla="*/ 27 h 42"/>
                <a:gd name="T20" fmla="*/ 27 w 62"/>
                <a:gd name="T21" fmla="*/ 0 h 42"/>
                <a:gd name="T22" fmla="*/ 35 w 62"/>
                <a:gd name="T23" fmla="*/ 0 h 42"/>
                <a:gd name="T24" fmla="*/ 43 w 62"/>
                <a:gd name="T25" fmla="*/ 27 h 42"/>
                <a:gd name="T26" fmla="*/ 44 w 62"/>
                <a:gd name="T27" fmla="*/ 27 h 42"/>
                <a:gd name="T28" fmla="*/ 52 w 62"/>
                <a:gd name="T29" fmla="*/ 0 h 42"/>
                <a:gd name="T30" fmla="*/ 62 w 62"/>
                <a:gd name="T31" fmla="*/ 0 h 42"/>
                <a:gd name="T32" fmla="*/ 50 w 62"/>
                <a:gd name="T33" fmla="*/ 3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 h="42">
                  <a:moveTo>
                    <a:pt x="50" y="33"/>
                  </a:moveTo>
                  <a:cubicBezTo>
                    <a:pt x="47" y="42"/>
                    <a:pt x="39" y="40"/>
                    <a:pt x="39" y="40"/>
                  </a:cubicBezTo>
                  <a:cubicBezTo>
                    <a:pt x="31" y="13"/>
                    <a:pt x="31" y="13"/>
                    <a:pt x="31" y="13"/>
                  </a:cubicBezTo>
                  <a:cubicBezTo>
                    <a:pt x="30" y="13"/>
                    <a:pt x="30" y="13"/>
                    <a:pt x="30" y="13"/>
                  </a:cubicBezTo>
                  <a:cubicBezTo>
                    <a:pt x="30" y="13"/>
                    <a:pt x="26" y="26"/>
                    <a:pt x="24" y="33"/>
                  </a:cubicBezTo>
                  <a:cubicBezTo>
                    <a:pt x="21" y="42"/>
                    <a:pt x="14" y="40"/>
                    <a:pt x="14" y="40"/>
                  </a:cubicBezTo>
                  <a:cubicBezTo>
                    <a:pt x="0" y="0"/>
                    <a:pt x="0" y="0"/>
                    <a:pt x="0" y="0"/>
                  </a:cubicBezTo>
                  <a:cubicBezTo>
                    <a:pt x="10" y="0"/>
                    <a:pt x="10" y="0"/>
                    <a:pt x="10" y="0"/>
                  </a:cubicBezTo>
                  <a:cubicBezTo>
                    <a:pt x="18" y="27"/>
                    <a:pt x="18" y="27"/>
                    <a:pt x="18" y="27"/>
                  </a:cubicBezTo>
                  <a:cubicBezTo>
                    <a:pt x="18" y="27"/>
                    <a:pt x="18" y="27"/>
                    <a:pt x="18" y="27"/>
                  </a:cubicBezTo>
                  <a:cubicBezTo>
                    <a:pt x="27" y="0"/>
                    <a:pt x="27" y="0"/>
                    <a:pt x="27" y="0"/>
                  </a:cubicBezTo>
                  <a:cubicBezTo>
                    <a:pt x="35" y="0"/>
                    <a:pt x="35" y="0"/>
                    <a:pt x="35" y="0"/>
                  </a:cubicBezTo>
                  <a:cubicBezTo>
                    <a:pt x="43" y="27"/>
                    <a:pt x="43" y="27"/>
                    <a:pt x="43" y="27"/>
                  </a:cubicBezTo>
                  <a:cubicBezTo>
                    <a:pt x="44" y="27"/>
                    <a:pt x="44" y="27"/>
                    <a:pt x="44" y="27"/>
                  </a:cubicBezTo>
                  <a:cubicBezTo>
                    <a:pt x="52" y="0"/>
                    <a:pt x="52" y="0"/>
                    <a:pt x="52" y="0"/>
                  </a:cubicBezTo>
                  <a:cubicBezTo>
                    <a:pt x="62" y="0"/>
                    <a:pt x="62" y="0"/>
                    <a:pt x="62" y="0"/>
                  </a:cubicBezTo>
                  <a:cubicBezTo>
                    <a:pt x="62" y="0"/>
                    <a:pt x="52" y="26"/>
                    <a:pt x="5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4" name="Freeform 153"/>
            <p:cNvSpPr>
              <a:spLocks noEditPoints="1"/>
            </p:cNvSpPr>
            <p:nvPr/>
          </p:nvSpPr>
          <p:spPr bwMode="auto">
            <a:xfrm>
              <a:off x="8445631" y="4383257"/>
              <a:ext cx="65239" cy="93677"/>
            </a:xfrm>
            <a:custGeom>
              <a:avLst/>
              <a:gdLst>
                <a:gd name="T0" fmla="*/ 0 w 39"/>
                <a:gd name="T1" fmla="*/ 0 h 59"/>
                <a:gd name="T2" fmla="*/ 0 w 39"/>
                <a:gd name="T3" fmla="*/ 59 h 59"/>
                <a:gd name="T4" fmla="*/ 18 w 39"/>
                <a:gd name="T5" fmla="*/ 59 h 59"/>
                <a:gd name="T6" fmla="*/ 39 w 39"/>
                <a:gd name="T7" fmla="*/ 42 h 59"/>
                <a:gd name="T8" fmla="*/ 29 w 39"/>
                <a:gd name="T9" fmla="*/ 28 h 59"/>
                <a:gd name="T10" fmla="*/ 28 w 39"/>
                <a:gd name="T11" fmla="*/ 27 h 59"/>
                <a:gd name="T12" fmla="*/ 29 w 39"/>
                <a:gd name="T13" fmla="*/ 27 h 59"/>
                <a:gd name="T14" fmla="*/ 35 w 39"/>
                <a:gd name="T15" fmla="*/ 15 h 59"/>
                <a:gd name="T16" fmla="*/ 19 w 39"/>
                <a:gd name="T17" fmla="*/ 0 h 59"/>
                <a:gd name="T18" fmla="*/ 0 w 39"/>
                <a:gd name="T19" fmla="*/ 0 h 59"/>
                <a:gd name="T20" fmla="*/ 10 w 39"/>
                <a:gd name="T21" fmla="*/ 8 h 59"/>
                <a:gd name="T22" fmla="*/ 16 w 39"/>
                <a:gd name="T23" fmla="*/ 8 h 59"/>
                <a:gd name="T24" fmla="*/ 25 w 39"/>
                <a:gd name="T25" fmla="*/ 16 h 59"/>
                <a:gd name="T26" fmla="*/ 17 w 39"/>
                <a:gd name="T27" fmla="*/ 25 h 59"/>
                <a:gd name="T28" fmla="*/ 10 w 39"/>
                <a:gd name="T29" fmla="*/ 25 h 59"/>
                <a:gd name="T30" fmla="*/ 10 w 39"/>
                <a:gd name="T31" fmla="*/ 8 h 59"/>
                <a:gd name="T32" fmla="*/ 10 w 39"/>
                <a:gd name="T33" fmla="*/ 33 h 59"/>
                <a:gd name="T34" fmla="*/ 18 w 39"/>
                <a:gd name="T35" fmla="*/ 33 h 59"/>
                <a:gd name="T36" fmla="*/ 29 w 39"/>
                <a:gd name="T37" fmla="*/ 42 h 59"/>
                <a:gd name="T38" fmla="*/ 17 w 39"/>
                <a:gd name="T39" fmla="*/ 51 h 59"/>
                <a:gd name="T40" fmla="*/ 10 w 39"/>
                <a:gd name="T41" fmla="*/ 51 h 59"/>
                <a:gd name="T42" fmla="*/ 10 w 39"/>
                <a:gd name="T43"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9">
                  <a:moveTo>
                    <a:pt x="0" y="0"/>
                  </a:moveTo>
                  <a:cubicBezTo>
                    <a:pt x="0" y="1"/>
                    <a:pt x="0" y="59"/>
                    <a:pt x="0" y="59"/>
                  </a:cubicBezTo>
                  <a:cubicBezTo>
                    <a:pt x="1" y="59"/>
                    <a:pt x="18" y="59"/>
                    <a:pt x="18" y="59"/>
                  </a:cubicBezTo>
                  <a:cubicBezTo>
                    <a:pt x="33" y="59"/>
                    <a:pt x="39" y="51"/>
                    <a:pt x="39" y="42"/>
                  </a:cubicBezTo>
                  <a:cubicBezTo>
                    <a:pt x="39" y="35"/>
                    <a:pt x="36" y="29"/>
                    <a:pt x="29" y="28"/>
                  </a:cubicBezTo>
                  <a:cubicBezTo>
                    <a:pt x="28" y="27"/>
                    <a:pt x="28" y="27"/>
                    <a:pt x="28" y="27"/>
                  </a:cubicBezTo>
                  <a:cubicBezTo>
                    <a:pt x="29" y="27"/>
                    <a:pt x="29" y="27"/>
                    <a:pt x="29" y="27"/>
                  </a:cubicBezTo>
                  <a:cubicBezTo>
                    <a:pt x="33" y="24"/>
                    <a:pt x="35" y="20"/>
                    <a:pt x="35" y="15"/>
                  </a:cubicBezTo>
                  <a:cubicBezTo>
                    <a:pt x="35" y="8"/>
                    <a:pt x="30" y="0"/>
                    <a:pt x="19" y="0"/>
                  </a:cubicBezTo>
                  <a:cubicBezTo>
                    <a:pt x="19" y="0"/>
                    <a:pt x="1" y="0"/>
                    <a:pt x="0" y="0"/>
                  </a:cubicBezTo>
                  <a:close/>
                  <a:moveTo>
                    <a:pt x="10" y="8"/>
                  </a:moveTo>
                  <a:cubicBezTo>
                    <a:pt x="16" y="8"/>
                    <a:pt x="16" y="8"/>
                    <a:pt x="16" y="8"/>
                  </a:cubicBezTo>
                  <a:cubicBezTo>
                    <a:pt x="22" y="8"/>
                    <a:pt x="25" y="11"/>
                    <a:pt x="25" y="16"/>
                  </a:cubicBezTo>
                  <a:cubicBezTo>
                    <a:pt x="25" y="21"/>
                    <a:pt x="21" y="25"/>
                    <a:pt x="17" y="25"/>
                  </a:cubicBezTo>
                  <a:cubicBezTo>
                    <a:pt x="10" y="25"/>
                    <a:pt x="10" y="25"/>
                    <a:pt x="10" y="25"/>
                  </a:cubicBezTo>
                  <a:lnTo>
                    <a:pt x="10" y="8"/>
                  </a:lnTo>
                  <a:close/>
                  <a:moveTo>
                    <a:pt x="10" y="33"/>
                  </a:moveTo>
                  <a:cubicBezTo>
                    <a:pt x="18" y="33"/>
                    <a:pt x="18" y="33"/>
                    <a:pt x="18" y="33"/>
                  </a:cubicBezTo>
                  <a:cubicBezTo>
                    <a:pt x="25" y="33"/>
                    <a:pt x="29" y="37"/>
                    <a:pt x="29" y="42"/>
                  </a:cubicBezTo>
                  <a:cubicBezTo>
                    <a:pt x="29" y="48"/>
                    <a:pt x="25" y="51"/>
                    <a:pt x="17" y="51"/>
                  </a:cubicBezTo>
                  <a:cubicBezTo>
                    <a:pt x="10" y="51"/>
                    <a:pt x="10" y="51"/>
                    <a:pt x="10" y="51"/>
                  </a:cubicBezTo>
                  <a:lnTo>
                    <a:pt x="1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5" name="Freeform 154"/>
            <p:cNvSpPr>
              <a:spLocks noEditPoints="1"/>
            </p:cNvSpPr>
            <p:nvPr/>
          </p:nvSpPr>
          <p:spPr bwMode="auto">
            <a:xfrm>
              <a:off x="8567631" y="4413518"/>
              <a:ext cx="66888" cy="64973"/>
            </a:xfrm>
            <a:custGeom>
              <a:avLst/>
              <a:gdLst>
                <a:gd name="T0" fmla="*/ 34 w 40"/>
                <a:gd name="T1" fmla="*/ 36 h 41"/>
                <a:gd name="T2" fmla="*/ 20 w 40"/>
                <a:gd name="T3" fmla="*/ 41 h 41"/>
                <a:gd name="T4" fmla="*/ 7 w 40"/>
                <a:gd name="T5" fmla="*/ 36 h 41"/>
                <a:gd name="T6" fmla="*/ 0 w 40"/>
                <a:gd name="T7" fmla="*/ 21 h 41"/>
                <a:gd name="T8" fmla="*/ 6 w 40"/>
                <a:gd name="T9" fmla="*/ 6 h 41"/>
                <a:gd name="T10" fmla="*/ 20 w 40"/>
                <a:gd name="T11" fmla="*/ 0 h 41"/>
                <a:gd name="T12" fmla="*/ 35 w 40"/>
                <a:gd name="T13" fmla="*/ 6 h 41"/>
                <a:gd name="T14" fmla="*/ 40 w 40"/>
                <a:gd name="T15" fmla="*/ 20 h 41"/>
                <a:gd name="T16" fmla="*/ 34 w 40"/>
                <a:gd name="T17" fmla="*/ 36 h 41"/>
                <a:gd name="T18" fmla="*/ 20 w 40"/>
                <a:gd name="T19" fmla="*/ 8 h 41"/>
                <a:gd name="T20" fmla="*/ 11 w 40"/>
                <a:gd name="T21" fmla="*/ 21 h 41"/>
                <a:gd name="T22" fmla="*/ 20 w 40"/>
                <a:gd name="T23" fmla="*/ 33 h 41"/>
                <a:gd name="T24" fmla="*/ 30 w 40"/>
                <a:gd name="T25" fmla="*/ 21 h 41"/>
                <a:gd name="T26" fmla="*/ 20 w 40"/>
                <a:gd name="T27" fmla="*/ 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4" y="36"/>
                  </a:moveTo>
                  <a:cubicBezTo>
                    <a:pt x="31" y="39"/>
                    <a:pt x="26" y="41"/>
                    <a:pt x="20" y="41"/>
                  </a:cubicBezTo>
                  <a:cubicBezTo>
                    <a:pt x="15" y="41"/>
                    <a:pt x="10" y="39"/>
                    <a:pt x="7" y="36"/>
                  </a:cubicBezTo>
                  <a:cubicBezTo>
                    <a:pt x="3" y="33"/>
                    <a:pt x="0" y="27"/>
                    <a:pt x="0" y="21"/>
                  </a:cubicBezTo>
                  <a:cubicBezTo>
                    <a:pt x="0" y="15"/>
                    <a:pt x="2" y="9"/>
                    <a:pt x="6" y="6"/>
                  </a:cubicBezTo>
                  <a:cubicBezTo>
                    <a:pt x="10" y="2"/>
                    <a:pt x="14" y="0"/>
                    <a:pt x="20" y="0"/>
                  </a:cubicBezTo>
                  <a:cubicBezTo>
                    <a:pt x="26" y="0"/>
                    <a:pt x="31" y="2"/>
                    <a:pt x="35" y="6"/>
                  </a:cubicBezTo>
                  <a:cubicBezTo>
                    <a:pt x="38" y="9"/>
                    <a:pt x="40" y="14"/>
                    <a:pt x="40" y="20"/>
                  </a:cubicBezTo>
                  <a:cubicBezTo>
                    <a:pt x="40" y="26"/>
                    <a:pt x="38" y="32"/>
                    <a:pt x="34" y="36"/>
                  </a:cubicBezTo>
                  <a:close/>
                  <a:moveTo>
                    <a:pt x="20" y="8"/>
                  </a:moveTo>
                  <a:cubicBezTo>
                    <a:pt x="14" y="8"/>
                    <a:pt x="11" y="13"/>
                    <a:pt x="11" y="21"/>
                  </a:cubicBezTo>
                  <a:cubicBezTo>
                    <a:pt x="11" y="28"/>
                    <a:pt x="14" y="33"/>
                    <a:pt x="20" y="33"/>
                  </a:cubicBezTo>
                  <a:cubicBezTo>
                    <a:pt x="27" y="33"/>
                    <a:pt x="30" y="28"/>
                    <a:pt x="30" y="21"/>
                  </a:cubicBezTo>
                  <a:cubicBezTo>
                    <a:pt x="30" y="13"/>
                    <a:pt x="26" y="8"/>
                    <a:pt x="2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6" name="Freeform 155"/>
            <p:cNvSpPr>
              <a:spLocks/>
            </p:cNvSpPr>
            <p:nvPr/>
          </p:nvSpPr>
          <p:spPr bwMode="auto">
            <a:xfrm>
              <a:off x="8751573" y="4413518"/>
              <a:ext cx="58409" cy="64973"/>
            </a:xfrm>
            <a:custGeom>
              <a:avLst/>
              <a:gdLst>
                <a:gd name="T0" fmla="*/ 25 w 35"/>
                <a:gd name="T1" fmla="*/ 41 h 41"/>
                <a:gd name="T2" fmla="*/ 25 w 35"/>
                <a:gd name="T3" fmla="*/ 17 h 41"/>
                <a:gd name="T4" fmla="*/ 20 w 35"/>
                <a:gd name="T5" fmla="*/ 9 h 41"/>
                <a:gd name="T6" fmla="*/ 10 w 35"/>
                <a:gd name="T7" fmla="*/ 13 h 41"/>
                <a:gd name="T8" fmla="*/ 10 w 35"/>
                <a:gd name="T9" fmla="*/ 34 h 41"/>
                <a:gd name="T10" fmla="*/ 0 w 35"/>
                <a:gd name="T11" fmla="*/ 41 h 41"/>
                <a:gd name="T12" fmla="*/ 0 w 35"/>
                <a:gd name="T13" fmla="*/ 1 h 41"/>
                <a:gd name="T14" fmla="*/ 8 w 35"/>
                <a:gd name="T15" fmla="*/ 1 h 41"/>
                <a:gd name="T16" fmla="*/ 9 w 35"/>
                <a:gd name="T17" fmla="*/ 5 h 41"/>
                <a:gd name="T18" fmla="*/ 23 w 35"/>
                <a:gd name="T19" fmla="*/ 0 h 41"/>
                <a:gd name="T20" fmla="*/ 35 w 35"/>
                <a:gd name="T21" fmla="*/ 14 h 41"/>
                <a:gd name="T22" fmla="*/ 35 w 35"/>
                <a:gd name="T23" fmla="*/ 34 h 41"/>
                <a:gd name="T24" fmla="*/ 25 w 35"/>
                <a:gd name="T25"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41">
                  <a:moveTo>
                    <a:pt x="25" y="41"/>
                  </a:moveTo>
                  <a:cubicBezTo>
                    <a:pt x="25" y="17"/>
                    <a:pt x="25" y="17"/>
                    <a:pt x="25" y="17"/>
                  </a:cubicBezTo>
                  <a:cubicBezTo>
                    <a:pt x="25" y="13"/>
                    <a:pt x="25" y="9"/>
                    <a:pt x="20" y="9"/>
                  </a:cubicBezTo>
                  <a:cubicBezTo>
                    <a:pt x="16" y="9"/>
                    <a:pt x="13" y="10"/>
                    <a:pt x="10" y="13"/>
                  </a:cubicBezTo>
                  <a:cubicBezTo>
                    <a:pt x="10" y="13"/>
                    <a:pt x="10" y="26"/>
                    <a:pt x="10" y="34"/>
                  </a:cubicBezTo>
                  <a:cubicBezTo>
                    <a:pt x="10" y="41"/>
                    <a:pt x="0" y="41"/>
                    <a:pt x="0" y="41"/>
                  </a:cubicBezTo>
                  <a:cubicBezTo>
                    <a:pt x="0" y="1"/>
                    <a:pt x="0" y="1"/>
                    <a:pt x="0" y="1"/>
                  </a:cubicBezTo>
                  <a:cubicBezTo>
                    <a:pt x="8" y="1"/>
                    <a:pt x="8" y="1"/>
                    <a:pt x="8" y="1"/>
                  </a:cubicBezTo>
                  <a:cubicBezTo>
                    <a:pt x="9" y="5"/>
                    <a:pt x="9" y="5"/>
                    <a:pt x="9" y="5"/>
                  </a:cubicBezTo>
                  <a:cubicBezTo>
                    <a:pt x="13" y="2"/>
                    <a:pt x="18" y="0"/>
                    <a:pt x="23" y="0"/>
                  </a:cubicBezTo>
                  <a:cubicBezTo>
                    <a:pt x="29" y="0"/>
                    <a:pt x="35" y="3"/>
                    <a:pt x="35" y="14"/>
                  </a:cubicBezTo>
                  <a:cubicBezTo>
                    <a:pt x="35" y="14"/>
                    <a:pt x="35" y="26"/>
                    <a:pt x="35" y="34"/>
                  </a:cubicBezTo>
                  <a:cubicBezTo>
                    <a:pt x="35" y="41"/>
                    <a:pt x="25" y="41"/>
                    <a:pt x="2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7" name="Freeform 156"/>
            <p:cNvSpPr>
              <a:spLocks/>
            </p:cNvSpPr>
            <p:nvPr/>
          </p:nvSpPr>
          <p:spPr bwMode="auto">
            <a:xfrm>
              <a:off x="8522411" y="4413518"/>
              <a:ext cx="43571" cy="64973"/>
            </a:xfrm>
            <a:custGeom>
              <a:avLst/>
              <a:gdLst>
                <a:gd name="T0" fmla="*/ 23 w 26"/>
                <a:gd name="T1" fmla="*/ 10 h 41"/>
                <a:gd name="T2" fmla="*/ 18 w 26"/>
                <a:gd name="T3" fmla="*/ 9 h 41"/>
                <a:gd name="T4" fmla="*/ 11 w 26"/>
                <a:gd name="T5" fmla="*/ 12 h 41"/>
                <a:gd name="T6" fmla="*/ 11 w 26"/>
                <a:gd name="T7" fmla="*/ 34 h 41"/>
                <a:gd name="T8" fmla="*/ 0 w 26"/>
                <a:gd name="T9" fmla="*/ 41 h 41"/>
                <a:gd name="T10" fmla="*/ 0 w 26"/>
                <a:gd name="T11" fmla="*/ 1 h 41"/>
                <a:gd name="T12" fmla="*/ 9 w 26"/>
                <a:gd name="T13" fmla="*/ 1 h 41"/>
                <a:gd name="T14" fmla="*/ 10 w 26"/>
                <a:gd name="T15" fmla="*/ 5 h 41"/>
                <a:gd name="T16" fmla="*/ 21 w 26"/>
                <a:gd name="T17" fmla="*/ 0 h 41"/>
                <a:gd name="T18" fmla="*/ 26 w 26"/>
                <a:gd name="T19" fmla="*/ 2 h 41"/>
                <a:gd name="T20" fmla="*/ 23 w 26"/>
                <a:gd name="T21" fmla="*/ 1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41">
                  <a:moveTo>
                    <a:pt x="23" y="10"/>
                  </a:moveTo>
                  <a:cubicBezTo>
                    <a:pt x="21" y="9"/>
                    <a:pt x="19" y="9"/>
                    <a:pt x="18" y="9"/>
                  </a:cubicBezTo>
                  <a:cubicBezTo>
                    <a:pt x="16" y="9"/>
                    <a:pt x="13" y="10"/>
                    <a:pt x="11" y="12"/>
                  </a:cubicBezTo>
                  <a:cubicBezTo>
                    <a:pt x="11" y="12"/>
                    <a:pt x="11" y="26"/>
                    <a:pt x="11" y="34"/>
                  </a:cubicBezTo>
                  <a:cubicBezTo>
                    <a:pt x="11" y="41"/>
                    <a:pt x="0" y="41"/>
                    <a:pt x="0" y="41"/>
                  </a:cubicBezTo>
                  <a:cubicBezTo>
                    <a:pt x="0" y="1"/>
                    <a:pt x="0" y="1"/>
                    <a:pt x="0" y="1"/>
                  </a:cubicBezTo>
                  <a:cubicBezTo>
                    <a:pt x="9" y="1"/>
                    <a:pt x="9" y="1"/>
                    <a:pt x="9" y="1"/>
                  </a:cubicBezTo>
                  <a:cubicBezTo>
                    <a:pt x="10" y="5"/>
                    <a:pt x="10" y="5"/>
                    <a:pt x="10" y="5"/>
                  </a:cubicBezTo>
                  <a:cubicBezTo>
                    <a:pt x="14" y="2"/>
                    <a:pt x="17" y="0"/>
                    <a:pt x="21" y="0"/>
                  </a:cubicBezTo>
                  <a:cubicBezTo>
                    <a:pt x="23" y="0"/>
                    <a:pt x="25" y="1"/>
                    <a:pt x="26" y="2"/>
                  </a:cubicBezTo>
                  <a:lnTo>
                    <a:pt x="23"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8" name="Freeform 157"/>
            <p:cNvSpPr>
              <a:spLocks/>
            </p:cNvSpPr>
            <p:nvPr/>
          </p:nvSpPr>
          <p:spPr bwMode="auto">
            <a:xfrm>
              <a:off x="7787114" y="4354553"/>
              <a:ext cx="101745" cy="147747"/>
            </a:xfrm>
            <a:custGeom>
              <a:avLst/>
              <a:gdLst>
                <a:gd name="T0" fmla="*/ 0 w 61"/>
                <a:gd name="T1" fmla="*/ 11 h 93"/>
                <a:gd name="T2" fmla="*/ 1 w 61"/>
                <a:gd name="T3" fmla="*/ 10 h 93"/>
                <a:gd name="T4" fmla="*/ 31 w 61"/>
                <a:gd name="T5" fmla="*/ 9 h 93"/>
                <a:gd name="T6" fmla="*/ 37 w 61"/>
                <a:gd name="T7" fmla="*/ 24 h 93"/>
                <a:gd name="T8" fmla="*/ 52 w 61"/>
                <a:gd name="T9" fmla="*/ 30 h 93"/>
                <a:gd name="T10" fmla="*/ 51 w 61"/>
                <a:gd name="T11" fmla="*/ 60 h 93"/>
                <a:gd name="T12" fmla="*/ 18 w 61"/>
                <a:gd name="T13" fmla="*/ 93 h 93"/>
                <a:gd name="T14" fmla="*/ 8 w 61"/>
                <a:gd name="T15" fmla="*/ 83 h 93"/>
                <a:gd name="T16" fmla="*/ 41 w 61"/>
                <a:gd name="T17" fmla="*/ 50 h 93"/>
                <a:gd name="T18" fmla="*/ 42 w 61"/>
                <a:gd name="T19" fmla="*/ 39 h 93"/>
                <a:gd name="T20" fmla="*/ 31 w 61"/>
                <a:gd name="T21" fmla="*/ 40 h 93"/>
                <a:gd name="T22" fmla="*/ 0 w 61"/>
                <a:gd name="T23" fmla="*/ 70 h 93"/>
                <a:gd name="T24" fmla="*/ 0 w 61"/>
                <a:gd name="T25" fmla="*/ 50 h 93"/>
                <a:gd name="T26" fmla="*/ 21 w 61"/>
                <a:gd name="T27" fmla="*/ 30 h 93"/>
                <a:gd name="T28" fmla="*/ 22 w 61"/>
                <a:gd name="T29" fmla="*/ 19 h 93"/>
                <a:gd name="T30" fmla="*/ 11 w 61"/>
                <a:gd name="T31" fmla="*/ 20 h 93"/>
                <a:gd name="T32" fmla="*/ 0 w 61"/>
                <a:gd name="T33" fmla="*/ 30 h 93"/>
                <a:gd name="T34" fmla="*/ 0 w 61"/>
                <a:gd name="T35" fmla="*/ 1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 h="93">
                  <a:moveTo>
                    <a:pt x="0" y="11"/>
                  </a:moveTo>
                  <a:cubicBezTo>
                    <a:pt x="1" y="10"/>
                    <a:pt x="1" y="10"/>
                    <a:pt x="1" y="10"/>
                  </a:cubicBezTo>
                  <a:cubicBezTo>
                    <a:pt x="11" y="0"/>
                    <a:pt x="23" y="1"/>
                    <a:pt x="31" y="9"/>
                  </a:cubicBezTo>
                  <a:cubicBezTo>
                    <a:pt x="37" y="15"/>
                    <a:pt x="37" y="21"/>
                    <a:pt x="37" y="24"/>
                  </a:cubicBezTo>
                  <a:cubicBezTo>
                    <a:pt x="40" y="24"/>
                    <a:pt x="46" y="24"/>
                    <a:pt x="52" y="30"/>
                  </a:cubicBezTo>
                  <a:cubicBezTo>
                    <a:pt x="60" y="38"/>
                    <a:pt x="61" y="50"/>
                    <a:pt x="51" y="60"/>
                  </a:cubicBezTo>
                  <a:cubicBezTo>
                    <a:pt x="18" y="93"/>
                    <a:pt x="18" y="93"/>
                    <a:pt x="18" y="93"/>
                  </a:cubicBezTo>
                  <a:cubicBezTo>
                    <a:pt x="8" y="83"/>
                    <a:pt x="8" y="83"/>
                    <a:pt x="8" y="83"/>
                  </a:cubicBezTo>
                  <a:cubicBezTo>
                    <a:pt x="41" y="50"/>
                    <a:pt x="41" y="50"/>
                    <a:pt x="41" y="50"/>
                  </a:cubicBezTo>
                  <a:cubicBezTo>
                    <a:pt x="45" y="46"/>
                    <a:pt x="44" y="42"/>
                    <a:pt x="42" y="39"/>
                  </a:cubicBezTo>
                  <a:cubicBezTo>
                    <a:pt x="39" y="37"/>
                    <a:pt x="35" y="36"/>
                    <a:pt x="31" y="40"/>
                  </a:cubicBezTo>
                  <a:cubicBezTo>
                    <a:pt x="0" y="70"/>
                    <a:pt x="0" y="70"/>
                    <a:pt x="0" y="70"/>
                  </a:cubicBezTo>
                  <a:cubicBezTo>
                    <a:pt x="0" y="50"/>
                    <a:pt x="0" y="50"/>
                    <a:pt x="0" y="50"/>
                  </a:cubicBezTo>
                  <a:cubicBezTo>
                    <a:pt x="21" y="30"/>
                    <a:pt x="21" y="30"/>
                    <a:pt x="21" y="30"/>
                  </a:cubicBezTo>
                  <a:cubicBezTo>
                    <a:pt x="25" y="26"/>
                    <a:pt x="24" y="22"/>
                    <a:pt x="22" y="19"/>
                  </a:cubicBezTo>
                  <a:cubicBezTo>
                    <a:pt x="19" y="17"/>
                    <a:pt x="15" y="16"/>
                    <a:pt x="11" y="20"/>
                  </a:cubicBezTo>
                  <a:cubicBezTo>
                    <a:pt x="0" y="30"/>
                    <a:pt x="0" y="30"/>
                    <a:pt x="0" y="30"/>
                  </a:cubicBezTo>
                  <a:lnTo>
                    <a:pt x="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9" name="Freeform 158"/>
            <p:cNvSpPr>
              <a:spLocks/>
            </p:cNvSpPr>
            <p:nvPr/>
          </p:nvSpPr>
          <p:spPr bwMode="auto">
            <a:xfrm>
              <a:off x="7686782" y="4354553"/>
              <a:ext cx="100332" cy="147747"/>
            </a:xfrm>
            <a:custGeom>
              <a:avLst/>
              <a:gdLst>
                <a:gd name="T0" fmla="*/ 60 w 60"/>
                <a:gd name="T1" fmla="*/ 11 h 93"/>
                <a:gd name="T2" fmla="*/ 60 w 60"/>
                <a:gd name="T3" fmla="*/ 10 h 93"/>
                <a:gd name="T4" fmla="*/ 30 w 60"/>
                <a:gd name="T5" fmla="*/ 9 h 93"/>
                <a:gd name="T6" fmla="*/ 24 w 60"/>
                <a:gd name="T7" fmla="*/ 24 h 93"/>
                <a:gd name="T8" fmla="*/ 9 w 60"/>
                <a:gd name="T9" fmla="*/ 30 h 93"/>
                <a:gd name="T10" fmla="*/ 10 w 60"/>
                <a:gd name="T11" fmla="*/ 60 h 93"/>
                <a:gd name="T12" fmla="*/ 43 w 60"/>
                <a:gd name="T13" fmla="*/ 93 h 93"/>
                <a:gd name="T14" fmla="*/ 53 w 60"/>
                <a:gd name="T15" fmla="*/ 83 h 93"/>
                <a:gd name="T16" fmla="*/ 20 w 60"/>
                <a:gd name="T17" fmla="*/ 50 h 93"/>
                <a:gd name="T18" fmla="*/ 19 w 60"/>
                <a:gd name="T19" fmla="*/ 39 h 93"/>
                <a:gd name="T20" fmla="*/ 30 w 60"/>
                <a:gd name="T21" fmla="*/ 40 h 93"/>
                <a:gd name="T22" fmla="*/ 60 w 60"/>
                <a:gd name="T23" fmla="*/ 70 h 93"/>
                <a:gd name="T24" fmla="*/ 60 w 60"/>
                <a:gd name="T25" fmla="*/ 50 h 93"/>
                <a:gd name="T26" fmla="*/ 40 w 60"/>
                <a:gd name="T27" fmla="*/ 30 h 93"/>
                <a:gd name="T28" fmla="*/ 39 w 60"/>
                <a:gd name="T29" fmla="*/ 19 h 93"/>
                <a:gd name="T30" fmla="*/ 50 w 60"/>
                <a:gd name="T31" fmla="*/ 20 h 93"/>
                <a:gd name="T32" fmla="*/ 60 w 60"/>
                <a:gd name="T33" fmla="*/ 30 h 93"/>
                <a:gd name="T34" fmla="*/ 60 w 60"/>
                <a:gd name="T35" fmla="*/ 1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93">
                  <a:moveTo>
                    <a:pt x="60" y="11"/>
                  </a:moveTo>
                  <a:cubicBezTo>
                    <a:pt x="60" y="10"/>
                    <a:pt x="60" y="10"/>
                    <a:pt x="60" y="10"/>
                  </a:cubicBezTo>
                  <a:cubicBezTo>
                    <a:pt x="50" y="0"/>
                    <a:pt x="37" y="1"/>
                    <a:pt x="30" y="9"/>
                  </a:cubicBezTo>
                  <a:cubicBezTo>
                    <a:pt x="24" y="15"/>
                    <a:pt x="23" y="21"/>
                    <a:pt x="24" y="24"/>
                  </a:cubicBezTo>
                  <a:cubicBezTo>
                    <a:pt x="21" y="24"/>
                    <a:pt x="15" y="24"/>
                    <a:pt x="9" y="30"/>
                  </a:cubicBezTo>
                  <a:cubicBezTo>
                    <a:pt x="1" y="38"/>
                    <a:pt x="0" y="50"/>
                    <a:pt x="10" y="60"/>
                  </a:cubicBezTo>
                  <a:cubicBezTo>
                    <a:pt x="43" y="93"/>
                    <a:pt x="43" y="93"/>
                    <a:pt x="43" y="93"/>
                  </a:cubicBezTo>
                  <a:cubicBezTo>
                    <a:pt x="53" y="83"/>
                    <a:pt x="53" y="83"/>
                    <a:pt x="53" y="83"/>
                  </a:cubicBezTo>
                  <a:cubicBezTo>
                    <a:pt x="20" y="50"/>
                    <a:pt x="20" y="50"/>
                    <a:pt x="20" y="50"/>
                  </a:cubicBezTo>
                  <a:cubicBezTo>
                    <a:pt x="16" y="46"/>
                    <a:pt x="17" y="42"/>
                    <a:pt x="19" y="39"/>
                  </a:cubicBezTo>
                  <a:cubicBezTo>
                    <a:pt x="22" y="37"/>
                    <a:pt x="26" y="36"/>
                    <a:pt x="30" y="40"/>
                  </a:cubicBezTo>
                  <a:cubicBezTo>
                    <a:pt x="60" y="70"/>
                    <a:pt x="60" y="70"/>
                    <a:pt x="60" y="70"/>
                  </a:cubicBezTo>
                  <a:cubicBezTo>
                    <a:pt x="60" y="50"/>
                    <a:pt x="60" y="50"/>
                    <a:pt x="60" y="50"/>
                  </a:cubicBezTo>
                  <a:cubicBezTo>
                    <a:pt x="40" y="30"/>
                    <a:pt x="40" y="30"/>
                    <a:pt x="40" y="30"/>
                  </a:cubicBezTo>
                  <a:cubicBezTo>
                    <a:pt x="36" y="26"/>
                    <a:pt x="37" y="22"/>
                    <a:pt x="39" y="19"/>
                  </a:cubicBezTo>
                  <a:cubicBezTo>
                    <a:pt x="42" y="17"/>
                    <a:pt x="46" y="16"/>
                    <a:pt x="50" y="20"/>
                  </a:cubicBezTo>
                  <a:cubicBezTo>
                    <a:pt x="60" y="30"/>
                    <a:pt x="60" y="30"/>
                    <a:pt x="60" y="30"/>
                  </a:cubicBezTo>
                  <a:lnTo>
                    <a:pt x="60" y="11"/>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60" name="Freeform 159"/>
            <p:cNvSpPr>
              <a:spLocks/>
            </p:cNvSpPr>
            <p:nvPr/>
          </p:nvSpPr>
          <p:spPr bwMode="auto">
            <a:xfrm>
              <a:off x="8141337" y="4415076"/>
              <a:ext cx="103629" cy="66531"/>
            </a:xfrm>
            <a:custGeom>
              <a:avLst/>
              <a:gdLst>
                <a:gd name="T0" fmla="*/ 50 w 62"/>
                <a:gd name="T1" fmla="*/ 33 h 42"/>
                <a:gd name="T2" fmla="*/ 40 w 62"/>
                <a:gd name="T3" fmla="*/ 40 h 42"/>
                <a:gd name="T4" fmla="*/ 31 w 62"/>
                <a:gd name="T5" fmla="*/ 13 h 42"/>
                <a:gd name="T6" fmla="*/ 30 w 62"/>
                <a:gd name="T7" fmla="*/ 13 h 42"/>
                <a:gd name="T8" fmla="*/ 24 w 62"/>
                <a:gd name="T9" fmla="*/ 33 h 42"/>
                <a:gd name="T10" fmla="*/ 14 w 62"/>
                <a:gd name="T11" fmla="*/ 40 h 42"/>
                <a:gd name="T12" fmla="*/ 0 w 62"/>
                <a:gd name="T13" fmla="*/ 0 h 42"/>
                <a:gd name="T14" fmla="*/ 10 w 62"/>
                <a:gd name="T15" fmla="*/ 0 h 42"/>
                <a:gd name="T16" fmla="*/ 18 w 62"/>
                <a:gd name="T17" fmla="*/ 27 h 42"/>
                <a:gd name="T18" fmla="*/ 18 w 62"/>
                <a:gd name="T19" fmla="*/ 27 h 42"/>
                <a:gd name="T20" fmla="*/ 27 w 62"/>
                <a:gd name="T21" fmla="*/ 0 h 42"/>
                <a:gd name="T22" fmla="*/ 35 w 62"/>
                <a:gd name="T23" fmla="*/ 0 h 42"/>
                <a:gd name="T24" fmla="*/ 44 w 62"/>
                <a:gd name="T25" fmla="*/ 27 h 42"/>
                <a:gd name="T26" fmla="*/ 44 w 62"/>
                <a:gd name="T27" fmla="*/ 27 h 42"/>
                <a:gd name="T28" fmla="*/ 52 w 62"/>
                <a:gd name="T29" fmla="*/ 0 h 42"/>
                <a:gd name="T30" fmla="*/ 62 w 62"/>
                <a:gd name="T31" fmla="*/ 0 h 42"/>
                <a:gd name="T32" fmla="*/ 50 w 62"/>
                <a:gd name="T33" fmla="*/ 3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 h="42">
                  <a:moveTo>
                    <a:pt x="50" y="33"/>
                  </a:moveTo>
                  <a:cubicBezTo>
                    <a:pt x="47" y="42"/>
                    <a:pt x="40" y="40"/>
                    <a:pt x="40" y="40"/>
                  </a:cubicBezTo>
                  <a:cubicBezTo>
                    <a:pt x="31" y="13"/>
                    <a:pt x="31" y="13"/>
                    <a:pt x="31" y="13"/>
                  </a:cubicBezTo>
                  <a:cubicBezTo>
                    <a:pt x="30" y="13"/>
                    <a:pt x="30" y="13"/>
                    <a:pt x="30" y="13"/>
                  </a:cubicBezTo>
                  <a:cubicBezTo>
                    <a:pt x="30" y="13"/>
                    <a:pt x="26" y="26"/>
                    <a:pt x="24" y="33"/>
                  </a:cubicBezTo>
                  <a:cubicBezTo>
                    <a:pt x="21" y="42"/>
                    <a:pt x="14" y="40"/>
                    <a:pt x="14" y="40"/>
                  </a:cubicBezTo>
                  <a:cubicBezTo>
                    <a:pt x="0" y="0"/>
                    <a:pt x="0" y="0"/>
                    <a:pt x="0" y="0"/>
                  </a:cubicBezTo>
                  <a:cubicBezTo>
                    <a:pt x="10" y="0"/>
                    <a:pt x="10" y="0"/>
                    <a:pt x="10" y="0"/>
                  </a:cubicBezTo>
                  <a:cubicBezTo>
                    <a:pt x="18" y="27"/>
                    <a:pt x="18" y="27"/>
                    <a:pt x="18" y="27"/>
                  </a:cubicBezTo>
                  <a:cubicBezTo>
                    <a:pt x="18" y="27"/>
                    <a:pt x="18" y="27"/>
                    <a:pt x="18" y="27"/>
                  </a:cubicBezTo>
                  <a:cubicBezTo>
                    <a:pt x="27" y="0"/>
                    <a:pt x="27" y="0"/>
                    <a:pt x="27" y="0"/>
                  </a:cubicBezTo>
                  <a:cubicBezTo>
                    <a:pt x="35" y="0"/>
                    <a:pt x="35" y="0"/>
                    <a:pt x="35" y="0"/>
                  </a:cubicBezTo>
                  <a:cubicBezTo>
                    <a:pt x="44" y="27"/>
                    <a:pt x="44" y="27"/>
                    <a:pt x="44" y="27"/>
                  </a:cubicBezTo>
                  <a:cubicBezTo>
                    <a:pt x="44" y="27"/>
                    <a:pt x="44" y="27"/>
                    <a:pt x="44" y="27"/>
                  </a:cubicBezTo>
                  <a:cubicBezTo>
                    <a:pt x="52" y="0"/>
                    <a:pt x="52" y="0"/>
                    <a:pt x="52" y="0"/>
                  </a:cubicBezTo>
                  <a:cubicBezTo>
                    <a:pt x="62" y="0"/>
                    <a:pt x="62" y="0"/>
                    <a:pt x="62" y="0"/>
                  </a:cubicBezTo>
                  <a:cubicBezTo>
                    <a:pt x="62" y="0"/>
                    <a:pt x="53" y="26"/>
                    <a:pt x="50" y="33"/>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61" name="Freeform 160"/>
            <p:cNvSpPr>
              <a:spLocks noEditPoints="1"/>
            </p:cNvSpPr>
            <p:nvPr/>
          </p:nvSpPr>
          <p:spPr bwMode="auto">
            <a:xfrm>
              <a:off x="8246615" y="4413518"/>
              <a:ext cx="58645" cy="64973"/>
            </a:xfrm>
            <a:custGeom>
              <a:avLst/>
              <a:gdLst>
                <a:gd name="T0" fmla="*/ 27 w 35"/>
                <a:gd name="T1" fmla="*/ 41 h 41"/>
                <a:gd name="T2" fmla="*/ 25 w 35"/>
                <a:gd name="T3" fmla="*/ 37 h 41"/>
                <a:gd name="T4" fmla="*/ 13 w 35"/>
                <a:gd name="T5" fmla="*/ 41 h 41"/>
                <a:gd name="T6" fmla="*/ 0 w 35"/>
                <a:gd name="T7" fmla="*/ 29 h 41"/>
                <a:gd name="T8" fmla="*/ 17 w 35"/>
                <a:gd name="T9" fmla="*/ 16 h 41"/>
                <a:gd name="T10" fmla="*/ 24 w 35"/>
                <a:gd name="T11" fmla="*/ 15 h 41"/>
                <a:gd name="T12" fmla="*/ 24 w 35"/>
                <a:gd name="T13" fmla="*/ 14 h 41"/>
                <a:gd name="T14" fmla="*/ 16 w 35"/>
                <a:gd name="T15" fmla="*/ 8 h 41"/>
                <a:gd name="T16" fmla="*/ 6 w 35"/>
                <a:gd name="T17" fmla="*/ 11 h 41"/>
                <a:gd name="T18" fmla="*/ 3 w 35"/>
                <a:gd name="T19" fmla="*/ 4 h 41"/>
                <a:gd name="T20" fmla="*/ 18 w 35"/>
                <a:gd name="T21" fmla="*/ 0 h 41"/>
                <a:gd name="T22" fmla="*/ 34 w 35"/>
                <a:gd name="T23" fmla="*/ 14 h 41"/>
                <a:gd name="T24" fmla="*/ 34 w 35"/>
                <a:gd name="T25" fmla="*/ 30 h 41"/>
                <a:gd name="T26" fmla="*/ 35 w 35"/>
                <a:gd name="T27" fmla="*/ 41 h 41"/>
                <a:gd name="T28" fmla="*/ 27 w 35"/>
                <a:gd name="T29" fmla="*/ 41 h 41"/>
                <a:gd name="T30" fmla="*/ 24 w 35"/>
                <a:gd name="T31" fmla="*/ 22 h 41"/>
                <a:gd name="T32" fmla="*/ 18 w 35"/>
                <a:gd name="T33" fmla="*/ 22 h 41"/>
                <a:gd name="T34" fmla="*/ 10 w 35"/>
                <a:gd name="T35" fmla="*/ 28 h 41"/>
                <a:gd name="T36" fmla="*/ 17 w 35"/>
                <a:gd name="T37" fmla="*/ 33 h 41"/>
                <a:gd name="T38" fmla="*/ 24 w 35"/>
                <a:gd name="T39" fmla="*/ 31 h 41"/>
                <a:gd name="T40" fmla="*/ 24 w 35"/>
                <a:gd name="T41" fmla="*/ 2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 h="41">
                  <a:moveTo>
                    <a:pt x="27" y="41"/>
                  </a:moveTo>
                  <a:cubicBezTo>
                    <a:pt x="25" y="37"/>
                    <a:pt x="25" y="37"/>
                    <a:pt x="25" y="37"/>
                  </a:cubicBezTo>
                  <a:cubicBezTo>
                    <a:pt x="22" y="39"/>
                    <a:pt x="18" y="41"/>
                    <a:pt x="13" y="41"/>
                  </a:cubicBezTo>
                  <a:cubicBezTo>
                    <a:pt x="6" y="41"/>
                    <a:pt x="0" y="36"/>
                    <a:pt x="0" y="29"/>
                  </a:cubicBezTo>
                  <a:cubicBezTo>
                    <a:pt x="0" y="20"/>
                    <a:pt x="7" y="16"/>
                    <a:pt x="17" y="16"/>
                  </a:cubicBezTo>
                  <a:cubicBezTo>
                    <a:pt x="24" y="15"/>
                    <a:pt x="24" y="15"/>
                    <a:pt x="24" y="15"/>
                  </a:cubicBezTo>
                  <a:cubicBezTo>
                    <a:pt x="24" y="15"/>
                    <a:pt x="24" y="15"/>
                    <a:pt x="24" y="14"/>
                  </a:cubicBezTo>
                  <a:cubicBezTo>
                    <a:pt x="24" y="10"/>
                    <a:pt x="21" y="8"/>
                    <a:pt x="16" y="8"/>
                  </a:cubicBezTo>
                  <a:cubicBezTo>
                    <a:pt x="12" y="8"/>
                    <a:pt x="9" y="9"/>
                    <a:pt x="6" y="11"/>
                  </a:cubicBezTo>
                  <a:cubicBezTo>
                    <a:pt x="3" y="4"/>
                    <a:pt x="3" y="4"/>
                    <a:pt x="3" y="4"/>
                  </a:cubicBezTo>
                  <a:cubicBezTo>
                    <a:pt x="8" y="1"/>
                    <a:pt x="13" y="0"/>
                    <a:pt x="18" y="0"/>
                  </a:cubicBezTo>
                  <a:cubicBezTo>
                    <a:pt x="28" y="0"/>
                    <a:pt x="34" y="4"/>
                    <a:pt x="34" y="14"/>
                  </a:cubicBezTo>
                  <a:cubicBezTo>
                    <a:pt x="34" y="30"/>
                    <a:pt x="34" y="30"/>
                    <a:pt x="34" y="30"/>
                  </a:cubicBezTo>
                  <a:cubicBezTo>
                    <a:pt x="34" y="36"/>
                    <a:pt x="34" y="39"/>
                    <a:pt x="35" y="41"/>
                  </a:cubicBezTo>
                  <a:lnTo>
                    <a:pt x="27" y="41"/>
                  </a:lnTo>
                  <a:close/>
                  <a:moveTo>
                    <a:pt x="24" y="22"/>
                  </a:moveTo>
                  <a:cubicBezTo>
                    <a:pt x="18" y="22"/>
                    <a:pt x="18" y="22"/>
                    <a:pt x="18" y="22"/>
                  </a:cubicBezTo>
                  <a:cubicBezTo>
                    <a:pt x="13" y="23"/>
                    <a:pt x="10" y="24"/>
                    <a:pt x="10" y="28"/>
                  </a:cubicBezTo>
                  <a:cubicBezTo>
                    <a:pt x="10" y="31"/>
                    <a:pt x="13" y="33"/>
                    <a:pt x="17" y="33"/>
                  </a:cubicBezTo>
                  <a:cubicBezTo>
                    <a:pt x="20" y="33"/>
                    <a:pt x="23" y="32"/>
                    <a:pt x="24" y="31"/>
                  </a:cubicBezTo>
                  <a:lnTo>
                    <a:pt x="24" y="22"/>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62" name="Freeform 161"/>
            <p:cNvSpPr>
              <a:spLocks noEditPoints="1"/>
            </p:cNvSpPr>
            <p:nvPr/>
          </p:nvSpPr>
          <p:spPr bwMode="auto">
            <a:xfrm>
              <a:off x="8363669" y="4383257"/>
              <a:ext cx="63591" cy="95234"/>
            </a:xfrm>
            <a:custGeom>
              <a:avLst/>
              <a:gdLst>
                <a:gd name="T0" fmla="*/ 22 w 38"/>
                <a:gd name="T1" fmla="*/ 60 h 60"/>
                <a:gd name="T2" fmla="*/ 0 w 38"/>
                <a:gd name="T3" fmla="*/ 40 h 60"/>
                <a:gd name="T4" fmla="*/ 22 w 38"/>
                <a:gd name="T5" fmla="*/ 19 h 60"/>
                <a:gd name="T6" fmla="*/ 27 w 38"/>
                <a:gd name="T7" fmla="*/ 19 h 60"/>
                <a:gd name="T8" fmla="*/ 28 w 38"/>
                <a:gd name="T9" fmla="*/ 0 h 60"/>
                <a:gd name="T10" fmla="*/ 38 w 38"/>
                <a:gd name="T11" fmla="*/ 0 h 60"/>
                <a:gd name="T12" fmla="*/ 37 w 38"/>
                <a:gd name="T13" fmla="*/ 57 h 60"/>
                <a:gd name="T14" fmla="*/ 22 w 38"/>
                <a:gd name="T15" fmla="*/ 60 h 60"/>
                <a:gd name="T16" fmla="*/ 27 w 38"/>
                <a:gd name="T17" fmla="*/ 27 h 60"/>
                <a:gd name="T18" fmla="*/ 23 w 38"/>
                <a:gd name="T19" fmla="*/ 27 h 60"/>
                <a:gd name="T20" fmla="*/ 10 w 38"/>
                <a:gd name="T21" fmla="*/ 39 h 60"/>
                <a:gd name="T22" fmla="*/ 23 w 38"/>
                <a:gd name="T23" fmla="*/ 52 h 60"/>
                <a:gd name="T24" fmla="*/ 27 w 38"/>
                <a:gd name="T25" fmla="*/ 51 h 60"/>
                <a:gd name="T26" fmla="*/ 27 w 38"/>
                <a:gd name="T27" fmla="*/ 2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60">
                  <a:moveTo>
                    <a:pt x="22" y="60"/>
                  </a:moveTo>
                  <a:cubicBezTo>
                    <a:pt x="10" y="60"/>
                    <a:pt x="0" y="53"/>
                    <a:pt x="0" y="40"/>
                  </a:cubicBezTo>
                  <a:cubicBezTo>
                    <a:pt x="0" y="28"/>
                    <a:pt x="9" y="19"/>
                    <a:pt x="22" y="19"/>
                  </a:cubicBezTo>
                  <a:cubicBezTo>
                    <a:pt x="24" y="19"/>
                    <a:pt x="26" y="19"/>
                    <a:pt x="27" y="19"/>
                  </a:cubicBezTo>
                  <a:cubicBezTo>
                    <a:pt x="28" y="0"/>
                    <a:pt x="28" y="0"/>
                    <a:pt x="28" y="0"/>
                  </a:cubicBezTo>
                  <a:cubicBezTo>
                    <a:pt x="38" y="0"/>
                    <a:pt x="38" y="0"/>
                    <a:pt x="38" y="0"/>
                  </a:cubicBezTo>
                  <a:cubicBezTo>
                    <a:pt x="37" y="57"/>
                    <a:pt x="37" y="57"/>
                    <a:pt x="37" y="57"/>
                  </a:cubicBezTo>
                  <a:cubicBezTo>
                    <a:pt x="34" y="59"/>
                    <a:pt x="29" y="60"/>
                    <a:pt x="22" y="60"/>
                  </a:cubicBezTo>
                  <a:close/>
                  <a:moveTo>
                    <a:pt x="27" y="27"/>
                  </a:moveTo>
                  <a:cubicBezTo>
                    <a:pt x="26" y="27"/>
                    <a:pt x="25" y="27"/>
                    <a:pt x="23" y="27"/>
                  </a:cubicBezTo>
                  <a:cubicBezTo>
                    <a:pt x="16" y="27"/>
                    <a:pt x="10" y="32"/>
                    <a:pt x="10" y="39"/>
                  </a:cubicBezTo>
                  <a:cubicBezTo>
                    <a:pt x="10" y="47"/>
                    <a:pt x="15" y="52"/>
                    <a:pt x="23" y="52"/>
                  </a:cubicBezTo>
                  <a:cubicBezTo>
                    <a:pt x="24" y="52"/>
                    <a:pt x="26" y="52"/>
                    <a:pt x="27" y="51"/>
                  </a:cubicBezTo>
                  <a:lnTo>
                    <a:pt x="27" y="2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63" name="Freeform 162"/>
            <p:cNvSpPr>
              <a:spLocks/>
            </p:cNvSpPr>
            <p:nvPr/>
          </p:nvSpPr>
          <p:spPr bwMode="auto">
            <a:xfrm>
              <a:off x="8114724" y="4383257"/>
              <a:ext cx="16722" cy="95234"/>
            </a:xfrm>
            <a:custGeom>
              <a:avLst/>
              <a:gdLst>
                <a:gd name="T0" fmla="*/ 10 w 10"/>
                <a:gd name="T1" fmla="*/ 53 h 60"/>
                <a:gd name="T2" fmla="*/ 0 w 10"/>
                <a:gd name="T3" fmla="*/ 60 h 60"/>
                <a:gd name="T4" fmla="*/ 0 w 10"/>
                <a:gd name="T5" fmla="*/ 0 h 60"/>
                <a:gd name="T6" fmla="*/ 10 w 10"/>
                <a:gd name="T7" fmla="*/ 0 h 60"/>
                <a:gd name="T8" fmla="*/ 10 w 10"/>
                <a:gd name="T9" fmla="*/ 53 h 60"/>
              </a:gdLst>
              <a:ahLst/>
              <a:cxnLst>
                <a:cxn ang="0">
                  <a:pos x="T0" y="T1"/>
                </a:cxn>
                <a:cxn ang="0">
                  <a:pos x="T2" y="T3"/>
                </a:cxn>
                <a:cxn ang="0">
                  <a:pos x="T4" y="T5"/>
                </a:cxn>
                <a:cxn ang="0">
                  <a:pos x="T6" y="T7"/>
                </a:cxn>
                <a:cxn ang="0">
                  <a:pos x="T8" y="T9"/>
                </a:cxn>
              </a:cxnLst>
              <a:rect l="0" t="0" r="r" b="b"/>
              <a:pathLst>
                <a:path w="10" h="60">
                  <a:moveTo>
                    <a:pt x="10" y="53"/>
                  </a:moveTo>
                  <a:cubicBezTo>
                    <a:pt x="10" y="60"/>
                    <a:pt x="0" y="60"/>
                    <a:pt x="0" y="60"/>
                  </a:cubicBezTo>
                  <a:cubicBezTo>
                    <a:pt x="0" y="0"/>
                    <a:pt x="0" y="0"/>
                    <a:pt x="0" y="0"/>
                  </a:cubicBezTo>
                  <a:cubicBezTo>
                    <a:pt x="10" y="0"/>
                    <a:pt x="10" y="0"/>
                    <a:pt x="10" y="0"/>
                  </a:cubicBezTo>
                  <a:cubicBezTo>
                    <a:pt x="10" y="0"/>
                    <a:pt x="10" y="45"/>
                    <a:pt x="10" y="53"/>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64" name="Freeform 163"/>
            <p:cNvSpPr>
              <a:spLocks/>
            </p:cNvSpPr>
            <p:nvPr/>
          </p:nvSpPr>
          <p:spPr bwMode="auto">
            <a:xfrm>
              <a:off x="8081279" y="4383257"/>
              <a:ext cx="16722" cy="95234"/>
            </a:xfrm>
            <a:custGeom>
              <a:avLst/>
              <a:gdLst>
                <a:gd name="T0" fmla="*/ 10 w 10"/>
                <a:gd name="T1" fmla="*/ 53 h 60"/>
                <a:gd name="T2" fmla="*/ 0 w 10"/>
                <a:gd name="T3" fmla="*/ 60 h 60"/>
                <a:gd name="T4" fmla="*/ 0 w 10"/>
                <a:gd name="T5" fmla="*/ 0 h 60"/>
                <a:gd name="T6" fmla="*/ 10 w 10"/>
                <a:gd name="T7" fmla="*/ 0 h 60"/>
                <a:gd name="T8" fmla="*/ 10 w 10"/>
                <a:gd name="T9" fmla="*/ 53 h 60"/>
              </a:gdLst>
              <a:ahLst/>
              <a:cxnLst>
                <a:cxn ang="0">
                  <a:pos x="T0" y="T1"/>
                </a:cxn>
                <a:cxn ang="0">
                  <a:pos x="T2" y="T3"/>
                </a:cxn>
                <a:cxn ang="0">
                  <a:pos x="T4" y="T5"/>
                </a:cxn>
                <a:cxn ang="0">
                  <a:pos x="T6" y="T7"/>
                </a:cxn>
                <a:cxn ang="0">
                  <a:pos x="T8" y="T9"/>
                </a:cxn>
              </a:cxnLst>
              <a:rect l="0" t="0" r="r" b="b"/>
              <a:pathLst>
                <a:path w="10" h="60">
                  <a:moveTo>
                    <a:pt x="10" y="53"/>
                  </a:moveTo>
                  <a:cubicBezTo>
                    <a:pt x="10" y="60"/>
                    <a:pt x="0" y="60"/>
                    <a:pt x="0" y="60"/>
                  </a:cubicBezTo>
                  <a:cubicBezTo>
                    <a:pt x="0" y="0"/>
                    <a:pt x="0" y="0"/>
                    <a:pt x="0" y="0"/>
                  </a:cubicBezTo>
                  <a:cubicBezTo>
                    <a:pt x="10" y="0"/>
                    <a:pt x="10" y="0"/>
                    <a:pt x="10" y="0"/>
                  </a:cubicBezTo>
                  <a:cubicBezTo>
                    <a:pt x="10" y="0"/>
                    <a:pt x="10" y="45"/>
                    <a:pt x="10" y="53"/>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65" name="Freeform 164"/>
            <p:cNvSpPr>
              <a:spLocks/>
            </p:cNvSpPr>
            <p:nvPr/>
          </p:nvSpPr>
          <p:spPr bwMode="auto">
            <a:xfrm>
              <a:off x="8318450" y="4413518"/>
              <a:ext cx="43571" cy="64973"/>
            </a:xfrm>
            <a:custGeom>
              <a:avLst/>
              <a:gdLst>
                <a:gd name="T0" fmla="*/ 22 w 26"/>
                <a:gd name="T1" fmla="*/ 10 h 41"/>
                <a:gd name="T2" fmla="*/ 18 w 26"/>
                <a:gd name="T3" fmla="*/ 9 h 41"/>
                <a:gd name="T4" fmla="*/ 10 w 26"/>
                <a:gd name="T5" fmla="*/ 12 h 41"/>
                <a:gd name="T6" fmla="*/ 10 w 26"/>
                <a:gd name="T7" fmla="*/ 34 h 41"/>
                <a:gd name="T8" fmla="*/ 0 w 26"/>
                <a:gd name="T9" fmla="*/ 41 h 41"/>
                <a:gd name="T10" fmla="*/ 0 w 26"/>
                <a:gd name="T11" fmla="*/ 1 h 41"/>
                <a:gd name="T12" fmla="*/ 9 w 26"/>
                <a:gd name="T13" fmla="*/ 1 h 41"/>
                <a:gd name="T14" fmla="*/ 10 w 26"/>
                <a:gd name="T15" fmla="*/ 5 h 41"/>
                <a:gd name="T16" fmla="*/ 21 w 26"/>
                <a:gd name="T17" fmla="*/ 0 h 41"/>
                <a:gd name="T18" fmla="*/ 26 w 26"/>
                <a:gd name="T19" fmla="*/ 2 h 41"/>
                <a:gd name="T20" fmla="*/ 22 w 26"/>
                <a:gd name="T21" fmla="*/ 1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41">
                  <a:moveTo>
                    <a:pt x="22" y="10"/>
                  </a:moveTo>
                  <a:cubicBezTo>
                    <a:pt x="21" y="9"/>
                    <a:pt x="19" y="9"/>
                    <a:pt x="18" y="9"/>
                  </a:cubicBezTo>
                  <a:cubicBezTo>
                    <a:pt x="15" y="9"/>
                    <a:pt x="13" y="10"/>
                    <a:pt x="10" y="12"/>
                  </a:cubicBezTo>
                  <a:cubicBezTo>
                    <a:pt x="10" y="12"/>
                    <a:pt x="10" y="26"/>
                    <a:pt x="10" y="34"/>
                  </a:cubicBezTo>
                  <a:cubicBezTo>
                    <a:pt x="10" y="41"/>
                    <a:pt x="0" y="41"/>
                    <a:pt x="0" y="41"/>
                  </a:cubicBezTo>
                  <a:cubicBezTo>
                    <a:pt x="0" y="1"/>
                    <a:pt x="0" y="1"/>
                    <a:pt x="0" y="1"/>
                  </a:cubicBezTo>
                  <a:cubicBezTo>
                    <a:pt x="9" y="1"/>
                    <a:pt x="9" y="1"/>
                    <a:pt x="9" y="1"/>
                  </a:cubicBezTo>
                  <a:cubicBezTo>
                    <a:pt x="10" y="5"/>
                    <a:pt x="10" y="5"/>
                    <a:pt x="10" y="5"/>
                  </a:cubicBezTo>
                  <a:cubicBezTo>
                    <a:pt x="14" y="2"/>
                    <a:pt x="17" y="0"/>
                    <a:pt x="21" y="0"/>
                  </a:cubicBezTo>
                  <a:cubicBezTo>
                    <a:pt x="23" y="0"/>
                    <a:pt x="25" y="1"/>
                    <a:pt x="26" y="2"/>
                  </a:cubicBezTo>
                  <a:lnTo>
                    <a:pt x="22" y="1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66" name="Freeform 165"/>
            <p:cNvSpPr>
              <a:spLocks/>
            </p:cNvSpPr>
            <p:nvPr/>
          </p:nvSpPr>
          <p:spPr bwMode="auto">
            <a:xfrm>
              <a:off x="7929133" y="4383257"/>
              <a:ext cx="98684" cy="93677"/>
            </a:xfrm>
            <a:custGeom>
              <a:avLst/>
              <a:gdLst>
                <a:gd name="T0" fmla="*/ 48 w 59"/>
                <a:gd name="T1" fmla="*/ 59 h 59"/>
                <a:gd name="T2" fmla="*/ 48 w 59"/>
                <a:gd name="T3" fmla="*/ 24 h 59"/>
                <a:gd name="T4" fmla="*/ 49 w 59"/>
                <a:gd name="T5" fmla="*/ 18 h 59"/>
                <a:gd name="T6" fmla="*/ 48 w 59"/>
                <a:gd name="T7" fmla="*/ 18 h 59"/>
                <a:gd name="T8" fmla="*/ 45 w 59"/>
                <a:gd name="T9" fmla="*/ 24 h 59"/>
                <a:gd name="T10" fmla="*/ 33 w 59"/>
                <a:gd name="T11" fmla="*/ 42 h 59"/>
                <a:gd name="T12" fmla="*/ 28 w 59"/>
                <a:gd name="T13" fmla="*/ 42 h 59"/>
                <a:gd name="T14" fmla="*/ 14 w 59"/>
                <a:gd name="T15" fmla="*/ 23 h 59"/>
                <a:gd name="T16" fmla="*/ 11 w 59"/>
                <a:gd name="T17" fmla="*/ 18 h 59"/>
                <a:gd name="T18" fmla="*/ 11 w 59"/>
                <a:gd name="T19" fmla="*/ 18 h 59"/>
                <a:gd name="T20" fmla="*/ 11 w 59"/>
                <a:gd name="T21" fmla="*/ 24 h 59"/>
                <a:gd name="T22" fmla="*/ 11 w 59"/>
                <a:gd name="T23" fmla="*/ 59 h 59"/>
                <a:gd name="T24" fmla="*/ 0 w 59"/>
                <a:gd name="T25" fmla="*/ 59 h 59"/>
                <a:gd name="T26" fmla="*/ 0 w 59"/>
                <a:gd name="T27" fmla="*/ 0 h 59"/>
                <a:gd name="T28" fmla="*/ 10 w 59"/>
                <a:gd name="T29" fmla="*/ 0 h 59"/>
                <a:gd name="T30" fmla="*/ 26 w 59"/>
                <a:gd name="T31" fmla="*/ 24 h 59"/>
                <a:gd name="T32" fmla="*/ 30 w 59"/>
                <a:gd name="T33" fmla="*/ 30 h 59"/>
                <a:gd name="T34" fmla="*/ 30 w 59"/>
                <a:gd name="T35" fmla="*/ 30 h 59"/>
                <a:gd name="T36" fmla="*/ 34 w 59"/>
                <a:gd name="T37" fmla="*/ 24 h 59"/>
                <a:gd name="T38" fmla="*/ 49 w 59"/>
                <a:gd name="T39" fmla="*/ 0 h 59"/>
                <a:gd name="T40" fmla="*/ 59 w 59"/>
                <a:gd name="T41" fmla="*/ 0 h 59"/>
                <a:gd name="T42" fmla="*/ 59 w 59"/>
                <a:gd name="T43" fmla="*/ 59 h 59"/>
                <a:gd name="T44" fmla="*/ 48 w 59"/>
                <a:gd name="T4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9" h="59">
                  <a:moveTo>
                    <a:pt x="48" y="59"/>
                  </a:moveTo>
                  <a:cubicBezTo>
                    <a:pt x="48" y="24"/>
                    <a:pt x="48" y="24"/>
                    <a:pt x="48" y="24"/>
                  </a:cubicBezTo>
                  <a:cubicBezTo>
                    <a:pt x="48" y="22"/>
                    <a:pt x="48" y="20"/>
                    <a:pt x="49" y="18"/>
                  </a:cubicBezTo>
                  <a:cubicBezTo>
                    <a:pt x="48" y="18"/>
                    <a:pt x="48" y="18"/>
                    <a:pt x="48" y="18"/>
                  </a:cubicBezTo>
                  <a:cubicBezTo>
                    <a:pt x="48" y="19"/>
                    <a:pt x="46" y="22"/>
                    <a:pt x="45" y="24"/>
                  </a:cubicBezTo>
                  <a:cubicBezTo>
                    <a:pt x="33" y="42"/>
                    <a:pt x="33" y="42"/>
                    <a:pt x="33" y="42"/>
                  </a:cubicBezTo>
                  <a:cubicBezTo>
                    <a:pt x="28" y="42"/>
                    <a:pt x="28" y="42"/>
                    <a:pt x="28" y="42"/>
                  </a:cubicBezTo>
                  <a:cubicBezTo>
                    <a:pt x="14" y="23"/>
                    <a:pt x="14" y="23"/>
                    <a:pt x="14" y="23"/>
                  </a:cubicBezTo>
                  <a:cubicBezTo>
                    <a:pt x="13" y="22"/>
                    <a:pt x="12" y="20"/>
                    <a:pt x="11" y="18"/>
                  </a:cubicBezTo>
                  <a:cubicBezTo>
                    <a:pt x="11" y="18"/>
                    <a:pt x="11" y="18"/>
                    <a:pt x="11" y="18"/>
                  </a:cubicBezTo>
                  <a:cubicBezTo>
                    <a:pt x="11" y="20"/>
                    <a:pt x="11" y="22"/>
                    <a:pt x="11" y="24"/>
                  </a:cubicBezTo>
                  <a:cubicBezTo>
                    <a:pt x="11" y="59"/>
                    <a:pt x="11" y="59"/>
                    <a:pt x="11" y="59"/>
                  </a:cubicBezTo>
                  <a:cubicBezTo>
                    <a:pt x="0" y="59"/>
                    <a:pt x="0" y="59"/>
                    <a:pt x="0" y="59"/>
                  </a:cubicBezTo>
                  <a:cubicBezTo>
                    <a:pt x="0" y="0"/>
                    <a:pt x="0" y="0"/>
                    <a:pt x="0" y="0"/>
                  </a:cubicBezTo>
                  <a:cubicBezTo>
                    <a:pt x="10" y="0"/>
                    <a:pt x="10" y="0"/>
                    <a:pt x="10" y="0"/>
                  </a:cubicBezTo>
                  <a:cubicBezTo>
                    <a:pt x="26" y="24"/>
                    <a:pt x="26" y="24"/>
                    <a:pt x="26" y="24"/>
                  </a:cubicBezTo>
                  <a:cubicBezTo>
                    <a:pt x="28" y="26"/>
                    <a:pt x="29" y="28"/>
                    <a:pt x="30" y="30"/>
                  </a:cubicBezTo>
                  <a:cubicBezTo>
                    <a:pt x="30" y="30"/>
                    <a:pt x="30" y="30"/>
                    <a:pt x="30" y="30"/>
                  </a:cubicBezTo>
                  <a:cubicBezTo>
                    <a:pt x="31" y="28"/>
                    <a:pt x="32" y="26"/>
                    <a:pt x="34" y="24"/>
                  </a:cubicBezTo>
                  <a:cubicBezTo>
                    <a:pt x="49" y="0"/>
                    <a:pt x="49" y="0"/>
                    <a:pt x="49" y="0"/>
                  </a:cubicBezTo>
                  <a:cubicBezTo>
                    <a:pt x="59" y="0"/>
                    <a:pt x="59" y="0"/>
                    <a:pt x="59" y="0"/>
                  </a:cubicBezTo>
                  <a:cubicBezTo>
                    <a:pt x="59" y="59"/>
                    <a:pt x="59" y="59"/>
                    <a:pt x="59" y="59"/>
                  </a:cubicBezTo>
                  <a:lnTo>
                    <a:pt x="48" y="5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67" name="Freeform 166"/>
            <p:cNvSpPr>
              <a:spLocks noEditPoints="1"/>
            </p:cNvSpPr>
            <p:nvPr/>
          </p:nvSpPr>
          <p:spPr bwMode="auto">
            <a:xfrm>
              <a:off x="8044539" y="4386372"/>
              <a:ext cx="21668" cy="92119"/>
            </a:xfrm>
            <a:custGeom>
              <a:avLst/>
              <a:gdLst>
                <a:gd name="T0" fmla="*/ 6 w 13"/>
                <a:gd name="T1" fmla="*/ 12 h 58"/>
                <a:gd name="T2" fmla="*/ 0 w 13"/>
                <a:gd name="T3" fmla="*/ 6 h 58"/>
                <a:gd name="T4" fmla="*/ 6 w 13"/>
                <a:gd name="T5" fmla="*/ 0 h 58"/>
                <a:gd name="T6" fmla="*/ 13 w 13"/>
                <a:gd name="T7" fmla="*/ 6 h 58"/>
                <a:gd name="T8" fmla="*/ 6 w 13"/>
                <a:gd name="T9" fmla="*/ 12 h 58"/>
                <a:gd name="T10" fmla="*/ 1 w 13"/>
                <a:gd name="T11" fmla="*/ 58 h 58"/>
                <a:gd name="T12" fmla="*/ 1 w 13"/>
                <a:gd name="T13" fmla="*/ 18 h 58"/>
                <a:gd name="T14" fmla="*/ 11 w 13"/>
                <a:gd name="T15" fmla="*/ 18 h 58"/>
                <a:gd name="T16" fmla="*/ 11 w 13"/>
                <a:gd name="T17" fmla="*/ 51 h 58"/>
                <a:gd name="T18" fmla="*/ 1 w 13"/>
                <a:gd name="T19"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58">
                  <a:moveTo>
                    <a:pt x="6" y="12"/>
                  </a:moveTo>
                  <a:cubicBezTo>
                    <a:pt x="3" y="12"/>
                    <a:pt x="0" y="9"/>
                    <a:pt x="0" y="6"/>
                  </a:cubicBezTo>
                  <a:cubicBezTo>
                    <a:pt x="0" y="2"/>
                    <a:pt x="3" y="0"/>
                    <a:pt x="6" y="0"/>
                  </a:cubicBezTo>
                  <a:cubicBezTo>
                    <a:pt x="10" y="0"/>
                    <a:pt x="13" y="2"/>
                    <a:pt x="13" y="6"/>
                  </a:cubicBezTo>
                  <a:cubicBezTo>
                    <a:pt x="13" y="9"/>
                    <a:pt x="10" y="12"/>
                    <a:pt x="6" y="12"/>
                  </a:cubicBezTo>
                  <a:close/>
                  <a:moveTo>
                    <a:pt x="1" y="58"/>
                  </a:moveTo>
                  <a:cubicBezTo>
                    <a:pt x="1" y="18"/>
                    <a:pt x="1" y="18"/>
                    <a:pt x="1" y="18"/>
                  </a:cubicBezTo>
                  <a:cubicBezTo>
                    <a:pt x="11" y="18"/>
                    <a:pt x="11" y="18"/>
                    <a:pt x="11" y="18"/>
                  </a:cubicBezTo>
                  <a:cubicBezTo>
                    <a:pt x="11" y="18"/>
                    <a:pt x="11" y="43"/>
                    <a:pt x="11" y="51"/>
                  </a:cubicBezTo>
                  <a:cubicBezTo>
                    <a:pt x="11" y="58"/>
                    <a:pt x="1" y="58"/>
                    <a:pt x="1" y="58"/>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68" name="Freeform 167"/>
            <p:cNvSpPr>
              <a:spLocks/>
            </p:cNvSpPr>
            <p:nvPr/>
          </p:nvSpPr>
          <p:spPr bwMode="auto">
            <a:xfrm>
              <a:off x="8224947" y="4510310"/>
              <a:ext cx="13425" cy="79436"/>
            </a:xfrm>
            <a:custGeom>
              <a:avLst/>
              <a:gdLst>
                <a:gd name="T0" fmla="*/ 8 w 8"/>
                <a:gd name="T1" fmla="*/ 44 h 50"/>
                <a:gd name="T2" fmla="*/ 0 w 8"/>
                <a:gd name="T3" fmla="*/ 50 h 50"/>
                <a:gd name="T4" fmla="*/ 0 w 8"/>
                <a:gd name="T5" fmla="*/ 0 h 50"/>
                <a:gd name="T6" fmla="*/ 8 w 8"/>
                <a:gd name="T7" fmla="*/ 0 h 50"/>
                <a:gd name="T8" fmla="*/ 8 w 8"/>
                <a:gd name="T9" fmla="*/ 44 h 50"/>
              </a:gdLst>
              <a:ahLst/>
              <a:cxnLst>
                <a:cxn ang="0">
                  <a:pos x="T0" y="T1"/>
                </a:cxn>
                <a:cxn ang="0">
                  <a:pos x="T2" y="T3"/>
                </a:cxn>
                <a:cxn ang="0">
                  <a:pos x="T4" y="T5"/>
                </a:cxn>
                <a:cxn ang="0">
                  <a:pos x="T6" y="T7"/>
                </a:cxn>
                <a:cxn ang="0">
                  <a:pos x="T8" y="T9"/>
                </a:cxn>
              </a:cxnLst>
              <a:rect l="0" t="0" r="r" b="b"/>
              <a:pathLst>
                <a:path w="8" h="50">
                  <a:moveTo>
                    <a:pt x="8" y="44"/>
                  </a:moveTo>
                  <a:cubicBezTo>
                    <a:pt x="8" y="50"/>
                    <a:pt x="0" y="50"/>
                    <a:pt x="0" y="50"/>
                  </a:cubicBezTo>
                  <a:cubicBezTo>
                    <a:pt x="0" y="0"/>
                    <a:pt x="0" y="0"/>
                    <a:pt x="0" y="0"/>
                  </a:cubicBezTo>
                  <a:cubicBezTo>
                    <a:pt x="8" y="0"/>
                    <a:pt x="8" y="0"/>
                    <a:pt x="8" y="0"/>
                  </a:cubicBezTo>
                  <a:cubicBezTo>
                    <a:pt x="8" y="0"/>
                    <a:pt x="8" y="37"/>
                    <a:pt x="8"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9" name="Freeform 168"/>
            <p:cNvSpPr>
              <a:spLocks noEditPoints="1"/>
            </p:cNvSpPr>
            <p:nvPr/>
          </p:nvSpPr>
          <p:spPr bwMode="auto">
            <a:xfrm>
              <a:off x="8007562" y="4513425"/>
              <a:ext cx="18371" cy="76321"/>
            </a:xfrm>
            <a:custGeom>
              <a:avLst/>
              <a:gdLst>
                <a:gd name="T0" fmla="*/ 5 w 11"/>
                <a:gd name="T1" fmla="*/ 10 h 48"/>
                <a:gd name="T2" fmla="*/ 0 w 11"/>
                <a:gd name="T3" fmla="*/ 5 h 48"/>
                <a:gd name="T4" fmla="*/ 5 w 11"/>
                <a:gd name="T5" fmla="*/ 0 h 48"/>
                <a:gd name="T6" fmla="*/ 11 w 11"/>
                <a:gd name="T7" fmla="*/ 5 h 48"/>
                <a:gd name="T8" fmla="*/ 5 w 11"/>
                <a:gd name="T9" fmla="*/ 10 h 48"/>
                <a:gd name="T10" fmla="*/ 1 w 11"/>
                <a:gd name="T11" fmla="*/ 48 h 48"/>
                <a:gd name="T12" fmla="*/ 1 w 11"/>
                <a:gd name="T13" fmla="*/ 15 h 48"/>
                <a:gd name="T14" fmla="*/ 10 w 11"/>
                <a:gd name="T15" fmla="*/ 15 h 48"/>
                <a:gd name="T16" fmla="*/ 10 w 11"/>
                <a:gd name="T17" fmla="*/ 42 h 48"/>
                <a:gd name="T18" fmla="*/ 1 w 11"/>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48">
                  <a:moveTo>
                    <a:pt x="5" y="10"/>
                  </a:moveTo>
                  <a:cubicBezTo>
                    <a:pt x="3" y="10"/>
                    <a:pt x="0" y="7"/>
                    <a:pt x="0" y="5"/>
                  </a:cubicBezTo>
                  <a:cubicBezTo>
                    <a:pt x="0" y="2"/>
                    <a:pt x="3" y="0"/>
                    <a:pt x="5" y="0"/>
                  </a:cubicBezTo>
                  <a:cubicBezTo>
                    <a:pt x="8" y="0"/>
                    <a:pt x="11" y="2"/>
                    <a:pt x="11" y="5"/>
                  </a:cubicBezTo>
                  <a:cubicBezTo>
                    <a:pt x="11" y="7"/>
                    <a:pt x="8" y="10"/>
                    <a:pt x="5" y="10"/>
                  </a:cubicBezTo>
                  <a:close/>
                  <a:moveTo>
                    <a:pt x="1" y="48"/>
                  </a:moveTo>
                  <a:cubicBezTo>
                    <a:pt x="1" y="15"/>
                    <a:pt x="1" y="15"/>
                    <a:pt x="1" y="15"/>
                  </a:cubicBezTo>
                  <a:cubicBezTo>
                    <a:pt x="10" y="15"/>
                    <a:pt x="10" y="15"/>
                    <a:pt x="10" y="15"/>
                  </a:cubicBezTo>
                  <a:cubicBezTo>
                    <a:pt x="10" y="15"/>
                    <a:pt x="10" y="36"/>
                    <a:pt x="10" y="42"/>
                  </a:cubicBezTo>
                  <a:cubicBezTo>
                    <a:pt x="10" y="48"/>
                    <a:pt x="1" y="48"/>
                    <a:pt x="1"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0" name="Freeform 169"/>
            <p:cNvSpPr>
              <a:spLocks noEditPoints="1"/>
            </p:cNvSpPr>
            <p:nvPr/>
          </p:nvSpPr>
          <p:spPr bwMode="auto">
            <a:xfrm>
              <a:off x="8094469" y="4513425"/>
              <a:ext cx="16722" cy="76321"/>
            </a:xfrm>
            <a:custGeom>
              <a:avLst/>
              <a:gdLst>
                <a:gd name="T0" fmla="*/ 5 w 10"/>
                <a:gd name="T1" fmla="*/ 10 h 48"/>
                <a:gd name="T2" fmla="*/ 0 w 10"/>
                <a:gd name="T3" fmla="*/ 5 h 48"/>
                <a:gd name="T4" fmla="*/ 5 w 10"/>
                <a:gd name="T5" fmla="*/ 0 h 48"/>
                <a:gd name="T6" fmla="*/ 10 w 10"/>
                <a:gd name="T7" fmla="*/ 5 h 48"/>
                <a:gd name="T8" fmla="*/ 5 w 10"/>
                <a:gd name="T9" fmla="*/ 10 h 48"/>
                <a:gd name="T10" fmla="*/ 1 w 10"/>
                <a:gd name="T11" fmla="*/ 48 h 48"/>
                <a:gd name="T12" fmla="*/ 1 w 10"/>
                <a:gd name="T13" fmla="*/ 15 h 48"/>
                <a:gd name="T14" fmla="*/ 9 w 10"/>
                <a:gd name="T15" fmla="*/ 15 h 48"/>
                <a:gd name="T16" fmla="*/ 9 w 10"/>
                <a:gd name="T17" fmla="*/ 42 h 48"/>
                <a:gd name="T18" fmla="*/ 1 w 10"/>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48">
                  <a:moveTo>
                    <a:pt x="5" y="10"/>
                  </a:moveTo>
                  <a:cubicBezTo>
                    <a:pt x="2" y="10"/>
                    <a:pt x="0" y="8"/>
                    <a:pt x="0" y="5"/>
                  </a:cubicBezTo>
                  <a:cubicBezTo>
                    <a:pt x="0" y="2"/>
                    <a:pt x="2" y="0"/>
                    <a:pt x="5" y="0"/>
                  </a:cubicBezTo>
                  <a:cubicBezTo>
                    <a:pt x="8" y="0"/>
                    <a:pt x="10" y="2"/>
                    <a:pt x="10" y="5"/>
                  </a:cubicBezTo>
                  <a:cubicBezTo>
                    <a:pt x="10" y="8"/>
                    <a:pt x="8" y="10"/>
                    <a:pt x="5" y="10"/>
                  </a:cubicBezTo>
                  <a:close/>
                  <a:moveTo>
                    <a:pt x="1" y="48"/>
                  </a:moveTo>
                  <a:cubicBezTo>
                    <a:pt x="1" y="15"/>
                    <a:pt x="1" y="15"/>
                    <a:pt x="1" y="15"/>
                  </a:cubicBezTo>
                  <a:cubicBezTo>
                    <a:pt x="9" y="15"/>
                    <a:pt x="9" y="15"/>
                    <a:pt x="9" y="15"/>
                  </a:cubicBezTo>
                  <a:cubicBezTo>
                    <a:pt x="9" y="15"/>
                    <a:pt x="9" y="36"/>
                    <a:pt x="9" y="42"/>
                  </a:cubicBezTo>
                  <a:cubicBezTo>
                    <a:pt x="9" y="48"/>
                    <a:pt x="1" y="48"/>
                    <a:pt x="1"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 name="Freeform 170"/>
            <p:cNvSpPr>
              <a:spLocks noEditPoints="1"/>
            </p:cNvSpPr>
            <p:nvPr/>
          </p:nvSpPr>
          <p:spPr bwMode="auto">
            <a:xfrm>
              <a:off x="7929133" y="4510310"/>
              <a:ext cx="70185" cy="77879"/>
            </a:xfrm>
            <a:custGeom>
              <a:avLst/>
              <a:gdLst>
                <a:gd name="T0" fmla="*/ 0 w 42"/>
                <a:gd name="T1" fmla="*/ 0 h 49"/>
                <a:gd name="T2" fmla="*/ 15 w 42"/>
                <a:gd name="T3" fmla="*/ 0 h 49"/>
                <a:gd name="T4" fmla="*/ 42 w 42"/>
                <a:gd name="T5" fmla="*/ 25 h 49"/>
                <a:gd name="T6" fmla="*/ 14 w 42"/>
                <a:gd name="T7" fmla="*/ 49 h 49"/>
                <a:gd name="T8" fmla="*/ 0 w 42"/>
                <a:gd name="T9" fmla="*/ 49 h 49"/>
                <a:gd name="T10" fmla="*/ 0 w 42"/>
                <a:gd name="T11" fmla="*/ 0 h 49"/>
                <a:gd name="T12" fmla="*/ 14 w 42"/>
                <a:gd name="T13" fmla="*/ 42 h 49"/>
                <a:gd name="T14" fmla="*/ 32 w 42"/>
                <a:gd name="T15" fmla="*/ 25 h 49"/>
                <a:gd name="T16" fmla="*/ 14 w 42"/>
                <a:gd name="T17" fmla="*/ 8 h 49"/>
                <a:gd name="T18" fmla="*/ 8 w 42"/>
                <a:gd name="T19" fmla="*/ 8 h 49"/>
                <a:gd name="T20" fmla="*/ 8 w 42"/>
                <a:gd name="T21" fmla="*/ 42 h 49"/>
                <a:gd name="T22" fmla="*/ 14 w 42"/>
                <a:gd name="T23" fmla="*/ 4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49">
                  <a:moveTo>
                    <a:pt x="0" y="0"/>
                  </a:moveTo>
                  <a:cubicBezTo>
                    <a:pt x="15" y="0"/>
                    <a:pt x="15" y="0"/>
                    <a:pt x="15" y="0"/>
                  </a:cubicBezTo>
                  <a:cubicBezTo>
                    <a:pt x="32" y="0"/>
                    <a:pt x="42" y="10"/>
                    <a:pt x="42" y="25"/>
                  </a:cubicBezTo>
                  <a:cubicBezTo>
                    <a:pt x="42" y="40"/>
                    <a:pt x="31" y="49"/>
                    <a:pt x="14" y="49"/>
                  </a:cubicBezTo>
                  <a:cubicBezTo>
                    <a:pt x="0" y="49"/>
                    <a:pt x="0" y="49"/>
                    <a:pt x="0" y="49"/>
                  </a:cubicBezTo>
                  <a:lnTo>
                    <a:pt x="0" y="0"/>
                  </a:lnTo>
                  <a:close/>
                  <a:moveTo>
                    <a:pt x="14" y="42"/>
                  </a:moveTo>
                  <a:cubicBezTo>
                    <a:pt x="27" y="42"/>
                    <a:pt x="32" y="34"/>
                    <a:pt x="32" y="25"/>
                  </a:cubicBezTo>
                  <a:cubicBezTo>
                    <a:pt x="32" y="15"/>
                    <a:pt x="26" y="8"/>
                    <a:pt x="14" y="8"/>
                  </a:cubicBezTo>
                  <a:cubicBezTo>
                    <a:pt x="8" y="8"/>
                    <a:pt x="8" y="8"/>
                    <a:pt x="8" y="8"/>
                  </a:cubicBezTo>
                  <a:cubicBezTo>
                    <a:pt x="8" y="42"/>
                    <a:pt x="8" y="42"/>
                    <a:pt x="8" y="42"/>
                  </a:cubicBezTo>
                  <a:lnTo>
                    <a:pt x="1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2" name="Freeform 171"/>
            <p:cNvSpPr>
              <a:spLocks noEditPoints="1"/>
            </p:cNvSpPr>
            <p:nvPr/>
          </p:nvSpPr>
          <p:spPr bwMode="auto">
            <a:xfrm>
              <a:off x="8031114" y="4529223"/>
              <a:ext cx="58409" cy="87447"/>
            </a:xfrm>
            <a:custGeom>
              <a:avLst/>
              <a:gdLst>
                <a:gd name="T0" fmla="*/ 0 w 35"/>
                <a:gd name="T1" fmla="*/ 45 h 55"/>
                <a:gd name="T2" fmla="*/ 6 w 35"/>
                <a:gd name="T3" fmla="*/ 37 h 55"/>
                <a:gd name="T4" fmla="*/ 4 w 35"/>
                <a:gd name="T5" fmla="*/ 32 h 55"/>
                <a:gd name="T6" fmla="*/ 8 w 35"/>
                <a:gd name="T7" fmla="*/ 26 h 55"/>
                <a:gd name="T8" fmla="*/ 2 w 35"/>
                <a:gd name="T9" fmla="*/ 15 h 55"/>
                <a:gd name="T10" fmla="*/ 16 w 35"/>
                <a:gd name="T11" fmla="*/ 2 h 55"/>
                <a:gd name="T12" fmla="*/ 23 w 35"/>
                <a:gd name="T13" fmla="*/ 3 h 55"/>
                <a:gd name="T14" fmla="*/ 24 w 35"/>
                <a:gd name="T15" fmla="*/ 3 h 55"/>
                <a:gd name="T16" fmla="*/ 33 w 35"/>
                <a:gd name="T17" fmla="*/ 0 h 55"/>
                <a:gd name="T18" fmla="*/ 35 w 35"/>
                <a:gd name="T19" fmla="*/ 0 h 55"/>
                <a:gd name="T20" fmla="*/ 33 w 35"/>
                <a:gd name="T21" fmla="*/ 7 h 55"/>
                <a:gd name="T22" fmla="*/ 31 w 35"/>
                <a:gd name="T23" fmla="*/ 6 h 55"/>
                <a:gd name="T24" fmla="*/ 28 w 35"/>
                <a:gd name="T25" fmla="*/ 7 h 55"/>
                <a:gd name="T26" fmla="*/ 31 w 35"/>
                <a:gd name="T27" fmla="*/ 15 h 55"/>
                <a:gd name="T28" fmla="*/ 17 w 35"/>
                <a:gd name="T29" fmla="*/ 28 h 55"/>
                <a:gd name="T30" fmla="*/ 12 w 35"/>
                <a:gd name="T31" fmla="*/ 28 h 55"/>
                <a:gd name="T32" fmla="*/ 12 w 35"/>
                <a:gd name="T33" fmla="*/ 30 h 55"/>
                <a:gd name="T34" fmla="*/ 35 w 35"/>
                <a:gd name="T35" fmla="*/ 44 h 55"/>
                <a:gd name="T36" fmla="*/ 16 w 35"/>
                <a:gd name="T37" fmla="*/ 55 h 55"/>
                <a:gd name="T38" fmla="*/ 0 w 35"/>
                <a:gd name="T39" fmla="*/ 45 h 55"/>
                <a:gd name="T40" fmla="*/ 26 w 35"/>
                <a:gd name="T41" fmla="*/ 45 h 55"/>
                <a:gd name="T42" fmla="*/ 10 w 35"/>
                <a:gd name="T43" fmla="*/ 39 h 55"/>
                <a:gd name="T44" fmla="*/ 8 w 35"/>
                <a:gd name="T45" fmla="*/ 44 h 55"/>
                <a:gd name="T46" fmla="*/ 17 w 35"/>
                <a:gd name="T47" fmla="*/ 49 h 55"/>
                <a:gd name="T48" fmla="*/ 26 w 35"/>
                <a:gd name="T49" fmla="*/ 45 h 55"/>
                <a:gd name="T50" fmla="*/ 23 w 35"/>
                <a:gd name="T51" fmla="*/ 15 h 55"/>
                <a:gd name="T52" fmla="*/ 17 w 35"/>
                <a:gd name="T53" fmla="*/ 9 h 55"/>
                <a:gd name="T54" fmla="*/ 10 w 35"/>
                <a:gd name="T55" fmla="*/ 15 h 55"/>
                <a:gd name="T56" fmla="*/ 17 w 35"/>
                <a:gd name="T57" fmla="*/ 22 h 55"/>
                <a:gd name="T58" fmla="*/ 23 w 35"/>
                <a:gd name="T59" fmla="*/ 1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 h="55">
                  <a:moveTo>
                    <a:pt x="0" y="45"/>
                  </a:moveTo>
                  <a:cubicBezTo>
                    <a:pt x="0" y="41"/>
                    <a:pt x="2" y="38"/>
                    <a:pt x="6" y="37"/>
                  </a:cubicBezTo>
                  <a:cubicBezTo>
                    <a:pt x="5" y="36"/>
                    <a:pt x="4" y="34"/>
                    <a:pt x="4" y="32"/>
                  </a:cubicBezTo>
                  <a:cubicBezTo>
                    <a:pt x="4" y="30"/>
                    <a:pt x="5" y="28"/>
                    <a:pt x="8" y="26"/>
                  </a:cubicBezTo>
                  <a:cubicBezTo>
                    <a:pt x="4" y="24"/>
                    <a:pt x="2" y="19"/>
                    <a:pt x="2" y="15"/>
                  </a:cubicBezTo>
                  <a:cubicBezTo>
                    <a:pt x="2" y="8"/>
                    <a:pt x="7" y="2"/>
                    <a:pt x="16" y="2"/>
                  </a:cubicBezTo>
                  <a:cubicBezTo>
                    <a:pt x="20" y="2"/>
                    <a:pt x="22" y="3"/>
                    <a:pt x="23" y="3"/>
                  </a:cubicBezTo>
                  <a:cubicBezTo>
                    <a:pt x="24" y="4"/>
                    <a:pt x="24" y="3"/>
                    <a:pt x="24" y="3"/>
                  </a:cubicBezTo>
                  <a:cubicBezTo>
                    <a:pt x="26" y="1"/>
                    <a:pt x="28" y="0"/>
                    <a:pt x="33" y="0"/>
                  </a:cubicBezTo>
                  <a:cubicBezTo>
                    <a:pt x="34" y="0"/>
                    <a:pt x="35" y="0"/>
                    <a:pt x="35" y="0"/>
                  </a:cubicBezTo>
                  <a:cubicBezTo>
                    <a:pt x="33" y="7"/>
                    <a:pt x="33" y="7"/>
                    <a:pt x="33" y="7"/>
                  </a:cubicBezTo>
                  <a:cubicBezTo>
                    <a:pt x="33" y="7"/>
                    <a:pt x="32" y="6"/>
                    <a:pt x="31" y="6"/>
                  </a:cubicBezTo>
                  <a:cubicBezTo>
                    <a:pt x="30" y="6"/>
                    <a:pt x="29" y="7"/>
                    <a:pt x="28" y="7"/>
                  </a:cubicBezTo>
                  <a:cubicBezTo>
                    <a:pt x="30" y="9"/>
                    <a:pt x="31" y="12"/>
                    <a:pt x="31" y="15"/>
                  </a:cubicBezTo>
                  <a:cubicBezTo>
                    <a:pt x="31" y="23"/>
                    <a:pt x="25" y="28"/>
                    <a:pt x="17" y="28"/>
                  </a:cubicBezTo>
                  <a:cubicBezTo>
                    <a:pt x="15" y="28"/>
                    <a:pt x="14" y="28"/>
                    <a:pt x="12" y="28"/>
                  </a:cubicBezTo>
                  <a:cubicBezTo>
                    <a:pt x="12" y="29"/>
                    <a:pt x="12" y="30"/>
                    <a:pt x="12" y="30"/>
                  </a:cubicBezTo>
                  <a:cubicBezTo>
                    <a:pt x="12" y="37"/>
                    <a:pt x="35" y="31"/>
                    <a:pt x="35" y="44"/>
                  </a:cubicBezTo>
                  <a:cubicBezTo>
                    <a:pt x="35" y="50"/>
                    <a:pt x="28" y="55"/>
                    <a:pt x="16" y="55"/>
                  </a:cubicBezTo>
                  <a:cubicBezTo>
                    <a:pt x="6" y="55"/>
                    <a:pt x="0" y="51"/>
                    <a:pt x="0" y="45"/>
                  </a:cubicBezTo>
                  <a:close/>
                  <a:moveTo>
                    <a:pt x="26" y="45"/>
                  </a:moveTo>
                  <a:cubicBezTo>
                    <a:pt x="26" y="40"/>
                    <a:pt x="15" y="41"/>
                    <a:pt x="10" y="39"/>
                  </a:cubicBezTo>
                  <a:cubicBezTo>
                    <a:pt x="9" y="40"/>
                    <a:pt x="8" y="41"/>
                    <a:pt x="8" y="44"/>
                  </a:cubicBezTo>
                  <a:cubicBezTo>
                    <a:pt x="8" y="47"/>
                    <a:pt x="11" y="49"/>
                    <a:pt x="17" y="49"/>
                  </a:cubicBezTo>
                  <a:cubicBezTo>
                    <a:pt x="23" y="49"/>
                    <a:pt x="26" y="47"/>
                    <a:pt x="26" y="45"/>
                  </a:cubicBezTo>
                  <a:close/>
                  <a:moveTo>
                    <a:pt x="23" y="15"/>
                  </a:moveTo>
                  <a:cubicBezTo>
                    <a:pt x="23" y="12"/>
                    <a:pt x="20" y="9"/>
                    <a:pt x="17" y="9"/>
                  </a:cubicBezTo>
                  <a:cubicBezTo>
                    <a:pt x="13" y="9"/>
                    <a:pt x="10" y="11"/>
                    <a:pt x="10" y="15"/>
                  </a:cubicBezTo>
                  <a:cubicBezTo>
                    <a:pt x="10" y="19"/>
                    <a:pt x="13" y="22"/>
                    <a:pt x="17" y="22"/>
                  </a:cubicBezTo>
                  <a:cubicBezTo>
                    <a:pt x="20" y="22"/>
                    <a:pt x="23" y="19"/>
                    <a:pt x="23"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3" name="Freeform 172"/>
            <p:cNvSpPr>
              <a:spLocks/>
            </p:cNvSpPr>
            <p:nvPr/>
          </p:nvSpPr>
          <p:spPr bwMode="auto">
            <a:xfrm>
              <a:off x="8116372" y="4516540"/>
              <a:ext cx="44984" cy="74763"/>
            </a:xfrm>
            <a:custGeom>
              <a:avLst/>
              <a:gdLst>
                <a:gd name="T0" fmla="*/ 7 w 27"/>
                <a:gd name="T1" fmla="*/ 37 h 47"/>
                <a:gd name="T2" fmla="*/ 7 w 27"/>
                <a:gd name="T3" fmla="*/ 18 h 47"/>
                <a:gd name="T4" fmla="*/ 0 w 27"/>
                <a:gd name="T5" fmla="*/ 18 h 47"/>
                <a:gd name="T6" fmla="*/ 0 w 27"/>
                <a:gd name="T7" fmla="*/ 11 h 47"/>
                <a:gd name="T8" fmla="*/ 7 w 27"/>
                <a:gd name="T9" fmla="*/ 11 h 47"/>
                <a:gd name="T10" fmla="*/ 7 w 27"/>
                <a:gd name="T11" fmla="*/ 3 h 47"/>
                <a:gd name="T12" fmla="*/ 15 w 27"/>
                <a:gd name="T13" fmla="*/ 0 h 47"/>
                <a:gd name="T14" fmla="*/ 15 w 27"/>
                <a:gd name="T15" fmla="*/ 11 h 47"/>
                <a:gd name="T16" fmla="*/ 26 w 27"/>
                <a:gd name="T17" fmla="*/ 11 h 47"/>
                <a:gd name="T18" fmla="*/ 24 w 27"/>
                <a:gd name="T19" fmla="*/ 18 h 47"/>
                <a:gd name="T20" fmla="*/ 15 w 27"/>
                <a:gd name="T21" fmla="*/ 18 h 47"/>
                <a:gd name="T22" fmla="*/ 15 w 27"/>
                <a:gd name="T23" fmla="*/ 35 h 47"/>
                <a:gd name="T24" fmla="*/ 19 w 27"/>
                <a:gd name="T25" fmla="*/ 40 h 47"/>
                <a:gd name="T26" fmla="*/ 24 w 27"/>
                <a:gd name="T27" fmla="*/ 38 h 47"/>
                <a:gd name="T28" fmla="*/ 27 w 27"/>
                <a:gd name="T29" fmla="*/ 44 h 47"/>
                <a:gd name="T30" fmla="*/ 17 w 27"/>
                <a:gd name="T31" fmla="*/ 47 h 47"/>
                <a:gd name="T32" fmla="*/ 7 w 27"/>
                <a:gd name="T33" fmla="*/ 3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 h="47">
                  <a:moveTo>
                    <a:pt x="7" y="37"/>
                  </a:moveTo>
                  <a:cubicBezTo>
                    <a:pt x="7" y="18"/>
                    <a:pt x="7" y="18"/>
                    <a:pt x="7" y="18"/>
                  </a:cubicBezTo>
                  <a:cubicBezTo>
                    <a:pt x="0" y="18"/>
                    <a:pt x="0" y="18"/>
                    <a:pt x="0" y="18"/>
                  </a:cubicBezTo>
                  <a:cubicBezTo>
                    <a:pt x="0" y="11"/>
                    <a:pt x="0" y="11"/>
                    <a:pt x="0" y="11"/>
                  </a:cubicBezTo>
                  <a:cubicBezTo>
                    <a:pt x="7" y="11"/>
                    <a:pt x="7" y="11"/>
                    <a:pt x="7" y="11"/>
                  </a:cubicBezTo>
                  <a:cubicBezTo>
                    <a:pt x="7" y="3"/>
                    <a:pt x="7" y="3"/>
                    <a:pt x="7" y="3"/>
                  </a:cubicBezTo>
                  <a:cubicBezTo>
                    <a:pt x="15" y="0"/>
                    <a:pt x="15" y="0"/>
                    <a:pt x="15" y="0"/>
                  </a:cubicBezTo>
                  <a:cubicBezTo>
                    <a:pt x="15" y="11"/>
                    <a:pt x="15" y="11"/>
                    <a:pt x="15" y="11"/>
                  </a:cubicBezTo>
                  <a:cubicBezTo>
                    <a:pt x="26" y="11"/>
                    <a:pt x="26" y="11"/>
                    <a:pt x="26" y="11"/>
                  </a:cubicBezTo>
                  <a:cubicBezTo>
                    <a:pt x="24" y="18"/>
                    <a:pt x="24" y="18"/>
                    <a:pt x="24" y="18"/>
                  </a:cubicBezTo>
                  <a:cubicBezTo>
                    <a:pt x="15" y="18"/>
                    <a:pt x="15" y="18"/>
                    <a:pt x="15" y="18"/>
                  </a:cubicBezTo>
                  <a:cubicBezTo>
                    <a:pt x="15" y="35"/>
                    <a:pt x="15" y="35"/>
                    <a:pt x="15" y="35"/>
                  </a:cubicBezTo>
                  <a:cubicBezTo>
                    <a:pt x="15" y="38"/>
                    <a:pt x="17" y="40"/>
                    <a:pt x="19" y="40"/>
                  </a:cubicBezTo>
                  <a:cubicBezTo>
                    <a:pt x="21" y="40"/>
                    <a:pt x="23" y="39"/>
                    <a:pt x="24" y="38"/>
                  </a:cubicBezTo>
                  <a:cubicBezTo>
                    <a:pt x="27" y="44"/>
                    <a:pt x="27" y="44"/>
                    <a:pt x="27" y="44"/>
                  </a:cubicBezTo>
                  <a:cubicBezTo>
                    <a:pt x="24" y="46"/>
                    <a:pt x="20" y="47"/>
                    <a:pt x="17" y="47"/>
                  </a:cubicBezTo>
                  <a:cubicBezTo>
                    <a:pt x="10" y="47"/>
                    <a:pt x="7" y="43"/>
                    <a:pt x="7"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4" name="Freeform 173"/>
            <p:cNvSpPr>
              <a:spLocks noEditPoints="1"/>
            </p:cNvSpPr>
            <p:nvPr/>
          </p:nvSpPr>
          <p:spPr bwMode="auto">
            <a:xfrm>
              <a:off x="8163005" y="4532562"/>
              <a:ext cx="51814" cy="58743"/>
            </a:xfrm>
            <a:custGeom>
              <a:avLst/>
              <a:gdLst>
                <a:gd name="T0" fmla="*/ 22 w 31"/>
                <a:gd name="T1" fmla="*/ 33 h 37"/>
                <a:gd name="T2" fmla="*/ 12 w 31"/>
                <a:gd name="T3" fmla="*/ 37 h 37"/>
                <a:gd name="T4" fmla="*/ 0 w 31"/>
                <a:gd name="T5" fmla="*/ 26 h 37"/>
                <a:gd name="T6" fmla="*/ 6 w 31"/>
                <a:gd name="T7" fmla="*/ 16 h 37"/>
                <a:gd name="T8" fmla="*/ 15 w 31"/>
                <a:gd name="T9" fmla="*/ 14 h 37"/>
                <a:gd name="T10" fmla="*/ 21 w 31"/>
                <a:gd name="T11" fmla="*/ 14 h 37"/>
                <a:gd name="T12" fmla="*/ 21 w 31"/>
                <a:gd name="T13" fmla="*/ 13 h 37"/>
                <a:gd name="T14" fmla="*/ 15 w 31"/>
                <a:gd name="T15" fmla="*/ 7 h 37"/>
                <a:gd name="T16" fmla="*/ 5 w 31"/>
                <a:gd name="T17" fmla="*/ 9 h 37"/>
                <a:gd name="T18" fmla="*/ 3 w 31"/>
                <a:gd name="T19" fmla="*/ 4 h 37"/>
                <a:gd name="T20" fmla="*/ 16 w 31"/>
                <a:gd name="T21" fmla="*/ 0 h 37"/>
                <a:gd name="T22" fmla="*/ 30 w 31"/>
                <a:gd name="T23" fmla="*/ 13 h 37"/>
                <a:gd name="T24" fmla="*/ 30 w 31"/>
                <a:gd name="T25" fmla="*/ 27 h 37"/>
                <a:gd name="T26" fmla="*/ 31 w 31"/>
                <a:gd name="T27" fmla="*/ 36 h 37"/>
                <a:gd name="T28" fmla="*/ 24 w 31"/>
                <a:gd name="T29" fmla="*/ 36 h 37"/>
                <a:gd name="T30" fmla="*/ 22 w 31"/>
                <a:gd name="T31" fmla="*/ 33 h 37"/>
                <a:gd name="T32" fmla="*/ 17 w 31"/>
                <a:gd name="T33" fmla="*/ 20 h 37"/>
                <a:gd name="T34" fmla="*/ 12 w 31"/>
                <a:gd name="T35" fmla="*/ 21 h 37"/>
                <a:gd name="T36" fmla="*/ 9 w 31"/>
                <a:gd name="T37" fmla="*/ 25 h 37"/>
                <a:gd name="T38" fmla="*/ 15 w 31"/>
                <a:gd name="T39" fmla="*/ 30 h 37"/>
                <a:gd name="T40" fmla="*/ 21 w 31"/>
                <a:gd name="T41" fmla="*/ 27 h 37"/>
                <a:gd name="T42" fmla="*/ 21 w 31"/>
                <a:gd name="T43" fmla="*/ 20 h 37"/>
                <a:gd name="T44" fmla="*/ 17 w 31"/>
                <a:gd name="T45"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7">
                  <a:moveTo>
                    <a:pt x="22" y="33"/>
                  </a:moveTo>
                  <a:cubicBezTo>
                    <a:pt x="20" y="35"/>
                    <a:pt x="16" y="37"/>
                    <a:pt x="12" y="37"/>
                  </a:cubicBezTo>
                  <a:cubicBezTo>
                    <a:pt x="5" y="37"/>
                    <a:pt x="0" y="32"/>
                    <a:pt x="0" y="26"/>
                  </a:cubicBezTo>
                  <a:cubicBezTo>
                    <a:pt x="0" y="21"/>
                    <a:pt x="3" y="18"/>
                    <a:pt x="6" y="16"/>
                  </a:cubicBezTo>
                  <a:cubicBezTo>
                    <a:pt x="9" y="15"/>
                    <a:pt x="12" y="14"/>
                    <a:pt x="15" y="14"/>
                  </a:cubicBezTo>
                  <a:cubicBezTo>
                    <a:pt x="21" y="14"/>
                    <a:pt x="21" y="14"/>
                    <a:pt x="21" y="14"/>
                  </a:cubicBezTo>
                  <a:cubicBezTo>
                    <a:pt x="21" y="13"/>
                    <a:pt x="21" y="13"/>
                    <a:pt x="21" y="13"/>
                  </a:cubicBezTo>
                  <a:cubicBezTo>
                    <a:pt x="21" y="9"/>
                    <a:pt x="19" y="7"/>
                    <a:pt x="15" y="7"/>
                  </a:cubicBezTo>
                  <a:cubicBezTo>
                    <a:pt x="11" y="7"/>
                    <a:pt x="8" y="8"/>
                    <a:pt x="5" y="9"/>
                  </a:cubicBezTo>
                  <a:cubicBezTo>
                    <a:pt x="3" y="4"/>
                    <a:pt x="3" y="4"/>
                    <a:pt x="3" y="4"/>
                  </a:cubicBezTo>
                  <a:cubicBezTo>
                    <a:pt x="7" y="1"/>
                    <a:pt x="11" y="0"/>
                    <a:pt x="16" y="0"/>
                  </a:cubicBezTo>
                  <a:cubicBezTo>
                    <a:pt x="26" y="0"/>
                    <a:pt x="30" y="4"/>
                    <a:pt x="30" y="13"/>
                  </a:cubicBezTo>
                  <a:cubicBezTo>
                    <a:pt x="30" y="27"/>
                    <a:pt x="30" y="27"/>
                    <a:pt x="30" y="27"/>
                  </a:cubicBezTo>
                  <a:cubicBezTo>
                    <a:pt x="30" y="31"/>
                    <a:pt x="30" y="34"/>
                    <a:pt x="31" y="36"/>
                  </a:cubicBezTo>
                  <a:cubicBezTo>
                    <a:pt x="24" y="36"/>
                    <a:pt x="24" y="36"/>
                    <a:pt x="24" y="36"/>
                  </a:cubicBezTo>
                  <a:lnTo>
                    <a:pt x="22" y="33"/>
                  </a:lnTo>
                  <a:close/>
                  <a:moveTo>
                    <a:pt x="17" y="20"/>
                  </a:moveTo>
                  <a:cubicBezTo>
                    <a:pt x="14" y="20"/>
                    <a:pt x="13" y="20"/>
                    <a:pt x="12" y="21"/>
                  </a:cubicBezTo>
                  <a:cubicBezTo>
                    <a:pt x="10" y="22"/>
                    <a:pt x="9" y="23"/>
                    <a:pt x="9" y="25"/>
                  </a:cubicBezTo>
                  <a:cubicBezTo>
                    <a:pt x="9" y="28"/>
                    <a:pt x="11" y="30"/>
                    <a:pt x="15" y="30"/>
                  </a:cubicBezTo>
                  <a:cubicBezTo>
                    <a:pt x="18" y="30"/>
                    <a:pt x="20" y="28"/>
                    <a:pt x="21" y="27"/>
                  </a:cubicBezTo>
                  <a:cubicBezTo>
                    <a:pt x="21" y="20"/>
                    <a:pt x="21" y="20"/>
                    <a:pt x="21" y="20"/>
                  </a:cubicBezTo>
                  <a:lnTo>
                    <a:pt x="17"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7" name="Text Placeholder 2"/>
          <p:cNvSpPr>
            <a:spLocks noGrp="1"/>
          </p:cNvSpPr>
          <p:nvPr>
            <p:ph type="body" sz="quarter" idx="25" hasCustomPrompt="1"/>
          </p:nvPr>
        </p:nvSpPr>
        <p:spPr>
          <a:xfrm>
            <a:off x="3342796" y="4807465"/>
            <a:ext cx="1160462" cy="341313"/>
          </a:xfrm>
          <a:prstGeom prst="rect">
            <a:avLst/>
          </a:prstGeom>
        </p:spPr>
        <p:txBody>
          <a:bodyPr anchor="ctr"/>
          <a:lstStyle>
            <a:lvl1pPr marL="0" indent="0" algn="ctr">
              <a:buNone/>
              <a:defRPr sz="800">
                <a:solidFill>
                  <a:schemeClr val="bg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grpSp>
        <p:nvGrpSpPr>
          <p:cNvPr id="75" name="Group 74"/>
          <p:cNvGrpSpPr/>
          <p:nvPr userDrawn="1"/>
        </p:nvGrpSpPr>
        <p:grpSpPr>
          <a:xfrm>
            <a:off x="7686461" y="4906654"/>
            <a:ext cx="1124815" cy="151147"/>
            <a:chOff x="7686461" y="4581466"/>
            <a:chExt cx="1124815" cy="151147"/>
          </a:xfrm>
          <a:solidFill>
            <a:schemeClr val="bg1"/>
          </a:solidFill>
        </p:grpSpPr>
        <p:sp>
          <p:nvSpPr>
            <p:cNvPr id="76"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sp>
          <p:nvSpPr>
            <p:cNvPr id="78"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sp>
          <p:nvSpPr>
            <p:cNvPr id="79"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sp>
          <p:nvSpPr>
            <p:cNvPr id="80"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sp>
          <p:nvSpPr>
            <p:cNvPr id="81"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sp>
          <p:nvSpPr>
            <p:cNvPr id="82"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sp>
          <p:nvSpPr>
            <p:cNvPr id="83"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sp>
          <p:nvSpPr>
            <p:cNvPr id="84"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sp>
          <p:nvSpPr>
            <p:cNvPr id="85"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sp>
          <p:nvSpPr>
            <p:cNvPr id="86"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sp>
          <p:nvSpPr>
            <p:cNvPr id="87"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sp>
          <p:nvSpPr>
            <p:cNvPr id="88"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sp>
          <p:nvSpPr>
            <p:cNvPr id="89"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sp>
          <p:nvSpPr>
            <p:cNvPr id="90"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sp>
          <p:nvSpPr>
            <p:cNvPr id="91"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grpSp>
      <p:sp>
        <p:nvSpPr>
          <p:cNvPr id="92"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solidFill>
                  <a:schemeClr val="tx2">
                    <a:lumMod val="75000"/>
                  </a:schemeClr>
                </a:solidFill>
                <a:latin typeface="+mn-lt"/>
              </a:rPr>
              <a:t>Private and Confidental</a:t>
            </a:r>
            <a:endParaRPr lang="pt-BR" sz="500" dirty="0">
              <a:solidFill>
                <a:schemeClr val="tx2">
                  <a:lumMod val="75000"/>
                </a:schemeClr>
              </a:solidFill>
              <a:latin typeface="+mn-lt"/>
            </a:endParaRPr>
          </a:p>
        </p:txBody>
      </p:sp>
    </p:spTree>
    <p:extLst>
      <p:ext uri="{BB962C8B-B14F-4D97-AF65-F5344CB8AC3E}">
        <p14:creationId xmlns:p14="http://schemas.microsoft.com/office/powerpoint/2010/main" val="240760197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V_D_MB_Orange">
    <p:bg>
      <p:bgPr>
        <a:solidFill>
          <a:schemeClr val="bg1"/>
        </a:solidFill>
        <a:effectLst/>
      </p:bgPr>
    </p:bg>
    <p:spTree>
      <p:nvGrpSpPr>
        <p:cNvPr id="1" name=""/>
        <p:cNvGrpSpPr/>
        <p:nvPr/>
      </p:nvGrpSpPr>
      <p:grpSpPr>
        <a:xfrm>
          <a:off x="0" y="0"/>
          <a:ext cx="0" cy="0"/>
          <a:chOff x="0" y="0"/>
          <a:chExt cx="0" cy="0"/>
        </a:xfrm>
      </p:grpSpPr>
      <p:sp>
        <p:nvSpPr>
          <p:cNvPr id="31" name="Rectangle 30"/>
          <p:cNvSpPr/>
          <p:nvPr userDrawn="1"/>
        </p:nvSpPr>
        <p:spPr>
          <a:xfrm>
            <a:off x="0" y="0"/>
            <a:ext cx="9144000" cy="5148263"/>
          </a:xfrm>
          <a:prstGeom prst="rect">
            <a:avLst/>
          </a:prstGeom>
          <a:solidFill>
            <a:schemeClr val="accent4">
              <a:lumMod val="75000"/>
            </a:schemeClr>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en-GB" sz="1050" smtClean="0">
              <a:solidFill>
                <a:schemeClr val="bg1"/>
              </a:solidFill>
              <a:latin typeface="Arial" panose="020B0604020202020204" pitchFamily="34" charset="0"/>
              <a:cs typeface="Arial" panose="020B0604020202020204" pitchFamily="34" charset="0"/>
            </a:endParaRPr>
          </a:p>
        </p:txBody>
      </p:sp>
      <p:pic>
        <p:nvPicPr>
          <p:cNvPr id="33" name="Picture 32" descr="cookie_white.png"/>
          <p:cNvPicPr>
            <a:picLocks noChangeAspect="1"/>
          </p:cNvPicPr>
          <p:nvPr userDrawn="1"/>
        </p:nvPicPr>
        <p:blipFill rotWithShape="1">
          <a:blip r:embed="rId2" cstate="screen">
            <a:alphaModFix amt="16000"/>
            <a:extLst>
              <a:ext uri="{28A0092B-C50C-407E-A947-70E740481C1C}">
                <a14:useLocalDpi xmlns:a14="http://schemas.microsoft.com/office/drawing/2010/main"/>
              </a:ext>
            </a:extLst>
          </a:blip>
          <a:srcRect/>
          <a:stretch/>
        </p:blipFill>
        <p:spPr>
          <a:xfrm flipH="1">
            <a:off x="5149029" y="2289839"/>
            <a:ext cx="4020091" cy="2880000"/>
          </a:xfrm>
          <a:prstGeom prst="rect">
            <a:avLst/>
          </a:prstGeom>
        </p:spPr>
      </p:pic>
      <p:cxnSp>
        <p:nvCxnSpPr>
          <p:cNvPr id="32" name="Straight Connector 31"/>
          <p:cNvCxnSpPr/>
          <p:nvPr userDrawn="1"/>
        </p:nvCxnSpPr>
        <p:spPr>
          <a:xfrm>
            <a:off x="343365" y="470176"/>
            <a:ext cx="8460000" cy="0"/>
          </a:xfrm>
          <a:prstGeom prst="line">
            <a:avLst/>
          </a:prstGeom>
          <a:ln w="6350" cmpd="sng">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343365" y="4801146"/>
            <a:ext cx="8460000" cy="0"/>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sp>
        <p:nvSpPr>
          <p:cNvPr id="67"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rgbClr val="FFFFFF"/>
                </a:solidFill>
                <a:latin typeface="+mn-lt"/>
              </a:defRPr>
            </a:lvl1pPr>
          </a:lstStyle>
          <a:p>
            <a:fld id="{19AB4E72-7858-48F1-A40D-12FF09E4BFB8}" type="slidenum">
              <a:rPr lang="en-GB" smtClean="0"/>
              <a:pPr/>
              <a:t>‹Nº›</a:t>
            </a:fld>
            <a:endParaRPr lang="en-GB"/>
          </a:p>
        </p:txBody>
      </p:sp>
      <p:sp>
        <p:nvSpPr>
          <p:cNvPr id="36" name="Title 1"/>
          <p:cNvSpPr>
            <a:spLocks noGrp="1"/>
          </p:cNvSpPr>
          <p:nvPr>
            <p:ph type="ctrTitle" hasCustomPrompt="1"/>
          </p:nvPr>
        </p:nvSpPr>
        <p:spPr>
          <a:xfrm>
            <a:off x="343365" y="2867487"/>
            <a:ext cx="8460000" cy="443198"/>
          </a:xfrm>
          <a:prstGeom prst="rect">
            <a:avLst/>
          </a:prstGeom>
        </p:spPr>
        <p:txBody>
          <a:bodyPr lIns="0" tIns="0" rIns="0" bIns="0" anchor="b"/>
          <a:lstStyle>
            <a:lvl1pPr>
              <a:lnSpc>
                <a:spcPct val="90000"/>
              </a:lnSpc>
              <a:defRPr sz="3200" b="0">
                <a:solidFill>
                  <a:schemeClr val="bg1"/>
                </a:solidFill>
              </a:defRPr>
            </a:lvl1pPr>
          </a:lstStyle>
          <a:p>
            <a:r>
              <a:rPr lang="en-US" dirty="0" smtClean="0"/>
              <a:t>Click to edit Master title Style</a:t>
            </a:r>
            <a:endParaRPr lang="en-US" dirty="0"/>
          </a:p>
        </p:txBody>
      </p:sp>
      <p:sp>
        <p:nvSpPr>
          <p:cNvPr id="37" name="Subtitle 2"/>
          <p:cNvSpPr>
            <a:spLocks noGrp="1"/>
          </p:cNvSpPr>
          <p:nvPr>
            <p:ph type="subTitle" idx="1" hasCustomPrompt="1"/>
          </p:nvPr>
        </p:nvSpPr>
        <p:spPr>
          <a:xfrm>
            <a:off x="343364" y="3474100"/>
            <a:ext cx="8460000" cy="202165"/>
          </a:xfrm>
          <a:prstGeom prst="rect">
            <a:avLst/>
          </a:prstGeom>
        </p:spPr>
        <p:txBody>
          <a:bodyPr lIns="0" tIns="0" rIns="0" bIns="0">
            <a:noAutofit/>
          </a:bodyPr>
          <a:lstStyle>
            <a:lvl1pPr marL="0" indent="0" algn="l">
              <a:buNone/>
              <a:defRPr sz="14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cxnSp>
        <p:nvCxnSpPr>
          <p:cNvPr id="38" name="Straight Connector 37"/>
          <p:cNvCxnSpPr/>
          <p:nvPr userDrawn="1"/>
        </p:nvCxnSpPr>
        <p:spPr>
          <a:xfrm>
            <a:off x="346086" y="3395058"/>
            <a:ext cx="8460000" cy="0"/>
          </a:xfrm>
          <a:prstGeom prst="line">
            <a:avLst/>
          </a:prstGeom>
          <a:ln w="12700" cmpd="sng">
            <a:solidFill>
              <a:schemeClr val="bg1"/>
            </a:solidFill>
          </a:ln>
        </p:spPr>
        <p:style>
          <a:lnRef idx="1">
            <a:schemeClr val="accent1"/>
          </a:lnRef>
          <a:fillRef idx="0">
            <a:schemeClr val="accent1"/>
          </a:fillRef>
          <a:effectRef idx="0">
            <a:schemeClr val="accent1"/>
          </a:effectRef>
          <a:fontRef idx="minor">
            <a:schemeClr val="tx1"/>
          </a:fontRef>
        </p:style>
      </p:cxnSp>
      <p:grpSp>
        <p:nvGrpSpPr>
          <p:cNvPr id="74" name="Group 73"/>
          <p:cNvGrpSpPr/>
          <p:nvPr userDrawn="1"/>
        </p:nvGrpSpPr>
        <p:grpSpPr>
          <a:xfrm>
            <a:off x="4750866" y="4840100"/>
            <a:ext cx="1123200" cy="233974"/>
            <a:chOff x="7665803" y="4864376"/>
            <a:chExt cx="1123200" cy="233974"/>
          </a:xfrm>
          <a:solidFill>
            <a:schemeClr val="bg1"/>
          </a:solidFill>
        </p:grpSpPr>
        <p:sp>
          <p:nvSpPr>
            <p:cNvPr id="98" name="Freeform 6"/>
            <p:cNvSpPr>
              <a:spLocks/>
            </p:cNvSpPr>
            <p:nvPr userDrawn="1"/>
          </p:nvSpPr>
          <p:spPr bwMode="auto">
            <a:xfrm>
              <a:off x="8119644" y="4924717"/>
              <a:ext cx="103102" cy="66806"/>
            </a:xfrm>
            <a:custGeom>
              <a:avLst/>
              <a:gdLst>
                <a:gd name="T0" fmla="*/ 111 w 136"/>
                <a:gd name="T1" fmla="*/ 72 h 92"/>
                <a:gd name="T2" fmla="*/ 87 w 136"/>
                <a:gd name="T3" fmla="*/ 88 h 92"/>
                <a:gd name="T4" fmla="*/ 68 w 136"/>
                <a:gd name="T5" fmla="*/ 28 h 92"/>
                <a:gd name="T6" fmla="*/ 67 w 136"/>
                <a:gd name="T7" fmla="*/ 28 h 92"/>
                <a:gd name="T8" fmla="*/ 53 w 136"/>
                <a:gd name="T9" fmla="*/ 72 h 92"/>
                <a:gd name="T10" fmla="*/ 31 w 136"/>
                <a:gd name="T11" fmla="*/ 88 h 92"/>
                <a:gd name="T12" fmla="*/ 0 w 136"/>
                <a:gd name="T13" fmla="*/ 0 h 92"/>
                <a:gd name="T14" fmla="*/ 22 w 136"/>
                <a:gd name="T15" fmla="*/ 0 h 92"/>
                <a:gd name="T16" fmla="*/ 41 w 136"/>
                <a:gd name="T17" fmla="*/ 60 h 92"/>
                <a:gd name="T18" fmla="*/ 41 w 136"/>
                <a:gd name="T19" fmla="*/ 60 h 92"/>
                <a:gd name="T20" fmla="*/ 60 w 136"/>
                <a:gd name="T21" fmla="*/ 0 h 92"/>
                <a:gd name="T22" fmla="*/ 77 w 136"/>
                <a:gd name="T23" fmla="*/ 0 h 92"/>
                <a:gd name="T24" fmla="*/ 96 w 136"/>
                <a:gd name="T25" fmla="*/ 60 h 92"/>
                <a:gd name="T26" fmla="*/ 97 w 136"/>
                <a:gd name="T27" fmla="*/ 60 h 92"/>
                <a:gd name="T28" fmla="*/ 115 w 136"/>
                <a:gd name="T29" fmla="*/ 0 h 92"/>
                <a:gd name="T30" fmla="*/ 136 w 136"/>
                <a:gd name="T31" fmla="*/ 0 h 92"/>
                <a:gd name="T32" fmla="*/ 111 w 136"/>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 h="92">
                  <a:moveTo>
                    <a:pt x="111" y="72"/>
                  </a:moveTo>
                  <a:cubicBezTo>
                    <a:pt x="103" y="92"/>
                    <a:pt x="87" y="88"/>
                    <a:pt x="87" y="88"/>
                  </a:cubicBezTo>
                  <a:cubicBezTo>
                    <a:pt x="68" y="28"/>
                    <a:pt x="68" y="28"/>
                    <a:pt x="68" y="28"/>
                  </a:cubicBezTo>
                  <a:cubicBezTo>
                    <a:pt x="67" y="28"/>
                    <a:pt x="67" y="28"/>
                    <a:pt x="67" y="28"/>
                  </a:cubicBezTo>
                  <a:cubicBezTo>
                    <a:pt x="67" y="28"/>
                    <a:pt x="58"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6" y="60"/>
                    <a:pt x="96" y="60"/>
                    <a:pt x="96" y="60"/>
                  </a:cubicBezTo>
                  <a:cubicBezTo>
                    <a:pt x="97" y="60"/>
                    <a:pt x="97" y="60"/>
                    <a:pt x="97" y="60"/>
                  </a:cubicBezTo>
                  <a:cubicBezTo>
                    <a:pt x="115" y="0"/>
                    <a:pt x="115" y="0"/>
                    <a:pt x="115" y="0"/>
                  </a:cubicBezTo>
                  <a:cubicBezTo>
                    <a:pt x="136" y="0"/>
                    <a:pt x="136" y="0"/>
                    <a:pt x="136" y="0"/>
                  </a:cubicBezTo>
                  <a:cubicBezTo>
                    <a:pt x="136"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9" name="Freeform 7"/>
            <p:cNvSpPr>
              <a:spLocks noEditPoints="1"/>
            </p:cNvSpPr>
            <p:nvPr userDrawn="1"/>
          </p:nvSpPr>
          <p:spPr bwMode="auto">
            <a:xfrm>
              <a:off x="8225958" y="4923177"/>
              <a:ext cx="57493" cy="66190"/>
            </a:xfrm>
            <a:custGeom>
              <a:avLst/>
              <a:gdLst>
                <a:gd name="T0" fmla="*/ 57 w 76"/>
                <a:gd name="T1" fmla="*/ 90 h 91"/>
                <a:gd name="T2" fmla="*/ 53 w 76"/>
                <a:gd name="T3" fmla="*/ 81 h 91"/>
                <a:gd name="T4" fmla="*/ 28 w 76"/>
                <a:gd name="T5" fmla="*/ 91 h 91"/>
                <a:gd name="T6" fmla="*/ 0 w 76"/>
                <a:gd name="T7" fmla="*/ 63 h 91"/>
                <a:gd name="T8" fmla="*/ 36 w 76"/>
                <a:gd name="T9" fmla="*/ 34 h 91"/>
                <a:gd name="T10" fmla="*/ 51 w 76"/>
                <a:gd name="T11" fmla="*/ 34 h 91"/>
                <a:gd name="T12" fmla="*/ 51 w 76"/>
                <a:gd name="T13" fmla="*/ 31 h 91"/>
                <a:gd name="T14" fmla="*/ 35 w 76"/>
                <a:gd name="T15" fmla="*/ 17 h 91"/>
                <a:gd name="T16" fmla="*/ 12 w 76"/>
                <a:gd name="T17" fmla="*/ 23 h 91"/>
                <a:gd name="T18" fmla="*/ 5 w 76"/>
                <a:gd name="T19" fmla="*/ 9 h 91"/>
                <a:gd name="T20" fmla="*/ 39 w 76"/>
                <a:gd name="T21" fmla="*/ 0 h 91"/>
                <a:gd name="T22" fmla="*/ 74 w 76"/>
                <a:gd name="T23" fmla="*/ 31 h 91"/>
                <a:gd name="T24" fmla="*/ 74 w 76"/>
                <a:gd name="T25" fmla="*/ 66 h 91"/>
                <a:gd name="T26" fmla="*/ 76 w 76"/>
                <a:gd name="T27" fmla="*/ 90 h 91"/>
                <a:gd name="T28" fmla="*/ 57 w 76"/>
                <a:gd name="T29" fmla="*/ 90 h 91"/>
                <a:gd name="T30" fmla="*/ 51 w 76"/>
                <a:gd name="T31" fmla="*/ 49 h 91"/>
                <a:gd name="T32" fmla="*/ 39 w 76"/>
                <a:gd name="T33" fmla="*/ 49 h 91"/>
                <a:gd name="T34" fmla="*/ 22 w 76"/>
                <a:gd name="T35" fmla="*/ 61 h 91"/>
                <a:gd name="T36" fmla="*/ 36 w 76"/>
                <a:gd name="T37" fmla="*/ 73 h 91"/>
                <a:gd name="T38" fmla="*/ 51 w 76"/>
                <a:gd name="T39" fmla="*/ 68 h 91"/>
                <a:gd name="T40" fmla="*/ 51 w 76"/>
                <a:gd name="T41" fmla="*/ 4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91">
                  <a:moveTo>
                    <a:pt x="57" y="90"/>
                  </a:moveTo>
                  <a:cubicBezTo>
                    <a:pt x="53" y="81"/>
                    <a:pt x="53" y="81"/>
                    <a:pt x="53" y="81"/>
                  </a:cubicBezTo>
                  <a:cubicBezTo>
                    <a:pt x="48" y="86"/>
                    <a:pt x="40" y="91"/>
                    <a:pt x="28" y="91"/>
                  </a:cubicBezTo>
                  <a:cubicBezTo>
                    <a:pt x="12" y="91"/>
                    <a:pt x="0" y="80"/>
                    <a:pt x="0" y="63"/>
                  </a:cubicBezTo>
                  <a:cubicBezTo>
                    <a:pt x="0" y="45"/>
                    <a:pt x="14" y="35"/>
                    <a:pt x="36" y="34"/>
                  </a:cubicBezTo>
                  <a:cubicBezTo>
                    <a:pt x="51" y="34"/>
                    <a:pt x="51" y="34"/>
                    <a:pt x="51" y="34"/>
                  </a:cubicBezTo>
                  <a:cubicBezTo>
                    <a:pt x="51" y="33"/>
                    <a:pt x="51" y="32"/>
                    <a:pt x="51" y="31"/>
                  </a:cubicBezTo>
                  <a:cubicBezTo>
                    <a:pt x="51" y="21"/>
                    <a:pt x="44" y="17"/>
                    <a:pt x="35" y="17"/>
                  </a:cubicBezTo>
                  <a:cubicBezTo>
                    <a:pt x="25" y="17"/>
                    <a:pt x="18" y="20"/>
                    <a:pt x="12" y="23"/>
                  </a:cubicBezTo>
                  <a:cubicBezTo>
                    <a:pt x="5" y="9"/>
                    <a:pt x="5" y="9"/>
                    <a:pt x="5" y="9"/>
                  </a:cubicBezTo>
                  <a:cubicBezTo>
                    <a:pt x="17" y="2"/>
                    <a:pt x="28" y="0"/>
                    <a:pt x="39" y="0"/>
                  </a:cubicBezTo>
                  <a:cubicBezTo>
                    <a:pt x="61" y="0"/>
                    <a:pt x="74" y="9"/>
                    <a:pt x="74" y="31"/>
                  </a:cubicBezTo>
                  <a:cubicBezTo>
                    <a:pt x="74" y="66"/>
                    <a:pt x="74" y="66"/>
                    <a:pt x="74" y="66"/>
                  </a:cubicBezTo>
                  <a:cubicBezTo>
                    <a:pt x="74" y="78"/>
                    <a:pt x="75" y="86"/>
                    <a:pt x="76" y="90"/>
                  </a:cubicBezTo>
                  <a:lnTo>
                    <a:pt x="57" y="90"/>
                  </a:lnTo>
                  <a:close/>
                  <a:moveTo>
                    <a:pt x="51" y="49"/>
                  </a:moveTo>
                  <a:cubicBezTo>
                    <a:pt x="39" y="49"/>
                    <a:pt x="39" y="49"/>
                    <a:pt x="39" y="49"/>
                  </a:cubicBezTo>
                  <a:cubicBezTo>
                    <a:pt x="27" y="50"/>
                    <a:pt x="22" y="54"/>
                    <a:pt x="22" y="61"/>
                  </a:cubicBezTo>
                  <a:cubicBezTo>
                    <a:pt x="22" y="68"/>
                    <a:pt x="27" y="73"/>
                    <a:pt x="36" y="73"/>
                  </a:cubicBezTo>
                  <a:cubicBezTo>
                    <a:pt x="44" y="73"/>
                    <a:pt x="49" y="70"/>
                    <a:pt x="51" y="68"/>
                  </a:cubicBezTo>
                  <a:lnTo>
                    <a:pt x="51" y="4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0" name="Freeform 8"/>
            <p:cNvSpPr>
              <a:spLocks noEditPoints="1"/>
            </p:cNvSpPr>
            <p:nvPr userDrawn="1"/>
          </p:nvSpPr>
          <p:spPr bwMode="auto">
            <a:xfrm>
              <a:off x="8342550" y="4892699"/>
              <a:ext cx="62311" cy="96668"/>
            </a:xfrm>
            <a:custGeom>
              <a:avLst/>
              <a:gdLst>
                <a:gd name="T0" fmla="*/ 47 w 82"/>
                <a:gd name="T1" fmla="*/ 133 h 133"/>
                <a:gd name="T2" fmla="*/ 0 w 82"/>
                <a:gd name="T3" fmla="*/ 88 h 133"/>
                <a:gd name="T4" fmla="*/ 48 w 82"/>
                <a:gd name="T5" fmla="*/ 42 h 133"/>
                <a:gd name="T6" fmla="*/ 59 w 82"/>
                <a:gd name="T7" fmla="*/ 42 h 133"/>
                <a:gd name="T8" fmla="*/ 60 w 82"/>
                <a:gd name="T9" fmla="*/ 0 h 133"/>
                <a:gd name="T10" fmla="*/ 82 w 82"/>
                <a:gd name="T11" fmla="*/ 0 h 133"/>
                <a:gd name="T12" fmla="*/ 81 w 82"/>
                <a:gd name="T13" fmla="*/ 126 h 133"/>
                <a:gd name="T14" fmla="*/ 47 w 82"/>
                <a:gd name="T15" fmla="*/ 133 h 133"/>
                <a:gd name="T16" fmla="*/ 59 w 82"/>
                <a:gd name="T17" fmla="*/ 60 h 133"/>
                <a:gd name="T18" fmla="*/ 49 w 82"/>
                <a:gd name="T19" fmla="*/ 59 h 133"/>
                <a:gd name="T20" fmla="*/ 22 w 82"/>
                <a:gd name="T21" fmla="*/ 87 h 133"/>
                <a:gd name="T22" fmla="*/ 49 w 82"/>
                <a:gd name="T23" fmla="*/ 114 h 133"/>
                <a:gd name="T24" fmla="*/ 59 w 82"/>
                <a:gd name="T25" fmla="*/ 113 h 133"/>
                <a:gd name="T26" fmla="*/ 59 w 82"/>
                <a:gd name="T27" fmla="*/ 6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3">
                  <a:moveTo>
                    <a:pt x="47" y="133"/>
                  </a:moveTo>
                  <a:cubicBezTo>
                    <a:pt x="21" y="133"/>
                    <a:pt x="0" y="117"/>
                    <a:pt x="0" y="88"/>
                  </a:cubicBezTo>
                  <a:cubicBezTo>
                    <a:pt x="0" y="61"/>
                    <a:pt x="20" y="42"/>
                    <a:pt x="48" y="42"/>
                  </a:cubicBezTo>
                  <a:cubicBezTo>
                    <a:pt x="52" y="42"/>
                    <a:pt x="56" y="42"/>
                    <a:pt x="59" y="42"/>
                  </a:cubicBezTo>
                  <a:cubicBezTo>
                    <a:pt x="60" y="0"/>
                    <a:pt x="60" y="0"/>
                    <a:pt x="60" y="0"/>
                  </a:cubicBezTo>
                  <a:cubicBezTo>
                    <a:pt x="82" y="0"/>
                    <a:pt x="82" y="0"/>
                    <a:pt x="82" y="0"/>
                  </a:cubicBezTo>
                  <a:cubicBezTo>
                    <a:pt x="81" y="126"/>
                    <a:pt x="81" y="126"/>
                    <a:pt x="81" y="126"/>
                  </a:cubicBezTo>
                  <a:cubicBezTo>
                    <a:pt x="73" y="130"/>
                    <a:pt x="62" y="133"/>
                    <a:pt x="47" y="133"/>
                  </a:cubicBezTo>
                  <a:close/>
                  <a:moveTo>
                    <a:pt x="59" y="60"/>
                  </a:moveTo>
                  <a:cubicBezTo>
                    <a:pt x="56" y="60"/>
                    <a:pt x="54" y="59"/>
                    <a:pt x="49" y="59"/>
                  </a:cubicBezTo>
                  <a:cubicBezTo>
                    <a:pt x="33" y="59"/>
                    <a:pt x="22" y="70"/>
                    <a:pt x="22" y="87"/>
                  </a:cubicBezTo>
                  <a:cubicBezTo>
                    <a:pt x="22" y="103"/>
                    <a:pt x="32" y="114"/>
                    <a:pt x="49" y="114"/>
                  </a:cubicBezTo>
                  <a:cubicBezTo>
                    <a:pt x="53" y="114"/>
                    <a:pt x="57" y="114"/>
                    <a:pt x="59" y="113"/>
                  </a:cubicBezTo>
                  <a:lnTo>
                    <a:pt x="59" y="60"/>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1" name="Freeform 9"/>
            <p:cNvSpPr>
              <a:spLocks/>
            </p:cNvSpPr>
            <p:nvPr userDrawn="1"/>
          </p:nvSpPr>
          <p:spPr bwMode="auto">
            <a:xfrm>
              <a:off x="8093949"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2" name="Freeform 10"/>
            <p:cNvSpPr>
              <a:spLocks/>
            </p:cNvSpPr>
            <p:nvPr userDrawn="1"/>
          </p:nvSpPr>
          <p:spPr bwMode="auto">
            <a:xfrm>
              <a:off x="8060545"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3" name="Freeform 11"/>
            <p:cNvSpPr>
              <a:spLocks/>
            </p:cNvSpPr>
            <p:nvPr userDrawn="1"/>
          </p:nvSpPr>
          <p:spPr bwMode="auto">
            <a:xfrm>
              <a:off x="8297262" y="4923177"/>
              <a:ext cx="43039" cy="66190"/>
            </a:xfrm>
            <a:custGeom>
              <a:avLst/>
              <a:gdLst>
                <a:gd name="T0" fmla="*/ 49 w 57"/>
                <a:gd name="T1" fmla="*/ 22 h 91"/>
                <a:gd name="T2" fmla="*/ 39 w 57"/>
                <a:gd name="T3" fmla="*/ 20 h 91"/>
                <a:gd name="T4" fmla="*/ 22 w 57"/>
                <a:gd name="T5" fmla="*/ 27 h 91"/>
                <a:gd name="T6" fmla="*/ 22 w 57"/>
                <a:gd name="T7" fmla="*/ 74 h 91"/>
                <a:gd name="T8" fmla="*/ 0 w 57"/>
                <a:gd name="T9" fmla="*/ 90 h 91"/>
                <a:gd name="T10" fmla="*/ 0 w 57"/>
                <a:gd name="T11" fmla="*/ 2 h 91"/>
                <a:gd name="T12" fmla="*/ 18 w 57"/>
                <a:gd name="T13" fmla="*/ 2 h 91"/>
                <a:gd name="T14" fmla="*/ 21 w 57"/>
                <a:gd name="T15" fmla="*/ 11 h 91"/>
                <a:gd name="T16" fmla="*/ 45 w 57"/>
                <a:gd name="T17" fmla="*/ 0 h 91"/>
                <a:gd name="T18" fmla="*/ 57 w 57"/>
                <a:gd name="T19" fmla="*/ 4 h 91"/>
                <a:gd name="T20" fmla="*/ 49 w 57"/>
                <a:gd name="T21" fmla="*/ 2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1">
                  <a:moveTo>
                    <a:pt x="49" y="22"/>
                  </a:moveTo>
                  <a:cubicBezTo>
                    <a:pt x="45" y="20"/>
                    <a:pt x="41" y="20"/>
                    <a:pt x="39" y="20"/>
                  </a:cubicBezTo>
                  <a:cubicBezTo>
                    <a:pt x="34" y="20"/>
                    <a:pt x="28" y="22"/>
                    <a:pt x="22" y="27"/>
                  </a:cubicBezTo>
                  <a:cubicBezTo>
                    <a:pt x="22" y="27"/>
                    <a:pt x="22" y="57"/>
                    <a:pt x="22" y="74"/>
                  </a:cubicBezTo>
                  <a:cubicBezTo>
                    <a:pt x="22" y="91"/>
                    <a:pt x="0" y="90"/>
                    <a:pt x="0" y="90"/>
                  </a:cubicBezTo>
                  <a:cubicBezTo>
                    <a:pt x="0" y="2"/>
                    <a:pt x="0" y="2"/>
                    <a:pt x="0" y="2"/>
                  </a:cubicBezTo>
                  <a:cubicBezTo>
                    <a:pt x="18" y="2"/>
                    <a:pt x="18" y="2"/>
                    <a:pt x="18"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4" name="Freeform 12"/>
            <p:cNvSpPr>
              <a:spLocks/>
            </p:cNvSpPr>
            <p:nvPr userDrawn="1"/>
          </p:nvSpPr>
          <p:spPr bwMode="auto">
            <a:xfrm>
              <a:off x="7907980" y="4892699"/>
              <a:ext cx="98605" cy="95129"/>
            </a:xfrm>
            <a:custGeom>
              <a:avLst/>
              <a:gdLst>
                <a:gd name="T0" fmla="*/ 106 w 130"/>
                <a:gd name="T1" fmla="*/ 131 h 131"/>
                <a:gd name="T2" fmla="*/ 106 w 130"/>
                <a:gd name="T3" fmla="*/ 53 h 131"/>
                <a:gd name="T4" fmla="*/ 107 w 130"/>
                <a:gd name="T5" fmla="*/ 39 h 131"/>
                <a:gd name="T6" fmla="*/ 106 w 130"/>
                <a:gd name="T7" fmla="*/ 39 h 131"/>
                <a:gd name="T8" fmla="*/ 99 w 130"/>
                <a:gd name="T9" fmla="*/ 52 h 131"/>
                <a:gd name="T10" fmla="*/ 72 w 130"/>
                <a:gd name="T11" fmla="*/ 93 h 131"/>
                <a:gd name="T12" fmla="*/ 60 w 130"/>
                <a:gd name="T13" fmla="*/ 93 h 131"/>
                <a:gd name="T14" fmla="*/ 32 w 130"/>
                <a:gd name="T15" fmla="*/ 51 h 131"/>
                <a:gd name="T16" fmla="*/ 24 w 130"/>
                <a:gd name="T17" fmla="*/ 39 h 131"/>
                <a:gd name="T18" fmla="*/ 23 w 130"/>
                <a:gd name="T19" fmla="*/ 39 h 131"/>
                <a:gd name="T20" fmla="*/ 24 w 130"/>
                <a:gd name="T21" fmla="*/ 52 h 131"/>
                <a:gd name="T22" fmla="*/ 24 w 130"/>
                <a:gd name="T23" fmla="*/ 131 h 131"/>
                <a:gd name="T24" fmla="*/ 0 w 130"/>
                <a:gd name="T25" fmla="*/ 131 h 131"/>
                <a:gd name="T26" fmla="*/ 0 w 130"/>
                <a:gd name="T27" fmla="*/ 0 h 131"/>
                <a:gd name="T28" fmla="*/ 22 w 130"/>
                <a:gd name="T29" fmla="*/ 0 h 131"/>
                <a:gd name="T30" fmla="*/ 58 w 130"/>
                <a:gd name="T31" fmla="*/ 52 h 131"/>
                <a:gd name="T32" fmla="*/ 66 w 130"/>
                <a:gd name="T33" fmla="*/ 66 h 131"/>
                <a:gd name="T34" fmla="*/ 67 w 130"/>
                <a:gd name="T35" fmla="*/ 66 h 131"/>
                <a:gd name="T36" fmla="*/ 75 w 130"/>
                <a:gd name="T37" fmla="*/ 52 h 131"/>
                <a:gd name="T38" fmla="*/ 108 w 130"/>
                <a:gd name="T39" fmla="*/ 0 h 131"/>
                <a:gd name="T40" fmla="*/ 130 w 130"/>
                <a:gd name="T41" fmla="*/ 0 h 131"/>
                <a:gd name="T42" fmla="*/ 130 w 130"/>
                <a:gd name="T43" fmla="*/ 131 h 131"/>
                <a:gd name="T44" fmla="*/ 106 w 130"/>
                <a:gd name="T45"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0" h="131">
                  <a:moveTo>
                    <a:pt x="106" y="131"/>
                  </a:moveTo>
                  <a:cubicBezTo>
                    <a:pt x="106" y="53"/>
                    <a:pt x="106" y="53"/>
                    <a:pt x="106" y="53"/>
                  </a:cubicBezTo>
                  <a:cubicBezTo>
                    <a:pt x="106" y="48"/>
                    <a:pt x="106" y="44"/>
                    <a:pt x="107" y="39"/>
                  </a:cubicBezTo>
                  <a:cubicBezTo>
                    <a:pt x="106" y="39"/>
                    <a:pt x="106" y="39"/>
                    <a:pt x="106" y="39"/>
                  </a:cubicBezTo>
                  <a:cubicBezTo>
                    <a:pt x="105" y="43"/>
                    <a:pt x="101" y="49"/>
                    <a:pt x="99" y="52"/>
                  </a:cubicBezTo>
                  <a:cubicBezTo>
                    <a:pt x="72" y="93"/>
                    <a:pt x="72" y="93"/>
                    <a:pt x="72" y="93"/>
                  </a:cubicBezTo>
                  <a:cubicBezTo>
                    <a:pt x="60" y="93"/>
                    <a:pt x="60" y="93"/>
                    <a:pt x="60" y="93"/>
                  </a:cubicBezTo>
                  <a:cubicBezTo>
                    <a:pt x="32" y="51"/>
                    <a:pt x="32" y="51"/>
                    <a:pt x="32" y="51"/>
                  </a:cubicBezTo>
                  <a:cubicBezTo>
                    <a:pt x="29" y="48"/>
                    <a:pt x="26" y="44"/>
                    <a:pt x="24" y="39"/>
                  </a:cubicBezTo>
                  <a:cubicBezTo>
                    <a:pt x="23" y="39"/>
                    <a:pt x="23" y="39"/>
                    <a:pt x="23" y="39"/>
                  </a:cubicBezTo>
                  <a:cubicBezTo>
                    <a:pt x="24" y="44"/>
                    <a:pt x="24" y="48"/>
                    <a:pt x="24" y="52"/>
                  </a:cubicBezTo>
                  <a:cubicBezTo>
                    <a:pt x="24" y="131"/>
                    <a:pt x="24" y="131"/>
                    <a:pt x="24" y="131"/>
                  </a:cubicBezTo>
                  <a:cubicBezTo>
                    <a:pt x="0" y="131"/>
                    <a:pt x="0" y="131"/>
                    <a:pt x="0" y="131"/>
                  </a:cubicBezTo>
                  <a:cubicBezTo>
                    <a:pt x="0" y="0"/>
                    <a:pt x="0" y="0"/>
                    <a:pt x="0" y="0"/>
                  </a:cubicBezTo>
                  <a:cubicBezTo>
                    <a:pt x="22" y="0"/>
                    <a:pt x="22" y="0"/>
                    <a:pt x="22" y="0"/>
                  </a:cubicBezTo>
                  <a:cubicBezTo>
                    <a:pt x="58" y="52"/>
                    <a:pt x="58" y="52"/>
                    <a:pt x="58" y="52"/>
                  </a:cubicBezTo>
                  <a:cubicBezTo>
                    <a:pt x="61" y="57"/>
                    <a:pt x="64" y="61"/>
                    <a:pt x="66" y="66"/>
                  </a:cubicBezTo>
                  <a:cubicBezTo>
                    <a:pt x="67" y="66"/>
                    <a:pt x="67" y="66"/>
                    <a:pt x="67" y="66"/>
                  </a:cubicBezTo>
                  <a:cubicBezTo>
                    <a:pt x="69" y="61"/>
                    <a:pt x="71" y="57"/>
                    <a:pt x="75" y="52"/>
                  </a:cubicBezTo>
                  <a:cubicBezTo>
                    <a:pt x="108" y="0"/>
                    <a:pt x="108" y="0"/>
                    <a:pt x="108" y="0"/>
                  </a:cubicBezTo>
                  <a:cubicBezTo>
                    <a:pt x="130" y="0"/>
                    <a:pt x="130" y="0"/>
                    <a:pt x="130" y="0"/>
                  </a:cubicBezTo>
                  <a:cubicBezTo>
                    <a:pt x="130" y="131"/>
                    <a:pt x="130" y="131"/>
                    <a:pt x="130" y="131"/>
                  </a:cubicBezTo>
                  <a:lnTo>
                    <a:pt x="106" y="131"/>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5" name="Freeform 13"/>
            <p:cNvSpPr>
              <a:spLocks/>
            </p:cNvSpPr>
            <p:nvPr userDrawn="1"/>
          </p:nvSpPr>
          <p:spPr bwMode="auto">
            <a:xfrm>
              <a:off x="7665803" y="4864376"/>
              <a:ext cx="100854" cy="148389"/>
            </a:xfrm>
            <a:custGeom>
              <a:avLst/>
              <a:gdLst>
                <a:gd name="T0" fmla="*/ 133 w 133"/>
                <a:gd name="T1" fmla="*/ 23 h 204"/>
                <a:gd name="T2" fmla="*/ 132 w 133"/>
                <a:gd name="T3" fmla="*/ 22 h 204"/>
                <a:gd name="T4" fmla="*/ 65 w 133"/>
                <a:gd name="T5" fmla="*/ 20 h 204"/>
                <a:gd name="T6" fmla="*/ 52 w 133"/>
                <a:gd name="T7" fmla="*/ 52 h 204"/>
                <a:gd name="T8" fmla="*/ 20 w 133"/>
                <a:gd name="T9" fmla="*/ 65 h 204"/>
                <a:gd name="T10" fmla="*/ 22 w 133"/>
                <a:gd name="T11" fmla="*/ 132 h 204"/>
                <a:gd name="T12" fmla="*/ 95 w 133"/>
                <a:gd name="T13" fmla="*/ 204 h 204"/>
                <a:gd name="T14" fmla="*/ 117 w 133"/>
                <a:gd name="T15" fmla="*/ 182 h 204"/>
                <a:gd name="T16" fmla="*/ 44 w 133"/>
                <a:gd name="T17" fmla="*/ 110 h 204"/>
                <a:gd name="T18" fmla="*/ 42 w 133"/>
                <a:gd name="T19" fmla="*/ 86 h 204"/>
                <a:gd name="T20" fmla="*/ 66 w 133"/>
                <a:gd name="T21" fmla="*/ 88 h 204"/>
                <a:gd name="T22" fmla="*/ 133 w 133"/>
                <a:gd name="T23" fmla="*/ 155 h 204"/>
                <a:gd name="T24" fmla="*/ 133 w 133"/>
                <a:gd name="T25" fmla="*/ 111 h 204"/>
                <a:gd name="T26" fmla="*/ 88 w 133"/>
                <a:gd name="T27" fmla="*/ 66 h 204"/>
                <a:gd name="T28" fmla="*/ 86 w 133"/>
                <a:gd name="T29" fmla="*/ 42 h 204"/>
                <a:gd name="T30" fmla="*/ 110 w 133"/>
                <a:gd name="T31" fmla="*/ 44 h 204"/>
                <a:gd name="T32" fmla="*/ 133 w 133"/>
                <a:gd name="T33" fmla="*/ 66 h 204"/>
                <a:gd name="T34" fmla="*/ 133 w 133"/>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204">
                  <a:moveTo>
                    <a:pt x="133" y="23"/>
                  </a:moveTo>
                  <a:cubicBezTo>
                    <a:pt x="132" y="22"/>
                    <a:pt x="132" y="22"/>
                    <a:pt x="132" y="22"/>
                  </a:cubicBezTo>
                  <a:cubicBezTo>
                    <a:pt x="110" y="0"/>
                    <a:pt x="82" y="2"/>
                    <a:pt x="65" y="20"/>
                  </a:cubicBezTo>
                  <a:cubicBezTo>
                    <a:pt x="53" y="32"/>
                    <a:pt x="51" y="46"/>
                    <a:pt x="52" y="52"/>
                  </a:cubicBezTo>
                  <a:cubicBezTo>
                    <a:pt x="47" y="51"/>
                    <a:pt x="32" y="52"/>
                    <a:pt x="20" y="65"/>
                  </a:cubicBezTo>
                  <a:cubicBezTo>
                    <a:pt x="3" y="82"/>
                    <a:pt x="0" y="110"/>
                    <a:pt x="22" y="132"/>
                  </a:cubicBezTo>
                  <a:cubicBezTo>
                    <a:pt x="95" y="204"/>
                    <a:pt x="95" y="204"/>
                    <a:pt x="95" y="204"/>
                  </a:cubicBezTo>
                  <a:cubicBezTo>
                    <a:pt x="117" y="182"/>
                    <a:pt x="117" y="182"/>
                    <a:pt x="117" y="182"/>
                  </a:cubicBezTo>
                  <a:cubicBezTo>
                    <a:pt x="44" y="110"/>
                    <a:pt x="44" y="110"/>
                    <a:pt x="44" y="110"/>
                  </a:cubicBezTo>
                  <a:cubicBezTo>
                    <a:pt x="35" y="101"/>
                    <a:pt x="36" y="91"/>
                    <a:pt x="42" y="86"/>
                  </a:cubicBezTo>
                  <a:cubicBezTo>
                    <a:pt x="47" y="80"/>
                    <a:pt x="58" y="79"/>
                    <a:pt x="66" y="88"/>
                  </a:cubicBezTo>
                  <a:cubicBezTo>
                    <a:pt x="133" y="155"/>
                    <a:pt x="133" y="155"/>
                    <a:pt x="133" y="155"/>
                  </a:cubicBezTo>
                  <a:cubicBezTo>
                    <a:pt x="133" y="111"/>
                    <a:pt x="133" y="111"/>
                    <a:pt x="133" y="111"/>
                  </a:cubicBezTo>
                  <a:cubicBezTo>
                    <a:pt x="88" y="66"/>
                    <a:pt x="88" y="66"/>
                    <a:pt x="88" y="66"/>
                  </a:cubicBezTo>
                  <a:cubicBezTo>
                    <a:pt x="80" y="57"/>
                    <a:pt x="80" y="47"/>
                    <a:pt x="86" y="42"/>
                  </a:cubicBezTo>
                  <a:cubicBezTo>
                    <a:pt x="92" y="36"/>
                    <a:pt x="102" y="35"/>
                    <a:pt x="110" y="44"/>
                  </a:cubicBezTo>
                  <a:cubicBezTo>
                    <a:pt x="133" y="66"/>
                    <a:pt x="133" y="66"/>
                    <a:pt x="133" y="66"/>
                  </a:cubicBezTo>
                  <a:lnTo>
                    <a:pt x="133"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6" name="Freeform 14"/>
            <p:cNvSpPr>
              <a:spLocks noEditPoints="1"/>
            </p:cNvSpPr>
            <p:nvPr userDrawn="1"/>
          </p:nvSpPr>
          <p:spPr bwMode="auto">
            <a:xfrm>
              <a:off x="8023287" y="4895470"/>
              <a:ext cx="20556" cy="93282"/>
            </a:xfrm>
            <a:custGeom>
              <a:avLst/>
              <a:gdLst>
                <a:gd name="T0" fmla="*/ 14 w 27"/>
                <a:gd name="T1" fmla="*/ 26 h 128"/>
                <a:gd name="T2" fmla="*/ 0 w 27"/>
                <a:gd name="T3" fmla="*/ 13 h 128"/>
                <a:gd name="T4" fmla="*/ 14 w 27"/>
                <a:gd name="T5" fmla="*/ 0 h 128"/>
                <a:gd name="T6" fmla="*/ 27 w 27"/>
                <a:gd name="T7" fmla="*/ 13 h 128"/>
                <a:gd name="T8" fmla="*/ 14 w 27"/>
                <a:gd name="T9" fmla="*/ 26 h 128"/>
                <a:gd name="T10" fmla="*/ 3 w 27"/>
                <a:gd name="T11" fmla="*/ 128 h 128"/>
                <a:gd name="T12" fmla="*/ 3 w 27"/>
                <a:gd name="T13" fmla="*/ 40 h 128"/>
                <a:gd name="T14" fmla="*/ 25 w 27"/>
                <a:gd name="T15" fmla="*/ 40 h 128"/>
                <a:gd name="T16" fmla="*/ 25 w 27"/>
                <a:gd name="T17" fmla="*/ 112 h 128"/>
                <a:gd name="T18" fmla="*/ 3 w 27"/>
                <a:gd name="T1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128">
                  <a:moveTo>
                    <a:pt x="14" y="26"/>
                  </a:moveTo>
                  <a:cubicBezTo>
                    <a:pt x="6" y="26"/>
                    <a:pt x="0" y="20"/>
                    <a:pt x="0" y="13"/>
                  </a:cubicBezTo>
                  <a:cubicBezTo>
                    <a:pt x="0" y="6"/>
                    <a:pt x="6" y="0"/>
                    <a:pt x="14" y="0"/>
                  </a:cubicBezTo>
                  <a:cubicBezTo>
                    <a:pt x="21" y="0"/>
                    <a:pt x="27" y="5"/>
                    <a:pt x="27" y="13"/>
                  </a:cubicBezTo>
                  <a:cubicBezTo>
                    <a:pt x="27" y="20"/>
                    <a:pt x="21" y="26"/>
                    <a:pt x="14" y="26"/>
                  </a:cubicBezTo>
                  <a:close/>
                  <a:moveTo>
                    <a:pt x="3" y="128"/>
                  </a:moveTo>
                  <a:cubicBezTo>
                    <a:pt x="3" y="40"/>
                    <a:pt x="3" y="40"/>
                    <a:pt x="3" y="40"/>
                  </a:cubicBezTo>
                  <a:cubicBezTo>
                    <a:pt x="25" y="40"/>
                    <a:pt x="25" y="40"/>
                    <a:pt x="25" y="40"/>
                  </a:cubicBezTo>
                  <a:cubicBezTo>
                    <a:pt x="25" y="40"/>
                    <a:pt x="25" y="95"/>
                    <a:pt x="25" y="112"/>
                  </a:cubicBezTo>
                  <a:cubicBezTo>
                    <a:pt x="25" y="128"/>
                    <a:pt x="3" y="128"/>
                    <a:pt x="3" y="1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7" name="Freeform 15"/>
            <p:cNvSpPr>
              <a:spLocks/>
            </p:cNvSpPr>
            <p:nvPr userDrawn="1"/>
          </p:nvSpPr>
          <p:spPr bwMode="auto">
            <a:xfrm>
              <a:off x="8615239" y="4924717"/>
              <a:ext cx="103744" cy="66806"/>
            </a:xfrm>
            <a:custGeom>
              <a:avLst/>
              <a:gdLst>
                <a:gd name="T0" fmla="*/ 111 w 137"/>
                <a:gd name="T1" fmla="*/ 72 h 92"/>
                <a:gd name="T2" fmla="*/ 88 w 137"/>
                <a:gd name="T3" fmla="*/ 88 h 92"/>
                <a:gd name="T4" fmla="*/ 68 w 137"/>
                <a:gd name="T5" fmla="*/ 28 h 92"/>
                <a:gd name="T6" fmla="*/ 68 w 137"/>
                <a:gd name="T7" fmla="*/ 28 h 92"/>
                <a:gd name="T8" fmla="*/ 53 w 137"/>
                <a:gd name="T9" fmla="*/ 72 h 92"/>
                <a:gd name="T10" fmla="*/ 31 w 137"/>
                <a:gd name="T11" fmla="*/ 88 h 92"/>
                <a:gd name="T12" fmla="*/ 0 w 137"/>
                <a:gd name="T13" fmla="*/ 0 h 92"/>
                <a:gd name="T14" fmla="*/ 22 w 137"/>
                <a:gd name="T15" fmla="*/ 0 h 92"/>
                <a:gd name="T16" fmla="*/ 41 w 137"/>
                <a:gd name="T17" fmla="*/ 60 h 92"/>
                <a:gd name="T18" fmla="*/ 41 w 137"/>
                <a:gd name="T19" fmla="*/ 60 h 92"/>
                <a:gd name="T20" fmla="*/ 60 w 137"/>
                <a:gd name="T21" fmla="*/ 0 h 92"/>
                <a:gd name="T22" fmla="*/ 77 w 137"/>
                <a:gd name="T23" fmla="*/ 0 h 92"/>
                <a:gd name="T24" fmla="*/ 97 w 137"/>
                <a:gd name="T25" fmla="*/ 60 h 92"/>
                <a:gd name="T26" fmla="*/ 97 w 137"/>
                <a:gd name="T27" fmla="*/ 60 h 92"/>
                <a:gd name="T28" fmla="*/ 115 w 137"/>
                <a:gd name="T29" fmla="*/ 0 h 92"/>
                <a:gd name="T30" fmla="*/ 137 w 137"/>
                <a:gd name="T31" fmla="*/ 0 h 92"/>
                <a:gd name="T32" fmla="*/ 111 w 137"/>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 h="92">
                  <a:moveTo>
                    <a:pt x="111" y="72"/>
                  </a:moveTo>
                  <a:cubicBezTo>
                    <a:pt x="104" y="92"/>
                    <a:pt x="88" y="88"/>
                    <a:pt x="88" y="88"/>
                  </a:cubicBezTo>
                  <a:cubicBezTo>
                    <a:pt x="68" y="28"/>
                    <a:pt x="68" y="28"/>
                    <a:pt x="68" y="28"/>
                  </a:cubicBezTo>
                  <a:cubicBezTo>
                    <a:pt x="68" y="28"/>
                    <a:pt x="68" y="28"/>
                    <a:pt x="68" y="28"/>
                  </a:cubicBezTo>
                  <a:cubicBezTo>
                    <a:pt x="68" y="28"/>
                    <a:pt x="59"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7" y="60"/>
                    <a:pt x="97" y="60"/>
                    <a:pt x="97" y="60"/>
                  </a:cubicBezTo>
                  <a:cubicBezTo>
                    <a:pt x="97" y="60"/>
                    <a:pt x="97" y="60"/>
                    <a:pt x="97" y="60"/>
                  </a:cubicBezTo>
                  <a:cubicBezTo>
                    <a:pt x="115" y="0"/>
                    <a:pt x="115" y="0"/>
                    <a:pt x="115" y="0"/>
                  </a:cubicBezTo>
                  <a:cubicBezTo>
                    <a:pt x="137" y="0"/>
                    <a:pt x="137" y="0"/>
                    <a:pt x="137" y="0"/>
                  </a:cubicBezTo>
                  <a:cubicBezTo>
                    <a:pt x="137"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8" name="Freeform 16"/>
            <p:cNvSpPr>
              <a:spLocks noEditPoints="1"/>
            </p:cNvSpPr>
            <p:nvPr userDrawn="1"/>
          </p:nvSpPr>
          <p:spPr bwMode="auto">
            <a:xfrm>
              <a:off x="8423168" y="4892699"/>
              <a:ext cx="65844" cy="95129"/>
            </a:xfrm>
            <a:custGeom>
              <a:avLst/>
              <a:gdLst>
                <a:gd name="T0" fmla="*/ 1 w 87"/>
                <a:gd name="T1" fmla="*/ 0 h 131"/>
                <a:gd name="T2" fmla="*/ 0 w 87"/>
                <a:gd name="T3" fmla="*/ 131 h 131"/>
                <a:gd name="T4" fmla="*/ 41 w 87"/>
                <a:gd name="T5" fmla="*/ 131 h 131"/>
                <a:gd name="T6" fmla="*/ 87 w 87"/>
                <a:gd name="T7" fmla="*/ 92 h 131"/>
                <a:gd name="T8" fmla="*/ 65 w 87"/>
                <a:gd name="T9" fmla="*/ 61 h 131"/>
                <a:gd name="T10" fmla="*/ 62 w 87"/>
                <a:gd name="T11" fmla="*/ 60 h 131"/>
                <a:gd name="T12" fmla="*/ 64 w 87"/>
                <a:gd name="T13" fmla="*/ 59 h 131"/>
                <a:gd name="T14" fmla="*/ 79 w 87"/>
                <a:gd name="T15" fmla="*/ 32 h 131"/>
                <a:gd name="T16" fmla="*/ 42 w 87"/>
                <a:gd name="T17" fmla="*/ 0 h 131"/>
                <a:gd name="T18" fmla="*/ 1 w 87"/>
                <a:gd name="T19" fmla="*/ 0 h 131"/>
                <a:gd name="T20" fmla="*/ 23 w 87"/>
                <a:gd name="T21" fmla="*/ 17 h 131"/>
                <a:gd name="T22" fmla="*/ 36 w 87"/>
                <a:gd name="T23" fmla="*/ 17 h 131"/>
                <a:gd name="T24" fmla="*/ 56 w 87"/>
                <a:gd name="T25" fmla="*/ 35 h 131"/>
                <a:gd name="T26" fmla="*/ 38 w 87"/>
                <a:gd name="T27" fmla="*/ 55 h 131"/>
                <a:gd name="T28" fmla="*/ 22 w 87"/>
                <a:gd name="T29" fmla="*/ 55 h 131"/>
                <a:gd name="T30" fmla="*/ 23 w 87"/>
                <a:gd name="T31" fmla="*/ 17 h 131"/>
                <a:gd name="T32" fmla="*/ 22 w 87"/>
                <a:gd name="T33" fmla="*/ 74 h 131"/>
                <a:gd name="T34" fmla="*/ 40 w 87"/>
                <a:gd name="T35" fmla="*/ 74 h 131"/>
                <a:gd name="T36" fmla="*/ 64 w 87"/>
                <a:gd name="T37" fmla="*/ 92 h 131"/>
                <a:gd name="T38" fmla="*/ 39 w 87"/>
                <a:gd name="T39" fmla="*/ 113 h 131"/>
                <a:gd name="T40" fmla="*/ 22 w 87"/>
                <a:gd name="T41" fmla="*/ 113 h 131"/>
                <a:gd name="T42" fmla="*/ 22 w 87"/>
                <a:gd name="T43" fmla="*/ 7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131">
                  <a:moveTo>
                    <a:pt x="1" y="0"/>
                  </a:moveTo>
                  <a:cubicBezTo>
                    <a:pt x="1" y="3"/>
                    <a:pt x="0" y="129"/>
                    <a:pt x="0" y="131"/>
                  </a:cubicBezTo>
                  <a:cubicBezTo>
                    <a:pt x="2" y="131"/>
                    <a:pt x="41" y="131"/>
                    <a:pt x="41" y="131"/>
                  </a:cubicBezTo>
                  <a:cubicBezTo>
                    <a:pt x="73" y="131"/>
                    <a:pt x="87" y="111"/>
                    <a:pt x="87" y="92"/>
                  </a:cubicBezTo>
                  <a:cubicBezTo>
                    <a:pt x="87" y="77"/>
                    <a:pt x="79" y="65"/>
                    <a:pt x="65" y="61"/>
                  </a:cubicBezTo>
                  <a:cubicBezTo>
                    <a:pt x="62" y="60"/>
                    <a:pt x="62" y="60"/>
                    <a:pt x="62" y="60"/>
                  </a:cubicBezTo>
                  <a:cubicBezTo>
                    <a:pt x="64" y="59"/>
                    <a:pt x="64" y="59"/>
                    <a:pt x="64" y="59"/>
                  </a:cubicBezTo>
                  <a:cubicBezTo>
                    <a:pt x="74" y="54"/>
                    <a:pt x="79" y="44"/>
                    <a:pt x="79" y="32"/>
                  </a:cubicBezTo>
                  <a:cubicBezTo>
                    <a:pt x="79" y="17"/>
                    <a:pt x="68" y="0"/>
                    <a:pt x="42" y="0"/>
                  </a:cubicBezTo>
                  <a:cubicBezTo>
                    <a:pt x="42" y="0"/>
                    <a:pt x="3" y="0"/>
                    <a:pt x="1" y="0"/>
                  </a:cubicBezTo>
                  <a:close/>
                  <a:moveTo>
                    <a:pt x="23" y="17"/>
                  </a:moveTo>
                  <a:cubicBezTo>
                    <a:pt x="36" y="17"/>
                    <a:pt x="36" y="17"/>
                    <a:pt x="36" y="17"/>
                  </a:cubicBezTo>
                  <a:cubicBezTo>
                    <a:pt x="49" y="17"/>
                    <a:pt x="56" y="24"/>
                    <a:pt x="56" y="35"/>
                  </a:cubicBezTo>
                  <a:cubicBezTo>
                    <a:pt x="56" y="47"/>
                    <a:pt x="47" y="55"/>
                    <a:pt x="38" y="55"/>
                  </a:cubicBezTo>
                  <a:cubicBezTo>
                    <a:pt x="22" y="55"/>
                    <a:pt x="22" y="55"/>
                    <a:pt x="22" y="55"/>
                  </a:cubicBezTo>
                  <a:lnTo>
                    <a:pt x="23" y="17"/>
                  </a:lnTo>
                  <a:close/>
                  <a:moveTo>
                    <a:pt x="22" y="74"/>
                  </a:moveTo>
                  <a:cubicBezTo>
                    <a:pt x="40" y="74"/>
                    <a:pt x="40" y="74"/>
                    <a:pt x="40" y="74"/>
                  </a:cubicBezTo>
                  <a:cubicBezTo>
                    <a:pt x="55" y="74"/>
                    <a:pt x="64" y="81"/>
                    <a:pt x="64" y="92"/>
                  </a:cubicBezTo>
                  <a:cubicBezTo>
                    <a:pt x="64" y="105"/>
                    <a:pt x="55" y="113"/>
                    <a:pt x="39" y="113"/>
                  </a:cubicBezTo>
                  <a:cubicBezTo>
                    <a:pt x="22" y="113"/>
                    <a:pt x="22" y="113"/>
                    <a:pt x="22" y="113"/>
                  </a:cubicBezTo>
                  <a:lnTo>
                    <a:pt x="22" y="74"/>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9" name="Freeform 17"/>
            <p:cNvSpPr>
              <a:spLocks noEditPoints="1"/>
            </p:cNvSpPr>
            <p:nvPr userDrawn="1"/>
          </p:nvSpPr>
          <p:spPr bwMode="auto">
            <a:xfrm>
              <a:off x="8546184" y="4923177"/>
              <a:ext cx="66486" cy="66190"/>
            </a:xfrm>
            <a:custGeom>
              <a:avLst/>
              <a:gdLst>
                <a:gd name="T0" fmla="*/ 75 w 88"/>
                <a:gd name="T1" fmla="*/ 78 h 91"/>
                <a:gd name="T2" fmla="*/ 44 w 88"/>
                <a:gd name="T3" fmla="*/ 91 h 91"/>
                <a:gd name="T4" fmla="*/ 14 w 88"/>
                <a:gd name="T5" fmla="*/ 80 h 91"/>
                <a:gd name="T6" fmla="*/ 0 w 88"/>
                <a:gd name="T7" fmla="*/ 46 h 91"/>
                <a:gd name="T8" fmla="*/ 13 w 88"/>
                <a:gd name="T9" fmla="*/ 12 h 91"/>
                <a:gd name="T10" fmla="*/ 44 w 88"/>
                <a:gd name="T11" fmla="*/ 0 h 91"/>
                <a:gd name="T12" fmla="*/ 76 w 88"/>
                <a:gd name="T13" fmla="*/ 12 h 91"/>
                <a:gd name="T14" fmla="*/ 88 w 88"/>
                <a:gd name="T15" fmla="*/ 45 h 91"/>
                <a:gd name="T16" fmla="*/ 75 w 88"/>
                <a:gd name="T17" fmla="*/ 78 h 91"/>
                <a:gd name="T18" fmla="*/ 44 w 88"/>
                <a:gd name="T19" fmla="*/ 17 h 91"/>
                <a:gd name="T20" fmla="*/ 23 w 88"/>
                <a:gd name="T21" fmla="*/ 45 h 91"/>
                <a:gd name="T22" fmla="*/ 44 w 88"/>
                <a:gd name="T23" fmla="*/ 73 h 91"/>
                <a:gd name="T24" fmla="*/ 65 w 88"/>
                <a:gd name="T25" fmla="*/ 45 h 91"/>
                <a:gd name="T26" fmla="*/ 44 w 88"/>
                <a:gd name="T27"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91">
                  <a:moveTo>
                    <a:pt x="75" y="78"/>
                  </a:moveTo>
                  <a:cubicBezTo>
                    <a:pt x="68" y="86"/>
                    <a:pt x="57" y="91"/>
                    <a:pt x="44" y="91"/>
                  </a:cubicBezTo>
                  <a:cubicBezTo>
                    <a:pt x="32" y="91"/>
                    <a:pt x="21" y="87"/>
                    <a:pt x="14" y="80"/>
                  </a:cubicBezTo>
                  <a:cubicBezTo>
                    <a:pt x="5" y="72"/>
                    <a:pt x="0" y="60"/>
                    <a:pt x="0" y="46"/>
                  </a:cubicBezTo>
                  <a:cubicBezTo>
                    <a:pt x="0" y="32"/>
                    <a:pt x="5" y="20"/>
                    <a:pt x="13" y="12"/>
                  </a:cubicBezTo>
                  <a:cubicBezTo>
                    <a:pt x="21" y="4"/>
                    <a:pt x="31" y="0"/>
                    <a:pt x="44" y="0"/>
                  </a:cubicBezTo>
                  <a:cubicBezTo>
                    <a:pt x="57" y="0"/>
                    <a:pt x="68" y="4"/>
                    <a:pt x="76" y="12"/>
                  </a:cubicBezTo>
                  <a:cubicBezTo>
                    <a:pt x="84" y="20"/>
                    <a:pt x="88" y="32"/>
                    <a:pt x="88" y="45"/>
                  </a:cubicBezTo>
                  <a:cubicBezTo>
                    <a:pt x="88" y="58"/>
                    <a:pt x="83" y="70"/>
                    <a:pt x="75" y="78"/>
                  </a:cubicBezTo>
                  <a:close/>
                  <a:moveTo>
                    <a:pt x="44" y="17"/>
                  </a:moveTo>
                  <a:cubicBezTo>
                    <a:pt x="30" y="17"/>
                    <a:pt x="23" y="29"/>
                    <a:pt x="23" y="45"/>
                  </a:cubicBezTo>
                  <a:cubicBezTo>
                    <a:pt x="23" y="62"/>
                    <a:pt x="31" y="73"/>
                    <a:pt x="44" y="73"/>
                  </a:cubicBezTo>
                  <a:cubicBezTo>
                    <a:pt x="58" y="73"/>
                    <a:pt x="65" y="61"/>
                    <a:pt x="65" y="45"/>
                  </a:cubicBezTo>
                  <a:cubicBezTo>
                    <a:pt x="65" y="28"/>
                    <a:pt x="57" y="17"/>
                    <a:pt x="44" y="1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0" name="Freeform 18"/>
            <p:cNvSpPr>
              <a:spLocks/>
            </p:cNvSpPr>
            <p:nvPr userDrawn="1"/>
          </p:nvSpPr>
          <p:spPr bwMode="auto">
            <a:xfrm>
              <a:off x="8728298" y="4923177"/>
              <a:ext cx="60705" cy="65574"/>
            </a:xfrm>
            <a:custGeom>
              <a:avLst/>
              <a:gdLst>
                <a:gd name="T0" fmla="*/ 58 w 80"/>
                <a:gd name="T1" fmla="*/ 90 h 90"/>
                <a:gd name="T2" fmla="*/ 58 w 80"/>
                <a:gd name="T3" fmla="*/ 38 h 90"/>
                <a:gd name="T4" fmla="*/ 45 w 80"/>
                <a:gd name="T5" fmla="*/ 19 h 90"/>
                <a:gd name="T6" fmla="*/ 23 w 80"/>
                <a:gd name="T7" fmla="*/ 28 h 90"/>
                <a:gd name="T8" fmla="*/ 23 w 80"/>
                <a:gd name="T9" fmla="*/ 74 h 90"/>
                <a:gd name="T10" fmla="*/ 0 w 80"/>
                <a:gd name="T11" fmla="*/ 90 h 90"/>
                <a:gd name="T12" fmla="*/ 0 w 80"/>
                <a:gd name="T13" fmla="*/ 2 h 90"/>
                <a:gd name="T14" fmla="*/ 19 w 80"/>
                <a:gd name="T15" fmla="*/ 2 h 90"/>
                <a:gd name="T16" fmla="*/ 22 w 80"/>
                <a:gd name="T17" fmla="*/ 11 h 90"/>
                <a:gd name="T18" fmla="*/ 52 w 80"/>
                <a:gd name="T19" fmla="*/ 0 h 90"/>
                <a:gd name="T20" fmla="*/ 80 w 80"/>
                <a:gd name="T21" fmla="*/ 31 h 90"/>
                <a:gd name="T22" fmla="*/ 80 w 80"/>
                <a:gd name="T23" fmla="*/ 74 h 90"/>
                <a:gd name="T24" fmla="*/ 58 w 80"/>
                <a:gd name="T2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90">
                  <a:moveTo>
                    <a:pt x="58" y="90"/>
                  </a:moveTo>
                  <a:cubicBezTo>
                    <a:pt x="58" y="38"/>
                    <a:pt x="58" y="38"/>
                    <a:pt x="58" y="38"/>
                  </a:cubicBezTo>
                  <a:cubicBezTo>
                    <a:pt x="58" y="29"/>
                    <a:pt x="56" y="19"/>
                    <a:pt x="45" y="19"/>
                  </a:cubicBezTo>
                  <a:cubicBezTo>
                    <a:pt x="37" y="19"/>
                    <a:pt x="29" y="23"/>
                    <a:pt x="23" y="28"/>
                  </a:cubicBezTo>
                  <a:cubicBezTo>
                    <a:pt x="23" y="28"/>
                    <a:pt x="23" y="57"/>
                    <a:pt x="23" y="74"/>
                  </a:cubicBezTo>
                  <a:cubicBezTo>
                    <a:pt x="23" y="90"/>
                    <a:pt x="0" y="90"/>
                    <a:pt x="0" y="90"/>
                  </a:cubicBezTo>
                  <a:cubicBezTo>
                    <a:pt x="0" y="2"/>
                    <a:pt x="0" y="2"/>
                    <a:pt x="0" y="2"/>
                  </a:cubicBezTo>
                  <a:cubicBezTo>
                    <a:pt x="19" y="2"/>
                    <a:pt x="19" y="2"/>
                    <a:pt x="19" y="2"/>
                  </a:cubicBezTo>
                  <a:cubicBezTo>
                    <a:pt x="22" y="11"/>
                    <a:pt x="22" y="11"/>
                    <a:pt x="22" y="11"/>
                  </a:cubicBezTo>
                  <a:cubicBezTo>
                    <a:pt x="31" y="4"/>
                    <a:pt x="40" y="0"/>
                    <a:pt x="52" y="0"/>
                  </a:cubicBezTo>
                  <a:cubicBezTo>
                    <a:pt x="65" y="0"/>
                    <a:pt x="80" y="8"/>
                    <a:pt x="80" y="31"/>
                  </a:cubicBezTo>
                  <a:cubicBezTo>
                    <a:pt x="80" y="31"/>
                    <a:pt x="80" y="57"/>
                    <a:pt x="80" y="74"/>
                  </a:cubicBezTo>
                  <a:cubicBezTo>
                    <a:pt x="80" y="90"/>
                    <a:pt x="58" y="90"/>
                    <a:pt x="58" y="9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1" name="Freeform 19"/>
            <p:cNvSpPr>
              <a:spLocks/>
            </p:cNvSpPr>
            <p:nvPr userDrawn="1"/>
          </p:nvSpPr>
          <p:spPr bwMode="auto">
            <a:xfrm>
              <a:off x="8501217" y="4923177"/>
              <a:ext cx="43361" cy="65574"/>
            </a:xfrm>
            <a:custGeom>
              <a:avLst/>
              <a:gdLst>
                <a:gd name="T0" fmla="*/ 49 w 57"/>
                <a:gd name="T1" fmla="*/ 22 h 90"/>
                <a:gd name="T2" fmla="*/ 39 w 57"/>
                <a:gd name="T3" fmla="*/ 20 h 90"/>
                <a:gd name="T4" fmla="*/ 22 w 57"/>
                <a:gd name="T5" fmla="*/ 27 h 90"/>
                <a:gd name="T6" fmla="*/ 22 w 57"/>
                <a:gd name="T7" fmla="*/ 74 h 90"/>
                <a:gd name="T8" fmla="*/ 0 w 57"/>
                <a:gd name="T9" fmla="*/ 90 h 90"/>
                <a:gd name="T10" fmla="*/ 0 w 57"/>
                <a:gd name="T11" fmla="*/ 2 h 90"/>
                <a:gd name="T12" fmla="*/ 19 w 57"/>
                <a:gd name="T13" fmla="*/ 2 h 90"/>
                <a:gd name="T14" fmla="*/ 21 w 57"/>
                <a:gd name="T15" fmla="*/ 11 h 90"/>
                <a:gd name="T16" fmla="*/ 45 w 57"/>
                <a:gd name="T17" fmla="*/ 0 h 90"/>
                <a:gd name="T18" fmla="*/ 57 w 57"/>
                <a:gd name="T19" fmla="*/ 4 h 90"/>
                <a:gd name="T20" fmla="*/ 49 w 57"/>
                <a:gd name="T21" fmla="*/ 2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0">
                  <a:moveTo>
                    <a:pt x="49" y="22"/>
                  </a:moveTo>
                  <a:cubicBezTo>
                    <a:pt x="46" y="20"/>
                    <a:pt x="42" y="20"/>
                    <a:pt x="39" y="20"/>
                  </a:cubicBezTo>
                  <a:cubicBezTo>
                    <a:pt x="34" y="20"/>
                    <a:pt x="28" y="22"/>
                    <a:pt x="22" y="27"/>
                  </a:cubicBezTo>
                  <a:cubicBezTo>
                    <a:pt x="22" y="27"/>
                    <a:pt x="22" y="57"/>
                    <a:pt x="22" y="74"/>
                  </a:cubicBezTo>
                  <a:cubicBezTo>
                    <a:pt x="22" y="90"/>
                    <a:pt x="0" y="90"/>
                    <a:pt x="0" y="90"/>
                  </a:cubicBezTo>
                  <a:cubicBezTo>
                    <a:pt x="0" y="2"/>
                    <a:pt x="0" y="2"/>
                    <a:pt x="0" y="2"/>
                  </a:cubicBezTo>
                  <a:cubicBezTo>
                    <a:pt x="19" y="2"/>
                    <a:pt x="19" y="2"/>
                    <a:pt x="19"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2" name="Freeform 20"/>
            <p:cNvSpPr>
              <a:spLocks/>
            </p:cNvSpPr>
            <p:nvPr userDrawn="1"/>
          </p:nvSpPr>
          <p:spPr bwMode="auto">
            <a:xfrm>
              <a:off x="7766657" y="4864376"/>
              <a:ext cx="100211" cy="148389"/>
            </a:xfrm>
            <a:custGeom>
              <a:avLst/>
              <a:gdLst>
                <a:gd name="T0" fmla="*/ 0 w 132"/>
                <a:gd name="T1" fmla="*/ 23 h 204"/>
                <a:gd name="T2" fmla="*/ 1 w 132"/>
                <a:gd name="T3" fmla="*/ 22 h 204"/>
                <a:gd name="T4" fmla="*/ 67 w 132"/>
                <a:gd name="T5" fmla="*/ 20 h 204"/>
                <a:gd name="T6" fmla="*/ 80 w 132"/>
                <a:gd name="T7" fmla="*/ 52 h 204"/>
                <a:gd name="T8" fmla="*/ 113 w 132"/>
                <a:gd name="T9" fmla="*/ 65 h 204"/>
                <a:gd name="T10" fmla="*/ 111 w 132"/>
                <a:gd name="T11" fmla="*/ 132 h 204"/>
                <a:gd name="T12" fmla="*/ 38 w 132"/>
                <a:gd name="T13" fmla="*/ 204 h 204"/>
                <a:gd name="T14" fmla="*/ 16 w 132"/>
                <a:gd name="T15" fmla="*/ 182 h 204"/>
                <a:gd name="T16" fmla="*/ 88 w 132"/>
                <a:gd name="T17" fmla="*/ 110 h 204"/>
                <a:gd name="T18" fmla="*/ 91 w 132"/>
                <a:gd name="T19" fmla="*/ 86 h 204"/>
                <a:gd name="T20" fmla="*/ 67 w 132"/>
                <a:gd name="T21" fmla="*/ 88 h 204"/>
                <a:gd name="T22" fmla="*/ 0 w 132"/>
                <a:gd name="T23" fmla="*/ 155 h 204"/>
                <a:gd name="T24" fmla="*/ 0 w 132"/>
                <a:gd name="T25" fmla="*/ 111 h 204"/>
                <a:gd name="T26" fmla="*/ 45 w 132"/>
                <a:gd name="T27" fmla="*/ 66 h 204"/>
                <a:gd name="T28" fmla="*/ 46 w 132"/>
                <a:gd name="T29" fmla="*/ 42 h 204"/>
                <a:gd name="T30" fmla="*/ 22 w 132"/>
                <a:gd name="T31" fmla="*/ 44 h 204"/>
                <a:gd name="T32" fmla="*/ 0 w 132"/>
                <a:gd name="T33" fmla="*/ 66 h 204"/>
                <a:gd name="T34" fmla="*/ 0 w 132"/>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204">
                  <a:moveTo>
                    <a:pt x="0" y="23"/>
                  </a:moveTo>
                  <a:cubicBezTo>
                    <a:pt x="1" y="22"/>
                    <a:pt x="1" y="22"/>
                    <a:pt x="1" y="22"/>
                  </a:cubicBezTo>
                  <a:cubicBezTo>
                    <a:pt x="23" y="0"/>
                    <a:pt x="50" y="2"/>
                    <a:pt x="67" y="20"/>
                  </a:cubicBezTo>
                  <a:cubicBezTo>
                    <a:pt x="80" y="32"/>
                    <a:pt x="81" y="46"/>
                    <a:pt x="80" y="52"/>
                  </a:cubicBezTo>
                  <a:cubicBezTo>
                    <a:pt x="86" y="51"/>
                    <a:pt x="100" y="52"/>
                    <a:pt x="113" y="65"/>
                  </a:cubicBezTo>
                  <a:cubicBezTo>
                    <a:pt x="130" y="82"/>
                    <a:pt x="132" y="110"/>
                    <a:pt x="111" y="132"/>
                  </a:cubicBezTo>
                  <a:cubicBezTo>
                    <a:pt x="38" y="204"/>
                    <a:pt x="38" y="204"/>
                    <a:pt x="38" y="204"/>
                  </a:cubicBezTo>
                  <a:cubicBezTo>
                    <a:pt x="16" y="182"/>
                    <a:pt x="16" y="182"/>
                    <a:pt x="16" y="182"/>
                  </a:cubicBezTo>
                  <a:cubicBezTo>
                    <a:pt x="88" y="110"/>
                    <a:pt x="88" y="110"/>
                    <a:pt x="88" y="110"/>
                  </a:cubicBezTo>
                  <a:cubicBezTo>
                    <a:pt x="97" y="101"/>
                    <a:pt x="96" y="91"/>
                    <a:pt x="91" y="86"/>
                  </a:cubicBezTo>
                  <a:cubicBezTo>
                    <a:pt x="85" y="80"/>
                    <a:pt x="75" y="79"/>
                    <a:pt x="67" y="88"/>
                  </a:cubicBezTo>
                  <a:cubicBezTo>
                    <a:pt x="0" y="155"/>
                    <a:pt x="0" y="155"/>
                    <a:pt x="0" y="155"/>
                  </a:cubicBezTo>
                  <a:cubicBezTo>
                    <a:pt x="0" y="111"/>
                    <a:pt x="0" y="111"/>
                    <a:pt x="0" y="111"/>
                  </a:cubicBezTo>
                  <a:cubicBezTo>
                    <a:pt x="45" y="66"/>
                    <a:pt x="45" y="66"/>
                    <a:pt x="45" y="66"/>
                  </a:cubicBezTo>
                  <a:cubicBezTo>
                    <a:pt x="53" y="57"/>
                    <a:pt x="52" y="47"/>
                    <a:pt x="46" y="42"/>
                  </a:cubicBezTo>
                  <a:cubicBezTo>
                    <a:pt x="41" y="36"/>
                    <a:pt x="31" y="35"/>
                    <a:pt x="22" y="44"/>
                  </a:cubicBezTo>
                  <a:cubicBezTo>
                    <a:pt x="0" y="66"/>
                    <a:pt x="0" y="66"/>
                    <a:pt x="0" y="66"/>
                  </a:cubicBezTo>
                  <a:lnTo>
                    <a:pt x="0"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3" name="Freeform 21"/>
            <p:cNvSpPr>
              <a:spLocks noEditPoints="1"/>
            </p:cNvSpPr>
            <p:nvPr userDrawn="1"/>
          </p:nvSpPr>
          <p:spPr bwMode="auto">
            <a:xfrm>
              <a:off x="7980890" y="5040472"/>
              <a:ext cx="51390" cy="57878"/>
            </a:xfrm>
            <a:custGeom>
              <a:avLst/>
              <a:gdLst>
                <a:gd name="T0" fmla="*/ 0 w 68"/>
                <a:gd name="T1" fmla="*/ 40 h 80"/>
                <a:gd name="T2" fmla="*/ 35 w 68"/>
                <a:gd name="T3" fmla="*/ 0 h 80"/>
                <a:gd name="T4" fmla="*/ 68 w 68"/>
                <a:gd name="T5" fmla="*/ 41 h 80"/>
                <a:gd name="T6" fmla="*/ 68 w 68"/>
                <a:gd name="T7" fmla="*/ 46 h 80"/>
                <a:gd name="T8" fmla="*/ 20 w 68"/>
                <a:gd name="T9" fmla="*/ 46 h 80"/>
                <a:gd name="T10" fmla="*/ 41 w 68"/>
                <a:gd name="T11" fmla="*/ 65 h 80"/>
                <a:gd name="T12" fmla="*/ 60 w 68"/>
                <a:gd name="T13" fmla="*/ 60 h 80"/>
                <a:gd name="T14" fmla="*/ 66 w 68"/>
                <a:gd name="T15" fmla="*/ 73 h 80"/>
                <a:gd name="T16" fmla="*/ 39 w 68"/>
                <a:gd name="T17" fmla="*/ 80 h 80"/>
                <a:gd name="T18" fmla="*/ 0 w 68"/>
                <a:gd name="T19" fmla="*/ 40 h 80"/>
                <a:gd name="T20" fmla="*/ 49 w 68"/>
                <a:gd name="T21" fmla="*/ 32 h 80"/>
                <a:gd name="T22" fmla="*/ 34 w 68"/>
                <a:gd name="T23" fmla="*/ 15 h 80"/>
                <a:gd name="T24" fmla="*/ 19 w 68"/>
                <a:gd name="T25" fmla="*/ 32 h 80"/>
                <a:gd name="T26" fmla="*/ 49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3" y="0"/>
                    <a:pt x="35" y="0"/>
                  </a:cubicBezTo>
                  <a:cubicBezTo>
                    <a:pt x="56" y="0"/>
                    <a:pt x="68" y="16"/>
                    <a:pt x="68" y="41"/>
                  </a:cubicBezTo>
                  <a:cubicBezTo>
                    <a:pt x="68" y="46"/>
                    <a:pt x="68" y="46"/>
                    <a:pt x="68" y="46"/>
                  </a:cubicBezTo>
                  <a:cubicBezTo>
                    <a:pt x="20" y="46"/>
                    <a:pt x="20" y="46"/>
                    <a:pt x="20" y="46"/>
                  </a:cubicBezTo>
                  <a:cubicBezTo>
                    <a:pt x="20" y="57"/>
                    <a:pt x="28" y="65"/>
                    <a:pt x="41" y="65"/>
                  </a:cubicBezTo>
                  <a:cubicBezTo>
                    <a:pt x="49" y="65"/>
                    <a:pt x="55" y="63"/>
                    <a:pt x="60" y="60"/>
                  </a:cubicBezTo>
                  <a:cubicBezTo>
                    <a:pt x="66" y="73"/>
                    <a:pt x="66" y="73"/>
                    <a:pt x="66" y="73"/>
                  </a:cubicBezTo>
                  <a:cubicBezTo>
                    <a:pt x="58" y="78"/>
                    <a:pt x="49" y="80"/>
                    <a:pt x="39" y="80"/>
                  </a:cubicBezTo>
                  <a:cubicBezTo>
                    <a:pt x="11" y="80"/>
                    <a:pt x="0" y="61"/>
                    <a:pt x="0" y="40"/>
                  </a:cubicBezTo>
                  <a:close/>
                  <a:moveTo>
                    <a:pt x="49" y="32"/>
                  </a:moveTo>
                  <a:cubicBezTo>
                    <a:pt x="49" y="23"/>
                    <a:pt x="44" y="15"/>
                    <a:pt x="34" y="15"/>
                  </a:cubicBezTo>
                  <a:cubicBezTo>
                    <a:pt x="25" y="15"/>
                    <a:pt x="19" y="23"/>
                    <a:pt x="19" y="32"/>
                  </a:cubicBezTo>
                  <a:lnTo>
                    <a:pt x="49"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4" name="Freeform 22"/>
            <p:cNvSpPr>
              <a:spLocks/>
            </p:cNvSpPr>
            <p:nvPr userDrawn="1"/>
          </p:nvSpPr>
          <p:spPr bwMode="auto">
            <a:xfrm>
              <a:off x="8295656" y="5041088"/>
              <a:ext cx="37258" cy="56031"/>
            </a:xfrm>
            <a:custGeom>
              <a:avLst/>
              <a:gdLst>
                <a:gd name="T0" fmla="*/ 42 w 49"/>
                <a:gd name="T1" fmla="*/ 19 h 77"/>
                <a:gd name="T2" fmla="*/ 33 w 49"/>
                <a:gd name="T3" fmla="*/ 16 h 77"/>
                <a:gd name="T4" fmla="*/ 19 w 49"/>
                <a:gd name="T5" fmla="*/ 23 h 77"/>
                <a:gd name="T6" fmla="*/ 19 w 49"/>
                <a:gd name="T7" fmla="*/ 63 h 77"/>
                <a:gd name="T8" fmla="*/ 0 w 49"/>
                <a:gd name="T9" fmla="*/ 77 h 77"/>
                <a:gd name="T10" fmla="*/ 0 w 49"/>
                <a:gd name="T11" fmla="*/ 1 h 77"/>
                <a:gd name="T12" fmla="*/ 16 w 49"/>
                <a:gd name="T13" fmla="*/ 1 h 77"/>
                <a:gd name="T14" fmla="*/ 18 w 49"/>
                <a:gd name="T15" fmla="*/ 9 h 77"/>
                <a:gd name="T16" fmla="*/ 39 w 49"/>
                <a:gd name="T17" fmla="*/ 0 h 77"/>
                <a:gd name="T18" fmla="*/ 49 w 49"/>
                <a:gd name="T19" fmla="*/ 3 h 77"/>
                <a:gd name="T20" fmla="*/ 42 w 49"/>
                <a:gd name="T21"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77">
                  <a:moveTo>
                    <a:pt x="42" y="19"/>
                  </a:moveTo>
                  <a:cubicBezTo>
                    <a:pt x="39" y="17"/>
                    <a:pt x="36" y="16"/>
                    <a:pt x="33" y="16"/>
                  </a:cubicBezTo>
                  <a:cubicBezTo>
                    <a:pt x="29" y="16"/>
                    <a:pt x="24" y="18"/>
                    <a:pt x="19" y="23"/>
                  </a:cubicBezTo>
                  <a:cubicBezTo>
                    <a:pt x="19" y="2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2"/>
                    <a:pt x="32" y="0"/>
                    <a:pt x="39" y="0"/>
                  </a:cubicBezTo>
                  <a:cubicBezTo>
                    <a:pt x="42" y="0"/>
                    <a:pt x="46" y="1"/>
                    <a:pt x="49" y="3"/>
                  </a:cubicBezTo>
                  <a:lnTo>
                    <a:pt x="42" y="1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5" name="Freeform 23"/>
            <p:cNvSpPr>
              <a:spLocks noEditPoints="1"/>
            </p:cNvSpPr>
            <p:nvPr userDrawn="1"/>
          </p:nvSpPr>
          <p:spPr bwMode="auto">
            <a:xfrm>
              <a:off x="8178743" y="5040472"/>
              <a:ext cx="51712" cy="57878"/>
            </a:xfrm>
            <a:custGeom>
              <a:avLst/>
              <a:gdLst>
                <a:gd name="T0" fmla="*/ 0 w 68"/>
                <a:gd name="T1" fmla="*/ 40 h 80"/>
                <a:gd name="T2" fmla="*/ 34 w 68"/>
                <a:gd name="T3" fmla="*/ 0 h 80"/>
                <a:gd name="T4" fmla="*/ 68 w 68"/>
                <a:gd name="T5" fmla="*/ 41 h 80"/>
                <a:gd name="T6" fmla="*/ 68 w 68"/>
                <a:gd name="T7" fmla="*/ 46 h 80"/>
                <a:gd name="T8" fmla="*/ 19 w 68"/>
                <a:gd name="T9" fmla="*/ 46 h 80"/>
                <a:gd name="T10" fmla="*/ 41 w 68"/>
                <a:gd name="T11" fmla="*/ 65 h 80"/>
                <a:gd name="T12" fmla="*/ 60 w 68"/>
                <a:gd name="T13" fmla="*/ 60 h 80"/>
                <a:gd name="T14" fmla="*/ 66 w 68"/>
                <a:gd name="T15" fmla="*/ 73 h 80"/>
                <a:gd name="T16" fmla="*/ 39 w 68"/>
                <a:gd name="T17" fmla="*/ 80 h 80"/>
                <a:gd name="T18" fmla="*/ 0 w 68"/>
                <a:gd name="T19" fmla="*/ 40 h 80"/>
                <a:gd name="T20" fmla="*/ 49 w 68"/>
                <a:gd name="T21" fmla="*/ 32 h 80"/>
                <a:gd name="T22" fmla="*/ 34 w 68"/>
                <a:gd name="T23" fmla="*/ 15 h 80"/>
                <a:gd name="T24" fmla="*/ 19 w 68"/>
                <a:gd name="T25" fmla="*/ 32 h 80"/>
                <a:gd name="T26" fmla="*/ 49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3" y="0"/>
                    <a:pt x="34" y="0"/>
                  </a:cubicBezTo>
                  <a:cubicBezTo>
                    <a:pt x="56" y="0"/>
                    <a:pt x="68" y="16"/>
                    <a:pt x="68" y="41"/>
                  </a:cubicBezTo>
                  <a:cubicBezTo>
                    <a:pt x="68" y="46"/>
                    <a:pt x="68" y="46"/>
                    <a:pt x="68" y="46"/>
                  </a:cubicBezTo>
                  <a:cubicBezTo>
                    <a:pt x="19" y="46"/>
                    <a:pt x="19" y="46"/>
                    <a:pt x="19" y="46"/>
                  </a:cubicBezTo>
                  <a:cubicBezTo>
                    <a:pt x="20" y="57"/>
                    <a:pt x="28" y="65"/>
                    <a:pt x="41" y="65"/>
                  </a:cubicBezTo>
                  <a:cubicBezTo>
                    <a:pt x="49" y="65"/>
                    <a:pt x="55" y="63"/>
                    <a:pt x="60" y="60"/>
                  </a:cubicBezTo>
                  <a:cubicBezTo>
                    <a:pt x="66" y="73"/>
                    <a:pt x="66" y="73"/>
                    <a:pt x="66" y="73"/>
                  </a:cubicBezTo>
                  <a:cubicBezTo>
                    <a:pt x="58" y="78"/>
                    <a:pt x="48" y="80"/>
                    <a:pt x="39" y="80"/>
                  </a:cubicBezTo>
                  <a:cubicBezTo>
                    <a:pt x="11" y="80"/>
                    <a:pt x="0" y="61"/>
                    <a:pt x="0" y="40"/>
                  </a:cubicBezTo>
                  <a:close/>
                  <a:moveTo>
                    <a:pt x="49" y="32"/>
                  </a:moveTo>
                  <a:cubicBezTo>
                    <a:pt x="48" y="23"/>
                    <a:pt x="44" y="15"/>
                    <a:pt x="34" y="15"/>
                  </a:cubicBezTo>
                  <a:cubicBezTo>
                    <a:pt x="25" y="15"/>
                    <a:pt x="19" y="23"/>
                    <a:pt x="19" y="32"/>
                  </a:cubicBezTo>
                  <a:lnTo>
                    <a:pt x="49"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6" name="Freeform 24"/>
            <p:cNvSpPr>
              <a:spLocks noEditPoints="1"/>
            </p:cNvSpPr>
            <p:nvPr userDrawn="1"/>
          </p:nvSpPr>
          <p:spPr bwMode="auto">
            <a:xfrm>
              <a:off x="8236557" y="5040472"/>
              <a:ext cx="51390" cy="57878"/>
            </a:xfrm>
            <a:custGeom>
              <a:avLst/>
              <a:gdLst>
                <a:gd name="T0" fmla="*/ 0 w 68"/>
                <a:gd name="T1" fmla="*/ 40 h 80"/>
                <a:gd name="T2" fmla="*/ 34 w 68"/>
                <a:gd name="T3" fmla="*/ 0 h 80"/>
                <a:gd name="T4" fmla="*/ 68 w 68"/>
                <a:gd name="T5" fmla="*/ 41 h 80"/>
                <a:gd name="T6" fmla="*/ 68 w 68"/>
                <a:gd name="T7" fmla="*/ 46 h 80"/>
                <a:gd name="T8" fmla="*/ 19 w 68"/>
                <a:gd name="T9" fmla="*/ 46 h 80"/>
                <a:gd name="T10" fmla="*/ 40 w 68"/>
                <a:gd name="T11" fmla="*/ 65 h 80"/>
                <a:gd name="T12" fmla="*/ 60 w 68"/>
                <a:gd name="T13" fmla="*/ 60 h 80"/>
                <a:gd name="T14" fmla="*/ 65 w 68"/>
                <a:gd name="T15" fmla="*/ 73 h 80"/>
                <a:gd name="T16" fmla="*/ 39 w 68"/>
                <a:gd name="T17" fmla="*/ 80 h 80"/>
                <a:gd name="T18" fmla="*/ 0 w 68"/>
                <a:gd name="T19" fmla="*/ 40 h 80"/>
                <a:gd name="T20" fmla="*/ 48 w 68"/>
                <a:gd name="T21" fmla="*/ 32 h 80"/>
                <a:gd name="T22" fmla="*/ 34 w 68"/>
                <a:gd name="T23" fmla="*/ 15 h 80"/>
                <a:gd name="T24" fmla="*/ 19 w 68"/>
                <a:gd name="T25" fmla="*/ 32 h 80"/>
                <a:gd name="T26" fmla="*/ 48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2" y="0"/>
                    <a:pt x="34" y="0"/>
                  </a:cubicBezTo>
                  <a:cubicBezTo>
                    <a:pt x="55" y="0"/>
                    <a:pt x="68" y="16"/>
                    <a:pt x="68" y="41"/>
                  </a:cubicBezTo>
                  <a:cubicBezTo>
                    <a:pt x="68" y="46"/>
                    <a:pt x="68" y="46"/>
                    <a:pt x="68" y="46"/>
                  </a:cubicBezTo>
                  <a:cubicBezTo>
                    <a:pt x="19" y="46"/>
                    <a:pt x="19" y="46"/>
                    <a:pt x="19" y="46"/>
                  </a:cubicBezTo>
                  <a:cubicBezTo>
                    <a:pt x="19" y="57"/>
                    <a:pt x="28" y="65"/>
                    <a:pt x="40" y="65"/>
                  </a:cubicBezTo>
                  <a:cubicBezTo>
                    <a:pt x="48" y="65"/>
                    <a:pt x="54" y="63"/>
                    <a:pt x="60" y="60"/>
                  </a:cubicBezTo>
                  <a:cubicBezTo>
                    <a:pt x="65" y="73"/>
                    <a:pt x="65" y="73"/>
                    <a:pt x="65" y="73"/>
                  </a:cubicBezTo>
                  <a:cubicBezTo>
                    <a:pt x="57" y="78"/>
                    <a:pt x="48" y="80"/>
                    <a:pt x="39" y="80"/>
                  </a:cubicBezTo>
                  <a:cubicBezTo>
                    <a:pt x="11" y="80"/>
                    <a:pt x="0" y="61"/>
                    <a:pt x="0" y="40"/>
                  </a:cubicBezTo>
                  <a:close/>
                  <a:moveTo>
                    <a:pt x="48" y="32"/>
                  </a:moveTo>
                  <a:cubicBezTo>
                    <a:pt x="48" y="23"/>
                    <a:pt x="44" y="15"/>
                    <a:pt x="34" y="15"/>
                  </a:cubicBezTo>
                  <a:cubicBezTo>
                    <a:pt x="24" y="15"/>
                    <a:pt x="19" y="23"/>
                    <a:pt x="19" y="32"/>
                  </a:cubicBezTo>
                  <a:lnTo>
                    <a:pt x="48"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7" name="Freeform 25"/>
            <p:cNvSpPr>
              <a:spLocks/>
            </p:cNvSpPr>
            <p:nvPr userDrawn="1"/>
          </p:nvSpPr>
          <p:spPr bwMode="auto">
            <a:xfrm>
              <a:off x="8040631" y="5041088"/>
              <a:ext cx="37258" cy="56031"/>
            </a:xfrm>
            <a:custGeom>
              <a:avLst/>
              <a:gdLst>
                <a:gd name="T0" fmla="*/ 42 w 49"/>
                <a:gd name="T1" fmla="*/ 19 h 77"/>
                <a:gd name="T2" fmla="*/ 33 w 49"/>
                <a:gd name="T3" fmla="*/ 16 h 77"/>
                <a:gd name="T4" fmla="*/ 19 w 49"/>
                <a:gd name="T5" fmla="*/ 23 h 77"/>
                <a:gd name="T6" fmla="*/ 19 w 49"/>
                <a:gd name="T7" fmla="*/ 63 h 77"/>
                <a:gd name="T8" fmla="*/ 0 w 49"/>
                <a:gd name="T9" fmla="*/ 77 h 77"/>
                <a:gd name="T10" fmla="*/ 0 w 49"/>
                <a:gd name="T11" fmla="*/ 1 h 77"/>
                <a:gd name="T12" fmla="*/ 16 w 49"/>
                <a:gd name="T13" fmla="*/ 1 h 77"/>
                <a:gd name="T14" fmla="*/ 18 w 49"/>
                <a:gd name="T15" fmla="*/ 9 h 77"/>
                <a:gd name="T16" fmla="*/ 38 w 49"/>
                <a:gd name="T17" fmla="*/ 0 h 77"/>
                <a:gd name="T18" fmla="*/ 49 w 49"/>
                <a:gd name="T19" fmla="*/ 3 h 77"/>
                <a:gd name="T20" fmla="*/ 42 w 49"/>
                <a:gd name="T21"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77">
                  <a:moveTo>
                    <a:pt x="42" y="19"/>
                  </a:moveTo>
                  <a:cubicBezTo>
                    <a:pt x="39" y="17"/>
                    <a:pt x="35" y="16"/>
                    <a:pt x="33" y="16"/>
                  </a:cubicBezTo>
                  <a:cubicBezTo>
                    <a:pt x="29" y="16"/>
                    <a:pt x="24" y="18"/>
                    <a:pt x="19" y="23"/>
                  </a:cubicBezTo>
                  <a:cubicBezTo>
                    <a:pt x="19" y="2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2"/>
                    <a:pt x="31" y="0"/>
                    <a:pt x="38" y="0"/>
                  </a:cubicBezTo>
                  <a:cubicBezTo>
                    <a:pt x="42" y="0"/>
                    <a:pt x="46" y="1"/>
                    <a:pt x="49" y="3"/>
                  </a:cubicBezTo>
                  <a:lnTo>
                    <a:pt x="42" y="1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8" name="Freeform 26"/>
            <p:cNvSpPr>
              <a:spLocks/>
            </p:cNvSpPr>
            <p:nvPr userDrawn="1"/>
          </p:nvSpPr>
          <p:spPr bwMode="auto">
            <a:xfrm>
              <a:off x="8083992" y="5041088"/>
              <a:ext cx="86400" cy="56031"/>
            </a:xfrm>
            <a:custGeom>
              <a:avLst/>
              <a:gdLst>
                <a:gd name="T0" fmla="*/ 114 w 114"/>
                <a:gd name="T1" fmla="*/ 25 h 77"/>
                <a:gd name="T2" fmla="*/ 114 w 114"/>
                <a:gd name="T3" fmla="*/ 63 h 77"/>
                <a:gd name="T4" fmla="*/ 95 w 114"/>
                <a:gd name="T5" fmla="*/ 77 h 77"/>
                <a:gd name="T6" fmla="*/ 95 w 114"/>
                <a:gd name="T7" fmla="*/ 31 h 77"/>
                <a:gd name="T8" fmla="*/ 84 w 114"/>
                <a:gd name="T9" fmla="*/ 16 h 77"/>
                <a:gd name="T10" fmla="*/ 66 w 114"/>
                <a:gd name="T11" fmla="*/ 23 h 77"/>
                <a:gd name="T12" fmla="*/ 66 w 114"/>
                <a:gd name="T13" fmla="*/ 63 h 77"/>
                <a:gd name="T14" fmla="*/ 66 w 114"/>
                <a:gd name="T15" fmla="*/ 63 h 77"/>
                <a:gd name="T16" fmla="*/ 47 w 114"/>
                <a:gd name="T17" fmla="*/ 77 h 77"/>
                <a:gd name="T18" fmla="*/ 47 w 114"/>
                <a:gd name="T19" fmla="*/ 31 h 77"/>
                <a:gd name="T20" fmla="*/ 37 w 114"/>
                <a:gd name="T21" fmla="*/ 16 h 77"/>
                <a:gd name="T22" fmla="*/ 19 w 114"/>
                <a:gd name="T23" fmla="*/ 23 h 77"/>
                <a:gd name="T24" fmla="*/ 19 w 114"/>
                <a:gd name="T25" fmla="*/ 63 h 77"/>
                <a:gd name="T26" fmla="*/ 19 w 114"/>
                <a:gd name="T27" fmla="*/ 63 h 77"/>
                <a:gd name="T28" fmla="*/ 0 w 114"/>
                <a:gd name="T29" fmla="*/ 77 h 77"/>
                <a:gd name="T30" fmla="*/ 0 w 114"/>
                <a:gd name="T31" fmla="*/ 1 h 77"/>
                <a:gd name="T32" fmla="*/ 16 w 114"/>
                <a:gd name="T33" fmla="*/ 1 h 77"/>
                <a:gd name="T34" fmla="*/ 18 w 114"/>
                <a:gd name="T35" fmla="*/ 9 h 77"/>
                <a:gd name="T36" fmla="*/ 43 w 114"/>
                <a:gd name="T37" fmla="*/ 0 h 77"/>
                <a:gd name="T38" fmla="*/ 63 w 114"/>
                <a:gd name="T39" fmla="*/ 11 h 77"/>
                <a:gd name="T40" fmla="*/ 89 w 114"/>
                <a:gd name="T41" fmla="*/ 0 h 77"/>
                <a:gd name="T42" fmla="*/ 114 w 114"/>
                <a:gd name="T43" fmla="*/ 2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77">
                  <a:moveTo>
                    <a:pt x="114" y="25"/>
                  </a:moveTo>
                  <a:cubicBezTo>
                    <a:pt x="114" y="63"/>
                    <a:pt x="114" y="63"/>
                    <a:pt x="114" y="63"/>
                  </a:cubicBezTo>
                  <a:cubicBezTo>
                    <a:pt x="114" y="77"/>
                    <a:pt x="95" y="77"/>
                    <a:pt x="95" y="77"/>
                  </a:cubicBezTo>
                  <a:cubicBezTo>
                    <a:pt x="95" y="31"/>
                    <a:pt x="95" y="31"/>
                    <a:pt x="95" y="31"/>
                  </a:cubicBezTo>
                  <a:cubicBezTo>
                    <a:pt x="95" y="22"/>
                    <a:pt x="93" y="16"/>
                    <a:pt x="84" y="16"/>
                  </a:cubicBezTo>
                  <a:cubicBezTo>
                    <a:pt x="77" y="16"/>
                    <a:pt x="71" y="19"/>
                    <a:pt x="66" y="23"/>
                  </a:cubicBezTo>
                  <a:cubicBezTo>
                    <a:pt x="66" y="63"/>
                    <a:pt x="66" y="63"/>
                    <a:pt x="66" y="63"/>
                  </a:cubicBezTo>
                  <a:cubicBezTo>
                    <a:pt x="66" y="63"/>
                    <a:pt x="66" y="49"/>
                    <a:pt x="66" y="63"/>
                  </a:cubicBezTo>
                  <a:cubicBezTo>
                    <a:pt x="66" y="77"/>
                    <a:pt x="47" y="77"/>
                    <a:pt x="47" y="77"/>
                  </a:cubicBezTo>
                  <a:cubicBezTo>
                    <a:pt x="47" y="31"/>
                    <a:pt x="47" y="31"/>
                    <a:pt x="47" y="31"/>
                  </a:cubicBezTo>
                  <a:cubicBezTo>
                    <a:pt x="47" y="23"/>
                    <a:pt x="46" y="16"/>
                    <a:pt x="37" y="16"/>
                  </a:cubicBezTo>
                  <a:cubicBezTo>
                    <a:pt x="30" y="16"/>
                    <a:pt x="19" y="23"/>
                    <a:pt x="19" y="23"/>
                  </a:cubicBezTo>
                  <a:cubicBezTo>
                    <a:pt x="19" y="63"/>
                    <a:pt x="19" y="63"/>
                    <a:pt x="19" y="63"/>
                  </a:cubicBezTo>
                  <a:cubicBezTo>
                    <a:pt x="19" y="6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3"/>
                    <a:pt x="34" y="0"/>
                    <a:pt x="43" y="0"/>
                  </a:cubicBezTo>
                  <a:cubicBezTo>
                    <a:pt x="52" y="0"/>
                    <a:pt x="59" y="4"/>
                    <a:pt x="63" y="11"/>
                  </a:cubicBezTo>
                  <a:cubicBezTo>
                    <a:pt x="71" y="3"/>
                    <a:pt x="81" y="0"/>
                    <a:pt x="89" y="0"/>
                  </a:cubicBezTo>
                  <a:cubicBezTo>
                    <a:pt x="102" y="0"/>
                    <a:pt x="114" y="6"/>
                    <a:pt x="114" y="25"/>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9" name="Freeform 27"/>
            <p:cNvSpPr>
              <a:spLocks/>
            </p:cNvSpPr>
            <p:nvPr userDrawn="1"/>
          </p:nvSpPr>
          <p:spPr bwMode="auto">
            <a:xfrm>
              <a:off x="7908622" y="5019846"/>
              <a:ext cx="77407" cy="77889"/>
            </a:xfrm>
            <a:custGeom>
              <a:avLst/>
              <a:gdLst>
                <a:gd name="T0" fmla="*/ 43 w 102"/>
                <a:gd name="T1" fmla="*/ 107 h 107"/>
                <a:gd name="T2" fmla="*/ 65 w 102"/>
                <a:gd name="T3" fmla="*/ 91 h 107"/>
                <a:gd name="T4" fmla="*/ 102 w 102"/>
                <a:gd name="T5" fmla="*/ 0 h 107"/>
                <a:gd name="T6" fmla="*/ 81 w 102"/>
                <a:gd name="T7" fmla="*/ 0 h 107"/>
                <a:gd name="T8" fmla="*/ 51 w 102"/>
                <a:gd name="T9" fmla="*/ 78 h 107"/>
                <a:gd name="T10" fmla="*/ 51 w 102"/>
                <a:gd name="T11" fmla="*/ 78 h 107"/>
                <a:gd name="T12" fmla="*/ 21 w 102"/>
                <a:gd name="T13" fmla="*/ 0 h 107"/>
                <a:gd name="T14" fmla="*/ 0 w 102"/>
                <a:gd name="T15" fmla="*/ 0 h 107"/>
                <a:gd name="T16" fmla="*/ 43 w 102"/>
                <a:gd name="T17"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107">
                  <a:moveTo>
                    <a:pt x="43" y="107"/>
                  </a:moveTo>
                  <a:cubicBezTo>
                    <a:pt x="57" y="107"/>
                    <a:pt x="61" y="101"/>
                    <a:pt x="65" y="91"/>
                  </a:cubicBezTo>
                  <a:cubicBezTo>
                    <a:pt x="102" y="0"/>
                    <a:pt x="102" y="0"/>
                    <a:pt x="102" y="0"/>
                  </a:cubicBezTo>
                  <a:cubicBezTo>
                    <a:pt x="81" y="0"/>
                    <a:pt x="81" y="0"/>
                    <a:pt x="81" y="0"/>
                  </a:cubicBezTo>
                  <a:cubicBezTo>
                    <a:pt x="51" y="78"/>
                    <a:pt x="51" y="78"/>
                    <a:pt x="51" y="78"/>
                  </a:cubicBezTo>
                  <a:cubicBezTo>
                    <a:pt x="51" y="78"/>
                    <a:pt x="51" y="78"/>
                    <a:pt x="51" y="78"/>
                  </a:cubicBezTo>
                  <a:cubicBezTo>
                    <a:pt x="21" y="0"/>
                    <a:pt x="21" y="0"/>
                    <a:pt x="21" y="0"/>
                  </a:cubicBezTo>
                  <a:cubicBezTo>
                    <a:pt x="0" y="0"/>
                    <a:pt x="0" y="0"/>
                    <a:pt x="0" y="0"/>
                  </a:cubicBezTo>
                  <a:cubicBezTo>
                    <a:pt x="43" y="107"/>
                    <a:pt x="43" y="107"/>
                    <a:pt x="43" y="10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120" name="Group 119"/>
          <p:cNvGrpSpPr/>
          <p:nvPr userDrawn="1"/>
        </p:nvGrpSpPr>
        <p:grpSpPr>
          <a:xfrm>
            <a:off x="6226041" y="4843403"/>
            <a:ext cx="1123200" cy="262117"/>
            <a:chOff x="7686782" y="4354553"/>
            <a:chExt cx="1123200" cy="262117"/>
          </a:xfrm>
          <a:solidFill>
            <a:schemeClr val="bg1"/>
          </a:solidFill>
        </p:grpSpPr>
        <p:sp>
          <p:nvSpPr>
            <p:cNvPr id="121" name="Freeform 120"/>
            <p:cNvSpPr>
              <a:spLocks/>
            </p:cNvSpPr>
            <p:nvPr/>
          </p:nvSpPr>
          <p:spPr bwMode="auto">
            <a:xfrm>
              <a:off x="8637817" y="4415076"/>
              <a:ext cx="103629" cy="66531"/>
            </a:xfrm>
            <a:custGeom>
              <a:avLst/>
              <a:gdLst>
                <a:gd name="T0" fmla="*/ 50 w 62"/>
                <a:gd name="T1" fmla="*/ 33 h 42"/>
                <a:gd name="T2" fmla="*/ 39 w 62"/>
                <a:gd name="T3" fmla="*/ 40 h 42"/>
                <a:gd name="T4" fmla="*/ 31 w 62"/>
                <a:gd name="T5" fmla="*/ 13 h 42"/>
                <a:gd name="T6" fmla="*/ 30 w 62"/>
                <a:gd name="T7" fmla="*/ 13 h 42"/>
                <a:gd name="T8" fmla="*/ 24 w 62"/>
                <a:gd name="T9" fmla="*/ 33 h 42"/>
                <a:gd name="T10" fmla="*/ 14 w 62"/>
                <a:gd name="T11" fmla="*/ 40 h 42"/>
                <a:gd name="T12" fmla="*/ 0 w 62"/>
                <a:gd name="T13" fmla="*/ 0 h 42"/>
                <a:gd name="T14" fmla="*/ 10 w 62"/>
                <a:gd name="T15" fmla="*/ 0 h 42"/>
                <a:gd name="T16" fmla="*/ 18 w 62"/>
                <a:gd name="T17" fmla="*/ 27 h 42"/>
                <a:gd name="T18" fmla="*/ 18 w 62"/>
                <a:gd name="T19" fmla="*/ 27 h 42"/>
                <a:gd name="T20" fmla="*/ 27 w 62"/>
                <a:gd name="T21" fmla="*/ 0 h 42"/>
                <a:gd name="T22" fmla="*/ 35 w 62"/>
                <a:gd name="T23" fmla="*/ 0 h 42"/>
                <a:gd name="T24" fmla="*/ 43 w 62"/>
                <a:gd name="T25" fmla="*/ 27 h 42"/>
                <a:gd name="T26" fmla="*/ 44 w 62"/>
                <a:gd name="T27" fmla="*/ 27 h 42"/>
                <a:gd name="T28" fmla="*/ 52 w 62"/>
                <a:gd name="T29" fmla="*/ 0 h 42"/>
                <a:gd name="T30" fmla="*/ 62 w 62"/>
                <a:gd name="T31" fmla="*/ 0 h 42"/>
                <a:gd name="T32" fmla="*/ 50 w 62"/>
                <a:gd name="T33" fmla="*/ 3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 h="42">
                  <a:moveTo>
                    <a:pt x="50" y="33"/>
                  </a:moveTo>
                  <a:cubicBezTo>
                    <a:pt x="47" y="42"/>
                    <a:pt x="39" y="40"/>
                    <a:pt x="39" y="40"/>
                  </a:cubicBezTo>
                  <a:cubicBezTo>
                    <a:pt x="31" y="13"/>
                    <a:pt x="31" y="13"/>
                    <a:pt x="31" y="13"/>
                  </a:cubicBezTo>
                  <a:cubicBezTo>
                    <a:pt x="30" y="13"/>
                    <a:pt x="30" y="13"/>
                    <a:pt x="30" y="13"/>
                  </a:cubicBezTo>
                  <a:cubicBezTo>
                    <a:pt x="30" y="13"/>
                    <a:pt x="26" y="26"/>
                    <a:pt x="24" y="33"/>
                  </a:cubicBezTo>
                  <a:cubicBezTo>
                    <a:pt x="21" y="42"/>
                    <a:pt x="14" y="40"/>
                    <a:pt x="14" y="40"/>
                  </a:cubicBezTo>
                  <a:cubicBezTo>
                    <a:pt x="0" y="0"/>
                    <a:pt x="0" y="0"/>
                    <a:pt x="0" y="0"/>
                  </a:cubicBezTo>
                  <a:cubicBezTo>
                    <a:pt x="10" y="0"/>
                    <a:pt x="10" y="0"/>
                    <a:pt x="10" y="0"/>
                  </a:cubicBezTo>
                  <a:cubicBezTo>
                    <a:pt x="18" y="27"/>
                    <a:pt x="18" y="27"/>
                    <a:pt x="18" y="27"/>
                  </a:cubicBezTo>
                  <a:cubicBezTo>
                    <a:pt x="18" y="27"/>
                    <a:pt x="18" y="27"/>
                    <a:pt x="18" y="27"/>
                  </a:cubicBezTo>
                  <a:cubicBezTo>
                    <a:pt x="27" y="0"/>
                    <a:pt x="27" y="0"/>
                    <a:pt x="27" y="0"/>
                  </a:cubicBezTo>
                  <a:cubicBezTo>
                    <a:pt x="35" y="0"/>
                    <a:pt x="35" y="0"/>
                    <a:pt x="35" y="0"/>
                  </a:cubicBezTo>
                  <a:cubicBezTo>
                    <a:pt x="43" y="27"/>
                    <a:pt x="43" y="27"/>
                    <a:pt x="43" y="27"/>
                  </a:cubicBezTo>
                  <a:cubicBezTo>
                    <a:pt x="44" y="27"/>
                    <a:pt x="44" y="27"/>
                    <a:pt x="44" y="27"/>
                  </a:cubicBezTo>
                  <a:cubicBezTo>
                    <a:pt x="52" y="0"/>
                    <a:pt x="52" y="0"/>
                    <a:pt x="52" y="0"/>
                  </a:cubicBezTo>
                  <a:cubicBezTo>
                    <a:pt x="62" y="0"/>
                    <a:pt x="62" y="0"/>
                    <a:pt x="62" y="0"/>
                  </a:cubicBezTo>
                  <a:cubicBezTo>
                    <a:pt x="62" y="0"/>
                    <a:pt x="52" y="26"/>
                    <a:pt x="5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 name="Freeform 121"/>
            <p:cNvSpPr>
              <a:spLocks noEditPoints="1"/>
            </p:cNvSpPr>
            <p:nvPr/>
          </p:nvSpPr>
          <p:spPr bwMode="auto">
            <a:xfrm>
              <a:off x="8445631" y="4383257"/>
              <a:ext cx="65239" cy="93677"/>
            </a:xfrm>
            <a:custGeom>
              <a:avLst/>
              <a:gdLst>
                <a:gd name="T0" fmla="*/ 0 w 39"/>
                <a:gd name="T1" fmla="*/ 0 h 59"/>
                <a:gd name="T2" fmla="*/ 0 w 39"/>
                <a:gd name="T3" fmla="*/ 59 h 59"/>
                <a:gd name="T4" fmla="*/ 18 w 39"/>
                <a:gd name="T5" fmla="*/ 59 h 59"/>
                <a:gd name="T6" fmla="*/ 39 w 39"/>
                <a:gd name="T7" fmla="*/ 42 h 59"/>
                <a:gd name="T8" fmla="*/ 29 w 39"/>
                <a:gd name="T9" fmla="*/ 28 h 59"/>
                <a:gd name="T10" fmla="*/ 28 w 39"/>
                <a:gd name="T11" fmla="*/ 27 h 59"/>
                <a:gd name="T12" fmla="*/ 29 w 39"/>
                <a:gd name="T13" fmla="*/ 27 h 59"/>
                <a:gd name="T14" fmla="*/ 35 w 39"/>
                <a:gd name="T15" fmla="*/ 15 h 59"/>
                <a:gd name="T16" fmla="*/ 19 w 39"/>
                <a:gd name="T17" fmla="*/ 0 h 59"/>
                <a:gd name="T18" fmla="*/ 0 w 39"/>
                <a:gd name="T19" fmla="*/ 0 h 59"/>
                <a:gd name="T20" fmla="*/ 10 w 39"/>
                <a:gd name="T21" fmla="*/ 8 h 59"/>
                <a:gd name="T22" fmla="*/ 16 w 39"/>
                <a:gd name="T23" fmla="*/ 8 h 59"/>
                <a:gd name="T24" fmla="*/ 25 w 39"/>
                <a:gd name="T25" fmla="*/ 16 h 59"/>
                <a:gd name="T26" fmla="*/ 17 w 39"/>
                <a:gd name="T27" fmla="*/ 25 h 59"/>
                <a:gd name="T28" fmla="*/ 10 w 39"/>
                <a:gd name="T29" fmla="*/ 25 h 59"/>
                <a:gd name="T30" fmla="*/ 10 w 39"/>
                <a:gd name="T31" fmla="*/ 8 h 59"/>
                <a:gd name="T32" fmla="*/ 10 w 39"/>
                <a:gd name="T33" fmla="*/ 33 h 59"/>
                <a:gd name="T34" fmla="*/ 18 w 39"/>
                <a:gd name="T35" fmla="*/ 33 h 59"/>
                <a:gd name="T36" fmla="*/ 29 w 39"/>
                <a:gd name="T37" fmla="*/ 42 h 59"/>
                <a:gd name="T38" fmla="*/ 17 w 39"/>
                <a:gd name="T39" fmla="*/ 51 h 59"/>
                <a:gd name="T40" fmla="*/ 10 w 39"/>
                <a:gd name="T41" fmla="*/ 51 h 59"/>
                <a:gd name="T42" fmla="*/ 10 w 39"/>
                <a:gd name="T43"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9">
                  <a:moveTo>
                    <a:pt x="0" y="0"/>
                  </a:moveTo>
                  <a:cubicBezTo>
                    <a:pt x="0" y="1"/>
                    <a:pt x="0" y="59"/>
                    <a:pt x="0" y="59"/>
                  </a:cubicBezTo>
                  <a:cubicBezTo>
                    <a:pt x="1" y="59"/>
                    <a:pt x="18" y="59"/>
                    <a:pt x="18" y="59"/>
                  </a:cubicBezTo>
                  <a:cubicBezTo>
                    <a:pt x="33" y="59"/>
                    <a:pt x="39" y="51"/>
                    <a:pt x="39" y="42"/>
                  </a:cubicBezTo>
                  <a:cubicBezTo>
                    <a:pt x="39" y="35"/>
                    <a:pt x="36" y="29"/>
                    <a:pt x="29" y="28"/>
                  </a:cubicBezTo>
                  <a:cubicBezTo>
                    <a:pt x="28" y="27"/>
                    <a:pt x="28" y="27"/>
                    <a:pt x="28" y="27"/>
                  </a:cubicBezTo>
                  <a:cubicBezTo>
                    <a:pt x="29" y="27"/>
                    <a:pt x="29" y="27"/>
                    <a:pt x="29" y="27"/>
                  </a:cubicBezTo>
                  <a:cubicBezTo>
                    <a:pt x="33" y="24"/>
                    <a:pt x="35" y="20"/>
                    <a:pt x="35" y="15"/>
                  </a:cubicBezTo>
                  <a:cubicBezTo>
                    <a:pt x="35" y="8"/>
                    <a:pt x="30" y="0"/>
                    <a:pt x="19" y="0"/>
                  </a:cubicBezTo>
                  <a:cubicBezTo>
                    <a:pt x="19" y="0"/>
                    <a:pt x="1" y="0"/>
                    <a:pt x="0" y="0"/>
                  </a:cubicBezTo>
                  <a:close/>
                  <a:moveTo>
                    <a:pt x="10" y="8"/>
                  </a:moveTo>
                  <a:cubicBezTo>
                    <a:pt x="16" y="8"/>
                    <a:pt x="16" y="8"/>
                    <a:pt x="16" y="8"/>
                  </a:cubicBezTo>
                  <a:cubicBezTo>
                    <a:pt x="22" y="8"/>
                    <a:pt x="25" y="11"/>
                    <a:pt x="25" y="16"/>
                  </a:cubicBezTo>
                  <a:cubicBezTo>
                    <a:pt x="25" y="21"/>
                    <a:pt x="21" y="25"/>
                    <a:pt x="17" y="25"/>
                  </a:cubicBezTo>
                  <a:cubicBezTo>
                    <a:pt x="10" y="25"/>
                    <a:pt x="10" y="25"/>
                    <a:pt x="10" y="25"/>
                  </a:cubicBezTo>
                  <a:lnTo>
                    <a:pt x="10" y="8"/>
                  </a:lnTo>
                  <a:close/>
                  <a:moveTo>
                    <a:pt x="10" y="33"/>
                  </a:moveTo>
                  <a:cubicBezTo>
                    <a:pt x="18" y="33"/>
                    <a:pt x="18" y="33"/>
                    <a:pt x="18" y="33"/>
                  </a:cubicBezTo>
                  <a:cubicBezTo>
                    <a:pt x="25" y="33"/>
                    <a:pt x="29" y="37"/>
                    <a:pt x="29" y="42"/>
                  </a:cubicBezTo>
                  <a:cubicBezTo>
                    <a:pt x="29" y="48"/>
                    <a:pt x="25" y="51"/>
                    <a:pt x="17" y="51"/>
                  </a:cubicBezTo>
                  <a:cubicBezTo>
                    <a:pt x="10" y="51"/>
                    <a:pt x="10" y="51"/>
                    <a:pt x="10" y="51"/>
                  </a:cubicBezTo>
                  <a:lnTo>
                    <a:pt x="1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 name="Freeform 122"/>
            <p:cNvSpPr>
              <a:spLocks noEditPoints="1"/>
            </p:cNvSpPr>
            <p:nvPr/>
          </p:nvSpPr>
          <p:spPr bwMode="auto">
            <a:xfrm>
              <a:off x="8567631" y="4413518"/>
              <a:ext cx="66888" cy="64973"/>
            </a:xfrm>
            <a:custGeom>
              <a:avLst/>
              <a:gdLst>
                <a:gd name="T0" fmla="*/ 34 w 40"/>
                <a:gd name="T1" fmla="*/ 36 h 41"/>
                <a:gd name="T2" fmla="*/ 20 w 40"/>
                <a:gd name="T3" fmla="*/ 41 h 41"/>
                <a:gd name="T4" fmla="*/ 7 w 40"/>
                <a:gd name="T5" fmla="*/ 36 h 41"/>
                <a:gd name="T6" fmla="*/ 0 w 40"/>
                <a:gd name="T7" fmla="*/ 21 h 41"/>
                <a:gd name="T8" fmla="*/ 6 w 40"/>
                <a:gd name="T9" fmla="*/ 6 h 41"/>
                <a:gd name="T10" fmla="*/ 20 w 40"/>
                <a:gd name="T11" fmla="*/ 0 h 41"/>
                <a:gd name="T12" fmla="*/ 35 w 40"/>
                <a:gd name="T13" fmla="*/ 6 h 41"/>
                <a:gd name="T14" fmla="*/ 40 w 40"/>
                <a:gd name="T15" fmla="*/ 20 h 41"/>
                <a:gd name="T16" fmla="*/ 34 w 40"/>
                <a:gd name="T17" fmla="*/ 36 h 41"/>
                <a:gd name="T18" fmla="*/ 20 w 40"/>
                <a:gd name="T19" fmla="*/ 8 h 41"/>
                <a:gd name="T20" fmla="*/ 11 w 40"/>
                <a:gd name="T21" fmla="*/ 21 h 41"/>
                <a:gd name="T22" fmla="*/ 20 w 40"/>
                <a:gd name="T23" fmla="*/ 33 h 41"/>
                <a:gd name="T24" fmla="*/ 30 w 40"/>
                <a:gd name="T25" fmla="*/ 21 h 41"/>
                <a:gd name="T26" fmla="*/ 20 w 40"/>
                <a:gd name="T27" fmla="*/ 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4" y="36"/>
                  </a:moveTo>
                  <a:cubicBezTo>
                    <a:pt x="31" y="39"/>
                    <a:pt x="26" y="41"/>
                    <a:pt x="20" y="41"/>
                  </a:cubicBezTo>
                  <a:cubicBezTo>
                    <a:pt x="15" y="41"/>
                    <a:pt x="10" y="39"/>
                    <a:pt x="7" y="36"/>
                  </a:cubicBezTo>
                  <a:cubicBezTo>
                    <a:pt x="3" y="33"/>
                    <a:pt x="0" y="27"/>
                    <a:pt x="0" y="21"/>
                  </a:cubicBezTo>
                  <a:cubicBezTo>
                    <a:pt x="0" y="15"/>
                    <a:pt x="2" y="9"/>
                    <a:pt x="6" y="6"/>
                  </a:cubicBezTo>
                  <a:cubicBezTo>
                    <a:pt x="10" y="2"/>
                    <a:pt x="14" y="0"/>
                    <a:pt x="20" y="0"/>
                  </a:cubicBezTo>
                  <a:cubicBezTo>
                    <a:pt x="26" y="0"/>
                    <a:pt x="31" y="2"/>
                    <a:pt x="35" y="6"/>
                  </a:cubicBezTo>
                  <a:cubicBezTo>
                    <a:pt x="38" y="9"/>
                    <a:pt x="40" y="14"/>
                    <a:pt x="40" y="20"/>
                  </a:cubicBezTo>
                  <a:cubicBezTo>
                    <a:pt x="40" y="26"/>
                    <a:pt x="38" y="32"/>
                    <a:pt x="34" y="36"/>
                  </a:cubicBezTo>
                  <a:close/>
                  <a:moveTo>
                    <a:pt x="20" y="8"/>
                  </a:moveTo>
                  <a:cubicBezTo>
                    <a:pt x="14" y="8"/>
                    <a:pt x="11" y="13"/>
                    <a:pt x="11" y="21"/>
                  </a:cubicBezTo>
                  <a:cubicBezTo>
                    <a:pt x="11" y="28"/>
                    <a:pt x="14" y="33"/>
                    <a:pt x="20" y="33"/>
                  </a:cubicBezTo>
                  <a:cubicBezTo>
                    <a:pt x="27" y="33"/>
                    <a:pt x="30" y="28"/>
                    <a:pt x="30" y="21"/>
                  </a:cubicBezTo>
                  <a:cubicBezTo>
                    <a:pt x="30" y="13"/>
                    <a:pt x="26" y="8"/>
                    <a:pt x="2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 name="Freeform 123"/>
            <p:cNvSpPr>
              <a:spLocks/>
            </p:cNvSpPr>
            <p:nvPr/>
          </p:nvSpPr>
          <p:spPr bwMode="auto">
            <a:xfrm>
              <a:off x="8751573" y="4413518"/>
              <a:ext cx="58409" cy="64973"/>
            </a:xfrm>
            <a:custGeom>
              <a:avLst/>
              <a:gdLst>
                <a:gd name="T0" fmla="*/ 25 w 35"/>
                <a:gd name="T1" fmla="*/ 41 h 41"/>
                <a:gd name="T2" fmla="*/ 25 w 35"/>
                <a:gd name="T3" fmla="*/ 17 h 41"/>
                <a:gd name="T4" fmla="*/ 20 w 35"/>
                <a:gd name="T5" fmla="*/ 9 h 41"/>
                <a:gd name="T6" fmla="*/ 10 w 35"/>
                <a:gd name="T7" fmla="*/ 13 h 41"/>
                <a:gd name="T8" fmla="*/ 10 w 35"/>
                <a:gd name="T9" fmla="*/ 34 h 41"/>
                <a:gd name="T10" fmla="*/ 0 w 35"/>
                <a:gd name="T11" fmla="*/ 41 h 41"/>
                <a:gd name="T12" fmla="*/ 0 w 35"/>
                <a:gd name="T13" fmla="*/ 1 h 41"/>
                <a:gd name="T14" fmla="*/ 8 w 35"/>
                <a:gd name="T15" fmla="*/ 1 h 41"/>
                <a:gd name="T16" fmla="*/ 9 w 35"/>
                <a:gd name="T17" fmla="*/ 5 h 41"/>
                <a:gd name="T18" fmla="*/ 23 w 35"/>
                <a:gd name="T19" fmla="*/ 0 h 41"/>
                <a:gd name="T20" fmla="*/ 35 w 35"/>
                <a:gd name="T21" fmla="*/ 14 h 41"/>
                <a:gd name="T22" fmla="*/ 35 w 35"/>
                <a:gd name="T23" fmla="*/ 34 h 41"/>
                <a:gd name="T24" fmla="*/ 25 w 35"/>
                <a:gd name="T25"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41">
                  <a:moveTo>
                    <a:pt x="25" y="41"/>
                  </a:moveTo>
                  <a:cubicBezTo>
                    <a:pt x="25" y="17"/>
                    <a:pt x="25" y="17"/>
                    <a:pt x="25" y="17"/>
                  </a:cubicBezTo>
                  <a:cubicBezTo>
                    <a:pt x="25" y="13"/>
                    <a:pt x="25" y="9"/>
                    <a:pt x="20" y="9"/>
                  </a:cubicBezTo>
                  <a:cubicBezTo>
                    <a:pt x="16" y="9"/>
                    <a:pt x="13" y="10"/>
                    <a:pt x="10" y="13"/>
                  </a:cubicBezTo>
                  <a:cubicBezTo>
                    <a:pt x="10" y="13"/>
                    <a:pt x="10" y="26"/>
                    <a:pt x="10" y="34"/>
                  </a:cubicBezTo>
                  <a:cubicBezTo>
                    <a:pt x="10" y="41"/>
                    <a:pt x="0" y="41"/>
                    <a:pt x="0" y="41"/>
                  </a:cubicBezTo>
                  <a:cubicBezTo>
                    <a:pt x="0" y="1"/>
                    <a:pt x="0" y="1"/>
                    <a:pt x="0" y="1"/>
                  </a:cubicBezTo>
                  <a:cubicBezTo>
                    <a:pt x="8" y="1"/>
                    <a:pt x="8" y="1"/>
                    <a:pt x="8" y="1"/>
                  </a:cubicBezTo>
                  <a:cubicBezTo>
                    <a:pt x="9" y="5"/>
                    <a:pt x="9" y="5"/>
                    <a:pt x="9" y="5"/>
                  </a:cubicBezTo>
                  <a:cubicBezTo>
                    <a:pt x="13" y="2"/>
                    <a:pt x="18" y="0"/>
                    <a:pt x="23" y="0"/>
                  </a:cubicBezTo>
                  <a:cubicBezTo>
                    <a:pt x="29" y="0"/>
                    <a:pt x="35" y="3"/>
                    <a:pt x="35" y="14"/>
                  </a:cubicBezTo>
                  <a:cubicBezTo>
                    <a:pt x="35" y="14"/>
                    <a:pt x="35" y="26"/>
                    <a:pt x="35" y="34"/>
                  </a:cubicBezTo>
                  <a:cubicBezTo>
                    <a:pt x="35" y="41"/>
                    <a:pt x="25" y="41"/>
                    <a:pt x="2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 name="Freeform 124"/>
            <p:cNvSpPr>
              <a:spLocks/>
            </p:cNvSpPr>
            <p:nvPr/>
          </p:nvSpPr>
          <p:spPr bwMode="auto">
            <a:xfrm>
              <a:off x="8522411" y="4413518"/>
              <a:ext cx="43571" cy="64973"/>
            </a:xfrm>
            <a:custGeom>
              <a:avLst/>
              <a:gdLst>
                <a:gd name="T0" fmla="*/ 23 w 26"/>
                <a:gd name="T1" fmla="*/ 10 h 41"/>
                <a:gd name="T2" fmla="*/ 18 w 26"/>
                <a:gd name="T3" fmla="*/ 9 h 41"/>
                <a:gd name="T4" fmla="*/ 11 w 26"/>
                <a:gd name="T5" fmla="*/ 12 h 41"/>
                <a:gd name="T6" fmla="*/ 11 w 26"/>
                <a:gd name="T7" fmla="*/ 34 h 41"/>
                <a:gd name="T8" fmla="*/ 0 w 26"/>
                <a:gd name="T9" fmla="*/ 41 h 41"/>
                <a:gd name="T10" fmla="*/ 0 w 26"/>
                <a:gd name="T11" fmla="*/ 1 h 41"/>
                <a:gd name="T12" fmla="*/ 9 w 26"/>
                <a:gd name="T13" fmla="*/ 1 h 41"/>
                <a:gd name="T14" fmla="*/ 10 w 26"/>
                <a:gd name="T15" fmla="*/ 5 h 41"/>
                <a:gd name="T16" fmla="*/ 21 w 26"/>
                <a:gd name="T17" fmla="*/ 0 h 41"/>
                <a:gd name="T18" fmla="*/ 26 w 26"/>
                <a:gd name="T19" fmla="*/ 2 h 41"/>
                <a:gd name="T20" fmla="*/ 23 w 26"/>
                <a:gd name="T21" fmla="*/ 1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41">
                  <a:moveTo>
                    <a:pt x="23" y="10"/>
                  </a:moveTo>
                  <a:cubicBezTo>
                    <a:pt x="21" y="9"/>
                    <a:pt x="19" y="9"/>
                    <a:pt x="18" y="9"/>
                  </a:cubicBezTo>
                  <a:cubicBezTo>
                    <a:pt x="16" y="9"/>
                    <a:pt x="13" y="10"/>
                    <a:pt x="11" y="12"/>
                  </a:cubicBezTo>
                  <a:cubicBezTo>
                    <a:pt x="11" y="12"/>
                    <a:pt x="11" y="26"/>
                    <a:pt x="11" y="34"/>
                  </a:cubicBezTo>
                  <a:cubicBezTo>
                    <a:pt x="11" y="41"/>
                    <a:pt x="0" y="41"/>
                    <a:pt x="0" y="41"/>
                  </a:cubicBezTo>
                  <a:cubicBezTo>
                    <a:pt x="0" y="1"/>
                    <a:pt x="0" y="1"/>
                    <a:pt x="0" y="1"/>
                  </a:cubicBezTo>
                  <a:cubicBezTo>
                    <a:pt x="9" y="1"/>
                    <a:pt x="9" y="1"/>
                    <a:pt x="9" y="1"/>
                  </a:cubicBezTo>
                  <a:cubicBezTo>
                    <a:pt x="10" y="5"/>
                    <a:pt x="10" y="5"/>
                    <a:pt x="10" y="5"/>
                  </a:cubicBezTo>
                  <a:cubicBezTo>
                    <a:pt x="14" y="2"/>
                    <a:pt x="17" y="0"/>
                    <a:pt x="21" y="0"/>
                  </a:cubicBezTo>
                  <a:cubicBezTo>
                    <a:pt x="23" y="0"/>
                    <a:pt x="25" y="1"/>
                    <a:pt x="26" y="2"/>
                  </a:cubicBezTo>
                  <a:lnTo>
                    <a:pt x="23"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 name="Freeform 125"/>
            <p:cNvSpPr>
              <a:spLocks/>
            </p:cNvSpPr>
            <p:nvPr/>
          </p:nvSpPr>
          <p:spPr bwMode="auto">
            <a:xfrm>
              <a:off x="7787114" y="4354553"/>
              <a:ext cx="101745" cy="147747"/>
            </a:xfrm>
            <a:custGeom>
              <a:avLst/>
              <a:gdLst>
                <a:gd name="T0" fmla="*/ 0 w 61"/>
                <a:gd name="T1" fmla="*/ 11 h 93"/>
                <a:gd name="T2" fmla="*/ 1 w 61"/>
                <a:gd name="T3" fmla="*/ 10 h 93"/>
                <a:gd name="T4" fmla="*/ 31 w 61"/>
                <a:gd name="T5" fmla="*/ 9 h 93"/>
                <a:gd name="T6" fmla="*/ 37 w 61"/>
                <a:gd name="T7" fmla="*/ 24 h 93"/>
                <a:gd name="T8" fmla="*/ 52 w 61"/>
                <a:gd name="T9" fmla="*/ 30 h 93"/>
                <a:gd name="T10" fmla="*/ 51 w 61"/>
                <a:gd name="T11" fmla="*/ 60 h 93"/>
                <a:gd name="T12" fmla="*/ 18 w 61"/>
                <a:gd name="T13" fmla="*/ 93 h 93"/>
                <a:gd name="T14" fmla="*/ 8 w 61"/>
                <a:gd name="T15" fmla="*/ 83 h 93"/>
                <a:gd name="T16" fmla="*/ 41 w 61"/>
                <a:gd name="T17" fmla="*/ 50 h 93"/>
                <a:gd name="T18" fmla="*/ 42 w 61"/>
                <a:gd name="T19" fmla="*/ 39 h 93"/>
                <a:gd name="T20" fmla="*/ 31 w 61"/>
                <a:gd name="T21" fmla="*/ 40 h 93"/>
                <a:gd name="T22" fmla="*/ 0 w 61"/>
                <a:gd name="T23" fmla="*/ 70 h 93"/>
                <a:gd name="T24" fmla="*/ 0 w 61"/>
                <a:gd name="T25" fmla="*/ 50 h 93"/>
                <a:gd name="T26" fmla="*/ 21 w 61"/>
                <a:gd name="T27" fmla="*/ 30 h 93"/>
                <a:gd name="T28" fmla="*/ 22 w 61"/>
                <a:gd name="T29" fmla="*/ 19 h 93"/>
                <a:gd name="T30" fmla="*/ 11 w 61"/>
                <a:gd name="T31" fmla="*/ 20 h 93"/>
                <a:gd name="T32" fmla="*/ 0 w 61"/>
                <a:gd name="T33" fmla="*/ 30 h 93"/>
                <a:gd name="T34" fmla="*/ 0 w 61"/>
                <a:gd name="T35" fmla="*/ 1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 h="93">
                  <a:moveTo>
                    <a:pt x="0" y="11"/>
                  </a:moveTo>
                  <a:cubicBezTo>
                    <a:pt x="1" y="10"/>
                    <a:pt x="1" y="10"/>
                    <a:pt x="1" y="10"/>
                  </a:cubicBezTo>
                  <a:cubicBezTo>
                    <a:pt x="11" y="0"/>
                    <a:pt x="23" y="1"/>
                    <a:pt x="31" y="9"/>
                  </a:cubicBezTo>
                  <a:cubicBezTo>
                    <a:pt x="37" y="15"/>
                    <a:pt x="37" y="21"/>
                    <a:pt x="37" y="24"/>
                  </a:cubicBezTo>
                  <a:cubicBezTo>
                    <a:pt x="40" y="24"/>
                    <a:pt x="46" y="24"/>
                    <a:pt x="52" y="30"/>
                  </a:cubicBezTo>
                  <a:cubicBezTo>
                    <a:pt x="60" y="38"/>
                    <a:pt x="61" y="50"/>
                    <a:pt x="51" y="60"/>
                  </a:cubicBezTo>
                  <a:cubicBezTo>
                    <a:pt x="18" y="93"/>
                    <a:pt x="18" y="93"/>
                    <a:pt x="18" y="93"/>
                  </a:cubicBezTo>
                  <a:cubicBezTo>
                    <a:pt x="8" y="83"/>
                    <a:pt x="8" y="83"/>
                    <a:pt x="8" y="83"/>
                  </a:cubicBezTo>
                  <a:cubicBezTo>
                    <a:pt x="41" y="50"/>
                    <a:pt x="41" y="50"/>
                    <a:pt x="41" y="50"/>
                  </a:cubicBezTo>
                  <a:cubicBezTo>
                    <a:pt x="45" y="46"/>
                    <a:pt x="44" y="42"/>
                    <a:pt x="42" y="39"/>
                  </a:cubicBezTo>
                  <a:cubicBezTo>
                    <a:pt x="39" y="37"/>
                    <a:pt x="35" y="36"/>
                    <a:pt x="31" y="40"/>
                  </a:cubicBezTo>
                  <a:cubicBezTo>
                    <a:pt x="0" y="70"/>
                    <a:pt x="0" y="70"/>
                    <a:pt x="0" y="70"/>
                  </a:cubicBezTo>
                  <a:cubicBezTo>
                    <a:pt x="0" y="50"/>
                    <a:pt x="0" y="50"/>
                    <a:pt x="0" y="50"/>
                  </a:cubicBezTo>
                  <a:cubicBezTo>
                    <a:pt x="21" y="30"/>
                    <a:pt x="21" y="30"/>
                    <a:pt x="21" y="30"/>
                  </a:cubicBezTo>
                  <a:cubicBezTo>
                    <a:pt x="25" y="26"/>
                    <a:pt x="24" y="22"/>
                    <a:pt x="22" y="19"/>
                  </a:cubicBezTo>
                  <a:cubicBezTo>
                    <a:pt x="19" y="17"/>
                    <a:pt x="15" y="16"/>
                    <a:pt x="11" y="20"/>
                  </a:cubicBezTo>
                  <a:cubicBezTo>
                    <a:pt x="0" y="30"/>
                    <a:pt x="0" y="30"/>
                    <a:pt x="0" y="30"/>
                  </a:cubicBezTo>
                  <a:lnTo>
                    <a:pt x="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 name="Freeform 126"/>
            <p:cNvSpPr>
              <a:spLocks/>
            </p:cNvSpPr>
            <p:nvPr/>
          </p:nvSpPr>
          <p:spPr bwMode="auto">
            <a:xfrm>
              <a:off x="7686782" y="4354553"/>
              <a:ext cx="100332" cy="147747"/>
            </a:xfrm>
            <a:custGeom>
              <a:avLst/>
              <a:gdLst>
                <a:gd name="T0" fmla="*/ 60 w 60"/>
                <a:gd name="T1" fmla="*/ 11 h 93"/>
                <a:gd name="T2" fmla="*/ 60 w 60"/>
                <a:gd name="T3" fmla="*/ 10 h 93"/>
                <a:gd name="T4" fmla="*/ 30 w 60"/>
                <a:gd name="T5" fmla="*/ 9 h 93"/>
                <a:gd name="T6" fmla="*/ 24 w 60"/>
                <a:gd name="T7" fmla="*/ 24 h 93"/>
                <a:gd name="T8" fmla="*/ 9 w 60"/>
                <a:gd name="T9" fmla="*/ 30 h 93"/>
                <a:gd name="T10" fmla="*/ 10 w 60"/>
                <a:gd name="T11" fmla="*/ 60 h 93"/>
                <a:gd name="T12" fmla="*/ 43 w 60"/>
                <a:gd name="T13" fmla="*/ 93 h 93"/>
                <a:gd name="T14" fmla="*/ 53 w 60"/>
                <a:gd name="T15" fmla="*/ 83 h 93"/>
                <a:gd name="T16" fmla="*/ 20 w 60"/>
                <a:gd name="T17" fmla="*/ 50 h 93"/>
                <a:gd name="T18" fmla="*/ 19 w 60"/>
                <a:gd name="T19" fmla="*/ 39 h 93"/>
                <a:gd name="T20" fmla="*/ 30 w 60"/>
                <a:gd name="T21" fmla="*/ 40 h 93"/>
                <a:gd name="T22" fmla="*/ 60 w 60"/>
                <a:gd name="T23" fmla="*/ 70 h 93"/>
                <a:gd name="T24" fmla="*/ 60 w 60"/>
                <a:gd name="T25" fmla="*/ 50 h 93"/>
                <a:gd name="T26" fmla="*/ 40 w 60"/>
                <a:gd name="T27" fmla="*/ 30 h 93"/>
                <a:gd name="T28" fmla="*/ 39 w 60"/>
                <a:gd name="T29" fmla="*/ 19 h 93"/>
                <a:gd name="T30" fmla="*/ 50 w 60"/>
                <a:gd name="T31" fmla="*/ 20 h 93"/>
                <a:gd name="T32" fmla="*/ 60 w 60"/>
                <a:gd name="T33" fmla="*/ 30 h 93"/>
                <a:gd name="T34" fmla="*/ 60 w 60"/>
                <a:gd name="T35" fmla="*/ 1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93">
                  <a:moveTo>
                    <a:pt x="60" y="11"/>
                  </a:moveTo>
                  <a:cubicBezTo>
                    <a:pt x="60" y="10"/>
                    <a:pt x="60" y="10"/>
                    <a:pt x="60" y="10"/>
                  </a:cubicBezTo>
                  <a:cubicBezTo>
                    <a:pt x="50" y="0"/>
                    <a:pt x="37" y="1"/>
                    <a:pt x="30" y="9"/>
                  </a:cubicBezTo>
                  <a:cubicBezTo>
                    <a:pt x="24" y="15"/>
                    <a:pt x="23" y="21"/>
                    <a:pt x="24" y="24"/>
                  </a:cubicBezTo>
                  <a:cubicBezTo>
                    <a:pt x="21" y="24"/>
                    <a:pt x="15" y="24"/>
                    <a:pt x="9" y="30"/>
                  </a:cubicBezTo>
                  <a:cubicBezTo>
                    <a:pt x="1" y="38"/>
                    <a:pt x="0" y="50"/>
                    <a:pt x="10" y="60"/>
                  </a:cubicBezTo>
                  <a:cubicBezTo>
                    <a:pt x="43" y="93"/>
                    <a:pt x="43" y="93"/>
                    <a:pt x="43" y="93"/>
                  </a:cubicBezTo>
                  <a:cubicBezTo>
                    <a:pt x="53" y="83"/>
                    <a:pt x="53" y="83"/>
                    <a:pt x="53" y="83"/>
                  </a:cubicBezTo>
                  <a:cubicBezTo>
                    <a:pt x="20" y="50"/>
                    <a:pt x="20" y="50"/>
                    <a:pt x="20" y="50"/>
                  </a:cubicBezTo>
                  <a:cubicBezTo>
                    <a:pt x="16" y="46"/>
                    <a:pt x="17" y="42"/>
                    <a:pt x="19" y="39"/>
                  </a:cubicBezTo>
                  <a:cubicBezTo>
                    <a:pt x="22" y="37"/>
                    <a:pt x="26" y="36"/>
                    <a:pt x="30" y="40"/>
                  </a:cubicBezTo>
                  <a:cubicBezTo>
                    <a:pt x="60" y="70"/>
                    <a:pt x="60" y="70"/>
                    <a:pt x="60" y="70"/>
                  </a:cubicBezTo>
                  <a:cubicBezTo>
                    <a:pt x="60" y="50"/>
                    <a:pt x="60" y="50"/>
                    <a:pt x="60" y="50"/>
                  </a:cubicBezTo>
                  <a:cubicBezTo>
                    <a:pt x="40" y="30"/>
                    <a:pt x="40" y="30"/>
                    <a:pt x="40" y="30"/>
                  </a:cubicBezTo>
                  <a:cubicBezTo>
                    <a:pt x="36" y="26"/>
                    <a:pt x="37" y="22"/>
                    <a:pt x="39" y="19"/>
                  </a:cubicBezTo>
                  <a:cubicBezTo>
                    <a:pt x="42" y="17"/>
                    <a:pt x="46" y="16"/>
                    <a:pt x="50" y="20"/>
                  </a:cubicBezTo>
                  <a:cubicBezTo>
                    <a:pt x="60" y="30"/>
                    <a:pt x="60" y="30"/>
                    <a:pt x="60" y="30"/>
                  </a:cubicBezTo>
                  <a:lnTo>
                    <a:pt x="60" y="11"/>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28" name="Freeform 127"/>
            <p:cNvSpPr>
              <a:spLocks/>
            </p:cNvSpPr>
            <p:nvPr/>
          </p:nvSpPr>
          <p:spPr bwMode="auto">
            <a:xfrm>
              <a:off x="8141337" y="4415076"/>
              <a:ext cx="103629" cy="66531"/>
            </a:xfrm>
            <a:custGeom>
              <a:avLst/>
              <a:gdLst>
                <a:gd name="T0" fmla="*/ 50 w 62"/>
                <a:gd name="T1" fmla="*/ 33 h 42"/>
                <a:gd name="T2" fmla="*/ 40 w 62"/>
                <a:gd name="T3" fmla="*/ 40 h 42"/>
                <a:gd name="T4" fmla="*/ 31 w 62"/>
                <a:gd name="T5" fmla="*/ 13 h 42"/>
                <a:gd name="T6" fmla="*/ 30 w 62"/>
                <a:gd name="T7" fmla="*/ 13 h 42"/>
                <a:gd name="T8" fmla="*/ 24 w 62"/>
                <a:gd name="T9" fmla="*/ 33 h 42"/>
                <a:gd name="T10" fmla="*/ 14 w 62"/>
                <a:gd name="T11" fmla="*/ 40 h 42"/>
                <a:gd name="T12" fmla="*/ 0 w 62"/>
                <a:gd name="T13" fmla="*/ 0 h 42"/>
                <a:gd name="T14" fmla="*/ 10 w 62"/>
                <a:gd name="T15" fmla="*/ 0 h 42"/>
                <a:gd name="T16" fmla="*/ 18 w 62"/>
                <a:gd name="T17" fmla="*/ 27 h 42"/>
                <a:gd name="T18" fmla="*/ 18 w 62"/>
                <a:gd name="T19" fmla="*/ 27 h 42"/>
                <a:gd name="T20" fmla="*/ 27 w 62"/>
                <a:gd name="T21" fmla="*/ 0 h 42"/>
                <a:gd name="T22" fmla="*/ 35 w 62"/>
                <a:gd name="T23" fmla="*/ 0 h 42"/>
                <a:gd name="T24" fmla="*/ 44 w 62"/>
                <a:gd name="T25" fmla="*/ 27 h 42"/>
                <a:gd name="T26" fmla="*/ 44 w 62"/>
                <a:gd name="T27" fmla="*/ 27 h 42"/>
                <a:gd name="T28" fmla="*/ 52 w 62"/>
                <a:gd name="T29" fmla="*/ 0 h 42"/>
                <a:gd name="T30" fmla="*/ 62 w 62"/>
                <a:gd name="T31" fmla="*/ 0 h 42"/>
                <a:gd name="T32" fmla="*/ 50 w 62"/>
                <a:gd name="T33" fmla="*/ 3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 h="42">
                  <a:moveTo>
                    <a:pt x="50" y="33"/>
                  </a:moveTo>
                  <a:cubicBezTo>
                    <a:pt x="47" y="42"/>
                    <a:pt x="40" y="40"/>
                    <a:pt x="40" y="40"/>
                  </a:cubicBezTo>
                  <a:cubicBezTo>
                    <a:pt x="31" y="13"/>
                    <a:pt x="31" y="13"/>
                    <a:pt x="31" y="13"/>
                  </a:cubicBezTo>
                  <a:cubicBezTo>
                    <a:pt x="30" y="13"/>
                    <a:pt x="30" y="13"/>
                    <a:pt x="30" y="13"/>
                  </a:cubicBezTo>
                  <a:cubicBezTo>
                    <a:pt x="30" y="13"/>
                    <a:pt x="26" y="26"/>
                    <a:pt x="24" y="33"/>
                  </a:cubicBezTo>
                  <a:cubicBezTo>
                    <a:pt x="21" y="42"/>
                    <a:pt x="14" y="40"/>
                    <a:pt x="14" y="40"/>
                  </a:cubicBezTo>
                  <a:cubicBezTo>
                    <a:pt x="0" y="0"/>
                    <a:pt x="0" y="0"/>
                    <a:pt x="0" y="0"/>
                  </a:cubicBezTo>
                  <a:cubicBezTo>
                    <a:pt x="10" y="0"/>
                    <a:pt x="10" y="0"/>
                    <a:pt x="10" y="0"/>
                  </a:cubicBezTo>
                  <a:cubicBezTo>
                    <a:pt x="18" y="27"/>
                    <a:pt x="18" y="27"/>
                    <a:pt x="18" y="27"/>
                  </a:cubicBezTo>
                  <a:cubicBezTo>
                    <a:pt x="18" y="27"/>
                    <a:pt x="18" y="27"/>
                    <a:pt x="18" y="27"/>
                  </a:cubicBezTo>
                  <a:cubicBezTo>
                    <a:pt x="27" y="0"/>
                    <a:pt x="27" y="0"/>
                    <a:pt x="27" y="0"/>
                  </a:cubicBezTo>
                  <a:cubicBezTo>
                    <a:pt x="35" y="0"/>
                    <a:pt x="35" y="0"/>
                    <a:pt x="35" y="0"/>
                  </a:cubicBezTo>
                  <a:cubicBezTo>
                    <a:pt x="44" y="27"/>
                    <a:pt x="44" y="27"/>
                    <a:pt x="44" y="27"/>
                  </a:cubicBezTo>
                  <a:cubicBezTo>
                    <a:pt x="44" y="27"/>
                    <a:pt x="44" y="27"/>
                    <a:pt x="44" y="27"/>
                  </a:cubicBezTo>
                  <a:cubicBezTo>
                    <a:pt x="52" y="0"/>
                    <a:pt x="52" y="0"/>
                    <a:pt x="52" y="0"/>
                  </a:cubicBezTo>
                  <a:cubicBezTo>
                    <a:pt x="62" y="0"/>
                    <a:pt x="62" y="0"/>
                    <a:pt x="62" y="0"/>
                  </a:cubicBezTo>
                  <a:cubicBezTo>
                    <a:pt x="62" y="0"/>
                    <a:pt x="53" y="26"/>
                    <a:pt x="50" y="33"/>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29" name="Freeform 128"/>
            <p:cNvSpPr>
              <a:spLocks noEditPoints="1"/>
            </p:cNvSpPr>
            <p:nvPr/>
          </p:nvSpPr>
          <p:spPr bwMode="auto">
            <a:xfrm>
              <a:off x="8246615" y="4413518"/>
              <a:ext cx="58645" cy="64973"/>
            </a:xfrm>
            <a:custGeom>
              <a:avLst/>
              <a:gdLst>
                <a:gd name="T0" fmla="*/ 27 w 35"/>
                <a:gd name="T1" fmla="*/ 41 h 41"/>
                <a:gd name="T2" fmla="*/ 25 w 35"/>
                <a:gd name="T3" fmla="*/ 37 h 41"/>
                <a:gd name="T4" fmla="*/ 13 w 35"/>
                <a:gd name="T5" fmla="*/ 41 h 41"/>
                <a:gd name="T6" fmla="*/ 0 w 35"/>
                <a:gd name="T7" fmla="*/ 29 h 41"/>
                <a:gd name="T8" fmla="*/ 17 w 35"/>
                <a:gd name="T9" fmla="*/ 16 h 41"/>
                <a:gd name="T10" fmla="*/ 24 w 35"/>
                <a:gd name="T11" fmla="*/ 15 h 41"/>
                <a:gd name="T12" fmla="*/ 24 w 35"/>
                <a:gd name="T13" fmla="*/ 14 h 41"/>
                <a:gd name="T14" fmla="*/ 16 w 35"/>
                <a:gd name="T15" fmla="*/ 8 h 41"/>
                <a:gd name="T16" fmla="*/ 6 w 35"/>
                <a:gd name="T17" fmla="*/ 11 h 41"/>
                <a:gd name="T18" fmla="*/ 3 w 35"/>
                <a:gd name="T19" fmla="*/ 4 h 41"/>
                <a:gd name="T20" fmla="*/ 18 w 35"/>
                <a:gd name="T21" fmla="*/ 0 h 41"/>
                <a:gd name="T22" fmla="*/ 34 w 35"/>
                <a:gd name="T23" fmla="*/ 14 h 41"/>
                <a:gd name="T24" fmla="*/ 34 w 35"/>
                <a:gd name="T25" fmla="*/ 30 h 41"/>
                <a:gd name="T26" fmla="*/ 35 w 35"/>
                <a:gd name="T27" fmla="*/ 41 h 41"/>
                <a:gd name="T28" fmla="*/ 27 w 35"/>
                <a:gd name="T29" fmla="*/ 41 h 41"/>
                <a:gd name="T30" fmla="*/ 24 w 35"/>
                <a:gd name="T31" fmla="*/ 22 h 41"/>
                <a:gd name="T32" fmla="*/ 18 w 35"/>
                <a:gd name="T33" fmla="*/ 22 h 41"/>
                <a:gd name="T34" fmla="*/ 10 w 35"/>
                <a:gd name="T35" fmla="*/ 28 h 41"/>
                <a:gd name="T36" fmla="*/ 17 w 35"/>
                <a:gd name="T37" fmla="*/ 33 h 41"/>
                <a:gd name="T38" fmla="*/ 24 w 35"/>
                <a:gd name="T39" fmla="*/ 31 h 41"/>
                <a:gd name="T40" fmla="*/ 24 w 35"/>
                <a:gd name="T41" fmla="*/ 2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 h="41">
                  <a:moveTo>
                    <a:pt x="27" y="41"/>
                  </a:moveTo>
                  <a:cubicBezTo>
                    <a:pt x="25" y="37"/>
                    <a:pt x="25" y="37"/>
                    <a:pt x="25" y="37"/>
                  </a:cubicBezTo>
                  <a:cubicBezTo>
                    <a:pt x="22" y="39"/>
                    <a:pt x="18" y="41"/>
                    <a:pt x="13" y="41"/>
                  </a:cubicBezTo>
                  <a:cubicBezTo>
                    <a:pt x="6" y="41"/>
                    <a:pt x="0" y="36"/>
                    <a:pt x="0" y="29"/>
                  </a:cubicBezTo>
                  <a:cubicBezTo>
                    <a:pt x="0" y="20"/>
                    <a:pt x="7" y="16"/>
                    <a:pt x="17" y="16"/>
                  </a:cubicBezTo>
                  <a:cubicBezTo>
                    <a:pt x="24" y="15"/>
                    <a:pt x="24" y="15"/>
                    <a:pt x="24" y="15"/>
                  </a:cubicBezTo>
                  <a:cubicBezTo>
                    <a:pt x="24" y="15"/>
                    <a:pt x="24" y="15"/>
                    <a:pt x="24" y="14"/>
                  </a:cubicBezTo>
                  <a:cubicBezTo>
                    <a:pt x="24" y="10"/>
                    <a:pt x="21" y="8"/>
                    <a:pt x="16" y="8"/>
                  </a:cubicBezTo>
                  <a:cubicBezTo>
                    <a:pt x="12" y="8"/>
                    <a:pt x="9" y="9"/>
                    <a:pt x="6" y="11"/>
                  </a:cubicBezTo>
                  <a:cubicBezTo>
                    <a:pt x="3" y="4"/>
                    <a:pt x="3" y="4"/>
                    <a:pt x="3" y="4"/>
                  </a:cubicBezTo>
                  <a:cubicBezTo>
                    <a:pt x="8" y="1"/>
                    <a:pt x="13" y="0"/>
                    <a:pt x="18" y="0"/>
                  </a:cubicBezTo>
                  <a:cubicBezTo>
                    <a:pt x="28" y="0"/>
                    <a:pt x="34" y="4"/>
                    <a:pt x="34" y="14"/>
                  </a:cubicBezTo>
                  <a:cubicBezTo>
                    <a:pt x="34" y="30"/>
                    <a:pt x="34" y="30"/>
                    <a:pt x="34" y="30"/>
                  </a:cubicBezTo>
                  <a:cubicBezTo>
                    <a:pt x="34" y="36"/>
                    <a:pt x="34" y="39"/>
                    <a:pt x="35" y="41"/>
                  </a:cubicBezTo>
                  <a:lnTo>
                    <a:pt x="27" y="41"/>
                  </a:lnTo>
                  <a:close/>
                  <a:moveTo>
                    <a:pt x="24" y="22"/>
                  </a:moveTo>
                  <a:cubicBezTo>
                    <a:pt x="18" y="22"/>
                    <a:pt x="18" y="22"/>
                    <a:pt x="18" y="22"/>
                  </a:cubicBezTo>
                  <a:cubicBezTo>
                    <a:pt x="13" y="23"/>
                    <a:pt x="10" y="24"/>
                    <a:pt x="10" y="28"/>
                  </a:cubicBezTo>
                  <a:cubicBezTo>
                    <a:pt x="10" y="31"/>
                    <a:pt x="13" y="33"/>
                    <a:pt x="17" y="33"/>
                  </a:cubicBezTo>
                  <a:cubicBezTo>
                    <a:pt x="20" y="33"/>
                    <a:pt x="23" y="32"/>
                    <a:pt x="24" y="31"/>
                  </a:cubicBezTo>
                  <a:lnTo>
                    <a:pt x="24" y="22"/>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30" name="Freeform 129"/>
            <p:cNvSpPr>
              <a:spLocks noEditPoints="1"/>
            </p:cNvSpPr>
            <p:nvPr/>
          </p:nvSpPr>
          <p:spPr bwMode="auto">
            <a:xfrm>
              <a:off x="8363669" y="4383257"/>
              <a:ext cx="63591" cy="95234"/>
            </a:xfrm>
            <a:custGeom>
              <a:avLst/>
              <a:gdLst>
                <a:gd name="T0" fmla="*/ 22 w 38"/>
                <a:gd name="T1" fmla="*/ 60 h 60"/>
                <a:gd name="T2" fmla="*/ 0 w 38"/>
                <a:gd name="T3" fmla="*/ 40 h 60"/>
                <a:gd name="T4" fmla="*/ 22 w 38"/>
                <a:gd name="T5" fmla="*/ 19 h 60"/>
                <a:gd name="T6" fmla="*/ 27 w 38"/>
                <a:gd name="T7" fmla="*/ 19 h 60"/>
                <a:gd name="T8" fmla="*/ 28 w 38"/>
                <a:gd name="T9" fmla="*/ 0 h 60"/>
                <a:gd name="T10" fmla="*/ 38 w 38"/>
                <a:gd name="T11" fmla="*/ 0 h 60"/>
                <a:gd name="T12" fmla="*/ 37 w 38"/>
                <a:gd name="T13" fmla="*/ 57 h 60"/>
                <a:gd name="T14" fmla="*/ 22 w 38"/>
                <a:gd name="T15" fmla="*/ 60 h 60"/>
                <a:gd name="T16" fmla="*/ 27 w 38"/>
                <a:gd name="T17" fmla="*/ 27 h 60"/>
                <a:gd name="T18" fmla="*/ 23 w 38"/>
                <a:gd name="T19" fmla="*/ 27 h 60"/>
                <a:gd name="T20" fmla="*/ 10 w 38"/>
                <a:gd name="T21" fmla="*/ 39 h 60"/>
                <a:gd name="T22" fmla="*/ 23 w 38"/>
                <a:gd name="T23" fmla="*/ 52 h 60"/>
                <a:gd name="T24" fmla="*/ 27 w 38"/>
                <a:gd name="T25" fmla="*/ 51 h 60"/>
                <a:gd name="T26" fmla="*/ 27 w 38"/>
                <a:gd name="T27" fmla="*/ 2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60">
                  <a:moveTo>
                    <a:pt x="22" y="60"/>
                  </a:moveTo>
                  <a:cubicBezTo>
                    <a:pt x="10" y="60"/>
                    <a:pt x="0" y="53"/>
                    <a:pt x="0" y="40"/>
                  </a:cubicBezTo>
                  <a:cubicBezTo>
                    <a:pt x="0" y="28"/>
                    <a:pt x="9" y="19"/>
                    <a:pt x="22" y="19"/>
                  </a:cubicBezTo>
                  <a:cubicBezTo>
                    <a:pt x="24" y="19"/>
                    <a:pt x="26" y="19"/>
                    <a:pt x="27" y="19"/>
                  </a:cubicBezTo>
                  <a:cubicBezTo>
                    <a:pt x="28" y="0"/>
                    <a:pt x="28" y="0"/>
                    <a:pt x="28" y="0"/>
                  </a:cubicBezTo>
                  <a:cubicBezTo>
                    <a:pt x="38" y="0"/>
                    <a:pt x="38" y="0"/>
                    <a:pt x="38" y="0"/>
                  </a:cubicBezTo>
                  <a:cubicBezTo>
                    <a:pt x="37" y="57"/>
                    <a:pt x="37" y="57"/>
                    <a:pt x="37" y="57"/>
                  </a:cubicBezTo>
                  <a:cubicBezTo>
                    <a:pt x="34" y="59"/>
                    <a:pt x="29" y="60"/>
                    <a:pt x="22" y="60"/>
                  </a:cubicBezTo>
                  <a:close/>
                  <a:moveTo>
                    <a:pt x="27" y="27"/>
                  </a:moveTo>
                  <a:cubicBezTo>
                    <a:pt x="26" y="27"/>
                    <a:pt x="25" y="27"/>
                    <a:pt x="23" y="27"/>
                  </a:cubicBezTo>
                  <a:cubicBezTo>
                    <a:pt x="16" y="27"/>
                    <a:pt x="10" y="32"/>
                    <a:pt x="10" y="39"/>
                  </a:cubicBezTo>
                  <a:cubicBezTo>
                    <a:pt x="10" y="47"/>
                    <a:pt x="15" y="52"/>
                    <a:pt x="23" y="52"/>
                  </a:cubicBezTo>
                  <a:cubicBezTo>
                    <a:pt x="24" y="52"/>
                    <a:pt x="26" y="52"/>
                    <a:pt x="27" y="51"/>
                  </a:cubicBezTo>
                  <a:lnTo>
                    <a:pt x="27" y="2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31" name="Freeform 130"/>
            <p:cNvSpPr>
              <a:spLocks/>
            </p:cNvSpPr>
            <p:nvPr/>
          </p:nvSpPr>
          <p:spPr bwMode="auto">
            <a:xfrm>
              <a:off x="8114724" y="4383257"/>
              <a:ext cx="16722" cy="95234"/>
            </a:xfrm>
            <a:custGeom>
              <a:avLst/>
              <a:gdLst>
                <a:gd name="T0" fmla="*/ 10 w 10"/>
                <a:gd name="T1" fmla="*/ 53 h 60"/>
                <a:gd name="T2" fmla="*/ 0 w 10"/>
                <a:gd name="T3" fmla="*/ 60 h 60"/>
                <a:gd name="T4" fmla="*/ 0 w 10"/>
                <a:gd name="T5" fmla="*/ 0 h 60"/>
                <a:gd name="T6" fmla="*/ 10 w 10"/>
                <a:gd name="T7" fmla="*/ 0 h 60"/>
                <a:gd name="T8" fmla="*/ 10 w 10"/>
                <a:gd name="T9" fmla="*/ 53 h 60"/>
              </a:gdLst>
              <a:ahLst/>
              <a:cxnLst>
                <a:cxn ang="0">
                  <a:pos x="T0" y="T1"/>
                </a:cxn>
                <a:cxn ang="0">
                  <a:pos x="T2" y="T3"/>
                </a:cxn>
                <a:cxn ang="0">
                  <a:pos x="T4" y="T5"/>
                </a:cxn>
                <a:cxn ang="0">
                  <a:pos x="T6" y="T7"/>
                </a:cxn>
                <a:cxn ang="0">
                  <a:pos x="T8" y="T9"/>
                </a:cxn>
              </a:cxnLst>
              <a:rect l="0" t="0" r="r" b="b"/>
              <a:pathLst>
                <a:path w="10" h="60">
                  <a:moveTo>
                    <a:pt x="10" y="53"/>
                  </a:moveTo>
                  <a:cubicBezTo>
                    <a:pt x="10" y="60"/>
                    <a:pt x="0" y="60"/>
                    <a:pt x="0" y="60"/>
                  </a:cubicBezTo>
                  <a:cubicBezTo>
                    <a:pt x="0" y="0"/>
                    <a:pt x="0" y="0"/>
                    <a:pt x="0" y="0"/>
                  </a:cubicBezTo>
                  <a:cubicBezTo>
                    <a:pt x="10" y="0"/>
                    <a:pt x="10" y="0"/>
                    <a:pt x="10" y="0"/>
                  </a:cubicBezTo>
                  <a:cubicBezTo>
                    <a:pt x="10" y="0"/>
                    <a:pt x="10" y="45"/>
                    <a:pt x="10" y="53"/>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55" name="Freeform 154"/>
            <p:cNvSpPr>
              <a:spLocks/>
            </p:cNvSpPr>
            <p:nvPr/>
          </p:nvSpPr>
          <p:spPr bwMode="auto">
            <a:xfrm>
              <a:off x="8081279" y="4383257"/>
              <a:ext cx="16722" cy="95234"/>
            </a:xfrm>
            <a:custGeom>
              <a:avLst/>
              <a:gdLst>
                <a:gd name="T0" fmla="*/ 10 w 10"/>
                <a:gd name="T1" fmla="*/ 53 h 60"/>
                <a:gd name="T2" fmla="*/ 0 w 10"/>
                <a:gd name="T3" fmla="*/ 60 h 60"/>
                <a:gd name="T4" fmla="*/ 0 w 10"/>
                <a:gd name="T5" fmla="*/ 0 h 60"/>
                <a:gd name="T6" fmla="*/ 10 w 10"/>
                <a:gd name="T7" fmla="*/ 0 h 60"/>
                <a:gd name="T8" fmla="*/ 10 w 10"/>
                <a:gd name="T9" fmla="*/ 53 h 60"/>
              </a:gdLst>
              <a:ahLst/>
              <a:cxnLst>
                <a:cxn ang="0">
                  <a:pos x="T0" y="T1"/>
                </a:cxn>
                <a:cxn ang="0">
                  <a:pos x="T2" y="T3"/>
                </a:cxn>
                <a:cxn ang="0">
                  <a:pos x="T4" y="T5"/>
                </a:cxn>
                <a:cxn ang="0">
                  <a:pos x="T6" y="T7"/>
                </a:cxn>
                <a:cxn ang="0">
                  <a:pos x="T8" y="T9"/>
                </a:cxn>
              </a:cxnLst>
              <a:rect l="0" t="0" r="r" b="b"/>
              <a:pathLst>
                <a:path w="10" h="60">
                  <a:moveTo>
                    <a:pt x="10" y="53"/>
                  </a:moveTo>
                  <a:cubicBezTo>
                    <a:pt x="10" y="60"/>
                    <a:pt x="0" y="60"/>
                    <a:pt x="0" y="60"/>
                  </a:cubicBezTo>
                  <a:cubicBezTo>
                    <a:pt x="0" y="0"/>
                    <a:pt x="0" y="0"/>
                    <a:pt x="0" y="0"/>
                  </a:cubicBezTo>
                  <a:cubicBezTo>
                    <a:pt x="10" y="0"/>
                    <a:pt x="10" y="0"/>
                    <a:pt x="10" y="0"/>
                  </a:cubicBezTo>
                  <a:cubicBezTo>
                    <a:pt x="10" y="0"/>
                    <a:pt x="10" y="45"/>
                    <a:pt x="10" y="53"/>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56" name="Freeform 155"/>
            <p:cNvSpPr>
              <a:spLocks/>
            </p:cNvSpPr>
            <p:nvPr/>
          </p:nvSpPr>
          <p:spPr bwMode="auto">
            <a:xfrm>
              <a:off x="8318450" y="4413518"/>
              <a:ext cx="43571" cy="64973"/>
            </a:xfrm>
            <a:custGeom>
              <a:avLst/>
              <a:gdLst>
                <a:gd name="T0" fmla="*/ 22 w 26"/>
                <a:gd name="T1" fmla="*/ 10 h 41"/>
                <a:gd name="T2" fmla="*/ 18 w 26"/>
                <a:gd name="T3" fmla="*/ 9 h 41"/>
                <a:gd name="T4" fmla="*/ 10 w 26"/>
                <a:gd name="T5" fmla="*/ 12 h 41"/>
                <a:gd name="T6" fmla="*/ 10 w 26"/>
                <a:gd name="T7" fmla="*/ 34 h 41"/>
                <a:gd name="T8" fmla="*/ 0 w 26"/>
                <a:gd name="T9" fmla="*/ 41 h 41"/>
                <a:gd name="T10" fmla="*/ 0 w 26"/>
                <a:gd name="T11" fmla="*/ 1 h 41"/>
                <a:gd name="T12" fmla="*/ 9 w 26"/>
                <a:gd name="T13" fmla="*/ 1 h 41"/>
                <a:gd name="T14" fmla="*/ 10 w 26"/>
                <a:gd name="T15" fmla="*/ 5 h 41"/>
                <a:gd name="T16" fmla="*/ 21 w 26"/>
                <a:gd name="T17" fmla="*/ 0 h 41"/>
                <a:gd name="T18" fmla="*/ 26 w 26"/>
                <a:gd name="T19" fmla="*/ 2 h 41"/>
                <a:gd name="T20" fmla="*/ 22 w 26"/>
                <a:gd name="T21" fmla="*/ 1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41">
                  <a:moveTo>
                    <a:pt x="22" y="10"/>
                  </a:moveTo>
                  <a:cubicBezTo>
                    <a:pt x="21" y="9"/>
                    <a:pt x="19" y="9"/>
                    <a:pt x="18" y="9"/>
                  </a:cubicBezTo>
                  <a:cubicBezTo>
                    <a:pt x="15" y="9"/>
                    <a:pt x="13" y="10"/>
                    <a:pt x="10" y="12"/>
                  </a:cubicBezTo>
                  <a:cubicBezTo>
                    <a:pt x="10" y="12"/>
                    <a:pt x="10" y="26"/>
                    <a:pt x="10" y="34"/>
                  </a:cubicBezTo>
                  <a:cubicBezTo>
                    <a:pt x="10" y="41"/>
                    <a:pt x="0" y="41"/>
                    <a:pt x="0" y="41"/>
                  </a:cubicBezTo>
                  <a:cubicBezTo>
                    <a:pt x="0" y="1"/>
                    <a:pt x="0" y="1"/>
                    <a:pt x="0" y="1"/>
                  </a:cubicBezTo>
                  <a:cubicBezTo>
                    <a:pt x="9" y="1"/>
                    <a:pt x="9" y="1"/>
                    <a:pt x="9" y="1"/>
                  </a:cubicBezTo>
                  <a:cubicBezTo>
                    <a:pt x="10" y="5"/>
                    <a:pt x="10" y="5"/>
                    <a:pt x="10" y="5"/>
                  </a:cubicBezTo>
                  <a:cubicBezTo>
                    <a:pt x="14" y="2"/>
                    <a:pt x="17" y="0"/>
                    <a:pt x="21" y="0"/>
                  </a:cubicBezTo>
                  <a:cubicBezTo>
                    <a:pt x="23" y="0"/>
                    <a:pt x="25" y="1"/>
                    <a:pt x="26" y="2"/>
                  </a:cubicBezTo>
                  <a:lnTo>
                    <a:pt x="22" y="1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57" name="Freeform 156"/>
            <p:cNvSpPr>
              <a:spLocks/>
            </p:cNvSpPr>
            <p:nvPr/>
          </p:nvSpPr>
          <p:spPr bwMode="auto">
            <a:xfrm>
              <a:off x="7929133" y="4383257"/>
              <a:ext cx="98684" cy="93677"/>
            </a:xfrm>
            <a:custGeom>
              <a:avLst/>
              <a:gdLst>
                <a:gd name="T0" fmla="*/ 48 w 59"/>
                <a:gd name="T1" fmla="*/ 59 h 59"/>
                <a:gd name="T2" fmla="*/ 48 w 59"/>
                <a:gd name="T3" fmla="*/ 24 h 59"/>
                <a:gd name="T4" fmla="*/ 49 w 59"/>
                <a:gd name="T5" fmla="*/ 18 h 59"/>
                <a:gd name="T6" fmla="*/ 48 w 59"/>
                <a:gd name="T7" fmla="*/ 18 h 59"/>
                <a:gd name="T8" fmla="*/ 45 w 59"/>
                <a:gd name="T9" fmla="*/ 24 h 59"/>
                <a:gd name="T10" fmla="*/ 33 w 59"/>
                <a:gd name="T11" fmla="*/ 42 h 59"/>
                <a:gd name="T12" fmla="*/ 28 w 59"/>
                <a:gd name="T13" fmla="*/ 42 h 59"/>
                <a:gd name="T14" fmla="*/ 14 w 59"/>
                <a:gd name="T15" fmla="*/ 23 h 59"/>
                <a:gd name="T16" fmla="*/ 11 w 59"/>
                <a:gd name="T17" fmla="*/ 18 h 59"/>
                <a:gd name="T18" fmla="*/ 11 w 59"/>
                <a:gd name="T19" fmla="*/ 18 h 59"/>
                <a:gd name="T20" fmla="*/ 11 w 59"/>
                <a:gd name="T21" fmla="*/ 24 h 59"/>
                <a:gd name="T22" fmla="*/ 11 w 59"/>
                <a:gd name="T23" fmla="*/ 59 h 59"/>
                <a:gd name="T24" fmla="*/ 0 w 59"/>
                <a:gd name="T25" fmla="*/ 59 h 59"/>
                <a:gd name="T26" fmla="*/ 0 w 59"/>
                <a:gd name="T27" fmla="*/ 0 h 59"/>
                <a:gd name="T28" fmla="*/ 10 w 59"/>
                <a:gd name="T29" fmla="*/ 0 h 59"/>
                <a:gd name="T30" fmla="*/ 26 w 59"/>
                <a:gd name="T31" fmla="*/ 24 h 59"/>
                <a:gd name="T32" fmla="*/ 30 w 59"/>
                <a:gd name="T33" fmla="*/ 30 h 59"/>
                <a:gd name="T34" fmla="*/ 30 w 59"/>
                <a:gd name="T35" fmla="*/ 30 h 59"/>
                <a:gd name="T36" fmla="*/ 34 w 59"/>
                <a:gd name="T37" fmla="*/ 24 h 59"/>
                <a:gd name="T38" fmla="*/ 49 w 59"/>
                <a:gd name="T39" fmla="*/ 0 h 59"/>
                <a:gd name="T40" fmla="*/ 59 w 59"/>
                <a:gd name="T41" fmla="*/ 0 h 59"/>
                <a:gd name="T42" fmla="*/ 59 w 59"/>
                <a:gd name="T43" fmla="*/ 59 h 59"/>
                <a:gd name="T44" fmla="*/ 48 w 59"/>
                <a:gd name="T4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9" h="59">
                  <a:moveTo>
                    <a:pt x="48" y="59"/>
                  </a:moveTo>
                  <a:cubicBezTo>
                    <a:pt x="48" y="24"/>
                    <a:pt x="48" y="24"/>
                    <a:pt x="48" y="24"/>
                  </a:cubicBezTo>
                  <a:cubicBezTo>
                    <a:pt x="48" y="22"/>
                    <a:pt x="48" y="20"/>
                    <a:pt x="49" y="18"/>
                  </a:cubicBezTo>
                  <a:cubicBezTo>
                    <a:pt x="48" y="18"/>
                    <a:pt x="48" y="18"/>
                    <a:pt x="48" y="18"/>
                  </a:cubicBezTo>
                  <a:cubicBezTo>
                    <a:pt x="48" y="19"/>
                    <a:pt x="46" y="22"/>
                    <a:pt x="45" y="24"/>
                  </a:cubicBezTo>
                  <a:cubicBezTo>
                    <a:pt x="33" y="42"/>
                    <a:pt x="33" y="42"/>
                    <a:pt x="33" y="42"/>
                  </a:cubicBezTo>
                  <a:cubicBezTo>
                    <a:pt x="28" y="42"/>
                    <a:pt x="28" y="42"/>
                    <a:pt x="28" y="42"/>
                  </a:cubicBezTo>
                  <a:cubicBezTo>
                    <a:pt x="14" y="23"/>
                    <a:pt x="14" y="23"/>
                    <a:pt x="14" y="23"/>
                  </a:cubicBezTo>
                  <a:cubicBezTo>
                    <a:pt x="13" y="22"/>
                    <a:pt x="12" y="20"/>
                    <a:pt x="11" y="18"/>
                  </a:cubicBezTo>
                  <a:cubicBezTo>
                    <a:pt x="11" y="18"/>
                    <a:pt x="11" y="18"/>
                    <a:pt x="11" y="18"/>
                  </a:cubicBezTo>
                  <a:cubicBezTo>
                    <a:pt x="11" y="20"/>
                    <a:pt x="11" y="22"/>
                    <a:pt x="11" y="24"/>
                  </a:cubicBezTo>
                  <a:cubicBezTo>
                    <a:pt x="11" y="59"/>
                    <a:pt x="11" y="59"/>
                    <a:pt x="11" y="59"/>
                  </a:cubicBezTo>
                  <a:cubicBezTo>
                    <a:pt x="0" y="59"/>
                    <a:pt x="0" y="59"/>
                    <a:pt x="0" y="59"/>
                  </a:cubicBezTo>
                  <a:cubicBezTo>
                    <a:pt x="0" y="0"/>
                    <a:pt x="0" y="0"/>
                    <a:pt x="0" y="0"/>
                  </a:cubicBezTo>
                  <a:cubicBezTo>
                    <a:pt x="10" y="0"/>
                    <a:pt x="10" y="0"/>
                    <a:pt x="10" y="0"/>
                  </a:cubicBezTo>
                  <a:cubicBezTo>
                    <a:pt x="26" y="24"/>
                    <a:pt x="26" y="24"/>
                    <a:pt x="26" y="24"/>
                  </a:cubicBezTo>
                  <a:cubicBezTo>
                    <a:pt x="28" y="26"/>
                    <a:pt x="29" y="28"/>
                    <a:pt x="30" y="30"/>
                  </a:cubicBezTo>
                  <a:cubicBezTo>
                    <a:pt x="30" y="30"/>
                    <a:pt x="30" y="30"/>
                    <a:pt x="30" y="30"/>
                  </a:cubicBezTo>
                  <a:cubicBezTo>
                    <a:pt x="31" y="28"/>
                    <a:pt x="32" y="26"/>
                    <a:pt x="34" y="24"/>
                  </a:cubicBezTo>
                  <a:cubicBezTo>
                    <a:pt x="49" y="0"/>
                    <a:pt x="49" y="0"/>
                    <a:pt x="49" y="0"/>
                  </a:cubicBezTo>
                  <a:cubicBezTo>
                    <a:pt x="59" y="0"/>
                    <a:pt x="59" y="0"/>
                    <a:pt x="59" y="0"/>
                  </a:cubicBezTo>
                  <a:cubicBezTo>
                    <a:pt x="59" y="59"/>
                    <a:pt x="59" y="59"/>
                    <a:pt x="59" y="59"/>
                  </a:cubicBezTo>
                  <a:lnTo>
                    <a:pt x="48" y="5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58" name="Freeform 157"/>
            <p:cNvSpPr>
              <a:spLocks noEditPoints="1"/>
            </p:cNvSpPr>
            <p:nvPr/>
          </p:nvSpPr>
          <p:spPr bwMode="auto">
            <a:xfrm>
              <a:off x="8044539" y="4386372"/>
              <a:ext cx="21668" cy="92119"/>
            </a:xfrm>
            <a:custGeom>
              <a:avLst/>
              <a:gdLst>
                <a:gd name="T0" fmla="*/ 6 w 13"/>
                <a:gd name="T1" fmla="*/ 12 h 58"/>
                <a:gd name="T2" fmla="*/ 0 w 13"/>
                <a:gd name="T3" fmla="*/ 6 h 58"/>
                <a:gd name="T4" fmla="*/ 6 w 13"/>
                <a:gd name="T5" fmla="*/ 0 h 58"/>
                <a:gd name="T6" fmla="*/ 13 w 13"/>
                <a:gd name="T7" fmla="*/ 6 h 58"/>
                <a:gd name="T8" fmla="*/ 6 w 13"/>
                <a:gd name="T9" fmla="*/ 12 h 58"/>
                <a:gd name="T10" fmla="*/ 1 w 13"/>
                <a:gd name="T11" fmla="*/ 58 h 58"/>
                <a:gd name="T12" fmla="*/ 1 w 13"/>
                <a:gd name="T13" fmla="*/ 18 h 58"/>
                <a:gd name="T14" fmla="*/ 11 w 13"/>
                <a:gd name="T15" fmla="*/ 18 h 58"/>
                <a:gd name="T16" fmla="*/ 11 w 13"/>
                <a:gd name="T17" fmla="*/ 51 h 58"/>
                <a:gd name="T18" fmla="*/ 1 w 13"/>
                <a:gd name="T19"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58">
                  <a:moveTo>
                    <a:pt x="6" y="12"/>
                  </a:moveTo>
                  <a:cubicBezTo>
                    <a:pt x="3" y="12"/>
                    <a:pt x="0" y="9"/>
                    <a:pt x="0" y="6"/>
                  </a:cubicBezTo>
                  <a:cubicBezTo>
                    <a:pt x="0" y="2"/>
                    <a:pt x="3" y="0"/>
                    <a:pt x="6" y="0"/>
                  </a:cubicBezTo>
                  <a:cubicBezTo>
                    <a:pt x="10" y="0"/>
                    <a:pt x="13" y="2"/>
                    <a:pt x="13" y="6"/>
                  </a:cubicBezTo>
                  <a:cubicBezTo>
                    <a:pt x="13" y="9"/>
                    <a:pt x="10" y="12"/>
                    <a:pt x="6" y="12"/>
                  </a:cubicBezTo>
                  <a:close/>
                  <a:moveTo>
                    <a:pt x="1" y="58"/>
                  </a:moveTo>
                  <a:cubicBezTo>
                    <a:pt x="1" y="18"/>
                    <a:pt x="1" y="18"/>
                    <a:pt x="1" y="18"/>
                  </a:cubicBezTo>
                  <a:cubicBezTo>
                    <a:pt x="11" y="18"/>
                    <a:pt x="11" y="18"/>
                    <a:pt x="11" y="18"/>
                  </a:cubicBezTo>
                  <a:cubicBezTo>
                    <a:pt x="11" y="18"/>
                    <a:pt x="11" y="43"/>
                    <a:pt x="11" y="51"/>
                  </a:cubicBezTo>
                  <a:cubicBezTo>
                    <a:pt x="11" y="58"/>
                    <a:pt x="1" y="58"/>
                    <a:pt x="1" y="58"/>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59" name="Freeform 158"/>
            <p:cNvSpPr>
              <a:spLocks/>
            </p:cNvSpPr>
            <p:nvPr/>
          </p:nvSpPr>
          <p:spPr bwMode="auto">
            <a:xfrm>
              <a:off x="8224947" y="4510310"/>
              <a:ext cx="13425" cy="79436"/>
            </a:xfrm>
            <a:custGeom>
              <a:avLst/>
              <a:gdLst>
                <a:gd name="T0" fmla="*/ 8 w 8"/>
                <a:gd name="T1" fmla="*/ 44 h 50"/>
                <a:gd name="T2" fmla="*/ 0 w 8"/>
                <a:gd name="T3" fmla="*/ 50 h 50"/>
                <a:gd name="T4" fmla="*/ 0 w 8"/>
                <a:gd name="T5" fmla="*/ 0 h 50"/>
                <a:gd name="T6" fmla="*/ 8 w 8"/>
                <a:gd name="T7" fmla="*/ 0 h 50"/>
                <a:gd name="T8" fmla="*/ 8 w 8"/>
                <a:gd name="T9" fmla="*/ 44 h 50"/>
              </a:gdLst>
              <a:ahLst/>
              <a:cxnLst>
                <a:cxn ang="0">
                  <a:pos x="T0" y="T1"/>
                </a:cxn>
                <a:cxn ang="0">
                  <a:pos x="T2" y="T3"/>
                </a:cxn>
                <a:cxn ang="0">
                  <a:pos x="T4" y="T5"/>
                </a:cxn>
                <a:cxn ang="0">
                  <a:pos x="T6" y="T7"/>
                </a:cxn>
                <a:cxn ang="0">
                  <a:pos x="T8" y="T9"/>
                </a:cxn>
              </a:cxnLst>
              <a:rect l="0" t="0" r="r" b="b"/>
              <a:pathLst>
                <a:path w="8" h="50">
                  <a:moveTo>
                    <a:pt x="8" y="44"/>
                  </a:moveTo>
                  <a:cubicBezTo>
                    <a:pt x="8" y="50"/>
                    <a:pt x="0" y="50"/>
                    <a:pt x="0" y="50"/>
                  </a:cubicBezTo>
                  <a:cubicBezTo>
                    <a:pt x="0" y="0"/>
                    <a:pt x="0" y="0"/>
                    <a:pt x="0" y="0"/>
                  </a:cubicBezTo>
                  <a:cubicBezTo>
                    <a:pt x="8" y="0"/>
                    <a:pt x="8" y="0"/>
                    <a:pt x="8" y="0"/>
                  </a:cubicBezTo>
                  <a:cubicBezTo>
                    <a:pt x="8" y="0"/>
                    <a:pt x="8" y="37"/>
                    <a:pt x="8"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 name="Freeform 159"/>
            <p:cNvSpPr>
              <a:spLocks noEditPoints="1"/>
            </p:cNvSpPr>
            <p:nvPr/>
          </p:nvSpPr>
          <p:spPr bwMode="auto">
            <a:xfrm>
              <a:off x="8007562" y="4513425"/>
              <a:ext cx="18371" cy="76321"/>
            </a:xfrm>
            <a:custGeom>
              <a:avLst/>
              <a:gdLst>
                <a:gd name="T0" fmla="*/ 5 w 11"/>
                <a:gd name="T1" fmla="*/ 10 h 48"/>
                <a:gd name="T2" fmla="*/ 0 w 11"/>
                <a:gd name="T3" fmla="*/ 5 h 48"/>
                <a:gd name="T4" fmla="*/ 5 w 11"/>
                <a:gd name="T5" fmla="*/ 0 h 48"/>
                <a:gd name="T6" fmla="*/ 11 w 11"/>
                <a:gd name="T7" fmla="*/ 5 h 48"/>
                <a:gd name="T8" fmla="*/ 5 w 11"/>
                <a:gd name="T9" fmla="*/ 10 h 48"/>
                <a:gd name="T10" fmla="*/ 1 w 11"/>
                <a:gd name="T11" fmla="*/ 48 h 48"/>
                <a:gd name="T12" fmla="*/ 1 w 11"/>
                <a:gd name="T13" fmla="*/ 15 h 48"/>
                <a:gd name="T14" fmla="*/ 10 w 11"/>
                <a:gd name="T15" fmla="*/ 15 h 48"/>
                <a:gd name="T16" fmla="*/ 10 w 11"/>
                <a:gd name="T17" fmla="*/ 42 h 48"/>
                <a:gd name="T18" fmla="*/ 1 w 11"/>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48">
                  <a:moveTo>
                    <a:pt x="5" y="10"/>
                  </a:moveTo>
                  <a:cubicBezTo>
                    <a:pt x="3" y="10"/>
                    <a:pt x="0" y="7"/>
                    <a:pt x="0" y="5"/>
                  </a:cubicBezTo>
                  <a:cubicBezTo>
                    <a:pt x="0" y="2"/>
                    <a:pt x="3" y="0"/>
                    <a:pt x="5" y="0"/>
                  </a:cubicBezTo>
                  <a:cubicBezTo>
                    <a:pt x="8" y="0"/>
                    <a:pt x="11" y="2"/>
                    <a:pt x="11" y="5"/>
                  </a:cubicBezTo>
                  <a:cubicBezTo>
                    <a:pt x="11" y="7"/>
                    <a:pt x="8" y="10"/>
                    <a:pt x="5" y="10"/>
                  </a:cubicBezTo>
                  <a:close/>
                  <a:moveTo>
                    <a:pt x="1" y="48"/>
                  </a:moveTo>
                  <a:cubicBezTo>
                    <a:pt x="1" y="15"/>
                    <a:pt x="1" y="15"/>
                    <a:pt x="1" y="15"/>
                  </a:cubicBezTo>
                  <a:cubicBezTo>
                    <a:pt x="10" y="15"/>
                    <a:pt x="10" y="15"/>
                    <a:pt x="10" y="15"/>
                  </a:cubicBezTo>
                  <a:cubicBezTo>
                    <a:pt x="10" y="15"/>
                    <a:pt x="10" y="36"/>
                    <a:pt x="10" y="42"/>
                  </a:cubicBezTo>
                  <a:cubicBezTo>
                    <a:pt x="10" y="48"/>
                    <a:pt x="1" y="48"/>
                    <a:pt x="1"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1" name="Freeform 160"/>
            <p:cNvSpPr>
              <a:spLocks noEditPoints="1"/>
            </p:cNvSpPr>
            <p:nvPr/>
          </p:nvSpPr>
          <p:spPr bwMode="auto">
            <a:xfrm>
              <a:off x="8094469" y="4513425"/>
              <a:ext cx="16722" cy="76321"/>
            </a:xfrm>
            <a:custGeom>
              <a:avLst/>
              <a:gdLst>
                <a:gd name="T0" fmla="*/ 5 w 10"/>
                <a:gd name="T1" fmla="*/ 10 h 48"/>
                <a:gd name="T2" fmla="*/ 0 w 10"/>
                <a:gd name="T3" fmla="*/ 5 h 48"/>
                <a:gd name="T4" fmla="*/ 5 w 10"/>
                <a:gd name="T5" fmla="*/ 0 h 48"/>
                <a:gd name="T6" fmla="*/ 10 w 10"/>
                <a:gd name="T7" fmla="*/ 5 h 48"/>
                <a:gd name="T8" fmla="*/ 5 w 10"/>
                <a:gd name="T9" fmla="*/ 10 h 48"/>
                <a:gd name="T10" fmla="*/ 1 w 10"/>
                <a:gd name="T11" fmla="*/ 48 h 48"/>
                <a:gd name="T12" fmla="*/ 1 w 10"/>
                <a:gd name="T13" fmla="*/ 15 h 48"/>
                <a:gd name="T14" fmla="*/ 9 w 10"/>
                <a:gd name="T15" fmla="*/ 15 h 48"/>
                <a:gd name="T16" fmla="*/ 9 w 10"/>
                <a:gd name="T17" fmla="*/ 42 h 48"/>
                <a:gd name="T18" fmla="*/ 1 w 10"/>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48">
                  <a:moveTo>
                    <a:pt x="5" y="10"/>
                  </a:moveTo>
                  <a:cubicBezTo>
                    <a:pt x="2" y="10"/>
                    <a:pt x="0" y="8"/>
                    <a:pt x="0" y="5"/>
                  </a:cubicBezTo>
                  <a:cubicBezTo>
                    <a:pt x="0" y="2"/>
                    <a:pt x="2" y="0"/>
                    <a:pt x="5" y="0"/>
                  </a:cubicBezTo>
                  <a:cubicBezTo>
                    <a:pt x="8" y="0"/>
                    <a:pt x="10" y="2"/>
                    <a:pt x="10" y="5"/>
                  </a:cubicBezTo>
                  <a:cubicBezTo>
                    <a:pt x="10" y="8"/>
                    <a:pt x="8" y="10"/>
                    <a:pt x="5" y="10"/>
                  </a:cubicBezTo>
                  <a:close/>
                  <a:moveTo>
                    <a:pt x="1" y="48"/>
                  </a:moveTo>
                  <a:cubicBezTo>
                    <a:pt x="1" y="15"/>
                    <a:pt x="1" y="15"/>
                    <a:pt x="1" y="15"/>
                  </a:cubicBezTo>
                  <a:cubicBezTo>
                    <a:pt x="9" y="15"/>
                    <a:pt x="9" y="15"/>
                    <a:pt x="9" y="15"/>
                  </a:cubicBezTo>
                  <a:cubicBezTo>
                    <a:pt x="9" y="15"/>
                    <a:pt x="9" y="36"/>
                    <a:pt x="9" y="42"/>
                  </a:cubicBezTo>
                  <a:cubicBezTo>
                    <a:pt x="9" y="48"/>
                    <a:pt x="1" y="48"/>
                    <a:pt x="1"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2" name="Freeform 161"/>
            <p:cNvSpPr>
              <a:spLocks noEditPoints="1"/>
            </p:cNvSpPr>
            <p:nvPr/>
          </p:nvSpPr>
          <p:spPr bwMode="auto">
            <a:xfrm>
              <a:off x="7929133" y="4510310"/>
              <a:ext cx="70185" cy="77879"/>
            </a:xfrm>
            <a:custGeom>
              <a:avLst/>
              <a:gdLst>
                <a:gd name="T0" fmla="*/ 0 w 42"/>
                <a:gd name="T1" fmla="*/ 0 h 49"/>
                <a:gd name="T2" fmla="*/ 15 w 42"/>
                <a:gd name="T3" fmla="*/ 0 h 49"/>
                <a:gd name="T4" fmla="*/ 42 w 42"/>
                <a:gd name="T5" fmla="*/ 25 h 49"/>
                <a:gd name="T6" fmla="*/ 14 w 42"/>
                <a:gd name="T7" fmla="*/ 49 h 49"/>
                <a:gd name="T8" fmla="*/ 0 w 42"/>
                <a:gd name="T9" fmla="*/ 49 h 49"/>
                <a:gd name="T10" fmla="*/ 0 w 42"/>
                <a:gd name="T11" fmla="*/ 0 h 49"/>
                <a:gd name="T12" fmla="*/ 14 w 42"/>
                <a:gd name="T13" fmla="*/ 42 h 49"/>
                <a:gd name="T14" fmla="*/ 32 w 42"/>
                <a:gd name="T15" fmla="*/ 25 h 49"/>
                <a:gd name="T16" fmla="*/ 14 w 42"/>
                <a:gd name="T17" fmla="*/ 8 h 49"/>
                <a:gd name="T18" fmla="*/ 8 w 42"/>
                <a:gd name="T19" fmla="*/ 8 h 49"/>
                <a:gd name="T20" fmla="*/ 8 w 42"/>
                <a:gd name="T21" fmla="*/ 42 h 49"/>
                <a:gd name="T22" fmla="*/ 14 w 42"/>
                <a:gd name="T23" fmla="*/ 4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49">
                  <a:moveTo>
                    <a:pt x="0" y="0"/>
                  </a:moveTo>
                  <a:cubicBezTo>
                    <a:pt x="15" y="0"/>
                    <a:pt x="15" y="0"/>
                    <a:pt x="15" y="0"/>
                  </a:cubicBezTo>
                  <a:cubicBezTo>
                    <a:pt x="32" y="0"/>
                    <a:pt x="42" y="10"/>
                    <a:pt x="42" y="25"/>
                  </a:cubicBezTo>
                  <a:cubicBezTo>
                    <a:pt x="42" y="40"/>
                    <a:pt x="31" y="49"/>
                    <a:pt x="14" y="49"/>
                  </a:cubicBezTo>
                  <a:cubicBezTo>
                    <a:pt x="0" y="49"/>
                    <a:pt x="0" y="49"/>
                    <a:pt x="0" y="49"/>
                  </a:cubicBezTo>
                  <a:lnTo>
                    <a:pt x="0" y="0"/>
                  </a:lnTo>
                  <a:close/>
                  <a:moveTo>
                    <a:pt x="14" y="42"/>
                  </a:moveTo>
                  <a:cubicBezTo>
                    <a:pt x="27" y="42"/>
                    <a:pt x="32" y="34"/>
                    <a:pt x="32" y="25"/>
                  </a:cubicBezTo>
                  <a:cubicBezTo>
                    <a:pt x="32" y="15"/>
                    <a:pt x="26" y="8"/>
                    <a:pt x="14" y="8"/>
                  </a:cubicBezTo>
                  <a:cubicBezTo>
                    <a:pt x="8" y="8"/>
                    <a:pt x="8" y="8"/>
                    <a:pt x="8" y="8"/>
                  </a:cubicBezTo>
                  <a:cubicBezTo>
                    <a:pt x="8" y="42"/>
                    <a:pt x="8" y="42"/>
                    <a:pt x="8" y="42"/>
                  </a:cubicBezTo>
                  <a:lnTo>
                    <a:pt x="1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3" name="Freeform 162"/>
            <p:cNvSpPr>
              <a:spLocks noEditPoints="1"/>
            </p:cNvSpPr>
            <p:nvPr/>
          </p:nvSpPr>
          <p:spPr bwMode="auto">
            <a:xfrm>
              <a:off x="8031114" y="4529223"/>
              <a:ext cx="58409" cy="87447"/>
            </a:xfrm>
            <a:custGeom>
              <a:avLst/>
              <a:gdLst>
                <a:gd name="T0" fmla="*/ 0 w 35"/>
                <a:gd name="T1" fmla="*/ 45 h 55"/>
                <a:gd name="T2" fmla="*/ 6 w 35"/>
                <a:gd name="T3" fmla="*/ 37 h 55"/>
                <a:gd name="T4" fmla="*/ 4 w 35"/>
                <a:gd name="T5" fmla="*/ 32 h 55"/>
                <a:gd name="T6" fmla="*/ 8 w 35"/>
                <a:gd name="T7" fmla="*/ 26 h 55"/>
                <a:gd name="T8" fmla="*/ 2 w 35"/>
                <a:gd name="T9" fmla="*/ 15 h 55"/>
                <a:gd name="T10" fmla="*/ 16 w 35"/>
                <a:gd name="T11" fmla="*/ 2 h 55"/>
                <a:gd name="T12" fmla="*/ 23 w 35"/>
                <a:gd name="T13" fmla="*/ 3 h 55"/>
                <a:gd name="T14" fmla="*/ 24 w 35"/>
                <a:gd name="T15" fmla="*/ 3 h 55"/>
                <a:gd name="T16" fmla="*/ 33 w 35"/>
                <a:gd name="T17" fmla="*/ 0 h 55"/>
                <a:gd name="T18" fmla="*/ 35 w 35"/>
                <a:gd name="T19" fmla="*/ 0 h 55"/>
                <a:gd name="T20" fmla="*/ 33 w 35"/>
                <a:gd name="T21" fmla="*/ 7 h 55"/>
                <a:gd name="T22" fmla="*/ 31 w 35"/>
                <a:gd name="T23" fmla="*/ 6 h 55"/>
                <a:gd name="T24" fmla="*/ 28 w 35"/>
                <a:gd name="T25" fmla="*/ 7 h 55"/>
                <a:gd name="T26" fmla="*/ 31 w 35"/>
                <a:gd name="T27" fmla="*/ 15 h 55"/>
                <a:gd name="T28" fmla="*/ 17 w 35"/>
                <a:gd name="T29" fmla="*/ 28 h 55"/>
                <a:gd name="T30" fmla="*/ 12 w 35"/>
                <a:gd name="T31" fmla="*/ 28 h 55"/>
                <a:gd name="T32" fmla="*/ 12 w 35"/>
                <a:gd name="T33" fmla="*/ 30 h 55"/>
                <a:gd name="T34" fmla="*/ 35 w 35"/>
                <a:gd name="T35" fmla="*/ 44 h 55"/>
                <a:gd name="T36" fmla="*/ 16 w 35"/>
                <a:gd name="T37" fmla="*/ 55 h 55"/>
                <a:gd name="T38" fmla="*/ 0 w 35"/>
                <a:gd name="T39" fmla="*/ 45 h 55"/>
                <a:gd name="T40" fmla="*/ 26 w 35"/>
                <a:gd name="T41" fmla="*/ 45 h 55"/>
                <a:gd name="T42" fmla="*/ 10 w 35"/>
                <a:gd name="T43" fmla="*/ 39 h 55"/>
                <a:gd name="T44" fmla="*/ 8 w 35"/>
                <a:gd name="T45" fmla="*/ 44 h 55"/>
                <a:gd name="T46" fmla="*/ 17 w 35"/>
                <a:gd name="T47" fmla="*/ 49 h 55"/>
                <a:gd name="T48" fmla="*/ 26 w 35"/>
                <a:gd name="T49" fmla="*/ 45 h 55"/>
                <a:gd name="T50" fmla="*/ 23 w 35"/>
                <a:gd name="T51" fmla="*/ 15 h 55"/>
                <a:gd name="T52" fmla="*/ 17 w 35"/>
                <a:gd name="T53" fmla="*/ 9 h 55"/>
                <a:gd name="T54" fmla="*/ 10 w 35"/>
                <a:gd name="T55" fmla="*/ 15 h 55"/>
                <a:gd name="T56" fmla="*/ 17 w 35"/>
                <a:gd name="T57" fmla="*/ 22 h 55"/>
                <a:gd name="T58" fmla="*/ 23 w 35"/>
                <a:gd name="T59" fmla="*/ 1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 h="55">
                  <a:moveTo>
                    <a:pt x="0" y="45"/>
                  </a:moveTo>
                  <a:cubicBezTo>
                    <a:pt x="0" y="41"/>
                    <a:pt x="2" y="38"/>
                    <a:pt x="6" y="37"/>
                  </a:cubicBezTo>
                  <a:cubicBezTo>
                    <a:pt x="5" y="36"/>
                    <a:pt x="4" y="34"/>
                    <a:pt x="4" y="32"/>
                  </a:cubicBezTo>
                  <a:cubicBezTo>
                    <a:pt x="4" y="30"/>
                    <a:pt x="5" y="28"/>
                    <a:pt x="8" y="26"/>
                  </a:cubicBezTo>
                  <a:cubicBezTo>
                    <a:pt x="4" y="24"/>
                    <a:pt x="2" y="19"/>
                    <a:pt x="2" y="15"/>
                  </a:cubicBezTo>
                  <a:cubicBezTo>
                    <a:pt x="2" y="8"/>
                    <a:pt x="7" y="2"/>
                    <a:pt x="16" y="2"/>
                  </a:cubicBezTo>
                  <a:cubicBezTo>
                    <a:pt x="20" y="2"/>
                    <a:pt x="22" y="3"/>
                    <a:pt x="23" y="3"/>
                  </a:cubicBezTo>
                  <a:cubicBezTo>
                    <a:pt x="24" y="4"/>
                    <a:pt x="24" y="3"/>
                    <a:pt x="24" y="3"/>
                  </a:cubicBezTo>
                  <a:cubicBezTo>
                    <a:pt x="26" y="1"/>
                    <a:pt x="28" y="0"/>
                    <a:pt x="33" y="0"/>
                  </a:cubicBezTo>
                  <a:cubicBezTo>
                    <a:pt x="34" y="0"/>
                    <a:pt x="35" y="0"/>
                    <a:pt x="35" y="0"/>
                  </a:cubicBezTo>
                  <a:cubicBezTo>
                    <a:pt x="33" y="7"/>
                    <a:pt x="33" y="7"/>
                    <a:pt x="33" y="7"/>
                  </a:cubicBezTo>
                  <a:cubicBezTo>
                    <a:pt x="33" y="7"/>
                    <a:pt x="32" y="6"/>
                    <a:pt x="31" y="6"/>
                  </a:cubicBezTo>
                  <a:cubicBezTo>
                    <a:pt x="30" y="6"/>
                    <a:pt x="29" y="7"/>
                    <a:pt x="28" y="7"/>
                  </a:cubicBezTo>
                  <a:cubicBezTo>
                    <a:pt x="30" y="9"/>
                    <a:pt x="31" y="12"/>
                    <a:pt x="31" y="15"/>
                  </a:cubicBezTo>
                  <a:cubicBezTo>
                    <a:pt x="31" y="23"/>
                    <a:pt x="25" y="28"/>
                    <a:pt x="17" y="28"/>
                  </a:cubicBezTo>
                  <a:cubicBezTo>
                    <a:pt x="15" y="28"/>
                    <a:pt x="14" y="28"/>
                    <a:pt x="12" y="28"/>
                  </a:cubicBezTo>
                  <a:cubicBezTo>
                    <a:pt x="12" y="29"/>
                    <a:pt x="12" y="30"/>
                    <a:pt x="12" y="30"/>
                  </a:cubicBezTo>
                  <a:cubicBezTo>
                    <a:pt x="12" y="37"/>
                    <a:pt x="35" y="31"/>
                    <a:pt x="35" y="44"/>
                  </a:cubicBezTo>
                  <a:cubicBezTo>
                    <a:pt x="35" y="50"/>
                    <a:pt x="28" y="55"/>
                    <a:pt x="16" y="55"/>
                  </a:cubicBezTo>
                  <a:cubicBezTo>
                    <a:pt x="6" y="55"/>
                    <a:pt x="0" y="51"/>
                    <a:pt x="0" y="45"/>
                  </a:cubicBezTo>
                  <a:close/>
                  <a:moveTo>
                    <a:pt x="26" y="45"/>
                  </a:moveTo>
                  <a:cubicBezTo>
                    <a:pt x="26" y="40"/>
                    <a:pt x="15" y="41"/>
                    <a:pt x="10" y="39"/>
                  </a:cubicBezTo>
                  <a:cubicBezTo>
                    <a:pt x="9" y="40"/>
                    <a:pt x="8" y="41"/>
                    <a:pt x="8" y="44"/>
                  </a:cubicBezTo>
                  <a:cubicBezTo>
                    <a:pt x="8" y="47"/>
                    <a:pt x="11" y="49"/>
                    <a:pt x="17" y="49"/>
                  </a:cubicBezTo>
                  <a:cubicBezTo>
                    <a:pt x="23" y="49"/>
                    <a:pt x="26" y="47"/>
                    <a:pt x="26" y="45"/>
                  </a:cubicBezTo>
                  <a:close/>
                  <a:moveTo>
                    <a:pt x="23" y="15"/>
                  </a:moveTo>
                  <a:cubicBezTo>
                    <a:pt x="23" y="12"/>
                    <a:pt x="20" y="9"/>
                    <a:pt x="17" y="9"/>
                  </a:cubicBezTo>
                  <a:cubicBezTo>
                    <a:pt x="13" y="9"/>
                    <a:pt x="10" y="11"/>
                    <a:pt x="10" y="15"/>
                  </a:cubicBezTo>
                  <a:cubicBezTo>
                    <a:pt x="10" y="19"/>
                    <a:pt x="13" y="22"/>
                    <a:pt x="17" y="22"/>
                  </a:cubicBezTo>
                  <a:cubicBezTo>
                    <a:pt x="20" y="22"/>
                    <a:pt x="23" y="19"/>
                    <a:pt x="23"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4" name="Freeform 163"/>
            <p:cNvSpPr>
              <a:spLocks/>
            </p:cNvSpPr>
            <p:nvPr/>
          </p:nvSpPr>
          <p:spPr bwMode="auto">
            <a:xfrm>
              <a:off x="8116372" y="4516540"/>
              <a:ext cx="44984" cy="74763"/>
            </a:xfrm>
            <a:custGeom>
              <a:avLst/>
              <a:gdLst>
                <a:gd name="T0" fmla="*/ 7 w 27"/>
                <a:gd name="T1" fmla="*/ 37 h 47"/>
                <a:gd name="T2" fmla="*/ 7 w 27"/>
                <a:gd name="T3" fmla="*/ 18 h 47"/>
                <a:gd name="T4" fmla="*/ 0 w 27"/>
                <a:gd name="T5" fmla="*/ 18 h 47"/>
                <a:gd name="T6" fmla="*/ 0 w 27"/>
                <a:gd name="T7" fmla="*/ 11 h 47"/>
                <a:gd name="T8" fmla="*/ 7 w 27"/>
                <a:gd name="T9" fmla="*/ 11 h 47"/>
                <a:gd name="T10" fmla="*/ 7 w 27"/>
                <a:gd name="T11" fmla="*/ 3 h 47"/>
                <a:gd name="T12" fmla="*/ 15 w 27"/>
                <a:gd name="T13" fmla="*/ 0 h 47"/>
                <a:gd name="T14" fmla="*/ 15 w 27"/>
                <a:gd name="T15" fmla="*/ 11 h 47"/>
                <a:gd name="T16" fmla="*/ 26 w 27"/>
                <a:gd name="T17" fmla="*/ 11 h 47"/>
                <a:gd name="T18" fmla="*/ 24 w 27"/>
                <a:gd name="T19" fmla="*/ 18 h 47"/>
                <a:gd name="T20" fmla="*/ 15 w 27"/>
                <a:gd name="T21" fmla="*/ 18 h 47"/>
                <a:gd name="T22" fmla="*/ 15 w 27"/>
                <a:gd name="T23" fmla="*/ 35 h 47"/>
                <a:gd name="T24" fmla="*/ 19 w 27"/>
                <a:gd name="T25" fmla="*/ 40 h 47"/>
                <a:gd name="T26" fmla="*/ 24 w 27"/>
                <a:gd name="T27" fmla="*/ 38 h 47"/>
                <a:gd name="T28" fmla="*/ 27 w 27"/>
                <a:gd name="T29" fmla="*/ 44 h 47"/>
                <a:gd name="T30" fmla="*/ 17 w 27"/>
                <a:gd name="T31" fmla="*/ 47 h 47"/>
                <a:gd name="T32" fmla="*/ 7 w 27"/>
                <a:gd name="T33" fmla="*/ 3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 h="47">
                  <a:moveTo>
                    <a:pt x="7" y="37"/>
                  </a:moveTo>
                  <a:cubicBezTo>
                    <a:pt x="7" y="18"/>
                    <a:pt x="7" y="18"/>
                    <a:pt x="7" y="18"/>
                  </a:cubicBezTo>
                  <a:cubicBezTo>
                    <a:pt x="0" y="18"/>
                    <a:pt x="0" y="18"/>
                    <a:pt x="0" y="18"/>
                  </a:cubicBezTo>
                  <a:cubicBezTo>
                    <a:pt x="0" y="11"/>
                    <a:pt x="0" y="11"/>
                    <a:pt x="0" y="11"/>
                  </a:cubicBezTo>
                  <a:cubicBezTo>
                    <a:pt x="7" y="11"/>
                    <a:pt x="7" y="11"/>
                    <a:pt x="7" y="11"/>
                  </a:cubicBezTo>
                  <a:cubicBezTo>
                    <a:pt x="7" y="3"/>
                    <a:pt x="7" y="3"/>
                    <a:pt x="7" y="3"/>
                  </a:cubicBezTo>
                  <a:cubicBezTo>
                    <a:pt x="15" y="0"/>
                    <a:pt x="15" y="0"/>
                    <a:pt x="15" y="0"/>
                  </a:cubicBezTo>
                  <a:cubicBezTo>
                    <a:pt x="15" y="11"/>
                    <a:pt x="15" y="11"/>
                    <a:pt x="15" y="11"/>
                  </a:cubicBezTo>
                  <a:cubicBezTo>
                    <a:pt x="26" y="11"/>
                    <a:pt x="26" y="11"/>
                    <a:pt x="26" y="11"/>
                  </a:cubicBezTo>
                  <a:cubicBezTo>
                    <a:pt x="24" y="18"/>
                    <a:pt x="24" y="18"/>
                    <a:pt x="24" y="18"/>
                  </a:cubicBezTo>
                  <a:cubicBezTo>
                    <a:pt x="15" y="18"/>
                    <a:pt x="15" y="18"/>
                    <a:pt x="15" y="18"/>
                  </a:cubicBezTo>
                  <a:cubicBezTo>
                    <a:pt x="15" y="35"/>
                    <a:pt x="15" y="35"/>
                    <a:pt x="15" y="35"/>
                  </a:cubicBezTo>
                  <a:cubicBezTo>
                    <a:pt x="15" y="38"/>
                    <a:pt x="17" y="40"/>
                    <a:pt x="19" y="40"/>
                  </a:cubicBezTo>
                  <a:cubicBezTo>
                    <a:pt x="21" y="40"/>
                    <a:pt x="23" y="39"/>
                    <a:pt x="24" y="38"/>
                  </a:cubicBezTo>
                  <a:cubicBezTo>
                    <a:pt x="27" y="44"/>
                    <a:pt x="27" y="44"/>
                    <a:pt x="27" y="44"/>
                  </a:cubicBezTo>
                  <a:cubicBezTo>
                    <a:pt x="24" y="46"/>
                    <a:pt x="20" y="47"/>
                    <a:pt x="17" y="47"/>
                  </a:cubicBezTo>
                  <a:cubicBezTo>
                    <a:pt x="10" y="47"/>
                    <a:pt x="7" y="43"/>
                    <a:pt x="7"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5" name="Freeform 164"/>
            <p:cNvSpPr>
              <a:spLocks noEditPoints="1"/>
            </p:cNvSpPr>
            <p:nvPr/>
          </p:nvSpPr>
          <p:spPr bwMode="auto">
            <a:xfrm>
              <a:off x="8163005" y="4532562"/>
              <a:ext cx="51814" cy="58743"/>
            </a:xfrm>
            <a:custGeom>
              <a:avLst/>
              <a:gdLst>
                <a:gd name="T0" fmla="*/ 22 w 31"/>
                <a:gd name="T1" fmla="*/ 33 h 37"/>
                <a:gd name="T2" fmla="*/ 12 w 31"/>
                <a:gd name="T3" fmla="*/ 37 h 37"/>
                <a:gd name="T4" fmla="*/ 0 w 31"/>
                <a:gd name="T5" fmla="*/ 26 h 37"/>
                <a:gd name="T6" fmla="*/ 6 w 31"/>
                <a:gd name="T7" fmla="*/ 16 h 37"/>
                <a:gd name="T8" fmla="*/ 15 w 31"/>
                <a:gd name="T9" fmla="*/ 14 h 37"/>
                <a:gd name="T10" fmla="*/ 21 w 31"/>
                <a:gd name="T11" fmla="*/ 14 h 37"/>
                <a:gd name="T12" fmla="*/ 21 w 31"/>
                <a:gd name="T13" fmla="*/ 13 h 37"/>
                <a:gd name="T14" fmla="*/ 15 w 31"/>
                <a:gd name="T15" fmla="*/ 7 h 37"/>
                <a:gd name="T16" fmla="*/ 5 w 31"/>
                <a:gd name="T17" fmla="*/ 9 h 37"/>
                <a:gd name="T18" fmla="*/ 3 w 31"/>
                <a:gd name="T19" fmla="*/ 4 h 37"/>
                <a:gd name="T20" fmla="*/ 16 w 31"/>
                <a:gd name="T21" fmla="*/ 0 h 37"/>
                <a:gd name="T22" fmla="*/ 30 w 31"/>
                <a:gd name="T23" fmla="*/ 13 h 37"/>
                <a:gd name="T24" fmla="*/ 30 w 31"/>
                <a:gd name="T25" fmla="*/ 27 h 37"/>
                <a:gd name="T26" fmla="*/ 31 w 31"/>
                <a:gd name="T27" fmla="*/ 36 h 37"/>
                <a:gd name="T28" fmla="*/ 24 w 31"/>
                <a:gd name="T29" fmla="*/ 36 h 37"/>
                <a:gd name="T30" fmla="*/ 22 w 31"/>
                <a:gd name="T31" fmla="*/ 33 h 37"/>
                <a:gd name="T32" fmla="*/ 17 w 31"/>
                <a:gd name="T33" fmla="*/ 20 h 37"/>
                <a:gd name="T34" fmla="*/ 12 w 31"/>
                <a:gd name="T35" fmla="*/ 21 h 37"/>
                <a:gd name="T36" fmla="*/ 9 w 31"/>
                <a:gd name="T37" fmla="*/ 25 h 37"/>
                <a:gd name="T38" fmla="*/ 15 w 31"/>
                <a:gd name="T39" fmla="*/ 30 h 37"/>
                <a:gd name="T40" fmla="*/ 21 w 31"/>
                <a:gd name="T41" fmla="*/ 27 h 37"/>
                <a:gd name="T42" fmla="*/ 21 w 31"/>
                <a:gd name="T43" fmla="*/ 20 h 37"/>
                <a:gd name="T44" fmla="*/ 17 w 31"/>
                <a:gd name="T45"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7">
                  <a:moveTo>
                    <a:pt x="22" y="33"/>
                  </a:moveTo>
                  <a:cubicBezTo>
                    <a:pt x="20" y="35"/>
                    <a:pt x="16" y="37"/>
                    <a:pt x="12" y="37"/>
                  </a:cubicBezTo>
                  <a:cubicBezTo>
                    <a:pt x="5" y="37"/>
                    <a:pt x="0" y="32"/>
                    <a:pt x="0" y="26"/>
                  </a:cubicBezTo>
                  <a:cubicBezTo>
                    <a:pt x="0" y="21"/>
                    <a:pt x="3" y="18"/>
                    <a:pt x="6" y="16"/>
                  </a:cubicBezTo>
                  <a:cubicBezTo>
                    <a:pt x="9" y="15"/>
                    <a:pt x="12" y="14"/>
                    <a:pt x="15" y="14"/>
                  </a:cubicBezTo>
                  <a:cubicBezTo>
                    <a:pt x="21" y="14"/>
                    <a:pt x="21" y="14"/>
                    <a:pt x="21" y="14"/>
                  </a:cubicBezTo>
                  <a:cubicBezTo>
                    <a:pt x="21" y="13"/>
                    <a:pt x="21" y="13"/>
                    <a:pt x="21" y="13"/>
                  </a:cubicBezTo>
                  <a:cubicBezTo>
                    <a:pt x="21" y="9"/>
                    <a:pt x="19" y="7"/>
                    <a:pt x="15" y="7"/>
                  </a:cubicBezTo>
                  <a:cubicBezTo>
                    <a:pt x="11" y="7"/>
                    <a:pt x="8" y="8"/>
                    <a:pt x="5" y="9"/>
                  </a:cubicBezTo>
                  <a:cubicBezTo>
                    <a:pt x="3" y="4"/>
                    <a:pt x="3" y="4"/>
                    <a:pt x="3" y="4"/>
                  </a:cubicBezTo>
                  <a:cubicBezTo>
                    <a:pt x="7" y="1"/>
                    <a:pt x="11" y="0"/>
                    <a:pt x="16" y="0"/>
                  </a:cubicBezTo>
                  <a:cubicBezTo>
                    <a:pt x="26" y="0"/>
                    <a:pt x="30" y="4"/>
                    <a:pt x="30" y="13"/>
                  </a:cubicBezTo>
                  <a:cubicBezTo>
                    <a:pt x="30" y="27"/>
                    <a:pt x="30" y="27"/>
                    <a:pt x="30" y="27"/>
                  </a:cubicBezTo>
                  <a:cubicBezTo>
                    <a:pt x="30" y="31"/>
                    <a:pt x="30" y="34"/>
                    <a:pt x="31" y="36"/>
                  </a:cubicBezTo>
                  <a:cubicBezTo>
                    <a:pt x="24" y="36"/>
                    <a:pt x="24" y="36"/>
                    <a:pt x="24" y="36"/>
                  </a:cubicBezTo>
                  <a:lnTo>
                    <a:pt x="22" y="33"/>
                  </a:lnTo>
                  <a:close/>
                  <a:moveTo>
                    <a:pt x="17" y="20"/>
                  </a:moveTo>
                  <a:cubicBezTo>
                    <a:pt x="14" y="20"/>
                    <a:pt x="13" y="20"/>
                    <a:pt x="12" y="21"/>
                  </a:cubicBezTo>
                  <a:cubicBezTo>
                    <a:pt x="10" y="22"/>
                    <a:pt x="9" y="23"/>
                    <a:pt x="9" y="25"/>
                  </a:cubicBezTo>
                  <a:cubicBezTo>
                    <a:pt x="9" y="28"/>
                    <a:pt x="11" y="30"/>
                    <a:pt x="15" y="30"/>
                  </a:cubicBezTo>
                  <a:cubicBezTo>
                    <a:pt x="18" y="30"/>
                    <a:pt x="20" y="28"/>
                    <a:pt x="21" y="27"/>
                  </a:cubicBezTo>
                  <a:cubicBezTo>
                    <a:pt x="21" y="20"/>
                    <a:pt x="21" y="20"/>
                    <a:pt x="21" y="20"/>
                  </a:cubicBezTo>
                  <a:lnTo>
                    <a:pt x="17"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66" name="Text Placeholder 2"/>
          <p:cNvSpPr>
            <a:spLocks noGrp="1"/>
          </p:cNvSpPr>
          <p:nvPr>
            <p:ph type="body" sz="quarter" idx="25" hasCustomPrompt="1"/>
          </p:nvPr>
        </p:nvSpPr>
        <p:spPr>
          <a:xfrm>
            <a:off x="3342796" y="4807465"/>
            <a:ext cx="1160462" cy="341313"/>
          </a:xfrm>
          <a:prstGeom prst="rect">
            <a:avLst/>
          </a:prstGeom>
        </p:spPr>
        <p:txBody>
          <a:bodyPr anchor="ctr"/>
          <a:lstStyle>
            <a:lvl1pPr marL="0" indent="0" algn="ctr">
              <a:buNone/>
              <a:defRPr sz="800">
                <a:solidFill>
                  <a:schemeClr val="bg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grpSp>
        <p:nvGrpSpPr>
          <p:cNvPr id="167" name="Group 166"/>
          <p:cNvGrpSpPr/>
          <p:nvPr userDrawn="1"/>
        </p:nvGrpSpPr>
        <p:grpSpPr>
          <a:xfrm>
            <a:off x="7686461" y="4906654"/>
            <a:ext cx="1124815" cy="151147"/>
            <a:chOff x="7686461" y="4581466"/>
            <a:chExt cx="1124815" cy="151147"/>
          </a:xfrm>
          <a:solidFill>
            <a:schemeClr val="bg1"/>
          </a:solidFill>
        </p:grpSpPr>
        <p:sp>
          <p:nvSpPr>
            <p:cNvPr id="168"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sp>
          <p:nvSpPr>
            <p:cNvPr id="169"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sp>
          <p:nvSpPr>
            <p:cNvPr id="170"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sp>
          <p:nvSpPr>
            <p:cNvPr id="171"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sp>
          <p:nvSpPr>
            <p:cNvPr id="172"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sp>
          <p:nvSpPr>
            <p:cNvPr id="173"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sp>
          <p:nvSpPr>
            <p:cNvPr id="174"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sp>
          <p:nvSpPr>
            <p:cNvPr id="175"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sp>
          <p:nvSpPr>
            <p:cNvPr id="176"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sp>
          <p:nvSpPr>
            <p:cNvPr id="177"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sp>
          <p:nvSpPr>
            <p:cNvPr id="178"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sp>
          <p:nvSpPr>
            <p:cNvPr id="179"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sp>
          <p:nvSpPr>
            <p:cNvPr id="180"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sp>
          <p:nvSpPr>
            <p:cNvPr id="181"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sp>
          <p:nvSpPr>
            <p:cNvPr id="182"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grpSp>
      <p:sp>
        <p:nvSpPr>
          <p:cNvPr id="73"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solidFill>
                  <a:schemeClr val="accent4">
                    <a:lumMod val="50000"/>
                  </a:schemeClr>
                </a:solidFill>
                <a:latin typeface="+mn-lt"/>
              </a:rPr>
              <a:t>Private and Confidental</a:t>
            </a:r>
            <a:endParaRPr lang="pt-BR" sz="500" dirty="0">
              <a:solidFill>
                <a:schemeClr val="accent4">
                  <a:lumMod val="50000"/>
                </a:schemeClr>
              </a:solidFill>
              <a:latin typeface="+mn-lt"/>
            </a:endParaRPr>
          </a:p>
        </p:txBody>
      </p:sp>
    </p:spTree>
    <p:extLst>
      <p:ext uri="{BB962C8B-B14F-4D97-AF65-F5344CB8AC3E}">
        <p14:creationId xmlns:p14="http://schemas.microsoft.com/office/powerpoint/2010/main" val="2669006270"/>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V_D_MB_Slate3">
    <p:bg>
      <p:bgPr>
        <a:solidFill>
          <a:schemeClr val="bg1"/>
        </a:solidFill>
        <a:effectLst/>
      </p:bgPr>
    </p:bg>
    <p:spTree>
      <p:nvGrpSpPr>
        <p:cNvPr id="1" name=""/>
        <p:cNvGrpSpPr/>
        <p:nvPr/>
      </p:nvGrpSpPr>
      <p:grpSpPr>
        <a:xfrm>
          <a:off x="0" y="0"/>
          <a:ext cx="0" cy="0"/>
          <a:chOff x="0" y="0"/>
          <a:chExt cx="0" cy="0"/>
        </a:xfrm>
      </p:grpSpPr>
      <p:sp>
        <p:nvSpPr>
          <p:cNvPr id="31" name="Rectangle 30"/>
          <p:cNvSpPr/>
          <p:nvPr userDrawn="1"/>
        </p:nvSpPr>
        <p:spPr>
          <a:xfrm>
            <a:off x="0" y="0"/>
            <a:ext cx="9144000" cy="5148263"/>
          </a:xfrm>
          <a:prstGeom prst="rect">
            <a:avLst/>
          </a:prstGeom>
          <a:solidFill>
            <a:srgbClr val="4B4E53"/>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en-GB" sz="1050" smtClean="0">
              <a:solidFill>
                <a:schemeClr val="bg1"/>
              </a:solidFill>
              <a:latin typeface="Arial" panose="020B0604020202020204" pitchFamily="34" charset="0"/>
              <a:cs typeface="Arial" panose="020B0604020202020204" pitchFamily="34" charset="0"/>
            </a:endParaRPr>
          </a:p>
        </p:txBody>
      </p:sp>
      <p:pic>
        <p:nvPicPr>
          <p:cNvPr id="33" name="Picture 32" descr="cookie_white.png"/>
          <p:cNvPicPr>
            <a:picLocks noChangeAspect="1"/>
          </p:cNvPicPr>
          <p:nvPr userDrawn="1"/>
        </p:nvPicPr>
        <p:blipFill rotWithShape="1">
          <a:blip r:embed="rId2" cstate="screen">
            <a:alphaModFix amt="16000"/>
            <a:extLst>
              <a:ext uri="{28A0092B-C50C-407E-A947-70E740481C1C}">
                <a14:useLocalDpi xmlns:a14="http://schemas.microsoft.com/office/drawing/2010/main"/>
              </a:ext>
            </a:extLst>
          </a:blip>
          <a:srcRect/>
          <a:stretch/>
        </p:blipFill>
        <p:spPr>
          <a:xfrm flipH="1">
            <a:off x="5149029" y="2289839"/>
            <a:ext cx="4020091" cy="2880000"/>
          </a:xfrm>
          <a:prstGeom prst="rect">
            <a:avLst/>
          </a:prstGeom>
        </p:spPr>
      </p:pic>
      <p:cxnSp>
        <p:nvCxnSpPr>
          <p:cNvPr id="32" name="Straight Connector 31"/>
          <p:cNvCxnSpPr/>
          <p:nvPr userDrawn="1"/>
        </p:nvCxnSpPr>
        <p:spPr>
          <a:xfrm>
            <a:off x="343365" y="470176"/>
            <a:ext cx="8460000" cy="0"/>
          </a:xfrm>
          <a:prstGeom prst="line">
            <a:avLst/>
          </a:prstGeom>
          <a:ln w="6350" cmpd="sng">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343365" y="4801146"/>
            <a:ext cx="8460000" cy="0"/>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sp>
        <p:nvSpPr>
          <p:cNvPr id="67"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rgbClr val="FFFFFF"/>
                </a:solidFill>
                <a:latin typeface="+mn-lt"/>
              </a:defRPr>
            </a:lvl1pPr>
          </a:lstStyle>
          <a:p>
            <a:fld id="{19AB4E72-7858-48F1-A40D-12FF09E4BFB8}" type="slidenum">
              <a:rPr lang="en-GB" smtClean="0"/>
              <a:pPr/>
              <a:t>‹Nº›</a:t>
            </a:fld>
            <a:endParaRPr lang="en-GB"/>
          </a:p>
        </p:txBody>
      </p:sp>
      <p:sp>
        <p:nvSpPr>
          <p:cNvPr id="36" name="Title 1"/>
          <p:cNvSpPr>
            <a:spLocks noGrp="1"/>
          </p:cNvSpPr>
          <p:nvPr>
            <p:ph type="ctrTitle" hasCustomPrompt="1"/>
          </p:nvPr>
        </p:nvSpPr>
        <p:spPr>
          <a:xfrm>
            <a:off x="343365" y="2867487"/>
            <a:ext cx="8460000" cy="443198"/>
          </a:xfrm>
          <a:prstGeom prst="rect">
            <a:avLst/>
          </a:prstGeom>
        </p:spPr>
        <p:txBody>
          <a:bodyPr lIns="0" tIns="0" rIns="0" bIns="0" anchor="b"/>
          <a:lstStyle>
            <a:lvl1pPr>
              <a:lnSpc>
                <a:spcPct val="90000"/>
              </a:lnSpc>
              <a:defRPr sz="3200" b="0">
                <a:solidFill>
                  <a:schemeClr val="bg1"/>
                </a:solidFill>
              </a:defRPr>
            </a:lvl1pPr>
          </a:lstStyle>
          <a:p>
            <a:r>
              <a:rPr lang="en-US" dirty="0" smtClean="0"/>
              <a:t>Click to edit Master title Style</a:t>
            </a:r>
            <a:endParaRPr lang="en-US" dirty="0"/>
          </a:p>
        </p:txBody>
      </p:sp>
      <p:sp>
        <p:nvSpPr>
          <p:cNvPr id="37" name="Subtitle 2"/>
          <p:cNvSpPr>
            <a:spLocks noGrp="1"/>
          </p:cNvSpPr>
          <p:nvPr>
            <p:ph type="subTitle" idx="1" hasCustomPrompt="1"/>
          </p:nvPr>
        </p:nvSpPr>
        <p:spPr>
          <a:xfrm>
            <a:off x="343364" y="3474100"/>
            <a:ext cx="8460000" cy="202165"/>
          </a:xfrm>
          <a:prstGeom prst="rect">
            <a:avLst/>
          </a:prstGeom>
        </p:spPr>
        <p:txBody>
          <a:bodyPr lIns="0" tIns="0" rIns="0" bIns="0">
            <a:noAutofit/>
          </a:bodyPr>
          <a:lstStyle>
            <a:lvl1pPr marL="0" indent="0" algn="l">
              <a:buNone/>
              <a:defRPr sz="1400">
                <a:solidFill>
                  <a:schemeClr val="tx2"/>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cxnSp>
        <p:nvCxnSpPr>
          <p:cNvPr id="38" name="Straight Connector 37"/>
          <p:cNvCxnSpPr/>
          <p:nvPr userDrawn="1"/>
        </p:nvCxnSpPr>
        <p:spPr>
          <a:xfrm>
            <a:off x="346086" y="3395058"/>
            <a:ext cx="8460000" cy="0"/>
          </a:xfrm>
          <a:prstGeom prst="line">
            <a:avLst/>
          </a:prstGeom>
          <a:ln w="12700"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86" name="Text Placeholder 2"/>
          <p:cNvSpPr>
            <a:spLocks noGrp="1"/>
          </p:cNvSpPr>
          <p:nvPr>
            <p:ph type="body" sz="quarter" idx="25" hasCustomPrompt="1"/>
          </p:nvPr>
        </p:nvSpPr>
        <p:spPr>
          <a:xfrm>
            <a:off x="3342796" y="4807465"/>
            <a:ext cx="1160462" cy="341313"/>
          </a:xfrm>
          <a:prstGeom prst="rect">
            <a:avLst/>
          </a:prstGeom>
        </p:spPr>
        <p:txBody>
          <a:bodyPr anchor="ctr"/>
          <a:lstStyle>
            <a:lvl1pPr marL="0" indent="0" algn="ctr">
              <a:buNone/>
              <a:defRPr sz="800">
                <a:solidFill>
                  <a:schemeClr val="bg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grpSp>
        <p:nvGrpSpPr>
          <p:cNvPr id="87" name="Group 86"/>
          <p:cNvGrpSpPr/>
          <p:nvPr userDrawn="1"/>
        </p:nvGrpSpPr>
        <p:grpSpPr>
          <a:xfrm>
            <a:off x="6226041" y="4843403"/>
            <a:ext cx="1123200" cy="262117"/>
            <a:chOff x="7686782" y="4354553"/>
            <a:chExt cx="1123200" cy="262117"/>
          </a:xfrm>
          <a:solidFill>
            <a:schemeClr val="bg1"/>
          </a:solidFill>
        </p:grpSpPr>
        <p:sp>
          <p:nvSpPr>
            <p:cNvPr id="88" name="Freeform 87"/>
            <p:cNvSpPr>
              <a:spLocks/>
            </p:cNvSpPr>
            <p:nvPr/>
          </p:nvSpPr>
          <p:spPr bwMode="auto">
            <a:xfrm>
              <a:off x="8637817" y="4415076"/>
              <a:ext cx="103629" cy="66531"/>
            </a:xfrm>
            <a:custGeom>
              <a:avLst/>
              <a:gdLst>
                <a:gd name="T0" fmla="*/ 50 w 62"/>
                <a:gd name="T1" fmla="*/ 33 h 42"/>
                <a:gd name="T2" fmla="*/ 39 w 62"/>
                <a:gd name="T3" fmla="*/ 40 h 42"/>
                <a:gd name="T4" fmla="*/ 31 w 62"/>
                <a:gd name="T5" fmla="*/ 13 h 42"/>
                <a:gd name="T6" fmla="*/ 30 w 62"/>
                <a:gd name="T7" fmla="*/ 13 h 42"/>
                <a:gd name="T8" fmla="*/ 24 w 62"/>
                <a:gd name="T9" fmla="*/ 33 h 42"/>
                <a:gd name="T10" fmla="*/ 14 w 62"/>
                <a:gd name="T11" fmla="*/ 40 h 42"/>
                <a:gd name="T12" fmla="*/ 0 w 62"/>
                <a:gd name="T13" fmla="*/ 0 h 42"/>
                <a:gd name="T14" fmla="*/ 10 w 62"/>
                <a:gd name="T15" fmla="*/ 0 h 42"/>
                <a:gd name="T16" fmla="*/ 18 w 62"/>
                <a:gd name="T17" fmla="*/ 27 h 42"/>
                <a:gd name="T18" fmla="*/ 18 w 62"/>
                <a:gd name="T19" fmla="*/ 27 h 42"/>
                <a:gd name="T20" fmla="*/ 27 w 62"/>
                <a:gd name="T21" fmla="*/ 0 h 42"/>
                <a:gd name="T22" fmla="*/ 35 w 62"/>
                <a:gd name="T23" fmla="*/ 0 h 42"/>
                <a:gd name="T24" fmla="*/ 43 w 62"/>
                <a:gd name="T25" fmla="*/ 27 h 42"/>
                <a:gd name="T26" fmla="*/ 44 w 62"/>
                <a:gd name="T27" fmla="*/ 27 h 42"/>
                <a:gd name="T28" fmla="*/ 52 w 62"/>
                <a:gd name="T29" fmla="*/ 0 h 42"/>
                <a:gd name="T30" fmla="*/ 62 w 62"/>
                <a:gd name="T31" fmla="*/ 0 h 42"/>
                <a:gd name="T32" fmla="*/ 50 w 62"/>
                <a:gd name="T33" fmla="*/ 3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 h="42">
                  <a:moveTo>
                    <a:pt x="50" y="33"/>
                  </a:moveTo>
                  <a:cubicBezTo>
                    <a:pt x="47" y="42"/>
                    <a:pt x="39" y="40"/>
                    <a:pt x="39" y="40"/>
                  </a:cubicBezTo>
                  <a:cubicBezTo>
                    <a:pt x="31" y="13"/>
                    <a:pt x="31" y="13"/>
                    <a:pt x="31" y="13"/>
                  </a:cubicBezTo>
                  <a:cubicBezTo>
                    <a:pt x="30" y="13"/>
                    <a:pt x="30" y="13"/>
                    <a:pt x="30" y="13"/>
                  </a:cubicBezTo>
                  <a:cubicBezTo>
                    <a:pt x="30" y="13"/>
                    <a:pt x="26" y="26"/>
                    <a:pt x="24" y="33"/>
                  </a:cubicBezTo>
                  <a:cubicBezTo>
                    <a:pt x="21" y="42"/>
                    <a:pt x="14" y="40"/>
                    <a:pt x="14" y="40"/>
                  </a:cubicBezTo>
                  <a:cubicBezTo>
                    <a:pt x="0" y="0"/>
                    <a:pt x="0" y="0"/>
                    <a:pt x="0" y="0"/>
                  </a:cubicBezTo>
                  <a:cubicBezTo>
                    <a:pt x="10" y="0"/>
                    <a:pt x="10" y="0"/>
                    <a:pt x="10" y="0"/>
                  </a:cubicBezTo>
                  <a:cubicBezTo>
                    <a:pt x="18" y="27"/>
                    <a:pt x="18" y="27"/>
                    <a:pt x="18" y="27"/>
                  </a:cubicBezTo>
                  <a:cubicBezTo>
                    <a:pt x="18" y="27"/>
                    <a:pt x="18" y="27"/>
                    <a:pt x="18" y="27"/>
                  </a:cubicBezTo>
                  <a:cubicBezTo>
                    <a:pt x="27" y="0"/>
                    <a:pt x="27" y="0"/>
                    <a:pt x="27" y="0"/>
                  </a:cubicBezTo>
                  <a:cubicBezTo>
                    <a:pt x="35" y="0"/>
                    <a:pt x="35" y="0"/>
                    <a:pt x="35" y="0"/>
                  </a:cubicBezTo>
                  <a:cubicBezTo>
                    <a:pt x="43" y="27"/>
                    <a:pt x="43" y="27"/>
                    <a:pt x="43" y="27"/>
                  </a:cubicBezTo>
                  <a:cubicBezTo>
                    <a:pt x="44" y="27"/>
                    <a:pt x="44" y="27"/>
                    <a:pt x="44" y="27"/>
                  </a:cubicBezTo>
                  <a:cubicBezTo>
                    <a:pt x="52" y="0"/>
                    <a:pt x="52" y="0"/>
                    <a:pt x="52" y="0"/>
                  </a:cubicBezTo>
                  <a:cubicBezTo>
                    <a:pt x="62" y="0"/>
                    <a:pt x="62" y="0"/>
                    <a:pt x="62" y="0"/>
                  </a:cubicBezTo>
                  <a:cubicBezTo>
                    <a:pt x="62" y="0"/>
                    <a:pt x="52" y="26"/>
                    <a:pt x="5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 name="Freeform 88"/>
            <p:cNvSpPr>
              <a:spLocks noEditPoints="1"/>
            </p:cNvSpPr>
            <p:nvPr/>
          </p:nvSpPr>
          <p:spPr bwMode="auto">
            <a:xfrm>
              <a:off x="8445631" y="4383257"/>
              <a:ext cx="65239" cy="93677"/>
            </a:xfrm>
            <a:custGeom>
              <a:avLst/>
              <a:gdLst>
                <a:gd name="T0" fmla="*/ 0 w 39"/>
                <a:gd name="T1" fmla="*/ 0 h 59"/>
                <a:gd name="T2" fmla="*/ 0 w 39"/>
                <a:gd name="T3" fmla="*/ 59 h 59"/>
                <a:gd name="T4" fmla="*/ 18 w 39"/>
                <a:gd name="T5" fmla="*/ 59 h 59"/>
                <a:gd name="T6" fmla="*/ 39 w 39"/>
                <a:gd name="T7" fmla="*/ 42 h 59"/>
                <a:gd name="T8" fmla="*/ 29 w 39"/>
                <a:gd name="T9" fmla="*/ 28 h 59"/>
                <a:gd name="T10" fmla="*/ 28 w 39"/>
                <a:gd name="T11" fmla="*/ 27 h 59"/>
                <a:gd name="T12" fmla="*/ 29 w 39"/>
                <a:gd name="T13" fmla="*/ 27 h 59"/>
                <a:gd name="T14" fmla="*/ 35 w 39"/>
                <a:gd name="T15" fmla="*/ 15 h 59"/>
                <a:gd name="T16" fmla="*/ 19 w 39"/>
                <a:gd name="T17" fmla="*/ 0 h 59"/>
                <a:gd name="T18" fmla="*/ 0 w 39"/>
                <a:gd name="T19" fmla="*/ 0 h 59"/>
                <a:gd name="T20" fmla="*/ 10 w 39"/>
                <a:gd name="T21" fmla="*/ 8 h 59"/>
                <a:gd name="T22" fmla="*/ 16 w 39"/>
                <a:gd name="T23" fmla="*/ 8 h 59"/>
                <a:gd name="T24" fmla="*/ 25 w 39"/>
                <a:gd name="T25" fmla="*/ 16 h 59"/>
                <a:gd name="T26" fmla="*/ 17 w 39"/>
                <a:gd name="T27" fmla="*/ 25 h 59"/>
                <a:gd name="T28" fmla="*/ 10 w 39"/>
                <a:gd name="T29" fmla="*/ 25 h 59"/>
                <a:gd name="T30" fmla="*/ 10 w 39"/>
                <a:gd name="T31" fmla="*/ 8 h 59"/>
                <a:gd name="T32" fmla="*/ 10 w 39"/>
                <a:gd name="T33" fmla="*/ 33 h 59"/>
                <a:gd name="T34" fmla="*/ 18 w 39"/>
                <a:gd name="T35" fmla="*/ 33 h 59"/>
                <a:gd name="T36" fmla="*/ 29 w 39"/>
                <a:gd name="T37" fmla="*/ 42 h 59"/>
                <a:gd name="T38" fmla="*/ 17 w 39"/>
                <a:gd name="T39" fmla="*/ 51 h 59"/>
                <a:gd name="T40" fmla="*/ 10 w 39"/>
                <a:gd name="T41" fmla="*/ 51 h 59"/>
                <a:gd name="T42" fmla="*/ 10 w 39"/>
                <a:gd name="T43"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9">
                  <a:moveTo>
                    <a:pt x="0" y="0"/>
                  </a:moveTo>
                  <a:cubicBezTo>
                    <a:pt x="0" y="1"/>
                    <a:pt x="0" y="59"/>
                    <a:pt x="0" y="59"/>
                  </a:cubicBezTo>
                  <a:cubicBezTo>
                    <a:pt x="1" y="59"/>
                    <a:pt x="18" y="59"/>
                    <a:pt x="18" y="59"/>
                  </a:cubicBezTo>
                  <a:cubicBezTo>
                    <a:pt x="33" y="59"/>
                    <a:pt x="39" y="51"/>
                    <a:pt x="39" y="42"/>
                  </a:cubicBezTo>
                  <a:cubicBezTo>
                    <a:pt x="39" y="35"/>
                    <a:pt x="36" y="29"/>
                    <a:pt x="29" y="28"/>
                  </a:cubicBezTo>
                  <a:cubicBezTo>
                    <a:pt x="28" y="27"/>
                    <a:pt x="28" y="27"/>
                    <a:pt x="28" y="27"/>
                  </a:cubicBezTo>
                  <a:cubicBezTo>
                    <a:pt x="29" y="27"/>
                    <a:pt x="29" y="27"/>
                    <a:pt x="29" y="27"/>
                  </a:cubicBezTo>
                  <a:cubicBezTo>
                    <a:pt x="33" y="24"/>
                    <a:pt x="35" y="20"/>
                    <a:pt x="35" y="15"/>
                  </a:cubicBezTo>
                  <a:cubicBezTo>
                    <a:pt x="35" y="8"/>
                    <a:pt x="30" y="0"/>
                    <a:pt x="19" y="0"/>
                  </a:cubicBezTo>
                  <a:cubicBezTo>
                    <a:pt x="19" y="0"/>
                    <a:pt x="1" y="0"/>
                    <a:pt x="0" y="0"/>
                  </a:cubicBezTo>
                  <a:close/>
                  <a:moveTo>
                    <a:pt x="10" y="8"/>
                  </a:moveTo>
                  <a:cubicBezTo>
                    <a:pt x="16" y="8"/>
                    <a:pt x="16" y="8"/>
                    <a:pt x="16" y="8"/>
                  </a:cubicBezTo>
                  <a:cubicBezTo>
                    <a:pt x="22" y="8"/>
                    <a:pt x="25" y="11"/>
                    <a:pt x="25" y="16"/>
                  </a:cubicBezTo>
                  <a:cubicBezTo>
                    <a:pt x="25" y="21"/>
                    <a:pt x="21" y="25"/>
                    <a:pt x="17" y="25"/>
                  </a:cubicBezTo>
                  <a:cubicBezTo>
                    <a:pt x="10" y="25"/>
                    <a:pt x="10" y="25"/>
                    <a:pt x="10" y="25"/>
                  </a:cubicBezTo>
                  <a:lnTo>
                    <a:pt x="10" y="8"/>
                  </a:lnTo>
                  <a:close/>
                  <a:moveTo>
                    <a:pt x="10" y="33"/>
                  </a:moveTo>
                  <a:cubicBezTo>
                    <a:pt x="18" y="33"/>
                    <a:pt x="18" y="33"/>
                    <a:pt x="18" y="33"/>
                  </a:cubicBezTo>
                  <a:cubicBezTo>
                    <a:pt x="25" y="33"/>
                    <a:pt x="29" y="37"/>
                    <a:pt x="29" y="42"/>
                  </a:cubicBezTo>
                  <a:cubicBezTo>
                    <a:pt x="29" y="48"/>
                    <a:pt x="25" y="51"/>
                    <a:pt x="17" y="51"/>
                  </a:cubicBezTo>
                  <a:cubicBezTo>
                    <a:pt x="10" y="51"/>
                    <a:pt x="10" y="51"/>
                    <a:pt x="10" y="51"/>
                  </a:cubicBezTo>
                  <a:lnTo>
                    <a:pt x="1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89"/>
            <p:cNvSpPr>
              <a:spLocks noEditPoints="1"/>
            </p:cNvSpPr>
            <p:nvPr/>
          </p:nvSpPr>
          <p:spPr bwMode="auto">
            <a:xfrm>
              <a:off x="8567631" y="4413518"/>
              <a:ext cx="66888" cy="64973"/>
            </a:xfrm>
            <a:custGeom>
              <a:avLst/>
              <a:gdLst>
                <a:gd name="T0" fmla="*/ 34 w 40"/>
                <a:gd name="T1" fmla="*/ 36 h 41"/>
                <a:gd name="T2" fmla="*/ 20 w 40"/>
                <a:gd name="T3" fmla="*/ 41 h 41"/>
                <a:gd name="T4" fmla="*/ 7 w 40"/>
                <a:gd name="T5" fmla="*/ 36 h 41"/>
                <a:gd name="T6" fmla="*/ 0 w 40"/>
                <a:gd name="T7" fmla="*/ 21 h 41"/>
                <a:gd name="T8" fmla="*/ 6 w 40"/>
                <a:gd name="T9" fmla="*/ 6 h 41"/>
                <a:gd name="T10" fmla="*/ 20 w 40"/>
                <a:gd name="T11" fmla="*/ 0 h 41"/>
                <a:gd name="T12" fmla="*/ 35 w 40"/>
                <a:gd name="T13" fmla="*/ 6 h 41"/>
                <a:gd name="T14" fmla="*/ 40 w 40"/>
                <a:gd name="T15" fmla="*/ 20 h 41"/>
                <a:gd name="T16" fmla="*/ 34 w 40"/>
                <a:gd name="T17" fmla="*/ 36 h 41"/>
                <a:gd name="T18" fmla="*/ 20 w 40"/>
                <a:gd name="T19" fmla="*/ 8 h 41"/>
                <a:gd name="T20" fmla="*/ 11 w 40"/>
                <a:gd name="T21" fmla="*/ 21 h 41"/>
                <a:gd name="T22" fmla="*/ 20 w 40"/>
                <a:gd name="T23" fmla="*/ 33 h 41"/>
                <a:gd name="T24" fmla="*/ 30 w 40"/>
                <a:gd name="T25" fmla="*/ 21 h 41"/>
                <a:gd name="T26" fmla="*/ 20 w 40"/>
                <a:gd name="T27" fmla="*/ 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4" y="36"/>
                  </a:moveTo>
                  <a:cubicBezTo>
                    <a:pt x="31" y="39"/>
                    <a:pt x="26" y="41"/>
                    <a:pt x="20" y="41"/>
                  </a:cubicBezTo>
                  <a:cubicBezTo>
                    <a:pt x="15" y="41"/>
                    <a:pt x="10" y="39"/>
                    <a:pt x="7" y="36"/>
                  </a:cubicBezTo>
                  <a:cubicBezTo>
                    <a:pt x="3" y="33"/>
                    <a:pt x="0" y="27"/>
                    <a:pt x="0" y="21"/>
                  </a:cubicBezTo>
                  <a:cubicBezTo>
                    <a:pt x="0" y="15"/>
                    <a:pt x="2" y="9"/>
                    <a:pt x="6" y="6"/>
                  </a:cubicBezTo>
                  <a:cubicBezTo>
                    <a:pt x="10" y="2"/>
                    <a:pt x="14" y="0"/>
                    <a:pt x="20" y="0"/>
                  </a:cubicBezTo>
                  <a:cubicBezTo>
                    <a:pt x="26" y="0"/>
                    <a:pt x="31" y="2"/>
                    <a:pt x="35" y="6"/>
                  </a:cubicBezTo>
                  <a:cubicBezTo>
                    <a:pt x="38" y="9"/>
                    <a:pt x="40" y="14"/>
                    <a:pt x="40" y="20"/>
                  </a:cubicBezTo>
                  <a:cubicBezTo>
                    <a:pt x="40" y="26"/>
                    <a:pt x="38" y="32"/>
                    <a:pt x="34" y="36"/>
                  </a:cubicBezTo>
                  <a:close/>
                  <a:moveTo>
                    <a:pt x="20" y="8"/>
                  </a:moveTo>
                  <a:cubicBezTo>
                    <a:pt x="14" y="8"/>
                    <a:pt x="11" y="13"/>
                    <a:pt x="11" y="21"/>
                  </a:cubicBezTo>
                  <a:cubicBezTo>
                    <a:pt x="11" y="28"/>
                    <a:pt x="14" y="33"/>
                    <a:pt x="20" y="33"/>
                  </a:cubicBezTo>
                  <a:cubicBezTo>
                    <a:pt x="27" y="33"/>
                    <a:pt x="30" y="28"/>
                    <a:pt x="30" y="21"/>
                  </a:cubicBezTo>
                  <a:cubicBezTo>
                    <a:pt x="30" y="13"/>
                    <a:pt x="26" y="8"/>
                    <a:pt x="2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90"/>
            <p:cNvSpPr>
              <a:spLocks/>
            </p:cNvSpPr>
            <p:nvPr/>
          </p:nvSpPr>
          <p:spPr bwMode="auto">
            <a:xfrm>
              <a:off x="8751573" y="4413518"/>
              <a:ext cx="58409" cy="64973"/>
            </a:xfrm>
            <a:custGeom>
              <a:avLst/>
              <a:gdLst>
                <a:gd name="T0" fmla="*/ 25 w 35"/>
                <a:gd name="T1" fmla="*/ 41 h 41"/>
                <a:gd name="T2" fmla="*/ 25 w 35"/>
                <a:gd name="T3" fmla="*/ 17 h 41"/>
                <a:gd name="T4" fmla="*/ 20 w 35"/>
                <a:gd name="T5" fmla="*/ 9 h 41"/>
                <a:gd name="T6" fmla="*/ 10 w 35"/>
                <a:gd name="T7" fmla="*/ 13 h 41"/>
                <a:gd name="T8" fmla="*/ 10 w 35"/>
                <a:gd name="T9" fmla="*/ 34 h 41"/>
                <a:gd name="T10" fmla="*/ 0 w 35"/>
                <a:gd name="T11" fmla="*/ 41 h 41"/>
                <a:gd name="T12" fmla="*/ 0 w 35"/>
                <a:gd name="T13" fmla="*/ 1 h 41"/>
                <a:gd name="T14" fmla="*/ 8 w 35"/>
                <a:gd name="T15" fmla="*/ 1 h 41"/>
                <a:gd name="T16" fmla="*/ 9 w 35"/>
                <a:gd name="T17" fmla="*/ 5 h 41"/>
                <a:gd name="T18" fmla="*/ 23 w 35"/>
                <a:gd name="T19" fmla="*/ 0 h 41"/>
                <a:gd name="T20" fmla="*/ 35 w 35"/>
                <a:gd name="T21" fmla="*/ 14 h 41"/>
                <a:gd name="T22" fmla="*/ 35 w 35"/>
                <a:gd name="T23" fmla="*/ 34 h 41"/>
                <a:gd name="T24" fmla="*/ 25 w 35"/>
                <a:gd name="T25"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41">
                  <a:moveTo>
                    <a:pt x="25" y="41"/>
                  </a:moveTo>
                  <a:cubicBezTo>
                    <a:pt x="25" y="17"/>
                    <a:pt x="25" y="17"/>
                    <a:pt x="25" y="17"/>
                  </a:cubicBezTo>
                  <a:cubicBezTo>
                    <a:pt x="25" y="13"/>
                    <a:pt x="25" y="9"/>
                    <a:pt x="20" y="9"/>
                  </a:cubicBezTo>
                  <a:cubicBezTo>
                    <a:pt x="16" y="9"/>
                    <a:pt x="13" y="10"/>
                    <a:pt x="10" y="13"/>
                  </a:cubicBezTo>
                  <a:cubicBezTo>
                    <a:pt x="10" y="13"/>
                    <a:pt x="10" y="26"/>
                    <a:pt x="10" y="34"/>
                  </a:cubicBezTo>
                  <a:cubicBezTo>
                    <a:pt x="10" y="41"/>
                    <a:pt x="0" y="41"/>
                    <a:pt x="0" y="41"/>
                  </a:cubicBezTo>
                  <a:cubicBezTo>
                    <a:pt x="0" y="1"/>
                    <a:pt x="0" y="1"/>
                    <a:pt x="0" y="1"/>
                  </a:cubicBezTo>
                  <a:cubicBezTo>
                    <a:pt x="8" y="1"/>
                    <a:pt x="8" y="1"/>
                    <a:pt x="8" y="1"/>
                  </a:cubicBezTo>
                  <a:cubicBezTo>
                    <a:pt x="9" y="5"/>
                    <a:pt x="9" y="5"/>
                    <a:pt x="9" y="5"/>
                  </a:cubicBezTo>
                  <a:cubicBezTo>
                    <a:pt x="13" y="2"/>
                    <a:pt x="18" y="0"/>
                    <a:pt x="23" y="0"/>
                  </a:cubicBezTo>
                  <a:cubicBezTo>
                    <a:pt x="29" y="0"/>
                    <a:pt x="35" y="3"/>
                    <a:pt x="35" y="14"/>
                  </a:cubicBezTo>
                  <a:cubicBezTo>
                    <a:pt x="35" y="14"/>
                    <a:pt x="35" y="26"/>
                    <a:pt x="35" y="34"/>
                  </a:cubicBezTo>
                  <a:cubicBezTo>
                    <a:pt x="35" y="41"/>
                    <a:pt x="25" y="41"/>
                    <a:pt x="2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 name="Freeform 91"/>
            <p:cNvSpPr>
              <a:spLocks/>
            </p:cNvSpPr>
            <p:nvPr/>
          </p:nvSpPr>
          <p:spPr bwMode="auto">
            <a:xfrm>
              <a:off x="8522411" y="4413518"/>
              <a:ext cx="43571" cy="64973"/>
            </a:xfrm>
            <a:custGeom>
              <a:avLst/>
              <a:gdLst>
                <a:gd name="T0" fmla="*/ 23 w 26"/>
                <a:gd name="T1" fmla="*/ 10 h 41"/>
                <a:gd name="T2" fmla="*/ 18 w 26"/>
                <a:gd name="T3" fmla="*/ 9 h 41"/>
                <a:gd name="T4" fmla="*/ 11 w 26"/>
                <a:gd name="T5" fmla="*/ 12 h 41"/>
                <a:gd name="T6" fmla="*/ 11 w 26"/>
                <a:gd name="T7" fmla="*/ 34 h 41"/>
                <a:gd name="T8" fmla="*/ 0 w 26"/>
                <a:gd name="T9" fmla="*/ 41 h 41"/>
                <a:gd name="T10" fmla="*/ 0 w 26"/>
                <a:gd name="T11" fmla="*/ 1 h 41"/>
                <a:gd name="T12" fmla="*/ 9 w 26"/>
                <a:gd name="T13" fmla="*/ 1 h 41"/>
                <a:gd name="T14" fmla="*/ 10 w 26"/>
                <a:gd name="T15" fmla="*/ 5 h 41"/>
                <a:gd name="T16" fmla="*/ 21 w 26"/>
                <a:gd name="T17" fmla="*/ 0 h 41"/>
                <a:gd name="T18" fmla="*/ 26 w 26"/>
                <a:gd name="T19" fmla="*/ 2 h 41"/>
                <a:gd name="T20" fmla="*/ 23 w 26"/>
                <a:gd name="T21" fmla="*/ 1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41">
                  <a:moveTo>
                    <a:pt x="23" y="10"/>
                  </a:moveTo>
                  <a:cubicBezTo>
                    <a:pt x="21" y="9"/>
                    <a:pt x="19" y="9"/>
                    <a:pt x="18" y="9"/>
                  </a:cubicBezTo>
                  <a:cubicBezTo>
                    <a:pt x="16" y="9"/>
                    <a:pt x="13" y="10"/>
                    <a:pt x="11" y="12"/>
                  </a:cubicBezTo>
                  <a:cubicBezTo>
                    <a:pt x="11" y="12"/>
                    <a:pt x="11" y="26"/>
                    <a:pt x="11" y="34"/>
                  </a:cubicBezTo>
                  <a:cubicBezTo>
                    <a:pt x="11" y="41"/>
                    <a:pt x="0" y="41"/>
                    <a:pt x="0" y="41"/>
                  </a:cubicBezTo>
                  <a:cubicBezTo>
                    <a:pt x="0" y="1"/>
                    <a:pt x="0" y="1"/>
                    <a:pt x="0" y="1"/>
                  </a:cubicBezTo>
                  <a:cubicBezTo>
                    <a:pt x="9" y="1"/>
                    <a:pt x="9" y="1"/>
                    <a:pt x="9" y="1"/>
                  </a:cubicBezTo>
                  <a:cubicBezTo>
                    <a:pt x="10" y="5"/>
                    <a:pt x="10" y="5"/>
                    <a:pt x="10" y="5"/>
                  </a:cubicBezTo>
                  <a:cubicBezTo>
                    <a:pt x="14" y="2"/>
                    <a:pt x="17" y="0"/>
                    <a:pt x="21" y="0"/>
                  </a:cubicBezTo>
                  <a:cubicBezTo>
                    <a:pt x="23" y="0"/>
                    <a:pt x="25" y="1"/>
                    <a:pt x="26" y="2"/>
                  </a:cubicBezTo>
                  <a:lnTo>
                    <a:pt x="23"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92"/>
            <p:cNvSpPr>
              <a:spLocks/>
            </p:cNvSpPr>
            <p:nvPr/>
          </p:nvSpPr>
          <p:spPr bwMode="auto">
            <a:xfrm>
              <a:off x="7787114" y="4354553"/>
              <a:ext cx="101745" cy="147747"/>
            </a:xfrm>
            <a:custGeom>
              <a:avLst/>
              <a:gdLst>
                <a:gd name="T0" fmla="*/ 0 w 61"/>
                <a:gd name="T1" fmla="*/ 11 h 93"/>
                <a:gd name="T2" fmla="*/ 1 w 61"/>
                <a:gd name="T3" fmla="*/ 10 h 93"/>
                <a:gd name="T4" fmla="*/ 31 w 61"/>
                <a:gd name="T5" fmla="*/ 9 h 93"/>
                <a:gd name="T6" fmla="*/ 37 w 61"/>
                <a:gd name="T7" fmla="*/ 24 h 93"/>
                <a:gd name="T8" fmla="*/ 52 w 61"/>
                <a:gd name="T9" fmla="*/ 30 h 93"/>
                <a:gd name="T10" fmla="*/ 51 w 61"/>
                <a:gd name="T11" fmla="*/ 60 h 93"/>
                <a:gd name="T12" fmla="*/ 18 w 61"/>
                <a:gd name="T13" fmla="*/ 93 h 93"/>
                <a:gd name="T14" fmla="*/ 8 w 61"/>
                <a:gd name="T15" fmla="*/ 83 h 93"/>
                <a:gd name="T16" fmla="*/ 41 w 61"/>
                <a:gd name="T17" fmla="*/ 50 h 93"/>
                <a:gd name="T18" fmla="*/ 42 w 61"/>
                <a:gd name="T19" fmla="*/ 39 h 93"/>
                <a:gd name="T20" fmla="*/ 31 w 61"/>
                <a:gd name="T21" fmla="*/ 40 h 93"/>
                <a:gd name="T22" fmla="*/ 0 w 61"/>
                <a:gd name="T23" fmla="*/ 70 h 93"/>
                <a:gd name="T24" fmla="*/ 0 w 61"/>
                <a:gd name="T25" fmla="*/ 50 h 93"/>
                <a:gd name="T26" fmla="*/ 21 w 61"/>
                <a:gd name="T27" fmla="*/ 30 h 93"/>
                <a:gd name="T28" fmla="*/ 22 w 61"/>
                <a:gd name="T29" fmla="*/ 19 h 93"/>
                <a:gd name="T30" fmla="*/ 11 w 61"/>
                <a:gd name="T31" fmla="*/ 20 h 93"/>
                <a:gd name="T32" fmla="*/ 0 w 61"/>
                <a:gd name="T33" fmla="*/ 30 h 93"/>
                <a:gd name="T34" fmla="*/ 0 w 61"/>
                <a:gd name="T35" fmla="*/ 1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 h="93">
                  <a:moveTo>
                    <a:pt x="0" y="11"/>
                  </a:moveTo>
                  <a:cubicBezTo>
                    <a:pt x="1" y="10"/>
                    <a:pt x="1" y="10"/>
                    <a:pt x="1" y="10"/>
                  </a:cubicBezTo>
                  <a:cubicBezTo>
                    <a:pt x="11" y="0"/>
                    <a:pt x="23" y="1"/>
                    <a:pt x="31" y="9"/>
                  </a:cubicBezTo>
                  <a:cubicBezTo>
                    <a:pt x="37" y="15"/>
                    <a:pt x="37" y="21"/>
                    <a:pt x="37" y="24"/>
                  </a:cubicBezTo>
                  <a:cubicBezTo>
                    <a:pt x="40" y="24"/>
                    <a:pt x="46" y="24"/>
                    <a:pt x="52" y="30"/>
                  </a:cubicBezTo>
                  <a:cubicBezTo>
                    <a:pt x="60" y="38"/>
                    <a:pt x="61" y="50"/>
                    <a:pt x="51" y="60"/>
                  </a:cubicBezTo>
                  <a:cubicBezTo>
                    <a:pt x="18" y="93"/>
                    <a:pt x="18" y="93"/>
                    <a:pt x="18" y="93"/>
                  </a:cubicBezTo>
                  <a:cubicBezTo>
                    <a:pt x="8" y="83"/>
                    <a:pt x="8" y="83"/>
                    <a:pt x="8" y="83"/>
                  </a:cubicBezTo>
                  <a:cubicBezTo>
                    <a:pt x="41" y="50"/>
                    <a:pt x="41" y="50"/>
                    <a:pt x="41" y="50"/>
                  </a:cubicBezTo>
                  <a:cubicBezTo>
                    <a:pt x="45" y="46"/>
                    <a:pt x="44" y="42"/>
                    <a:pt x="42" y="39"/>
                  </a:cubicBezTo>
                  <a:cubicBezTo>
                    <a:pt x="39" y="37"/>
                    <a:pt x="35" y="36"/>
                    <a:pt x="31" y="40"/>
                  </a:cubicBezTo>
                  <a:cubicBezTo>
                    <a:pt x="0" y="70"/>
                    <a:pt x="0" y="70"/>
                    <a:pt x="0" y="70"/>
                  </a:cubicBezTo>
                  <a:cubicBezTo>
                    <a:pt x="0" y="50"/>
                    <a:pt x="0" y="50"/>
                    <a:pt x="0" y="50"/>
                  </a:cubicBezTo>
                  <a:cubicBezTo>
                    <a:pt x="21" y="30"/>
                    <a:pt x="21" y="30"/>
                    <a:pt x="21" y="30"/>
                  </a:cubicBezTo>
                  <a:cubicBezTo>
                    <a:pt x="25" y="26"/>
                    <a:pt x="24" y="22"/>
                    <a:pt x="22" y="19"/>
                  </a:cubicBezTo>
                  <a:cubicBezTo>
                    <a:pt x="19" y="17"/>
                    <a:pt x="15" y="16"/>
                    <a:pt x="11" y="20"/>
                  </a:cubicBezTo>
                  <a:cubicBezTo>
                    <a:pt x="0" y="30"/>
                    <a:pt x="0" y="30"/>
                    <a:pt x="0" y="30"/>
                  </a:cubicBezTo>
                  <a:lnTo>
                    <a:pt x="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93"/>
            <p:cNvSpPr>
              <a:spLocks/>
            </p:cNvSpPr>
            <p:nvPr/>
          </p:nvSpPr>
          <p:spPr bwMode="auto">
            <a:xfrm>
              <a:off x="7686782" y="4354553"/>
              <a:ext cx="100332" cy="147747"/>
            </a:xfrm>
            <a:custGeom>
              <a:avLst/>
              <a:gdLst>
                <a:gd name="T0" fmla="*/ 60 w 60"/>
                <a:gd name="T1" fmla="*/ 11 h 93"/>
                <a:gd name="T2" fmla="*/ 60 w 60"/>
                <a:gd name="T3" fmla="*/ 10 h 93"/>
                <a:gd name="T4" fmla="*/ 30 w 60"/>
                <a:gd name="T5" fmla="*/ 9 h 93"/>
                <a:gd name="T6" fmla="*/ 24 w 60"/>
                <a:gd name="T7" fmla="*/ 24 h 93"/>
                <a:gd name="T8" fmla="*/ 9 w 60"/>
                <a:gd name="T9" fmla="*/ 30 h 93"/>
                <a:gd name="T10" fmla="*/ 10 w 60"/>
                <a:gd name="T11" fmla="*/ 60 h 93"/>
                <a:gd name="T12" fmla="*/ 43 w 60"/>
                <a:gd name="T13" fmla="*/ 93 h 93"/>
                <a:gd name="T14" fmla="*/ 53 w 60"/>
                <a:gd name="T15" fmla="*/ 83 h 93"/>
                <a:gd name="T16" fmla="*/ 20 w 60"/>
                <a:gd name="T17" fmla="*/ 50 h 93"/>
                <a:gd name="T18" fmla="*/ 19 w 60"/>
                <a:gd name="T19" fmla="*/ 39 h 93"/>
                <a:gd name="T20" fmla="*/ 30 w 60"/>
                <a:gd name="T21" fmla="*/ 40 h 93"/>
                <a:gd name="T22" fmla="*/ 60 w 60"/>
                <a:gd name="T23" fmla="*/ 70 h 93"/>
                <a:gd name="T24" fmla="*/ 60 w 60"/>
                <a:gd name="T25" fmla="*/ 50 h 93"/>
                <a:gd name="T26" fmla="*/ 40 w 60"/>
                <a:gd name="T27" fmla="*/ 30 h 93"/>
                <a:gd name="T28" fmla="*/ 39 w 60"/>
                <a:gd name="T29" fmla="*/ 19 h 93"/>
                <a:gd name="T30" fmla="*/ 50 w 60"/>
                <a:gd name="T31" fmla="*/ 20 h 93"/>
                <a:gd name="T32" fmla="*/ 60 w 60"/>
                <a:gd name="T33" fmla="*/ 30 h 93"/>
                <a:gd name="T34" fmla="*/ 60 w 60"/>
                <a:gd name="T35" fmla="*/ 1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93">
                  <a:moveTo>
                    <a:pt x="60" y="11"/>
                  </a:moveTo>
                  <a:cubicBezTo>
                    <a:pt x="60" y="10"/>
                    <a:pt x="60" y="10"/>
                    <a:pt x="60" y="10"/>
                  </a:cubicBezTo>
                  <a:cubicBezTo>
                    <a:pt x="50" y="0"/>
                    <a:pt x="37" y="1"/>
                    <a:pt x="30" y="9"/>
                  </a:cubicBezTo>
                  <a:cubicBezTo>
                    <a:pt x="24" y="15"/>
                    <a:pt x="23" y="21"/>
                    <a:pt x="24" y="24"/>
                  </a:cubicBezTo>
                  <a:cubicBezTo>
                    <a:pt x="21" y="24"/>
                    <a:pt x="15" y="24"/>
                    <a:pt x="9" y="30"/>
                  </a:cubicBezTo>
                  <a:cubicBezTo>
                    <a:pt x="1" y="38"/>
                    <a:pt x="0" y="50"/>
                    <a:pt x="10" y="60"/>
                  </a:cubicBezTo>
                  <a:cubicBezTo>
                    <a:pt x="43" y="93"/>
                    <a:pt x="43" y="93"/>
                    <a:pt x="43" y="93"/>
                  </a:cubicBezTo>
                  <a:cubicBezTo>
                    <a:pt x="53" y="83"/>
                    <a:pt x="53" y="83"/>
                    <a:pt x="53" y="83"/>
                  </a:cubicBezTo>
                  <a:cubicBezTo>
                    <a:pt x="20" y="50"/>
                    <a:pt x="20" y="50"/>
                    <a:pt x="20" y="50"/>
                  </a:cubicBezTo>
                  <a:cubicBezTo>
                    <a:pt x="16" y="46"/>
                    <a:pt x="17" y="42"/>
                    <a:pt x="19" y="39"/>
                  </a:cubicBezTo>
                  <a:cubicBezTo>
                    <a:pt x="22" y="37"/>
                    <a:pt x="26" y="36"/>
                    <a:pt x="30" y="40"/>
                  </a:cubicBezTo>
                  <a:cubicBezTo>
                    <a:pt x="60" y="70"/>
                    <a:pt x="60" y="70"/>
                    <a:pt x="60" y="70"/>
                  </a:cubicBezTo>
                  <a:cubicBezTo>
                    <a:pt x="60" y="50"/>
                    <a:pt x="60" y="50"/>
                    <a:pt x="60" y="50"/>
                  </a:cubicBezTo>
                  <a:cubicBezTo>
                    <a:pt x="40" y="30"/>
                    <a:pt x="40" y="30"/>
                    <a:pt x="40" y="30"/>
                  </a:cubicBezTo>
                  <a:cubicBezTo>
                    <a:pt x="36" y="26"/>
                    <a:pt x="37" y="22"/>
                    <a:pt x="39" y="19"/>
                  </a:cubicBezTo>
                  <a:cubicBezTo>
                    <a:pt x="42" y="17"/>
                    <a:pt x="46" y="16"/>
                    <a:pt x="50" y="20"/>
                  </a:cubicBezTo>
                  <a:cubicBezTo>
                    <a:pt x="60" y="30"/>
                    <a:pt x="60" y="30"/>
                    <a:pt x="60" y="30"/>
                  </a:cubicBezTo>
                  <a:lnTo>
                    <a:pt x="60" y="11"/>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95" name="Freeform 94"/>
            <p:cNvSpPr>
              <a:spLocks/>
            </p:cNvSpPr>
            <p:nvPr/>
          </p:nvSpPr>
          <p:spPr bwMode="auto">
            <a:xfrm>
              <a:off x="8141337" y="4415076"/>
              <a:ext cx="103629" cy="66531"/>
            </a:xfrm>
            <a:custGeom>
              <a:avLst/>
              <a:gdLst>
                <a:gd name="T0" fmla="*/ 50 w 62"/>
                <a:gd name="T1" fmla="*/ 33 h 42"/>
                <a:gd name="T2" fmla="*/ 40 w 62"/>
                <a:gd name="T3" fmla="*/ 40 h 42"/>
                <a:gd name="T4" fmla="*/ 31 w 62"/>
                <a:gd name="T5" fmla="*/ 13 h 42"/>
                <a:gd name="T6" fmla="*/ 30 w 62"/>
                <a:gd name="T7" fmla="*/ 13 h 42"/>
                <a:gd name="T8" fmla="*/ 24 w 62"/>
                <a:gd name="T9" fmla="*/ 33 h 42"/>
                <a:gd name="T10" fmla="*/ 14 w 62"/>
                <a:gd name="T11" fmla="*/ 40 h 42"/>
                <a:gd name="T12" fmla="*/ 0 w 62"/>
                <a:gd name="T13" fmla="*/ 0 h 42"/>
                <a:gd name="T14" fmla="*/ 10 w 62"/>
                <a:gd name="T15" fmla="*/ 0 h 42"/>
                <a:gd name="T16" fmla="*/ 18 w 62"/>
                <a:gd name="T17" fmla="*/ 27 h 42"/>
                <a:gd name="T18" fmla="*/ 18 w 62"/>
                <a:gd name="T19" fmla="*/ 27 h 42"/>
                <a:gd name="T20" fmla="*/ 27 w 62"/>
                <a:gd name="T21" fmla="*/ 0 h 42"/>
                <a:gd name="T22" fmla="*/ 35 w 62"/>
                <a:gd name="T23" fmla="*/ 0 h 42"/>
                <a:gd name="T24" fmla="*/ 44 w 62"/>
                <a:gd name="T25" fmla="*/ 27 h 42"/>
                <a:gd name="T26" fmla="*/ 44 w 62"/>
                <a:gd name="T27" fmla="*/ 27 h 42"/>
                <a:gd name="T28" fmla="*/ 52 w 62"/>
                <a:gd name="T29" fmla="*/ 0 h 42"/>
                <a:gd name="T30" fmla="*/ 62 w 62"/>
                <a:gd name="T31" fmla="*/ 0 h 42"/>
                <a:gd name="T32" fmla="*/ 50 w 62"/>
                <a:gd name="T33" fmla="*/ 3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 h="42">
                  <a:moveTo>
                    <a:pt x="50" y="33"/>
                  </a:moveTo>
                  <a:cubicBezTo>
                    <a:pt x="47" y="42"/>
                    <a:pt x="40" y="40"/>
                    <a:pt x="40" y="40"/>
                  </a:cubicBezTo>
                  <a:cubicBezTo>
                    <a:pt x="31" y="13"/>
                    <a:pt x="31" y="13"/>
                    <a:pt x="31" y="13"/>
                  </a:cubicBezTo>
                  <a:cubicBezTo>
                    <a:pt x="30" y="13"/>
                    <a:pt x="30" y="13"/>
                    <a:pt x="30" y="13"/>
                  </a:cubicBezTo>
                  <a:cubicBezTo>
                    <a:pt x="30" y="13"/>
                    <a:pt x="26" y="26"/>
                    <a:pt x="24" y="33"/>
                  </a:cubicBezTo>
                  <a:cubicBezTo>
                    <a:pt x="21" y="42"/>
                    <a:pt x="14" y="40"/>
                    <a:pt x="14" y="40"/>
                  </a:cubicBezTo>
                  <a:cubicBezTo>
                    <a:pt x="0" y="0"/>
                    <a:pt x="0" y="0"/>
                    <a:pt x="0" y="0"/>
                  </a:cubicBezTo>
                  <a:cubicBezTo>
                    <a:pt x="10" y="0"/>
                    <a:pt x="10" y="0"/>
                    <a:pt x="10" y="0"/>
                  </a:cubicBezTo>
                  <a:cubicBezTo>
                    <a:pt x="18" y="27"/>
                    <a:pt x="18" y="27"/>
                    <a:pt x="18" y="27"/>
                  </a:cubicBezTo>
                  <a:cubicBezTo>
                    <a:pt x="18" y="27"/>
                    <a:pt x="18" y="27"/>
                    <a:pt x="18" y="27"/>
                  </a:cubicBezTo>
                  <a:cubicBezTo>
                    <a:pt x="27" y="0"/>
                    <a:pt x="27" y="0"/>
                    <a:pt x="27" y="0"/>
                  </a:cubicBezTo>
                  <a:cubicBezTo>
                    <a:pt x="35" y="0"/>
                    <a:pt x="35" y="0"/>
                    <a:pt x="35" y="0"/>
                  </a:cubicBezTo>
                  <a:cubicBezTo>
                    <a:pt x="44" y="27"/>
                    <a:pt x="44" y="27"/>
                    <a:pt x="44" y="27"/>
                  </a:cubicBezTo>
                  <a:cubicBezTo>
                    <a:pt x="44" y="27"/>
                    <a:pt x="44" y="27"/>
                    <a:pt x="44" y="27"/>
                  </a:cubicBezTo>
                  <a:cubicBezTo>
                    <a:pt x="52" y="0"/>
                    <a:pt x="52" y="0"/>
                    <a:pt x="52" y="0"/>
                  </a:cubicBezTo>
                  <a:cubicBezTo>
                    <a:pt x="62" y="0"/>
                    <a:pt x="62" y="0"/>
                    <a:pt x="62" y="0"/>
                  </a:cubicBezTo>
                  <a:cubicBezTo>
                    <a:pt x="62" y="0"/>
                    <a:pt x="53" y="26"/>
                    <a:pt x="50" y="33"/>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96" name="Freeform 95"/>
            <p:cNvSpPr>
              <a:spLocks noEditPoints="1"/>
            </p:cNvSpPr>
            <p:nvPr/>
          </p:nvSpPr>
          <p:spPr bwMode="auto">
            <a:xfrm>
              <a:off x="8246615" y="4413518"/>
              <a:ext cx="58645" cy="64973"/>
            </a:xfrm>
            <a:custGeom>
              <a:avLst/>
              <a:gdLst>
                <a:gd name="T0" fmla="*/ 27 w 35"/>
                <a:gd name="T1" fmla="*/ 41 h 41"/>
                <a:gd name="T2" fmla="*/ 25 w 35"/>
                <a:gd name="T3" fmla="*/ 37 h 41"/>
                <a:gd name="T4" fmla="*/ 13 w 35"/>
                <a:gd name="T5" fmla="*/ 41 h 41"/>
                <a:gd name="T6" fmla="*/ 0 w 35"/>
                <a:gd name="T7" fmla="*/ 29 h 41"/>
                <a:gd name="T8" fmla="*/ 17 w 35"/>
                <a:gd name="T9" fmla="*/ 16 h 41"/>
                <a:gd name="T10" fmla="*/ 24 w 35"/>
                <a:gd name="T11" fmla="*/ 15 h 41"/>
                <a:gd name="T12" fmla="*/ 24 w 35"/>
                <a:gd name="T13" fmla="*/ 14 h 41"/>
                <a:gd name="T14" fmla="*/ 16 w 35"/>
                <a:gd name="T15" fmla="*/ 8 h 41"/>
                <a:gd name="T16" fmla="*/ 6 w 35"/>
                <a:gd name="T17" fmla="*/ 11 h 41"/>
                <a:gd name="T18" fmla="*/ 3 w 35"/>
                <a:gd name="T19" fmla="*/ 4 h 41"/>
                <a:gd name="T20" fmla="*/ 18 w 35"/>
                <a:gd name="T21" fmla="*/ 0 h 41"/>
                <a:gd name="T22" fmla="*/ 34 w 35"/>
                <a:gd name="T23" fmla="*/ 14 h 41"/>
                <a:gd name="T24" fmla="*/ 34 w 35"/>
                <a:gd name="T25" fmla="*/ 30 h 41"/>
                <a:gd name="T26" fmla="*/ 35 w 35"/>
                <a:gd name="T27" fmla="*/ 41 h 41"/>
                <a:gd name="T28" fmla="*/ 27 w 35"/>
                <a:gd name="T29" fmla="*/ 41 h 41"/>
                <a:gd name="T30" fmla="*/ 24 w 35"/>
                <a:gd name="T31" fmla="*/ 22 h 41"/>
                <a:gd name="T32" fmla="*/ 18 w 35"/>
                <a:gd name="T33" fmla="*/ 22 h 41"/>
                <a:gd name="T34" fmla="*/ 10 w 35"/>
                <a:gd name="T35" fmla="*/ 28 h 41"/>
                <a:gd name="T36" fmla="*/ 17 w 35"/>
                <a:gd name="T37" fmla="*/ 33 h 41"/>
                <a:gd name="T38" fmla="*/ 24 w 35"/>
                <a:gd name="T39" fmla="*/ 31 h 41"/>
                <a:gd name="T40" fmla="*/ 24 w 35"/>
                <a:gd name="T41" fmla="*/ 2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 h="41">
                  <a:moveTo>
                    <a:pt x="27" y="41"/>
                  </a:moveTo>
                  <a:cubicBezTo>
                    <a:pt x="25" y="37"/>
                    <a:pt x="25" y="37"/>
                    <a:pt x="25" y="37"/>
                  </a:cubicBezTo>
                  <a:cubicBezTo>
                    <a:pt x="22" y="39"/>
                    <a:pt x="18" y="41"/>
                    <a:pt x="13" y="41"/>
                  </a:cubicBezTo>
                  <a:cubicBezTo>
                    <a:pt x="6" y="41"/>
                    <a:pt x="0" y="36"/>
                    <a:pt x="0" y="29"/>
                  </a:cubicBezTo>
                  <a:cubicBezTo>
                    <a:pt x="0" y="20"/>
                    <a:pt x="7" y="16"/>
                    <a:pt x="17" y="16"/>
                  </a:cubicBezTo>
                  <a:cubicBezTo>
                    <a:pt x="24" y="15"/>
                    <a:pt x="24" y="15"/>
                    <a:pt x="24" y="15"/>
                  </a:cubicBezTo>
                  <a:cubicBezTo>
                    <a:pt x="24" y="15"/>
                    <a:pt x="24" y="15"/>
                    <a:pt x="24" y="14"/>
                  </a:cubicBezTo>
                  <a:cubicBezTo>
                    <a:pt x="24" y="10"/>
                    <a:pt x="21" y="8"/>
                    <a:pt x="16" y="8"/>
                  </a:cubicBezTo>
                  <a:cubicBezTo>
                    <a:pt x="12" y="8"/>
                    <a:pt x="9" y="9"/>
                    <a:pt x="6" y="11"/>
                  </a:cubicBezTo>
                  <a:cubicBezTo>
                    <a:pt x="3" y="4"/>
                    <a:pt x="3" y="4"/>
                    <a:pt x="3" y="4"/>
                  </a:cubicBezTo>
                  <a:cubicBezTo>
                    <a:pt x="8" y="1"/>
                    <a:pt x="13" y="0"/>
                    <a:pt x="18" y="0"/>
                  </a:cubicBezTo>
                  <a:cubicBezTo>
                    <a:pt x="28" y="0"/>
                    <a:pt x="34" y="4"/>
                    <a:pt x="34" y="14"/>
                  </a:cubicBezTo>
                  <a:cubicBezTo>
                    <a:pt x="34" y="30"/>
                    <a:pt x="34" y="30"/>
                    <a:pt x="34" y="30"/>
                  </a:cubicBezTo>
                  <a:cubicBezTo>
                    <a:pt x="34" y="36"/>
                    <a:pt x="34" y="39"/>
                    <a:pt x="35" y="41"/>
                  </a:cubicBezTo>
                  <a:lnTo>
                    <a:pt x="27" y="41"/>
                  </a:lnTo>
                  <a:close/>
                  <a:moveTo>
                    <a:pt x="24" y="22"/>
                  </a:moveTo>
                  <a:cubicBezTo>
                    <a:pt x="18" y="22"/>
                    <a:pt x="18" y="22"/>
                    <a:pt x="18" y="22"/>
                  </a:cubicBezTo>
                  <a:cubicBezTo>
                    <a:pt x="13" y="23"/>
                    <a:pt x="10" y="24"/>
                    <a:pt x="10" y="28"/>
                  </a:cubicBezTo>
                  <a:cubicBezTo>
                    <a:pt x="10" y="31"/>
                    <a:pt x="13" y="33"/>
                    <a:pt x="17" y="33"/>
                  </a:cubicBezTo>
                  <a:cubicBezTo>
                    <a:pt x="20" y="33"/>
                    <a:pt x="23" y="32"/>
                    <a:pt x="24" y="31"/>
                  </a:cubicBezTo>
                  <a:lnTo>
                    <a:pt x="24" y="22"/>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97" name="Freeform 96"/>
            <p:cNvSpPr>
              <a:spLocks noEditPoints="1"/>
            </p:cNvSpPr>
            <p:nvPr/>
          </p:nvSpPr>
          <p:spPr bwMode="auto">
            <a:xfrm>
              <a:off x="8363669" y="4383257"/>
              <a:ext cx="63591" cy="95234"/>
            </a:xfrm>
            <a:custGeom>
              <a:avLst/>
              <a:gdLst>
                <a:gd name="T0" fmla="*/ 22 w 38"/>
                <a:gd name="T1" fmla="*/ 60 h 60"/>
                <a:gd name="T2" fmla="*/ 0 w 38"/>
                <a:gd name="T3" fmla="*/ 40 h 60"/>
                <a:gd name="T4" fmla="*/ 22 w 38"/>
                <a:gd name="T5" fmla="*/ 19 h 60"/>
                <a:gd name="T6" fmla="*/ 27 w 38"/>
                <a:gd name="T7" fmla="*/ 19 h 60"/>
                <a:gd name="T8" fmla="*/ 28 w 38"/>
                <a:gd name="T9" fmla="*/ 0 h 60"/>
                <a:gd name="T10" fmla="*/ 38 w 38"/>
                <a:gd name="T11" fmla="*/ 0 h 60"/>
                <a:gd name="T12" fmla="*/ 37 w 38"/>
                <a:gd name="T13" fmla="*/ 57 h 60"/>
                <a:gd name="T14" fmla="*/ 22 w 38"/>
                <a:gd name="T15" fmla="*/ 60 h 60"/>
                <a:gd name="T16" fmla="*/ 27 w 38"/>
                <a:gd name="T17" fmla="*/ 27 h 60"/>
                <a:gd name="T18" fmla="*/ 23 w 38"/>
                <a:gd name="T19" fmla="*/ 27 h 60"/>
                <a:gd name="T20" fmla="*/ 10 w 38"/>
                <a:gd name="T21" fmla="*/ 39 h 60"/>
                <a:gd name="T22" fmla="*/ 23 w 38"/>
                <a:gd name="T23" fmla="*/ 52 h 60"/>
                <a:gd name="T24" fmla="*/ 27 w 38"/>
                <a:gd name="T25" fmla="*/ 51 h 60"/>
                <a:gd name="T26" fmla="*/ 27 w 38"/>
                <a:gd name="T27" fmla="*/ 2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60">
                  <a:moveTo>
                    <a:pt x="22" y="60"/>
                  </a:moveTo>
                  <a:cubicBezTo>
                    <a:pt x="10" y="60"/>
                    <a:pt x="0" y="53"/>
                    <a:pt x="0" y="40"/>
                  </a:cubicBezTo>
                  <a:cubicBezTo>
                    <a:pt x="0" y="28"/>
                    <a:pt x="9" y="19"/>
                    <a:pt x="22" y="19"/>
                  </a:cubicBezTo>
                  <a:cubicBezTo>
                    <a:pt x="24" y="19"/>
                    <a:pt x="26" y="19"/>
                    <a:pt x="27" y="19"/>
                  </a:cubicBezTo>
                  <a:cubicBezTo>
                    <a:pt x="28" y="0"/>
                    <a:pt x="28" y="0"/>
                    <a:pt x="28" y="0"/>
                  </a:cubicBezTo>
                  <a:cubicBezTo>
                    <a:pt x="38" y="0"/>
                    <a:pt x="38" y="0"/>
                    <a:pt x="38" y="0"/>
                  </a:cubicBezTo>
                  <a:cubicBezTo>
                    <a:pt x="37" y="57"/>
                    <a:pt x="37" y="57"/>
                    <a:pt x="37" y="57"/>
                  </a:cubicBezTo>
                  <a:cubicBezTo>
                    <a:pt x="34" y="59"/>
                    <a:pt x="29" y="60"/>
                    <a:pt x="22" y="60"/>
                  </a:cubicBezTo>
                  <a:close/>
                  <a:moveTo>
                    <a:pt x="27" y="27"/>
                  </a:moveTo>
                  <a:cubicBezTo>
                    <a:pt x="26" y="27"/>
                    <a:pt x="25" y="27"/>
                    <a:pt x="23" y="27"/>
                  </a:cubicBezTo>
                  <a:cubicBezTo>
                    <a:pt x="16" y="27"/>
                    <a:pt x="10" y="32"/>
                    <a:pt x="10" y="39"/>
                  </a:cubicBezTo>
                  <a:cubicBezTo>
                    <a:pt x="10" y="47"/>
                    <a:pt x="15" y="52"/>
                    <a:pt x="23" y="52"/>
                  </a:cubicBezTo>
                  <a:cubicBezTo>
                    <a:pt x="24" y="52"/>
                    <a:pt x="26" y="52"/>
                    <a:pt x="27" y="51"/>
                  </a:cubicBezTo>
                  <a:lnTo>
                    <a:pt x="27" y="2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98" name="Freeform 97"/>
            <p:cNvSpPr>
              <a:spLocks/>
            </p:cNvSpPr>
            <p:nvPr/>
          </p:nvSpPr>
          <p:spPr bwMode="auto">
            <a:xfrm>
              <a:off x="8114724" y="4383257"/>
              <a:ext cx="16722" cy="95234"/>
            </a:xfrm>
            <a:custGeom>
              <a:avLst/>
              <a:gdLst>
                <a:gd name="T0" fmla="*/ 10 w 10"/>
                <a:gd name="T1" fmla="*/ 53 h 60"/>
                <a:gd name="T2" fmla="*/ 0 w 10"/>
                <a:gd name="T3" fmla="*/ 60 h 60"/>
                <a:gd name="T4" fmla="*/ 0 w 10"/>
                <a:gd name="T5" fmla="*/ 0 h 60"/>
                <a:gd name="T6" fmla="*/ 10 w 10"/>
                <a:gd name="T7" fmla="*/ 0 h 60"/>
                <a:gd name="T8" fmla="*/ 10 w 10"/>
                <a:gd name="T9" fmla="*/ 53 h 60"/>
              </a:gdLst>
              <a:ahLst/>
              <a:cxnLst>
                <a:cxn ang="0">
                  <a:pos x="T0" y="T1"/>
                </a:cxn>
                <a:cxn ang="0">
                  <a:pos x="T2" y="T3"/>
                </a:cxn>
                <a:cxn ang="0">
                  <a:pos x="T4" y="T5"/>
                </a:cxn>
                <a:cxn ang="0">
                  <a:pos x="T6" y="T7"/>
                </a:cxn>
                <a:cxn ang="0">
                  <a:pos x="T8" y="T9"/>
                </a:cxn>
              </a:cxnLst>
              <a:rect l="0" t="0" r="r" b="b"/>
              <a:pathLst>
                <a:path w="10" h="60">
                  <a:moveTo>
                    <a:pt x="10" y="53"/>
                  </a:moveTo>
                  <a:cubicBezTo>
                    <a:pt x="10" y="60"/>
                    <a:pt x="0" y="60"/>
                    <a:pt x="0" y="60"/>
                  </a:cubicBezTo>
                  <a:cubicBezTo>
                    <a:pt x="0" y="0"/>
                    <a:pt x="0" y="0"/>
                    <a:pt x="0" y="0"/>
                  </a:cubicBezTo>
                  <a:cubicBezTo>
                    <a:pt x="10" y="0"/>
                    <a:pt x="10" y="0"/>
                    <a:pt x="10" y="0"/>
                  </a:cubicBezTo>
                  <a:cubicBezTo>
                    <a:pt x="10" y="0"/>
                    <a:pt x="10" y="45"/>
                    <a:pt x="10" y="53"/>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99" name="Freeform 98"/>
            <p:cNvSpPr>
              <a:spLocks/>
            </p:cNvSpPr>
            <p:nvPr/>
          </p:nvSpPr>
          <p:spPr bwMode="auto">
            <a:xfrm>
              <a:off x="8081279" y="4383257"/>
              <a:ext cx="16722" cy="95234"/>
            </a:xfrm>
            <a:custGeom>
              <a:avLst/>
              <a:gdLst>
                <a:gd name="T0" fmla="*/ 10 w 10"/>
                <a:gd name="T1" fmla="*/ 53 h 60"/>
                <a:gd name="T2" fmla="*/ 0 w 10"/>
                <a:gd name="T3" fmla="*/ 60 h 60"/>
                <a:gd name="T4" fmla="*/ 0 w 10"/>
                <a:gd name="T5" fmla="*/ 0 h 60"/>
                <a:gd name="T6" fmla="*/ 10 w 10"/>
                <a:gd name="T7" fmla="*/ 0 h 60"/>
                <a:gd name="T8" fmla="*/ 10 w 10"/>
                <a:gd name="T9" fmla="*/ 53 h 60"/>
              </a:gdLst>
              <a:ahLst/>
              <a:cxnLst>
                <a:cxn ang="0">
                  <a:pos x="T0" y="T1"/>
                </a:cxn>
                <a:cxn ang="0">
                  <a:pos x="T2" y="T3"/>
                </a:cxn>
                <a:cxn ang="0">
                  <a:pos x="T4" y="T5"/>
                </a:cxn>
                <a:cxn ang="0">
                  <a:pos x="T6" y="T7"/>
                </a:cxn>
                <a:cxn ang="0">
                  <a:pos x="T8" y="T9"/>
                </a:cxn>
              </a:cxnLst>
              <a:rect l="0" t="0" r="r" b="b"/>
              <a:pathLst>
                <a:path w="10" h="60">
                  <a:moveTo>
                    <a:pt x="10" y="53"/>
                  </a:moveTo>
                  <a:cubicBezTo>
                    <a:pt x="10" y="60"/>
                    <a:pt x="0" y="60"/>
                    <a:pt x="0" y="60"/>
                  </a:cubicBezTo>
                  <a:cubicBezTo>
                    <a:pt x="0" y="0"/>
                    <a:pt x="0" y="0"/>
                    <a:pt x="0" y="0"/>
                  </a:cubicBezTo>
                  <a:cubicBezTo>
                    <a:pt x="10" y="0"/>
                    <a:pt x="10" y="0"/>
                    <a:pt x="10" y="0"/>
                  </a:cubicBezTo>
                  <a:cubicBezTo>
                    <a:pt x="10" y="0"/>
                    <a:pt x="10" y="45"/>
                    <a:pt x="10" y="53"/>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00" name="Freeform 99"/>
            <p:cNvSpPr>
              <a:spLocks/>
            </p:cNvSpPr>
            <p:nvPr/>
          </p:nvSpPr>
          <p:spPr bwMode="auto">
            <a:xfrm>
              <a:off x="8318450" y="4413518"/>
              <a:ext cx="43571" cy="64973"/>
            </a:xfrm>
            <a:custGeom>
              <a:avLst/>
              <a:gdLst>
                <a:gd name="T0" fmla="*/ 22 w 26"/>
                <a:gd name="T1" fmla="*/ 10 h 41"/>
                <a:gd name="T2" fmla="*/ 18 w 26"/>
                <a:gd name="T3" fmla="*/ 9 h 41"/>
                <a:gd name="T4" fmla="*/ 10 w 26"/>
                <a:gd name="T5" fmla="*/ 12 h 41"/>
                <a:gd name="T6" fmla="*/ 10 w 26"/>
                <a:gd name="T7" fmla="*/ 34 h 41"/>
                <a:gd name="T8" fmla="*/ 0 w 26"/>
                <a:gd name="T9" fmla="*/ 41 h 41"/>
                <a:gd name="T10" fmla="*/ 0 w 26"/>
                <a:gd name="T11" fmla="*/ 1 h 41"/>
                <a:gd name="T12" fmla="*/ 9 w 26"/>
                <a:gd name="T13" fmla="*/ 1 h 41"/>
                <a:gd name="T14" fmla="*/ 10 w 26"/>
                <a:gd name="T15" fmla="*/ 5 h 41"/>
                <a:gd name="T16" fmla="*/ 21 w 26"/>
                <a:gd name="T17" fmla="*/ 0 h 41"/>
                <a:gd name="T18" fmla="*/ 26 w 26"/>
                <a:gd name="T19" fmla="*/ 2 h 41"/>
                <a:gd name="T20" fmla="*/ 22 w 26"/>
                <a:gd name="T21" fmla="*/ 1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41">
                  <a:moveTo>
                    <a:pt x="22" y="10"/>
                  </a:moveTo>
                  <a:cubicBezTo>
                    <a:pt x="21" y="9"/>
                    <a:pt x="19" y="9"/>
                    <a:pt x="18" y="9"/>
                  </a:cubicBezTo>
                  <a:cubicBezTo>
                    <a:pt x="15" y="9"/>
                    <a:pt x="13" y="10"/>
                    <a:pt x="10" y="12"/>
                  </a:cubicBezTo>
                  <a:cubicBezTo>
                    <a:pt x="10" y="12"/>
                    <a:pt x="10" y="26"/>
                    <a:pt x="10" y="34"/>
                  </a:cubicBezTo>
                  <a:cubicBezTo>
                    <a:pt x="10" y="41"/>
                    <a:pt x="0" y="41"/>
                    <a:pt x="0" y="41"/>
                  </a:cubicBezTo>
                  <a:cubicBezTo>
                    <a:pt x="0" y="1"/>
                    <a:pt x="0" y="1"/>
                    <a:pt x="0" y="1"/>
                  </a:cubicBezTo>
                  <a:cubicBezTo>
                    <a:pt x="9" y="1"/>
                    <a:pt x="9" y="1"/>
                    <a:pt x="9" y="1"/>
                  </a:cubicBezTo>
                  <a:cubicBezTo>
                    <a:pt x="10" y="5"/>
                    <a:pt x="10" y="5"/>
                    <a:pt x="10" y="5"/>
                  </a:cubicBezTo>
                  <a:cubicBezTo>
                    <a:pt x="14" y="2"/>
                    <a:pt x="17" y="0"/>
                    <a:pt x="21" y="0"/>
                  </a:cubicBezTo>
                  <a:cubicBezTo>
                    <a:pt x="23" y="0"/>
                    <a:pt x="25" y="1"/>
                    <a:pt x="26" y="2"/>
                  </a:cubicBezTo>
                  <a:lnTo>
                    <a:pt x="22" y="1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01" name="Freeform 100"/>
            <p:cNvSpPr>
              <a:spLocks/>
            </p:cNvSpPr>
            <p:nvPr/>
          </p:nvSpPr>
          <p:spPr bwMode="auto">
            <a:xfrm>
              <a:off x="7929133" y="4383257"/>
              <a:ext cx="98684" cy="93677"/>
            </a:xfrm>
            <a:custGeom>
              <a:avLst/>
              <a:gdLst>
                <a:gd name="T0" fmla="*/ 48 w 59"/>
                <a:gd name="T1" fmla="*/ 59 h 59"/>
                <a:gd name="T2" fmla="*/ 48 w 59"/>
                <a:gd name="T3" fmla="*/ 24 h 59"/>
                <a:gd name="T4" fmla="*/ 49 w 59"/>
                <a:gd name="T5" fmla="*/ 18 h 59"/>
                <a:gd name="T6" fmla="*/ 48 w 59"/>
                <a:gd name="T7" fmla="*/ 18 h 59"/>
                <a:gd name="T8" fmla="*/ 45 w 59"/>
                <a:gd name="T9" fmla="*/ 24 h 59"/>
                <a:gd name="T10" fmla="*/ 33 w 59"/>
                <a:gd name="T11" fmla="*/ 42 h 59"/>
                <a:gd name="T12" fmla="*/ 28 w 59"/>
                <a:gd name="T13" fmla="*/ 42 h 59"/>
                <a:gd name="T14" fmla="*/ 14 w 59"/>
                <a:gd name="T15" fmla="*/ 23 h 59"/>
                <a:gd name="T16" fmla="*/ 11 w 59"/>
                <a:gd name="T17" fmla="*/ 18 h 59"/>
                <a:gd name="T18" fmla="*/ 11 w 59"/>
                <a:gd name="T19" fmla="*/ 18 h 59"/>
                <a:gd name="T20" fmla="*/ 11 w 59"/>
                <a:gd name="T21" fmla="*/ 24 h 59"/>
                <a:gd name="T22" fmla="*/ 11 w 59"/>
                <a:gd name="T23" fmla="*/ 59 h 59"/>
                <a:gd name="T24" fmla="*/ 0 w 59"/>
                <a:gd name="T25" fmla="*/ 59 h 59"/>
                <a:gd name="T26" fmla="*/ 0 w 59"/>
                <a:gd name="T27" fmla="*/ 0 h 59"/>
                <a:gd name="T28" fmla="*/ 10 w 59"/>
                <a:gd name="T29" fmla="*/ 0 h 59"/>
                <a:gd name="T30" fmla="*/ 26 w 59"/>
                <a:gd name="T31" fmla="*/ 24 h 59"/>
                <a:gd name="T32" fmla="*/ 30 w 59"/>
                <a:gd name="T33" fmla="*/ 30 h 59"/>
                <a:gd name="T34" fmla="*/ 30 w 59"/>
                <a:gd name="T35" fmla="*/ 30 h 59"/>
                <a:gd name="T36" fmla="*/ 34 w 59"/>
                <a:gd name="T37" fmla="*/ 24 h 59"/>
                <a:gd name="T38" fmla="*/ 49 w 59"/>
                <a:gd name="T39" fmla="*/ 0 h 59"/>
                <a:gd name="T40" fmla="*/ 59 w 59"/>
                <a:gd name="T41" fmla="*/ 0 h 59"/>
                <a:gd name="T42" fmla="*/ 59 w 59"/>
                <a:gd name="T43" fmla="*/ 59 h 59"/>
                <a:gd name="T44" fmla="*/ 48 w 59"/>
                <a:gd name="T4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9" h="59">
                  <a:moveTo>
                    <a:pt x="48" y="59"/>
                  </a:moveTo>
                  <a:cubicBezTo>
                    <a:pt x="48" y="24"/>
                    <a:pt x="48" y="24"/>
                    <a:pt x="48" y="24"/>
                  </a:cubicBezTo>
                  <a:cubicBezTo>
                    <a:pt x="48" y="22"/>
                    <a:pt x="48" y="20"/>
                    <a:pt x="49" y="18"/>
                  </a:cubicBezTo>
                  <a:cubicBezTo>
                    <a:pt x="48" y="18"/>
                    <a:pt x="48" y="18"/>
                    <a:pt x="48" y="18"/>
                  </a:cubicBezTo>
                  <a:cubicBezTo>
                    <a:pt x="48" y="19"/>
                    <a:pt x="46" y="22"/>
                    <a:pt x="45" y="24"/>
                  </a:cubicBezTo>
                  <a:cubicBezTo>
                    <a:pt x="33" y="42"/>
                    <a:pt x="33" y="42"/>
                    <a:pt x="33" y="42"/>
                  </a:cubicBezTo>
                  <a:cubicBezTo>
                    <a:pt x="28" y="42"/>
                    <a:pt x="28" y="42"/>
                    <a:pt x="28" y="42"/>
                  </a:cubicBezTo>
                  <a:cubicBezTo>
                    <a:pt x="14" y="23"/>
                    <a:pt x="14" y="23"/>
                    <a:pt x="14" y="23"/>
                  </a:cubicBezTo>
                  <a:cubicBezTo>
                    <a:pt x="13" y="22"/>
                    <a:pt x="12" y="20"/>
                    <a:pt x="11" y="18"/>
                  </a:cubicBezTo>
                  <a:cubicBezTo>
                    <a:pt x="11" y="18"/>
                    <a:pt x="11" y="18"/>
                    <a:pt x="11" y="18"/>
                  </a:cubicBezTo>
                  <a:cubicBezTo>
                    <a:pt x="11" y="20"/>
                    <a:pt x="11" y="22"/>
                    <a:pt x="11" y="24"/>
                  </a:cubicBezTo>
                  <a:cubicBezTo>
                    <a:pt x="11" y="59"/>
                    <a:pt x="11" y="59"/>
                    <a:pt x="11" y="59"/>
                  </a:cubicBezTo>
                  <a:cubicBezTo>
                    <a:pt x="0" y="59"/>
                    <a:pt x="0" y="59"/>
                    <a:pt x="0" y="59"/>
                  </a:cubicBezTo>
                  <a:cubicBezTo>
                    <a:pt x="0" y="0"/>
                    <a:pt x="0" y="0"/>
                    <a:pt x="0" y="0"/>
                  </a:cubicBezTo>
                  <a:cubicBezTo>
                    <a:pt x="10" y="0"/>
                    <a:pt x="10" y="0"/>
                    <a:pt x="10" y="0"/>
                  </a:cubicBezTo>
                  <a:cubicBezTo>
                    <a:pt x="26" y="24"/>
                    <a:pt x="26" y="24"/>
                    <a:pt x="26" y="24"/>
                  </a:cubicBezTo>
                  <a:cubicBezTo>
                    <a:pt x="28" y="26"/>
                    <a:pt x="29" y="28"/>
                    <a:pt x="30" y="30"/>
                  </a:cubicBezTo>
                  <a:cubicBezTo>
                    <a:pt x="30" y="30"/>
                    <a:pt x="30" y="30"/>
                    <a:pt x="30" y="30"/>
                  </a:cubicBezTo>
                  <a:cubicBezTo>
                    <a:pt x="31" y="28"/>
                    <a:pt x="32" y="26"/>
                    <a:pt x="34" y="24"/>
                  </a:cubicBezTo>
                  <a:cubicBezTo>
                    <a:pt x="49" y="0"/>
                    <a:pt x="49" y="0"/>
                    <a:pt x="49" y="0"/>
                  </a:cubicBezTo>
                  <a:cubicBezTo>
                    <a:pt x="59" y="0"/>
                    <a:pt x="59" y="0"/>
                    <a:pt x="59" y="0"/>
                  </a:cubicBezTo>
                  <a:cubicBezTo>
                    <a:pt x="59" y="59"/>
                    <a:pt x="59" y="59"/>
                    <a:pt x="59" y="59"/>
                  </a:cubicBezTo>
                  <a:lnTo>
                    <a:pt x="48" y="5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02" name="Freeform 101"/>
            <p:cNvSpPr>
              <a:spLocks noEditPoints="1"/>
            </p:cNvSpPr>
            <p:nvPr/>
          </p:nvSpPr>
          <p:spPr bwMode="auto">
            <a:xfrm>
              <a:off x="8044539" y="4386372"/>
              <a:ext cx="21668" cy="92119"/>
            </a:xfrm>
            <a:custGeom>
              <a:avLst/>
              <a:gdLst>
                <a:gd name="T0" fmla="*/ 6 w 13"/>
                <a:gd name="T1" fmla="*/ 12 h 58"/>
                <a:gd name="T2" fmla="*/ 0 w 13"/>
                <a:gd name="T3" fmla="*/ 6 h 58"/>
                <a:gd name="T4" fmla="*/ 6 w 13"/>
                <a:gd name="T5" fmla="*/ 0 h 58"/>
                <a:gd name="T6" fmla="*/ 13 w 13"/>
                <a:gd name="T7" fmla="*/ 6 h 58"/>
                <a:gd name="T8" fmla="*/ 6 w 13"/>
                <a:gd name="T9" fmla="*/ 12 h 58"/>
                <a:gd name="T10" fmla="*/ 1 w 13"/>
                <a:gd name="T11" fmla="*/ 58 h 58"/>
                <a:gd name="T12" fmla="*/ 1 w 13"/>
                <a:gd name="T13" fmla="*/ 18 h 58"/>
                <a:gd name="T14" fmla="*/ 11 w 13"/>
                <a:gd name="T15" fmla="*/ 18 h 58"/>
                <a:gd name="T16" fmla="*/ 11 w 13"/>
                <a:gd name="T17" fmla="*/ 51 h 58"/>
                <a:gd name="T18" fmla="*/ 1 w 13"/>
                <a:gd name="T19"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58">
                  <a:moveTo>
                    <a:pt x="6" y="12"/>
                  </a:moveTo>
                  <a:cubicBezTo>
                    <a:pt x="3" y="12"/>
                    <a:pt x="0" y="9"/>
                    <a:pt x="0" y="6"/>
                  </a:cubicBezTo>
                  <a:cubicBezTo>
                    <a:pt x="0" y="2"/>
                    <a:pt x="3" y="0"/>
                    <a:pt x="6" y="0"/>
                  </a:cubicBezTo>
                  <a:cubicBezTo>
                    <a:pt x="10" y="0"/>
                    <a:pt x="13" y="2"/>
                    <a:pt x="13" y="6"/>
                  </a:cubicBezTo>
                  <a:cubicBezTo>
                    <a:pt x="13" y="9"/>
                    <a:pt x="10" y="12"/>
                    <a:pt x="6" y="12"/>
                  </a:cubicBezTo>
                  <a:close/>
                  <a:moveTo>
                    <a:pt x="1" y="58"/>
                  </a:moveTo>
                  <a:cubicBezTo>
                    <a:pt x="1" y="18"/>
                    <a:pt x="1" y="18"/>
                    <a:pt x="1" y="18"/>
                  </a:cubicBezTo>
                  <a:cubicBezTo>
                    <a:pt x="11" y="18"/>
                    <a:pt x="11" y="18"/>
                    <a:pt x="11" y="18"/>
                  </a:cubicBezTo>
                  <a:cubicBezTo>
                    <a:pt x="11" y="18"/>
                    <a:pt x="11" y="43"/>
                    <a:pt x="11" y="51"/>
                  </a:cubicBezTo>
                  <a:cubicBezTo>
                    <a:pt x="11" y="58"/>
                    <a:pt x="1" y="58"/>
                    <a:pt x="1" y="58"/>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03" name="Freeform 102"/>
            <p:cNvSpPr>
              <a:spLocks/>
            </p:cNvSpPr>
            <p:nvPr/>
          </p:nvSpPr>
          <p:spPr bwMode="auto">
            <a:xfrm>
              <a:off x="8224947" y="4510310"/>
              <a:ext cx="13425" cy="79436"/>
            </a:xfrm>
            <a:custGeom>
              <a:avLst/>
              <a:gdLst>
                <a:gd name="T0" fmla="*/ 8 w 8"/>
                <a:gd name="T1" fmla="*/ 44 h 50"/>
                <a:gd name="T2" fmla="*/ 0 w 8"/>
                <a:gd name="T3" fmla="*/ 50 h 50"/>
                <a:gd name="T4" fmla="*/ 0 w 8"/>
                <a:gd name="T5" fmla="*/ 0 h 50"/>
                <a:gd name="T6" fmla="*/ 8 w 8"/>
                <a:gd name="T7" fmla="*/ 0 h 50"/>
                <a:gd name="T8" fmla="*/ 8 w 8"/>
                <a:gd name="T9" fmla="*/ 44 h 50"/>
              </a:gdLst>
              <a:ahLst/>
              <a:cxnLst>
                <a:cxn ang="0">
                  <a:pos x="T0" y="T1"/>
                </a:cxn>
                <a:cxn ang="0">
                  <a:pos x="T2" y="T3"/>
                </a:cxn>
                <a:cxn ang="0">
                  <a:pos x="T4" y="T5"/>
                </a:cxn>
                <a:cxn ang="0">
                  <a:pos x="T6" y="T7"/>
                </a:cxn>
                <a:cxn ang="0">
                  <a:pos x="T8" y="T9"/>
                </a:cxn>
              </a:cxnLst>
              <a:rect l="0" t="0" r="r" b="b"/>
              <a:pathLst>
                <a:path w="8" h="50">
                  <a:moveTo>
                    <a:pt x="8" y="44"/>
                  </a:moveTo>
                  <a:cubicBezTo>
                    <a:pt x="8" y="50"/>
                    <a:pt x="0" y="50"/>
                    <a:pt x="0" y="50"/>
                  </a:cubicBezTo>
                  <a:cubicBezTo>
                    <a:pt x="0" y="0"/>
                    <a:pt x="0" y="0"/>
                    <a:pt x="0" y="0"/>
                  </a:cubicBezTo>
                  <a:cubicBezTo>
                    <a:pt x="8" y="0"/>
                    <a:pt x="8" y="0"/>
                    <a:pt x="8" y="0"/>
                  </a:cubicBezTo>
                  <a:cubicBezTo>
                    <a:pt x="8" y="0"/>
                    <a:pt x="8" y="37"/>
                    <a:pt x="8"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 name="Freeform 103"/>
            <p:cNvSpPr>
              <a:spLocks noEditPoints="1"/>
            </p:cNvSpPr>
            <p:nvPr/>
          </p:nvSpPr>
          <p:spPr bwMode="auto">
            <a:xfrm>
              <a:off x="8007562" y="4513425"/>
              <a:ext cx="18371" cy="76321"/>
            </a:xfrm>
            <a:custGeom>
              <a:avLst/>
              <a:gdLst>
                <a:gd name="T0" fmla="*/ 5 w 11"/>
                <a:gd name="T1" fmla="*/ 10 h 48"/>
                <a:gd name="T2" fmla="*/ 0 w 11"/>
                <a:gd name="T3" fmla="*/ 5 h 48"/>
                <a:gd name="T4" fmla="*/ 5 w 11"/>
                <a:gd name="T5" fmla="*/ 0 h 48"/>
                <a:gd name="T6" fmla="*/ 11 w 11"/>
                <a:gd name="T7" fmla="*/ 5 h 48"/>
                <a:gd name="T8" fmla="*/ 5 w 11"/>
                <a:gd name="T9" fmla="*/ 10 h 48"/>
                <a:gd name="T10" fmla="*/ 1 w 11"/>
                <a:gd name="T11" fmla="*/ 48 h 48"/>
                <a:gd name="T12" fmla="*/ 1 w 11"/>
                <a:gd name="T13" fmla="*/ 15 h 48"/>
                <a:gd name="T14" fmla="*/ 10 w 11"/>
                <a:gd name="T15" fmla="*/ 15 h 48"/>
                <a:gd name="T16" fmla="*/ 10 w 11"/>
                <a:gd name="T17" fmla="*/ 42 h 48"/>
                <a:gd name="T18" fmla="*/ 1 w 11"/>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48">
                  <a:moveTo>
                    <a:pt x="5" y="10"/>
                  </a:moveTo>
                  <a:cubicBezTo>
                    <a:pt x="3" y="10"/>
                    <a:pt x="0" y="7"/>
                    <a:pt x="0" y="5"/>
                  </a:cubicBezTo>
                  <a:cubicBezTo>
                    <a:pt x="0" y="2"/>
                    <a:pt x="3" y="0"/>
                    <a:pt x="5" y="0"/>
                  </a:cubicBezTo>
                  <a:cubicBezTo>
                    <a:pt x="8" y="0"/>
                    <a:pt x="11" y="2"/>
                    <a:pt x="11" y="5"/>
                  </a:cubicBezTo>
                  <a:cubicBezTo>
                    <a:pt x="11" y="7"/>
                    <a:pt x="8" y="10"/>
                    <a:pt x="5" y="10"/>
                  </a:cubicBezTo>
                  <a:close/>
                  <a:moveTo>
                    <a:pt x="1" y="48"/>
                  </a:moveTo>
                  <a:cubicBezTo>
                    <a:pt x="1" y="15"/>
                    <a:pt x="1" y="15"/>
                    <a:pt x="1" y="15"/>
                  </a:cubicBezTo>
                  <a:cubicBezTo>
                    <a:pt x="10" y="15"/>
                    <a:pt x="10" y="15"/>
                    <a:pt x="10" y="15"/>
                  </a:cubicBezTo>
                  <a:cubicBezTo>
                    <a:pt x="10" y="15"/>
                    <a:pt x="10" y="36"/>
                    <a:pt x="10" y="42"/>
                  </a:cubicBezTo>
                  <a:cubicBezTo>
                    <a:pt x="10" y="48"/>
                    <a:pt x="1" y="48"/>
                    <a:pt x="1"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104"/>
            <p:cNvSpPr>
              <a:spLocks noEditPoints="1"/>
            </p:cNvSpPr>
            <p:nvPr/>
          </p:nvSpPr>
          <p:spPr bwMode="auto">
            <a:xfrm>
              <a:off x="8094469" y="4513425"/>
              <a:ext cx="16722" cy="76321"/>
            </a:xfrm>
            <a:custGeom>
              <a:avLst/>
              <a:gdLst>
                <a:gd name="T0" fmla="*/ 5 w 10"/>
                <a:gd name="T1" fmla="*/ 10 h 48"/>
                <a:gd name="T2" fmla="*/ 0 w 10"/>
                <a:gd name="T3" fmla="*/ 5 h 48"/>
                <a:gd name="T4" fmla="*/ 5 w 10"/>
                <a:gd name="T5" fmla="*/ 0 h 48"/>
                <a:gd name="T6" fmla="*/ 10 w 10"/>
                <a:gd name="T7" fmla="*/ 5 h 48"/>
                <a:gd name="T8" fmla="*/ 5 w 10"/>
                <a:gd name="T9" fmla="*/ 10 h 48"/>
                <a:gd name="T10" fmla="*/ 1 w 10"/>
                <a:gd name="T11" fmla="*/ 48 h 48"/>
                <a:gd name="T12" fmla="*/ 1 w 10"/>
                <a:gd name="T13" fmla="*/ 15 h 48"/>
                <a:gd name="T14" fmla="*/ 9 w 10"/>
                <a:gd name="T15" fmla="*/ 15 h 48"/>
                <a:gd name="T16" fmla="*/ 9 w 10"/>
                <a:gd name="T17" fmla="*/ 42 h 48"/>
                <a:gd name="T18" fmla="*/ 1 w 10"/>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48">
                  <a:moveTo>
                    <a:pt x="5" y="10"/>
                  </a:moveTo>
                  <a:cubicBezTo>
                    <a:pt x="2" y="10"/>
                    <a:pt x="0" y="8"/>
                    <a:pt x="0" y="5"/>
                  </a:cubicBezTo>
                  <a:cubicBezTo>
                    <a:pt x="0" y="2"/>
                    <a:pt x="2" y="0"/>
                    <a:pt x="5" y="0"/>
                  </a:cubicBezTo>
                  <a:cubicBezTo>
                    <a:pt x="8" y="0"/>
                    <a:pt x="10" y="2"/>
                    <a:pt x="10" y="5"/>
                  </a:cubicBezTo>
                  <a:cubicBezTo>
                    <a:pt x="10" y="8"/>
                    <a:pt x="8" y="10"/>
                    <a:pt x="5" y="10"/>
                  </a:cubicBezTo>
                  <a:close/>
                  <a:moveTo>
                    <a:pt x="1" y="48"/>
                  </a:moveTo>
                  <a:cubicBezTo>
                    <a:pt x="1" y="15"/>
                    <a:pt x="1" y="15"/>
                    <a:pt x="1" y="15"/>
                  </a:cubicBezTo>
                  <a:cubicBezTo>
                    <a:pt x="9" y="15"/>
                    <a:pt x="9" y="15"/>
                    <a:pt x="9" y="15"/>
                  </a:cubicBezTo>
                  <a:cubicBezTo>
                    <a:pt x="9" y="15"/>
                    <a:pt x="9" y="36"/>
                    <a:pt x="9" y="42"/>
                  </a:cubicBezTo>
                  <a:cubicBezTo>
                    <a:pt x="9" y="48"/>
                    <a:pt x="1" y="48"/>
                    <a:pt x="1"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105"/>
            <p:cNvSpPr>
              <a:spLocks noEditPoints="1"/>
            </p:cNvSpPr>
            <p:nvPr/>
          </p:nvSpPr>
          <p:spPr bwMode="auto">
            <a:xfrm>
              <a:off x="7929133" y="4510310"/>
              <a:ext cx="70185" cy="77879"/>
            </a:xfrm>
            <a:custGeom>
              <a:avLst/>
              <a:gdLst>
                <a:gd name="T0" fmla="*/ 0 w 42"/>
                <a:gd name="T1" fmla="*/ 0 h 49"/>
                <a:gd name="T2" fmla="*/ 15 w 42"/>
                <a:gd name="T3" fmla="*/ 0 h 49"/>
                <a:gd name="T4" fmla="*/ 42 w 42"/>
                <a:gd name="T5" fmla="*/ 25 h 49"/>
                <a:gd name="T6" fmla="*/ 14 w 42"/>
                <a:gd name="T7" fmla="*/ 49 h 49"/>
                <a:gd name="T8" fmla="*/ 0 w 42"/>
                <a:gd name="T9" fmla="*/ 49 h 49"/>
                <a:gd name="T10" fmla="*/ 0 w 42"/>
                <a:gd name="T11" fmla="*/ 0 h 49"/>
                <a:gd name="T12" fmla="*/ 14 w 42"/>
                <a:gd name="T13" fmla="*/ 42 h 49"/>
                <a:gd name="T14" fmla="*/ 32 w 42"/>
                <a:gd name="T15" fmla="*/ 25 h 49"/>
                <a:gd name="T16" fmla="*/ 14 w 42"/>
                <a:gd name="T17" fmla="*/ 8 h 49"/>
                <a:gd name="T18" fmla="*/ 8 w 42"/>
                <a:gd name="T19" fmla="*/ 8 h 49"/>
                <a:gd name="T20" fmla="*/ 8 w 42"/>
                <a:gd name="T21" fmla="*/ 42 h 49"/>
                <a:gd name="T22" fmla="*/ 14 w 42"/>
                <a:gd name="T23" fmla="*/ 4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49">
                  <a:moveTo>
                    <a:pt x="0" y="0"/>
                  </a:moveTo>
                  <a:cubicBezTo>
                    <a:pt x="15" y="0"/>
                    <a:pt x="15" y="0"/>
                    <a:pt x="15" y="0"/>
                  </a:cubicBezTo>
                  <a:cubicBezTo>
                    <a:pt x="32" y="0"/>
                    <a:pt x="42" y="10"/>
                    <a:pt x="42" y="25"/>
                  </a:cubicBezTo>
                  <a:cubicBezTo>
                    <a:pt x="42" y="40"/>
                    <a:pt x="31" y="49"/>
                    <a:pt x="14" y="49"/>
                  </a:cubicBezTo>
                  <a:cubicBezTo>
                    <a:pt x="0" y="49"/>
                    <a:pt x="0" y="49"/>
                    <a:pt x="0" y="49"/>
                  </a:cubicBezTo>
                  <a:lnTo>
                    <a:pt x="0" y="0"/>
                  </a:lnTo>
                  <a:close/>
                  <a:moveTo>
                    <a:pt x="14" y="42"/>
                  </a:moveTo>
                  <a:cubicBezTo>
                    <a:pt x="27" y="42"/>
                    <a:pt x="32" y="34"/>
                    <a:pt x="32" y="25"/>
                  </a:cubicBezTo>
                  <a:cubicBezTo>
                    <a:pt x="32" y="15"/>
                    <a:pt x="26" y="8"/>
                    <a:pt x="14" y="8"/>
                  </a:cubicBezTo>
                  <a:cubicBezTo>
                    <a:pt x="8" y="8"/>
                    <a:pt x="8" y="8"/>
                    <a:pt x="8" y="8"/>
                  </a:cubicBezTo>
                  <a:cubicBezTo>
                    <a:pt x="8" y="42"/>
                    <a:pt x="8" y="42"/>
                    <a:pt x="8" y="42"/>
                  </a:cubicBezTo>
                  <a:lnTo>
                    <a:pt x="1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 name="Freeform 106"/>
            <p:cNvSpPr>
              <a:spLocks noEditPoints="1"/>
            </p:cNvSpPr>
            <p:nvPr/>
          </p:nvSpPr>
          <p:spPr bwMode="auto">
            <a:xfrm>
              <a:off x="8031114" y="4529223"/>
              <a:ext cx="58409" cy="87447"/>
            </a:xfrm>
            <a:custGeom>
              <a:avLst/>
              <a:gdLst>
                <a:gd name="T0" fmla="*/ 0 w 35"/>
                <a:gd name="T1" fmla="*/ 45 h 55"/>
                <a:gd name="T2" fmla="*/ 6 w 35"/>
                <a:gd name="T3" fmla="*/ 37 h 55"/>
                <a:gd name="T4" fmla="*/ 4 w 35"/>
                <a:gd name="T5" fmla="*/ 32 h 55"/>
                <a:gd name="T6" fmla="*/ 8 w 35"/>
                <a:gd name="T7" fmla="*/ 26 h 55"/>
                <a:gd name="T8" fmla="*/ 2 w 35"/>
                <a:gd name="T9" fmla="*/ 15 h 55"/>
                <a:gd name="T10" fmla="*/ 16 w 35"/>
                <a:gd name="T11" fmla="*/ 2 h 55"/>
                <a:gd name="T12" fmla="*/ 23 w 35"/>
                <a:gd name="T13" fmla="*/ 3 h 55"/>
                <a:gd name="T14" fmla="*/ 24 w 35"/>
                <a:gd name="T15" fmla="*/ 3 h 55"/>
                <a:gd name="T16" fmla="*/ 33 w 35"/>
                <a:gd name="T17" fmla="*/ 0 h 55"/>
                <a:gd name="T18" fmla="*/ 35 w 35"/>
                <a:gd name="T19" fmla="*/ 0 h 55"/>
                <a:gd name="T20" fmla="*/ 33 w 35"/>
                <a:gd name="T21" fmla="*/ 7 h 55"/>
                <a:gd name="T22" fmla="*/ 31 w 35"/>
                <a:gd name="T23" fmla="*/ 6 h 55"/>
                <a:gd name="T24" fmla="*/ 28 w 35"/>
                <a:gd name="T25" fmla="*/ 7 h 55"/>
                <a:gd name="T26" fmla="*/ 31 w 35"/>
                <a:gd name="T27" fmla="*/ 15 h 55"/>
                <a:gd name="T28" fmla="*/ 17 w 35"/>
                <a:gd name="T29" fmla="*/ 28 h 55"/>
                <a:gd name="T30" fmla="*/ 12 w 35"/>
                <a:gd name="T31" fmla="*/ 28 h 55"/>
                <a:gd name="T32" fmla="*/ 12 w 35"/>
                <a:gd name="T33" fmla="*/ 30 h 55"/>
                <a:gd name="T34" fmla="*/ 35 w 35"/>
                <a:gd name="T35" fmla="*/ 44 h 55"/>
                <a:gd name="T36" fmla="*/ 16 w 35"/>
                <a:gd name="T37" fmla="*/ 55 h 55"/>
                <a:gd name="T38" fmla="*/ 0 w 35"/>
                <a:gd name="T39" fmla="*/ 45 h 55"/>
                <a:gd name="T40" fmla="*/ 26 w 35"/>
                <a:gd name="T41" fmla="*/ 45 h 55"/>
                <a:gd name="T42" fmla="*/ 10 w 35"/>
                <a:gd name="T43" fmla="*/ 39 h 55"/>
                <a:gd name="T44" fmla="*/ 8 w 35"/>
                <a:gd name="T45" fmla="*/ 44 h 55"/>
                <a:gd name="T46" fmla="*/ 17 w 35"/>
                <a:gd name="T47" fmla="*/ 49 h 55"/>
                <a:gd name="T48" fmla="*/ 26 w 35"/>
                <a:gd name="T49" fmla="*/ 45 h 55"/>
                <a:gd name="T50" fmla="*/ 23 w 35"/>
                <a:gd name="T51" fmla="*/ 15 h 55"/>
                <a:gd name="T52" fmla="*/ 17 w 35"/>
                <a:gd name="T53" fmla="*/ 9 h 55"/>
                <a:gd name="T54" fmla="*/ 10 w 35"/>
                <a:gd name="T55" fmla="*/ 15 h 55"/>
                <a:gd name="T56" fmla="*/ 17 w 35"/>
                <a:gd name="T57" fmla="*/ 22 h 55"/>
                <a:gd name="T58" fmla="*/ 23 w 35"/>
                <a:gd name="T59" fmla="*/ 1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 h="55">
                  <a:moveTo>
                    <a:pt x="0" y="45"/>
                  </a:moveTo>
                  <a:cubicBezTo>
                    <a:pt x="0" y="41"/>
                    <a:pt x="2" y="38"/>
                    <a:pt x="6" y="37"/>
                  </a:cubicBezTo>
                  <a:cubicBezTo>
                    <a:pt x="5" y="36"/>
                    <a:pt x="4" y="34"/>
                    <a:pt x="4" y="32"/>
                  </a:cubicBezTo>
                  <a:cubicBezTo>
                    <a:pt x="4" y="30"/>
                    <a:pt x="5" y="28"/>
                    <a:pt x="8" y="26"/>
                  </a:cubicBezTo>
                  <a:cubicBezTo>
                    <a:pt x="4" y="24"/>
                    <a:pt x="2" y="19"/>
                    <a:pt x="2" y="15"/>
                  </a:cubicBezTo>
                  <a:cubicBezTo>
                    <a:pt x="2" y="8"/>
                    <a:pt x="7" y="2"/>
                    <a:pt x="16" y="2"/>
                  </a:cubicBezTo>
                  <a:cubicBezTo>
                    <a:pt x="20" y="2"/>
                    <a:pt x="22" y="3"/>
                    <a:pt x="23" y="3"/>
                  </a:cubicBezTo>
                  <a:cubicBezTo>
                    <a:pt x="24" y="4"/>
                    <a:pt x="24" y="3"/>
                    <a:pt x="24" y="3"/>
                  </a:cubicBezTo>
                  <a:cubicBezTo>
                    <a:pt x="26" y="1"/>
                    <a:pt x="28" y="0"/>
                    <a:pt x="33" y="0"/>
                  </a:cubicBezTo>
                  <a:cubicBezTo>
                    <a:pt x="34" y="0"/>
                    <a:pt x="35" y="0"/>
                    <a:pt x="35" y="0"/>
                  </a:cubicBezTo>
                  <a:cubicBezTo>
                    <a:pt x="33" y="7"/>
                    <a:pt x="33" y="7"/>
                    <a:pt x="33" y="7"/>
                  </a:cubicBezTo>
                  <a:cubicBezTo>
                    <a:pt x="33" y="7"/>
                    <a:pt x="32" y="6"/>
                    <a:pt x="31" y="6"/>
                  </a:cubicBezTo>
                  <a:cubicBezTo>
                    <a:pt x="30" y="6"/>
                    <a:pt x="29" y="7"/>
                    <a:pt x="28" y="7"/>
                  </a:cubicBezTo>
                  <a:cubicBezTo>
                    <a:pt x="30" y="9"/>
                    <a:pt x="31" y="12"/>
                    <a:pt x="31" y="15"/>
                  </a:cubicBezTo>
                  <a:cubicBezTo>
                    <a:pt x="31" y="23"/>
                    <a:pt x="25" y="28"/>
                    <a:pt x="17" y="28"/>
                  </a:cubicBezTo>
                  <a:cubicBezTo>
                    <a:pt x="15" y="28"/>
                    <a:pt x="14" y="28"/>
                    <a:pt x="12" y="28"/>
                  </a:cubicBezTo>
                  <a:cubicBezTo>
                    <a:pt x="12" y="29"/>
                    <a:pt x="12" y="30"/>
                    <a:pt x="12" y="30"/>
                  </a:cubicBezTo>
                  <a:cubicBezTo>
                    <a:pt x="12" y="37"/>
                    <a:pt x="35" y="31"/>
                    <a:pt x="35" y="44"/>
                  </a:cubicBezTo>
                  <a:cubicBezTo>
                    <a:pt x="35" y="50"/>
                    <a:pt x="28" y="55"/>
                    <a:pt x="16" y="55"/>
                  </a:cubicBezTo>
                  <a:cubicBezTo>
                    <a:pt x="6" y="55"/>
                    <a:pt x="0" y="51"/>
                    <a:pt x="0" y="45"/>
                  </a:cubicBezTo>
                  <a:close/>
                  <a:moveTo>
                    <a:pt x="26" y="45"/>
                  </a:moveTo>
                  <a:cubicBezTo>
                    <a:pt x="26" y="40"/>
                    <a:pt x="15" y="41"/>
                    <a:pt x="10" y="39"/>
                  </a:cubicBezTo>
                  <a:cubicBezTo>
                    <a:pt x="9" y="40"/>
                    <a:pt x="8" y="41"/>
                    <a:pt x="8" y="44"/>
                  </a:cubicBezTo>
                  <a:cubicBezTo>
                    <a:pt x="8" y="47"/>
                    <a:pt x="11" y="49"/>
                    <a:pt x="17" y="49"/>
                  </a:cubicBezTo>
                  <a:cubicBezTo>
                    <a:pt x="23" y="49"/>
                    <a:pt x="26" y="47"/>
                    <a:pt x="26" y="45"/>
                  </a:cubicBezTo>
                  <a:close/>
                  <a:moveTo>
                    <a:pt x="23" y="15"/>
                  </a:moveTo>
                  <a:cubicBezTo>
                    <a:pt x="23" y="12"/>
                    <a:pt x="20" y="9"/>
                    <a:pt x="17" y="9"/>
                  </a:cubicBezTo>
                  <a:cubicBezTo>
                    <a:pt x="13" y="9"/>
                    <a:pt x="10" y="11"/>
                    <a:pt x="10" y="15"/>
                  </a:cubicBezTo>
                  <a:cubicBezTo>
                    <a:pt x="10" y="19"/>
                    <a:pt x="13" y="22"/>
                    <a:pt x="17" y="22"/>
                  </a:cubicBezTo>
                  <a:cubicBezTo>
                    <a:pt x="20" y="22"/>
                    <a:pt x="23" y="19"/>
                    <a:pt x="23"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Freeform 107"/>
            <p:cNvSpPr>
              <a:spLocks/>
            </p:cNvSpPr>
            <p:nvPr/>
          </p:nvSpPr>
          <p:spPr bwMode="auto">
            <a:xfrm>
              <a:off x="8116372" y="4516540"/>
              <a:ext cx="44984" cy="74763"/>
            </a:xfrm>
            <a:custGeom>
              <a:avLst/>
              <a:gdLst>
                <a:gd name="T0" fmla="*/ 7 w 27"/>
                <a:gd name="T1" fmla="*/ 37 h 47"/>
                <a:gd name="T2" fmla="*/ 7 w 27"/>
                <a:gd name="T3" fmla="*/ 18 h 47"/>
                <a:gd name="T4" fmla="*/ 0 w 27"/>
                <a:gd name="T5" fmla="*/ 18 h 47"/>
                <a:gd name="T6" fmla="*/ 0 w 27"/>
                <a:gd name="T7" fmla="*/ 11 h 47"/>
                <a:gd name="T8" fmla="*/ 7 w 27"/>
                <a:gd name="T9" fmla="*/ 11 h 47"/>
                <a:gd name="T10" fmla="*/ 7 w 27"/>
                <a:gd name="T11" fmla="*/ 3 h 47"/>
                <a:gd name="T12" fmla="*/ 15 w 27"/>
                <a:gd name="T13" fmla="*/ 0 h 47"/>
                <a:gd name="T14" fmla="*/ 15 w 27"/>
                <a:gd name="T15" fmla="*/ 11 h 47"/>
                <a:gd name="T16" fmla="*/ 26 w 27"/>
                <a:gd name="T17" fmla="*/ 11 h 47"/>
                <a:gd name="T18" fmla="*/ 24 w 27"/>
                <a:gd name="T19" fmla="*/ 18 h 47"/>
                <a:gd name="T20" fmla="*/ 15 w 27"/>
                <a:gd name="T21" fmla="*/ 18 h 47"/>
                <a:gd name="T22" fmla="*/ 15 w 27"/>
                <a:gd name="T23" fmla="*/ 35 h 47"/>
                <a:gd name="T24" fmla="*/ 19 w 27"/>
                <a:gd name="T25" fmla="*/ 40 h 47"/>
                <a:gd name="T26" fmla="*/ 24 w 27"/>
                <a:gd name="T27" fmla="*/ 38 h 47"/>
                <a:gd name="T28" fmla="*/ 27 w 27"/>
                <a:gd name="T29" fmla="*/ 44 h 47"/>
                <a:gd name="T30" fmla="*/ 17 w 27"/>
                <a:gd name="T31" fmla="*/ 47 h 47"/>
                <a:gd name="T32" fmla="*/ 7 w 27"/>
                <a:gd name="T33" fmla="*/ 3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 h="47">
                  <a:moveTo>
                    <a:pt x="7" y="37"/>
                  </a:moveTo>
                  <a:cubicBezTo>
                    <a:pt x="7" y="18"/>
                    <a:pt x="7" y="18"/>
                    <a:pt x="7" y="18"/>
                  </a:cubicBezTo>
                  <a:cubicBezTo>
                    <a:pt x="0" y="18"/>
                    <a:pt x="0" y="18"/>
                    <a:pt x="0" y="18"/>
                  </a:cubicBezTo>
                  <a:cubicBezTo>
                    <a:pt x="0" y="11"/>
                    <a:pt x="0" y="11"/>
                    <a:pt x="0" y="11"/>
                  </a:cubicBezTo>
                  <a:cubicBezTo>
                    <a:pt x="7" y="11"/>
                    <a:pt x="7" y="11"/>
                    <a:pt x="7" y="11"/>
                  </a:cubicBezTo>
                  <a:cubicBezTo>
                    <a:pt x="7" y="3"/>
                    <a:pt x="7" y="3"/>
                    <a:pt x="7" y="3"/>
                  </a:cubicBezTo>
                  <a:cubicBezTo>
                    <a:pt x="15" y="0"/>
                    <a:pt x="15" y="0"/>
                    <a:pt x="15" y="0"/>
                  </a:cubicBezTo>
                  <a:cubicBezTo>
                    <a:pt x="15" y="11"/>
                    <a:pt x="15" y="11"/>
                    <a:pt x="15" y="11"/>
                  </a:cubicBezTo>
                  <a:cubicBezTo>
                    <a:pt x="26" y="11"/>
                    <a:pt x="26" y="11"/>
                    <a:pt x="26" y="11"/>
                  </a:cubicBezTo>
                  <a:cubicBezTo>
                    <a:pt x="24" y="18"/>
                    <a:pt x="24" y="18"/>
                    <a:pt x="24" y="18"/>
                  </a:cubicBezTo>
                  <a:cubicBezTo>
                    <a:pt x="15" y="18"/>
                    <a:pt x="15" y="18"/>
                    <a:pt x="15" y="18"/>
                  </a:cubicBezTo>
                  <a:cubicBezTo>
                    <a:pt x="15" y="35"/>
                    <a:pt x="15" y="35"/>
                    <a:pt x="15" y="35"/>
                  </a:cubicBezTo>
                  <a:cubicBezTo>
                    <a:pt x="15" y="38"/>
                    <a:pt x="17" y="40"/>
                    <a:pt x="19" y="40"/>
                  </a:cubicBezTo>
                  <a:cubicBezTo>
                    <a:pt x="21" y="40"/>
                    <a:pt x="23" y="39"/>
                    <a:pt x="24" y="38"/>
                  </a:cubicBezTo>
                  <a:cubicBezTo>
                    <a:pt x="27" y="44"/>
                    <a:pt x="27" y="44"/>
                    <a:pt x="27" y="44"/>
                  </a:cubicBezTo>
                  <a:cubicBezTo>
                    <a:pt x="24" y="46"/>
                    <a:pt x="20" y="47"/>
                    <a:pt x="17" y="47"/>
                  </a:cubicBezTo>
                  <a:cubicBezTo>
                    <a:pt x="10" y="47"/>
                    <a:pt x="7" y="43"/>
                    <a:pt x="7"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 name="Freeform 108"/>
            <p:cNvSpPr>
              <a:spLocks noEditPoints="1"/>
            </p:cNvSpPr>
            <p:nvPr/>
          </p:nvSpPr>
          <p:spPr bwMode="auto">
            <a:xfrm>
              <a:off x="8163005" y="4532562"/>
              <a:ext cx="51814" cy="58743"/>
            </a:xfrm>
            <a:custGeom>
              <a:avLst/>
              <a:gdLst>
                <a:gd name="T0" fmla="*/ 22 w 31"/>
                <a:gd name="T1" fmla="*/ 33 h 37"/>
                <a:gd name="T2" fmla="*/ 12 w 31"/>
                <a:gd name="T3" fmla="*/ 37 h 37"/>
                <a:gd name="T4" fmla="*/ 0 w 31"/>
                <a:gd name="T5" fmla="*/ 26 h 37"/>
                <a:gd name="T6" fmla="*/ 6 w 31"/>
                <a:gd name="T7" fmla="*/ 16 h 37"/>
                <a:gd name="T8" fmla="*/ 15 w 31"/>
                <a:gd name="T9" fmla="*/ 14 h 37"/>
                <a:gd name="T10" fmla="*/ 21 w 31"/>
                <a:gd name="T11" fmla="*/ 14 h 37"/>
                <a:gd name="T12" fmla="*/ 21 w 31"/>
                <a:gd name="T13" fmla="*/ 13 h 37"/>
                <a:gd name="T14" fmla="*/ 15 w 31"/>
                <a:gd name="T15" fmla="*/ 7 h 37"/>
                <a:gd name="T16" fmla="*/ 5 w 31"/>
                <a:gd name="T17" fmla="*/ 9 h 37"/>
                <a:gd name="T18" fmla="*/ 3 w 31"/>
                <a:gd name="T19" fmla="*/ 4 h 37"/>
                <a:gd name="T20" fmla="*/ 16 w 31"/>
                <a:gd name="T21" fmla="*/ 0 h 37"/>
                <a:gd name="T22" fmla="*/ 30 w 31"/>
                <a:gd name="T23" fmla="*/ 13 h 37"/>
                <a:gd name="T24" fmla="*/ 30 w 31"/>
                <a:gd name="T25" fmla="*/ 27 h 37"/>
                <a:gd name="T26" fmla="*/ 31 w 31"/>
                <a:gd name="T27" fmla="*/ 36 h 37"/>
                <a:gd name="T28" fmla="*/ 24 w 31"/>
                <a:gd name="T29" fmla="*/ 36 h 37"/>
                <a:gd name="T30" fmla="*/ 22 w 31"/>
                <a:gd name="T31" fmla="*/ 33 h 37"/>
                <a:gd name="T32" fmla="*/ 17 w 31"/>
                <a:gd name="T33" fmla="*/ 20 h 37"/>
                <a:gd name="T34" fmla="*/ 12 w 31"/>
                <a:gd name="T35" fmla="*/ 21 h 37"/>
                <a:gd name="T36" fmla="*/ 9 w 31"/>
                <a:gd name="T37" fmla="*/ 25 h 37"/>
                <a:gd name="T38" fmla="*/ 15 w 31"/>
                <a:gd name="T39" fmla="*/ 30 h 37"/>
                <a:gd name="T40" fmla="*/ 21 w 31"/>
                <a:gd name="T41" fmla="*/ 27 h 37"/>
                <a:gd name="T42" fmla="*/ 21 w 31"/>
                <a:gd name="T43" fmla="*/ 20 h 37"/>
                <a:gd name="T44" fmla="*/ 17 w 31"/>
                <a:gd name="T45"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7">
                  <a:moveTo>
                    <a:pt x="22" y="33"/>
                  </a:moveTo>
                  <a:cubicBezTo>
                    <a:pt x="20" y="35"/>
                    <a:pt x="16" y="37"/>
                    <a:pt x="12" y="37"/>
                  </a:cubicBezTo>
                  <a:cubicBezTo>
                    <a:pt x="5" y="37"/>
                    <a:pt x="0" y="32"/>
                    <a:pt x="0" y="26"/>
                  </a:cubicBezTo>
                  <a:cubicBezTo>
                    <a:pt x="0" y="21"/>
                    <a:pt x="3" y="18"/>
                    <a:pt x="6" y="16"/>
                  </a:cubicBezTo>
                  <a:cubicBezTo>
                    <a:pt x="9" y="15"/>
                    <a:pt x="12" y="14"/>
                    <a:pt x="15" y="14"/>
                  </a:cubicBezTo>
                  <a:cubicBezTo>
                    <a:pt x="21" y="14"/>
                    <a:pt x="21" y="14"/>
                    <a:pt x="21" y="14"/>
                  </a:cubicBezTo>
                  <a:cubicBezTo>
                    <a:pt x="21" y="13"/>
                    <a:pt x="21" y="13"/>
                    <a:pt x="21" y="13"/>
                  </a:cubicBezTo>
                  <a:cubicBezTo>
                    <a:pt x="21" y="9"/>
                    <a:pt x="19" y="7"/>
                    <a:pt x="15" y="7"/>
                  </a:cubicBezTo>
                  <a:cubicBezTo>
                    <a:pt x="11" y="7"/>
                    <a:pt x="8" y="8"/>
                    <a:pt x="5" y="9"/>
                  </a:cubicBezTo>
                  <a:cubicBezTo>
                    <a:pt x="3" y="4"/>
                    <a:pt x="3" y="4"/>
                    <a:pt x="3" y="4"/>
                  </a:cubicBezTo>
                  <a:cubicBezTo>
                    <a:pt x="7" y="1"/>
                    <a:pt x="11" y="0"/>
                    <a:pt x="16" y="0"/>
                  </a:cubicBezTo>
                  <a:cubicBezTo>
                    <a:pt x="26" y="0"/>
                    <a:pt x="30" y="4"/>
                    <a:pt x="30" y="13"/>
                  </a:cubicBezTo>
                  <a:cubicBezTo>
                    <a:pt x="30" y="27"/>
                    <a:pt x="30" y="27"/>
                    <a:pt x="30" y="27"/>
                  </a:cubicBezTo>
                  <a:cubicBezTo>
                    <a:pt x="30" y="31"/>
                    <a:pt x="30" y="34"/>
                    <a:pt x="31" y="36"/>
                  </a:cubicBezTo>
                  <a:cubicBezTo>
                    <a:pt x="24" y="36"/>
                    <a:pt x="24" y="36"/>
                    <a:pt x="24" y="36"/>
                  </a:cubicBezTo>
                  <a:lnTo>
                    <a:pt x="22" y="33"/>
                  </a:lnTo>
                  <a:close/>
                  <a:moveTo>
                    <a:pt x="17" y="20"/>
                  </a:moveTo>
                  <a:cubicBezTo>
                    <a:pt x="14" y="20"/>
                    <a:pt x="13" y="20"/>
                    <a:pt x="12" y="21"/>
                  </a:cubicBezTo>
                  <a:cubicBezTo>
                    <a:pt x="10" y="22"/>
                    <a:pt x="9" y="23"/>
                    <a:pt x="9" y="25"/>
                  </a:cubicBezTo>
                  <a:cubicBezTo>
                    <a:pt x="9" y="28"/>
                    <a:pt x="11" y="30"/>
                    <a:pt x="15" y="30"/>
                  </a:cubicBezTo>
                  <a:cubicBezTo>
                    <a:pt x="18" y="30"/>
                    <a:pt x="20" y="28"/>
                    <a:pt x="21" y="27"/>
                  </a:cubicBezTo>
                  <a:cubicBezTo>
                    <a:pt x="21" y="20"/>
                    <a:pt x="21" y="20"/>
                    <a:pt x="21" y="20"/>
                  </a:cubicBezTo>
                  <a:lnTo>
                    <a:pt x="17"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10" name="Group 109"/>
          <p:cNvGrpSpPr/>
          <p:nvPr userDrawn="1"/>
        </p:nvGrpSpPr>
        <p:grpSpPr>
          <a:xfrm>
            <a:off x="4750866" y="4840100"/>
            <a:ext cx="1123200" cy="233974"/>
            <a:chOff x="7665803" y="4864376"/>
            <a:chExt cx="1123200" cy="233974"/>
          </a:xfrm>
          <a:solidFill>
            <a:schemeClr val="bg1"/>
          </a:solidFill>
        </p:grpSpPr>
        <p:sp>
          <p:nvSpPr>
            <p:cNvPr id="111" name="Freeform 6"/>
            <p:cNvSpPr>
              <a:spLocks/>
            </p:cNvSpPr>
            <p:nvPr userDrawn="1"/>
          </p:nvSpPr>
          <p:spPr bwMode="auto">
            <a:xfrm>
              <a:off x="8119644" y="4924717"/>
              <a:ext cx="103102" cy="66806"/>
            </a:xfrm>
            <a:custGeom>
              <a:avLst/>
              <a:gdLst>
                <a:gd name="T0" fmla="*/ 111 w 136"/>
                <a:gd name="T1" fmla="*/ 72 h 92"/>
                <a:gd name="T2" fmla="*/ 87 w 136"/>
                <a:gd name="T3" fmla="*/ 88 h 92"/>
                <a:gd name="T4" fmla="*/ 68 w 136"/>
                <a:gd name="T5" fmla="*/ 28 h 92"/>
                <a:gd name="T6" fmla="*/ 67 w 136"/>
                <a:gd name="T7" fmla="*/ 28 h 92"/>
                <a:gd name="T8" fmla="*/ 53 w 136"/>
                <a:gd name="T9" fmla="*/ 72 h 92"/>
                <a:gd name="T10" fmla="*/ 31 w 136"/>
                <a:gd name="T11" fmla="*/ 88 h 92"/>
                <a:gd name="T12" fmla="*/ 0 w 136"/>
                <a:gd name="T13" fmla="*/ 0 h 92"/>
                <a:gd name="T14" fmla="*/ 22 w 136"/>
                <a:gd name="T15" fmla="*/ 0 h 92"/>
                <a:gd name="T16" fmla="*/ 41 w 136"/>
                <a:gd name="T17" fmla="*/ 60 h 92"/>
                <a:gd name="T18" fmla="*/ 41 w 136"/>
                <a:gd name="T19" fmla="*/ 60 h 92"/>
                <a:gd name="T20" fmla="*/ 60 w 136"/>
                <a:gd name="T21" fmla="*/ 0 h 92"/>
                <a:gd name="T22" fmla="*/ 77 w 136"/>
                <a:gd name="T23" fmla="*/ 0 h 92"/>
                <a:gd name="T24" fmla="*/ 96 w 136"/>
                <a:gd name="T25" fmla="*/ 60 h 92"/>
                <a:gd name="T26" fmla="*/ 97 w 136"/>
                <a:gd name="T27" fmla="*/ 60 h 92"/>
                <a:gd name="T28" fmla="*/ 115 w 136"/>
                <a:gd name="T29" fmla="*/ 0 h 92"/>
                <a:gd name="T30" fmla="*/ 136 w 136"/>
                <a:gd name="T31" fmla="*/ 0 h 92"/>
                <a:gd name="T32" fmla="*/ 111 w 136"/>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 h="92">
                  <a:moveTo>
                    <a:pt x="111" y="72"/>
                  </a:moveTo>
                  <a:cubicBezTo>
                    <a:pt x="103" y="92"/>
                    <a:pt x="87" y="88"/>
                    <a:pt x="87" y="88"/>
                  </a:cubicBezTo>
                  <a:cubicBezTo>
                    <a:pt x="68" y="28"/>
                    <a:pt x="68" y="28"/>
                    <a:pt x="68" y="28"/>
                  </a:cubicBezTo>
                  <a:cubicBezTo>
                    <a:pt x="67" y="28"/>
                    <a:pt x="67" y="28"/>
                    <a:pt x="67" y="28"/>
                  </a:cubicBezTo>
                  <a:cubicBezTo>
                    <a:pt x="67" y="28"/>
                    <a:pt x="58"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6" y="60"/>
                    <a:pt x="96" y="60"/>
                    <a:pt x="96" y="60"/>
                  </a:cubicBezTo>
                  <a:cubicBezTo>
                    <a:pt x="97" y="60"/>
                    <a:pt x="97" y="60"/>
                    <a:pt x="97" y="60"/>
                  </a:cubicBezTo>
                  <a:cubicBezTo>
                    <a:pt x="115" y="0"/>
                    <a:pt x="115" y="0"/>
                    <a:pt x="115" y="0"/>
                  </a:cubicBezTo>
                  <a:cubicBezTo>
                    <a:pt x="136" y="0"/>
                    <a:pt x="136" y="0"/>
                    <a:pt x="136" y="0"/>
                  </a:cubicBezTo>
                  <a:cubicBezTo>
                    <a:pt x="136"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2" name="Freeform 7"/>
            <p:cNvSpPr>
              <a:spLocks noEditPoints="1"/>
            </p:cNvSpPr>
            <p:nvPr userDrawn="1"/>
          </p:nvSpPr>
          <p:spPr bwMode="auto">
            <a:xfrm>
              <a:off x="8225958" y="4923177"/>
              <a:ext cx="57493" cy="66190"/>
            </a:xfrm>
            <a:custGeom>
              <a:avLst/>
              <a:gdLst>
                <a:gd name="T0" fmla="*/ 57 w 76"/>
                <a:gd name="T1" fmla="*/ 90 h 91"/>
                <a:gd name="T2" fmla="*/ 53 w 76"/>
                <a:gd name="T3" fmla="*/ 81 h 91"/>
                <a:gd name="T4" fmla="*/ 28 w 76"/>
                <a:gd name="T5" fmla="*/ 91 h 91"/>
                <a:gd name="T6" fmla="*/ 0 w 76"/>
                <a:gd name="T7" fmla="*/ 63 h 91"/>
                <a:gd name="T8" fmla="*/ 36 w 76"/>
                <a:gd name="T9" fmla="*/ 34 h 91"/>
                <a:gd name="T10" fmla="*/ 51 w 76"/>
                <a:gd name="T11" fmla="*/ 34 h 91"/>
                <a:gd name="T12" fmla="*/ 51 w 76"/>
                <a:gd name="T13" fmla="*/ 31 h 91"/>
                <a:gd name="T14" fmla="*/ 35 w 76"/>
                <a:gd name="T15" fmla="*/ 17 h 91"/>
                <a:gd name="T16" fmla="*/ 12 w 76"/>
                <a:gd name="T17" fmla="*/ 23 h 91"/>
                <a:gd name="T18" fmla="*/ 5 w 76"/>
                <a:gd name="T19" fmla="*/ 9 h 91"/>
                <a:gd name="T20" fmla="*/ 39 w 76"/>
                <a:gd name="T21" fmla="*/ 0 h 91"/>
                <a:gd name="T22" fmla="*/ 74 w 76"/>
                <a:gd name="T23" fmla="*/ 31 h 91"/>
                <a:gd name="T24" fmla="*/ 74 w 76"/>
                <a:gd name="T25" fmla="*/ 66 h 91"/>
                <a:gd name="T26" fmla="*/ 76 w 76"/>
                <a:gd name="T27" fmla="*/ 90 h 91"/>
                <a:gd name="T28" fmla="*/ 57 w 76"/>
                <a:gd name="T29" fmla="*/ 90 h 91"/>
                <a:gd name="T30" fmla="*/ 51 w 76"/>
                <a:gd name="T31" fmla="*/ 49 h 91"/>
                <a:gd name="T32" fmla="*/ 39 w 76"/>
                <a:gd name="T33" fmla="*/ 49 h 91"/>
                <a:gd name="T34" fmla="*/ 22 w 76"/>
                <a:gd name="T35" fmla="*/ 61 h 91"/>
                <a:gd name="T36" fmla="*/ 36 w 76"/>
                <a:gd name="T37" fmla="*/ 73 h 91"/>
                <a:gd name="T38" fmla="*/ 51 w 76"/>
                <a:gd name="T39" fmla="*/ 68 h 91"/>
                <a:gd name="T40" fmla="*/ 51 w 76"/>
                <a:gd name="T41" fmla="*/ 4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91">
                  <a:moveTo>
                    <a:pt x="57" y="90"/>
                  </a:moveTo>
                  <a:cubicBezTo>
                    <a:pt x="53" y="81"/>
                    <a:pt x="53" y="81"/>
                    <a:pt x="53" y="81"/>
                  </a:cubicBezTo>
                  <a:cubicBezTo>
                    <a:pt x="48" y="86"/>
                    <a:pt x="40" y="91"/>
                    <a:pt x="28" y="91"/>
                  </a:cubicBezTo>
                  <a:cubicBezTo>
                    <a:pt x="12" y="91"/>
                    <a:pt x="0" y="80"/>
                    <a:pt x="0" y="63"/>
                  </a:cubicBezTo>
                  <a:cubicBezTo>
                    <a:pt x="0" y="45"/>
                    <a:pt x="14" y="35"/>
                    <a:pt x="36" y="34"/>
                  </a:cubicBezTo>
                  <a:cubicBezTo>
                    <a:pt x="51" y="34"/>
                    <a:pt x="51" y="34"/>
                    <a:pt x="51" y="34"/>
                  </a:cubicBezTo>
                  <a:cubicBezTo>
                    <a:pt x="51" y="33"/>
                    <a:pt x="51" y="32"/>
                    <a:pt x="51" y="31"/>
                  </a:cubicBezTo>
                  <a:cubicBezTo>
                    <a:pt x="51" y="21"/>
                    <a:pt x="44" y="17"/>
                    <a:pt x="35" y="17"/>
                  </a:cubicBezTo>
                  <a:cubicBezTo>
                    <a:pt x="25" y="17"/>
                    <a:pt x="18" y="20"/>
                    <a:pt x="12" y="23"/>
                  </a:cubicBezTo>
                  <a:cubicBezTo>
                    <a:pt x="5" y="9"/>
                    <a:pt x="5" y="9"/>
                    <a:pt x="5" y="9"/>
                  </a:cubicBezTo>
                  <a:cubicBezTo>
                    <a:pt x="17" y="2"/>
                    <a:pt x="28" y="0"/>
                    <a:pt x="39" y="0"/>
                  </a:cubicBezTo>
                  <a:cubicBezTo>
                    <a:pt x="61" y="0"/>
                    <a:pt x="74" y="9"/>
                    <a:pt x="74" y="31"/>
                  </a:cubicBezTo>
                  <a:cubicBezTo>
                    <a:pt x="74" y="66"/>
                    <a:pt x="74" y="66"/>
                    <a:pt x="74" y="66"/>
                  </a:cubicBezTo>
                  <a:cubicBezTo>
                    <a:pt x="74" y="78"/>
                    <a:pt x="75" y="86"/>
                    <a:pt x="76" y="90"/>
                  </a:cubicBezTo>
                  <a:lnTo>
                    <a:pt x="57" y="90"/>
                  </a:lnTo>
                  <a:close/>
                  <a:moveTo>
                    <a:pt x="51" y="49"/>
                  </a:moveTo>
                  <a:cubicBezTo>
                    <a:pt x="39" y="49"/>
                    <a:pt x="39" y="49"/>
                    <a:pt x="39" y="49"/>
                  </a:cubicBezTo>
                  <a:cubicBezTo>
                    <a:pt x="27" y="50"/>
                    <a:pt x="22" y="54"/>
                    <a:pt x="22" y="61"/>
                  </a:cubicBezTo>
                  <a:cubicBezTo>
                    <a:pt x="22" y="68"/>
                    <a:pt x="27" y="73"/>
                    <a:pt x="36" y="73"/>
                  </a:cubicBezTo>
                  <a:cubicBezTo>
                    <a:pt x="44" y="73"/>
                    <a:pt x="49" y="70"/>
                    <a:pt x="51" y="68"/>
                  </a:cubicBezTo>
                  <a:lnTo>
                    <a:pt x="51" y="4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3" name="Freeform 8"/>
            <p:cNvSpPr>
              <a:spLocks noEditPoints="1"/>
            </p:cNvSpPr>
            <p:nvPr userDrawn="1"/>
          </p:nvSpPr>
          <p:spPr bwMode="auto">
            <a:xfrm>
              <a:off x="8342550" y="4892699"/>
              <a:ext cx="62311" cy="96668"/>
            </a:xfrm>
            <a:custGeom>
              <a:avLst/>
              <a:gdLst>
                <a:gd name="T0" fmla="*/ 47 w 82"/>
                <a:gd name="T1" fmla="*/ 133 h 133"/>
                <a:gd name="T2" fmla="*/ 0 w 82"/>
                <a:gd name="T3" fmla="*/ 88 h 133"/>
                <a:gd name="T4" fmla="*/ 48 w 82"/>
                <a:gd name="T5" fmla="*/ 42 h 133"/>
                <a:gd name="T6" fmla="*/ 59 w 82"/>
                <a:gd name="T7" fmla="*/ 42 h 133"/>
                <a:gd name="T8" fmla="*/ 60 w 82"/>
                <a:gd name="T9" fmla="*/ 0 h 133"/>
                <a:gd name="T10" fmla="*/ 82 w 82"/>
                <a:gd name="T11" fmla="*/ 0 h 133"/>
                <a:gd name="T12" fmla="*/ 81 w 82"/>
                <a:gd name="T13" fmla="*/ 126 h 133"/>
                <a:gd name="T14" fmla="*/ 47 w 82"/>
                <a:gd name="T15" fmla="*/ 133 h 133"/>
                <a:gd name="T16" fmla="*/ 59 w 82"/>
                <a:gd name="T17" fmla="*/ 60 h 133"/>
                <a:gd name="T18" fmla="*/ 49 w 82"/>
                <a:gd name="T19" fmla="*/ 59 h 133"/>
                <a:gd name="T20" fmla="*/ 22 w 82"/>
                <a:gd name="T21" fmla="*/ 87 h 133"/>
                <a:gd name="T22" fmla="*/ 49 w 82"/>
                <a:gd name="T23" fmla="*/ 114 h 133"/>
                <a:gd name="T24" fmla="*/ 59 w 82"/>
                <a:gd name="T25" fmla="*/ 113 h 133"/>
                <a:gd name="T26" fmla="*/ 59 w 82"/>
                <a:gd name="T27" fmla="*/ 6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3">
                  <a:moveTo>
                    <a:pt x="47" y="133"/>
                  </a:moveTo>
                  <a:cubicBezTo>
                    <a:pt x="21" y="133"/>
                    <a:pt x="0" y="117"/>
                    <a:pt x="0" y="88"/>
                  </a:cubicBezTo>
                  <a:cubicBezTo>
                    <a:pt x="0" y="61"/>
                    <a:pt x="20" y="42"/>
                    <a:pt x="48" y="42"/>
                  </a:cubicBezTo>
                  <a:cubicBezTo>
                    <a:pt x="52" y="42"/>
                    <a:pt x="56" y="42"/>
                    <a:pt x="59" y="42"/>
                  </a:cubicBezTo>
                  <a:cubicBezTo>
                    <a:pt x="60" y="0"/>
                    <a:pt x="60" y="0"/>
                    <a:pt x="60" y="0"/>
                  </a:cubicBezTo>
                  <a:cubicBezTo>
                    <a:pt x="82" y="0"/>
                    <a:pt x="82" y="0"/>
                    <a:pt x="82" y="0"/>
                  </a:cubicBezTo>
                  <a:cubicBezTo>
                    <a:pt x="81" y="126"/>
                    <a:pt x="81" y="126"/>
                    <a:pt x="81" y="126"/>
                  </a:cubicBezTo>
                  <a:cubicBezTo>
                    <a:pt x="73" y="130"/>
                    <a:pt x="62" y="133"/>
                    <a:pt x="47" y="133"/>
                  </a:cubicBezTo>
                  <a:close/>
                  <a:moveTo>
                    <a:pt x="59" y="60"/>
                  </a:moveTo>
                  <a:cubicBezTo>
                    <a:pt x="56" y="60"/>
                    <a:pt x="54" y="59"/>
                    <a:pt x="49" y="59"/>
                  </a:cubicBezTo>
                  <a:cubicBezTo>
                    <a:pt x="33" y="59"/>
                    <a:pt x="22" y="70"/>
                    <a:pt x="22" y="87"/>
                  </a:cubicBezTo>
                  <a:cubicBezTo>
                    <a:pt x="22" y="103"/>
                    <a:pt x="32" y="114"/>
                    <a:pt x="49" y="114"/>
                  </a:cubicBezTo>
                  <a:cubicBezTo>
                    <a:pt x="53" y="114"/>
                    <a:pt x="57" y="114"/>
                    <a:pt x="59" y="113"/>
                  </a:cubicBezTo>
                  <a:lnTo>
                    <a:pt x="59" y="60"/>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4" name="Freeform 9"/>
            <p:cNvSpPr>
              <a:spLocks/>
            </p:cNvSpPr>
            <p:nvPr userDrawn="1"/>
          </p:nvSpPr>
          <p:spPr bwMode="auto">
            <a:xfrm>
              <a:off x="8093949"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5" name="Freeform 10"/>
            <p:cNvSpPr>
              <a:spLocks/>
            </p:cNvSpPr>
            <p:nvPr userDrawn="1"/>
          </p:nvSpPr>
          <p:spPr bwMode="auto">
            <a:xfrm>
              <a:off x="8060545"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56" name="Freeform 11"/>
            <p:cNvSpPr>
              <a:spLocks/>
            </p:cNvSpPr>
            <p:nvPr userDrawn="1"/>
          </p:nvSpPr>
          <p:spPr bwMode="auto">
            <a:xfrm>
              <a:off x="8297262" y="4923177"/>
              <a:ext cx="43039" cy="66190"/>
            </a:xfrm>
            <a:custGeom>
              <a:avLst/>
              <a:gdLst>
                <a:gd name="T0" fmla="*/ 49 w 57"/>
                <a:gd name="T1" fmla="*/ 22 h 91"/>
                <a:gd name="T2" fmla="*/ 39 w 57"/>
                <a:gd name="T3" fmla="*/ 20 h 91"/>
                <a:gd name="T4" fmla="*/ 22 w 57"/>
                <a:gd name="T5" fmla="*/ 27 h 91"/>
                <a:gd name="T6" fmla="*/ 22 w 57"/>
                <a:gd name="T7" fmla="*/ 74 h 91"/>
                <a:gd name="T8" fmla="*/ 0 w 57"/>
                <a:gd name="T9" fmla="*/ 90 h 91"/>
                <a:gd name="T10" fmla="*/ 0 w 57"/>
                <a:gd name="T11" fmla="*/ 2 h 91"/>
                <a:gd name="T12" fmla="*/ 18 w 57"/>
                <a:gd name="T13" fmla="*/ 2 h 91"/>
                <a:gd name="T14" fmla="*/ 21 w 57"/>
                <a:gd name="T15" fmla="*/ 11 h 91"/>
                <a:gd name="T16" fmla="*/ 45 w 57"/>
                <a:gd name="T17" fmla="*/ 0 h 91"/>
                <a:gd name="T18" fmla="*/ 57 w 57"/>
                <a:gd name="T19" fmla="*/ 4 h 91"/>
                <a:gd name="T20" fmla="*/ 49 w 57"/>
                <a:gd name="T21" fmla="*/ 2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1">
                  <a:moveTo>
                    <a:pt x="49" y="22"/>
                  </a:moveTo>
                  <a:cubicBezTo>
                    <a:pt x="45" y="20"/>
                    <a:pt x="41" y="20"/>
                    <a:pt x="39" y="20"/>
                  </a:cubicBezTo>
                  <a:cubicBezTo>
                    <a:pt x="34" y="20"/>
                    <a:pt x="28" y="22"/>
                    <a:pt x="22" y="27"/>
                  </a:cubicBezTo>
                  <a:cubicBezTo>
                    <a:pt x="22" y="27"/>
                    <a:pt x="22" y="57"/>
                    <a:pt x="22" y="74"/>
                  </a:cubicBezTo>
                  <a:cubicBezTo>
                    <a:pt x="22" y="91"/>
                    <a:pt x="0" y="90"/>
                    <a:pt x="0" y="90"/>
                  </a:cubicBezTo>
                  <a:cubicBezTo>
                    <a:pt x="0" y="2"/>
                    <a:pt x="0" y="2"/>
                    <a:pt x="0" y="2"/>
                  </a:cubicBezTo>
                  <a:cubicBezTo>
                    <a:pt x="18" y="2"/>
                    <a:pt x="18" y="2"/>
                    <a:pt x="18"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57" name="Freeform 12"/>
            <p:cNvSpPr>
              <a:spLocks/>
            </p:cNvSpPr>
            <p:nvPr userDrawn="1"/>
          </p:nvSpPr>
          <p:spPr bwMode="auto">
            <a:xfrm>
              <a:off x="7907980" y="4892699"/>
              <a:ext cx="98605" cy="95129"/>
            </a:xfrm>
            <a:custGeom>
              <a:avLst/>
              <a:gdLst>
                <a:gd name="T0" fmla="*/ 106 w 130"/>
                <a:gd name="T1" fmla="*/ 131 h 131"/>
                <a:gd name="T2" fmla="*/ 106 w 130"/>
                <a:gd name="T3" fmla="*/ 53 h 131"/>
                <a:gd name="T4" fmla="*/ 107 w 130"/>
                <a:gd name="T5" fmla="*/ 39 h 131"/>
                <a:gd name="T6" fmla="*/ 106 w 130"/>
                <a:gd name="T7" fmla="*/ 39 h 131"/>
                <a:gd name="T8" fmla="*/ 99 w 130"/>
                <a:gd name="T9" fmla="*/ 52 h 131"/>
                <a:gd name="T10" fmla="*/ 72 w 130"/>
                <a:gd name="T11" fmla="*/ 93 h 131"/>
                <a:gd name="T12" fmla="*/ 60 w 130"/>
                <a:gd name="T13" fmla="*/ 93 h 131"/>
                <a:gd name="T14" fmla="*/ 32 w 130"/>
                <a:gd name="T15" fmla="*/ 51 h 131"/>
                <a:gd name="T16" fmla="*/ 24 w 130"/>
                <a:gd name="T17" fmla="*/ 39 h 131"/>
                <a:gd name="T18" fmla="*/ 23 w 130"/>
                <a:gd name="T19" fmla="*/ 39 h 131"/>
                <a:gd name="T20" fmla="*/ 24 w 130"/>
                <a:gd name="T21" fmla="*/ 52 h 131"/>
                <a:gd name="T22" fmla="*/ 24 w 130"/>
                <a:gd name="T23" fmla="*/ 131 h 131"/>
                <a:gd name="T24" fmla="*/ 0 w 130"/>
                <a:gd name="T25" fmla="*/ 131 h 131"/>
                <a:gd name="T26" fmla="*/ 0 w 130"/>
                <a:gd name="T27" fmla="*/ 0 h 131"/>
                <a:gd name="T28" fmla="*/ 22 w 130"/>
                <a:gd name="T29" fmla="*/ 0 h 131"/>
                <a:gd name="T30" fmla="*/ 58 w 130"/>
                <a:gd name="T31" fmla="*/ 52 h 131"/>
                <a:gd name="T32" fmla="*/ 66 w 130"/>
                <a:gd name="T33" fmla="*/ 66 h 131"/>
                <a:gd name="T34" fmla="*/ 67 w 130"/>
                <a:gd name="T35" fmla="*/ 66 h 131"/>
                <a:gd name="T36" fmla="*/ 75 w 130"/>
                <a:gd name="T37" fmla="*/ 52 h 131"/>
                <a:gd name="T38" fmla="*/ 108 w 130"/>
                <a:gd name="T39" fmla="*/ 0 h 131"/>
                <a:gd name="T40" fmla="*/ 130 w 130"/>
                <a:gd name="T41" fmla="*/ 0 h 131"/>
                <a:gd name="T42" fmla="*/ 130 w 130"/>
                <a:gd name="T43" fmla="*/ 131 h 131"/>
                <a:gd name="T44" fmla="*/ 106 w 130"/>
                <a:gd name="T45"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0" h="131">
                  <a:moveTo>
                    <a:pt x="106" y="131"/>
                  </a:moveTo>
                  <a:cubicBezTo>
                    <a:pt x="106" y="53"/>
                    <a:pt x="106" y="53"/>
                    <a:pt x="106" y="53"/>
                  </a:cubicBezTo>
                  <a:cubicBezTo>
                    <a:pt x="106" y="48"/>
                    <a:pt x="106" y="44"/>
                    <a:pt x="107" y="39"/>
                  </a:cubicBezTo>
                  <a:cubicBezTo>
                    <a:pt x="106" y="39"/>
                    <a:pt x="106" y="39"/>
                    <a:pt x="106" y="39"/>
                  </a:cubicBezTo>
                  <a:cubicBezTo>
                    <a:pt x="105" y="43"/>
                    <a:pt x="101" y="49"/>
                    <a:pt x="99" y="52"/>
                  </a:cubicBezTo>
                  <a:cubicBezTo>
                    <a:pt x="72" y="93"/>
                    <a:pt x="72" y="93"/>
                    <a:pt x="72" y="93"/>
                  </a:cubicBezTo>
                  <a:cubicBezTo>
                    <a:pt x="60" y="93"/>
                    <a:pt x="60" y="93"/>
                    <a:pt x="60" y="93"/>
                  </a:cubicBezTo>
                  <a:cubicBezTo>
                    <a:pt x="32" y="51"/>
                    <a:pt x="32" y="51"/>
                    <a:pt x="32" y="51"/>
                  </a:cubicBezTo>
                  <a:cubicBezTo>
                    <a:pt x="29" y="48"/>
                    <a:pt x="26" y="44"/>
                    <a:pt x="24" y="39"/>
                  </a:cubicBezTo>
                  <a:cubicBezTo>
                    <a:pt x="23" y="39"/>
                    <a:pt x="23" y="39"/>
                    <a:pt x="23" y="39"/>
                  </a:cubicBezTo>
                  <a:cubicBezTo>
                    <a:pt x="24" y="44"/>
                    <a:pt x="24" y="48"/>
                    <a:pt x="24" y="52"/>
                  </a:cubicBezTo>
                  <a:cubicBezTo>
                    <a:pt x="24" y="131"/>
                    <a:pt x="24" y="131"/>
                    <a:pt x="24" y="131"/>
                  </a:cubicBezTo>
                  <a:cubicBezTo>
                    <a:pt x="0" y="131"/>
                    <a:pt x="0" y="131"/>
                    <a:pt x="0" y="131"/>
                  </a:cubicBezTo>
                  <a:cubicBezTo>
                    <a:pt x="0" y="0"/>
                    <a:pt x="0" y="0"/>
                    <a:pt x="0" y="0"/>
                  </a:cubicBezTo>
                  <a:cubicBezTo>
                    <a:pt x="22" y="0"/>
                    <a:pt x="22" y="0"/>
                    <a:pt x="22" y="0"/>
                  </a:cubicBezTo>
                  <a:cubicBezTo>
                    <a:pt x="58" y="52"/>
                    <a:pt x="58" y="52"/>
                    <a:pt x="58" y="52"/>
                  </a:cubicBezTo>
                  <a:cubicBezTo>
                    <a:pt x="61" y="57"/>
                    <a:pt x="64" y="61"/>
                    <a:pt x="66" y="66"/>
                  </a:cubicBezTo>
                  <a:cubicBezTo>
                    <a:pt x="67" y="66"/>
                    <a:pt x="67" y="66"/>
                    <a:pt x="67" y="66"/>
                  </a:cubicBezTo>
                  <a:cubicBezTo>
                    <a:pt x="69" y="61"/>
                    <a:pt x="71" y="57"/>
                    <a:pt x="75" y="52"/>
                  </a:cubicBezTo>
                  <a:cubicBezTo>
                    <a:pt x="108" y="0"/>
                    <a:pt x="108" y="0"/>
                    <a:pt x="108" y="0"/>
                  </a:cubicBezTo>
                  <a:cubicBezTo>
                    <a:pt x="130" y="0"/>
                    <a:pt x="130" y="0"/>
                    <a:pt x="130" y="0"/>
                  </a:cubicBezTo>
                  <a:cubicBezTo>
                    <a:pt x="130" y="131"/>
                    <a:pt x="130" y="131"/>
                    <a:pt x="130" y="131"/>
                  </a:cubicBezTo>
                  <a:lnTo>
                    <a:pt x="106" y="131"/>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58" name="Freeform 13"/>
            <p:cNvSpPr>
              <a:spLocks/>
            </p:cNvSpPr>
            <p:nvPr userDrawn="1"/>
          </p:nvSpPr>
          <p:spPr bwMode="auto">
            <a:xfrm>
              <a:off x="7665803" y="4864376"/>
              <a:ext cx="100854" cy="148389"/>
            </a:xfrm>
            <a:custGeom>
              <a:avLst/>
              <a:gdLst>
                <a:gd name="T0" fmla="*/ 133 w 133"/>
                <a:gd name="T1" fmla="*/ 23 h 204"/>
                <a:gd name="T2" fmla="*/ 132 w 133"/>
                <a:gd name="T3" fmla="*/ 22 h 204"/>
                <a:gd name="T4" fmla="*/ 65 w 133"/>
                <a:gd name="T5" fmla="*/ 20 h 204"/>
                <a:gd name="T6" fmla="*/ 52 w 133"/>
                <a:gd name="T7" fmla="*/ 52 h 204"/>
                <a:gd name="T8" fmla="*/ 20 w 133"/>
                <a:gd name="T9" fmla="*/ 65 h 204"/>
                <a:gd name="T10" fmla="*/ 22 w 133"/>
                <a:gd name="T11" fmla="*/ 132 h 204"/>
                <a:gd name="T12" fmla="*/ 95 w 133"/>
                <a:gd name="T13" fmla="*/ 204 h 204"/>
                <a:gd name="T14" fmla="*/ 117 w 133"/>
                <a:gd name="T15" fmla="*/ 182 h 204"/>
                <a:gd name="T16" fmla="*/ 44 w 133"/>
                <a:gd name="T17" fmla="*/ 110 h 204"/>
                <a:gd name="T18" fmla="*/ 42 w 133"/>
                <a:gd name="T19" fmla="*/ 86 h 204"/>
                <a:gd name="T20" fmla="*/ 66 w 133"/>
                <a:gd name="T21" fmla="*/ 88 h 204"/>
                <a:gd name="T22" fmla="*/ 133 w 133"/>
                <a:gd name="T23" fmla="*/ 155 h 204"/>
                <a:gd name="T24" fmla="*/ 133 w 133"/>
                <a:gd name="T25" fmla="*/ 111 h 204"/>
                <a:gd name="T26" fmla="*/ 88 w 133"/>
                <a:gd name="T27" fmla="*/ 66 h 204"/>
                <a:gd name="T28" fmla="*/ 86 w 133"/>
                <a:gd name="T29" fmla="*/ 42 h 204"/>
                <a:gd name="T30" fmla="*/ 110 w 133"/>
                <a:gd name="T31" fmla="*/ 44 h 204"/>
                <a:gd name="T32" fmla="*/ 133 w 133"/>
                <a:gd name="T33" fmla="*/ 66 h 204"/>
                <a:gd name="T34" fmla="*/ 133 w 133"/>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204">
                  <a:moveTo>
                    <a:pt x="133" y="23"/>
                  </a:moveTo>
                  <a:cubicBezTo>
                    <a:pt x="132" y="22"/>
                    <a:pt x="132" y="22"/>
                    <a:pt x="132" y="22"/>
                  </a:cubicBezTo>
                  <a:cubicBezTo>
                    <a:pt x="110" y="0"/>
                    <a:pt x="82" y="2"/>
                    <a:pt x="65" y="20"/>
                  </a:cubicBezTo>
                  <a:cubicBezTo>
                    <a:pt x="53" y="32"/>
                    <a:pt x="51" y="46"/>
                    <a:pt x="52" y="52"/>
                  </a:cubicBezTo>
                  <a:cubicBezTo>
                    <a:pt x="47" y="51"/>
                    <a:pt x="32" y="52"/>
                    <a:pt x="20" y="65"/>
                  </a:cubicBezTo>
                  <a:cubicBezTo>
                    <a:pt x="3" y="82"/>
                    <a:pt x="0" y="110"/>
                    <a:pt x="22" y="132"/>
                  </a:cubicBezTo>
                  <a:cubicBezTo>
                    <a:pt x="95" y="204"/>
                    <a:pt x="95" y="204"/>
                    <a:pt x="95" y="204"/>
                  </a:cubicBezTo>
                  <a:cubicBezTo>
                    <a:pt x="117" y="182"/>
                    <a:pt x="117" y="182"/>
                    <a:pt x="117" y="182"/>
                  </a:cubicBezTo>
                  <a:cubicBezTo>
                    <a:pt x="44" y="110"/>
                    <a:pt x="44" y="110"/>
                    <a:pt x="44" y="110"/>
                  </a:cubicBezTo>
                  <a:cubicBezTo>
                    <a:pt x="35" y="101"/>
                    <a:pt x="36" y="91"/>
                    <a:pt x="42" y="86"/>
                  </a:cubicBezTo>
                  <a:cubicBezTo>
                    <a:pt x="47" y="80"/>
                    <a:pt x="58" y="79"/>
                    <a:pt x="66" y="88"/>
                  </a:cubicBezTo>
                  <a:cubicBezTo>
                    <a:pt x="133" y="155"/>
                    <a:pt x="133" y="155"/>
                    <a:pt x="133" y="155"/>
                  </a:cubicBezTo>
                  <a:cubicBezTo>
                    <a:pt x="133" y="111"/>
                    <a:pt x="133" y="111"/>
                    <a:pt x="133" y="111"/>
                  </a:cubicBezTo>
                  <a:cubicBezTo>
                    <a:pt x="88" y="66"/>
                    <a:pt x="88" y="66"/>
                    <a:pt x="88" y="66"/>
                  </a:cubicBezTo>
                  <a:cubicBezTo>
                    <a:pt x="80" y="57"/>
                    <a:pt x="80" y="47"/>
                    <a:pt x="86" y="42"/>
                  </a:cubicBezTo>
                  <a:cubicBezTo>
                    <a:pt x="92" y="36"/>
                    <a:pt x="102" y="35"/>
                    <a:pt x="110" y="44"/>
                  </a:cubicBezTo>
                  <a:cubicBezTo>
                    <a:pt x="133" y="66"/>
                    <a:pt x="133" y="66"/>
                    <a:pt x="133" y="66"/>
                  </a:cubicBezTo>
                  <a:lnTo>
                    <a:pt x="133"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59" name="Freeform 14"/>
            <p:cNvSpPr>
              <a:spLocks noEditPoints="1"/>
            </p:cNvSpPr>
            <p:nvPr userDrawn="1"/>
          </p:nvSpPr>
          <p:spPr bwMode="auto">
            <a:xfrm>
              <a:off x="8023287" y="4895470"/>
              <a:ext cx="20556" cy="93282"/>
            </a:xfrm>
            <a:custGeom>
              <a:avLst/>
              <a:gdLst>
                <a:gd name="T0" fmla="*/ 14 w 27"/>
                <a:gd name="T1" fmla="*/ 26 h 128"/>
                <a:gd name="T2" fmla="*/ 0 w 27"/>
                <a:gd name="T3" fmla="*/ 13 h 128"/>
                <a:gd name="T4" fmla="*/ 14 w 27"/>
                <a:gd name="T5" fmla="*/ 0 h 128"/>
                <a:gd name="T6" fmla="*/ 27 w 27"/>
                <a:gd name="T7" fmla="*/ 13 h 128"/>
                <a:gd name="T8" fmla="*/ 14 w 27"/>
                <a:gd name="T9" fmla="*/ 26 h 128"/>
                <a:gd name="T10" fmla="*/ 3 w 27"/>
                <a:gd name="T11" fmla="*/ 128 h 128"/>
                <a:gd name="T12" fmla="*/ 3 w 27"/>
                <a:gd name="T13" fmla="*/ 40 h 128"/>
                <a:gd name="T14" fmla="*/ 25 w 27"/>
                <a:gd name="T15" fmla="*/ 40 h 128"/>
                <a:gd name="T16" fmla="*/ 25 w 27"/>
                <a:gd name="T17" fmla="*/ 112 h 128"/>
                <a:gd name="T18" fmla="*/ 3 w 27"/>
                <a:gd name="T1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128">
                  <a:moveTo>
                    <a:pt x="14" y="26"/>
                  </a:moveTo>
                  <a:cubicBezTo>
                    <a:pt x="6" y="26"/>
                    <a:pt x="0" y="20"/>
                    <a:pt x="0" y="13"/>
                  </a:cubicBezTo>
                  <a:cubicBezTo>
                    <a:pt x="0" y="6"/>
                    <a:pt x="6" y="0"/>
                    <a:pt x="14" y="0"/>
                  </a:cubicBezTo>
                  <a:cubicBezTo>
                    <a:pt x="21" y="0"/>
                    <a:pt x="27" y="5"/>
                    <a:pt x="27" y="13"/>
                  </a:cubicBezTo>
                  <a:cubicBezTo>
                    <a:pt x="27" y="20"/>
                    <a:pt x="21" y="26"/>
                    <a:pt x="14" y="26"/>
                  </a:cubicBezTo>
                  <a:close/>
                  <a:moveTo>
                    <a:pt x="3" y="128"/>
                  </a:moveTo>
                  <a:cubicBezTo>
                    <a:pt x="3" y="40"/>
                    <a:pt x="3" y="40"/>
                    <a:pt x="3" y="40"/>
                  </a:cubicBezTo>
                  <a:cubicBezTo>
                    <a:pt x="25" y="40"/>
                    <a:pt x="25" y="40"/>
                    <a:pt x="25" y="40"/>
                  </a:cubicBezTo>
                  <a:cubicBezTo>
                    <a:pt x="25" y="40"/>
                    <a:pt x="25" y="95"/>
                    <a:pt x="25" y="112"/>
                  </a:cubicBezTo>
                  <a:cubicBezTo>
                    <a:pt x="25" y="128"/>
                    <a:pt x="3" y="128"/>
                    <a:pt x="3" y="1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60" name="Freeform 15"/>
            <p:cNvSpPr>
              <a:spLocks/>
            </p:cNvSpPr>
            <p:nvPr userDrawn="1"/>
          </p:nvSpPr>
          <p:spPr bwMode="auto">
            <a:xfrm>
              <a:off x="8615239" y="4924717"/>
              <a:ext cx="103744" cy="66806"/>
            </a:xfrm>
            <a:custGeom>
              <a:avLst/>
              <a:gdLst>
                <a:gd name="T0" fmla="*/ 111 w 137"/>
                <a:gd name="T1" fmla="*/ 72 h 92"/>
                <a:gd name="T2" fmla="*/ 88 w 137"/>
                <a:gd name="T3" fmla="*/ 88 h 92"/>
                <a:gd name="T4" fmla="*/ 68 w 137"/>
                <a:gd name="T5" fmla="*/ 28 h 92"/>
                <a:gd name="T6" fmla="*/ 68 w 137"/>
                <a:gd name="T7" fmla="*/ 28 h 92"/>
                <a:gd name="T8" fmla="*/ 53 w 137"/>
                <a:gd name="T9" fmla="*/ 72 h 92"/>
                <a:gd name="T10" fmla="*/ 31 w 137"/>
                <a:gd name="T11" fmla="*/ 88 h 92"/>
                <a:gd name="T12" fmla="*/ 0 w 137"/>
                <a:gd name="T13" fmla="*/ 0 h 92"/>
                <a:gd name="T14" fmla="*/ 22 w 137"/>
                <a:gd name="T15" fmla="*/ 0 h 92"/>
                <a:gd name="T16" fmla="*/ 41 w 137"/>
                <a:gd name="T17" fmla="*/ 60 h 92"/>
                <a:gd name="T18" fmla="*/ 41 w 137"/>
                <a:gd name="T19" fmla="*/ 60 h 92"/>
                <a:gd name="T20" fmla="*/ 60 w 137"/>
                <a:gd name="T21" fmla="*/ 0 h 92"/>
                <a:gd name="T22" fmla="*/ 77 w 137"/>
                <a:gd name="T23" fmla="*/ 0 h 92"/>
                <a:gd name="T24" fmla="*/ 97 w 137"/>
                <a:gd name="T25" fmla="*/ 60 h 92"/>
                <a:gd name="T26" fmla="*/ 97 w 137"/>
                <a:gd name="T27" fmla="*/ 60 h 92"/>
                <a:gd name="T28" fmla="*/ 115 w 137"/>
                <a:gd name="T29" fmla="*/ 0 h 92"/>
                <a:gd name="T30" fmla="*/ 137 w 137"/>
                <a:gd name="T31" fmla="*/ 0 h 92"/>
                <a:gd name="T32" fmla="*/ 111 w 137"/>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 h="92">
                  <a:moveTo>
                    <a:pt x="111" y="72"/>
                  </a:moveTo>
                  <a:cubicBezTo>
                    <a:pt x="104" y="92"/>
                    <a:pt x="88" y="88"/>
                    <a:pt x="88" y="88"/>
                  </a:cubicBezTo>
                  <a:cubicBezTo>
                    <a:pt x="68" y="28"/>
                    <a:pt x="68" y="28"/>
                    <a:pt x="68" y="28"/>
                  </a:cubicBezTo>
                  <a:cubicBezTo>
                    <a:pt x="68" y="28"/>
                    <a:pt x="68" y="28"/>
                    <a:pt x="68" y="28"/>
                  </a:cubicBezTo>
                  <a:cubicBezTo>
                    <a:pt x="68" y="28"/>
                    <a:pt x="59"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7" y="60"/>
                    <a:pt x="97" y="60"/>
                    <a:pt x="97" y="60"/>
                  </a:cubicBezTo>
                  <a:cubicBezTo>
                    <a:pt x="97" y="60"/>
                    <a:pt x="97" y="60"/>
                    <a:pt x="97" y="60"/>
                  </a:cubicBezTo>
                  <a:cubicBezTo>
                    <a:pt x="115" y="0"/>
                    <a:pt x="115" y="0"/>
                    <a:pt x="115" y="0"/>
                  </a:cubicBezTo>
                  <a:cubicBezTo>
                    <a:pt x="137" y="0"/>
                    <a:pt x="137" y="0"/>
                    <a:pt x="137" y="0"/>
                  </a:cubicBezTo>
                  <a:cubicBezTo>
                    <a:pt x="137"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61" name="Freeform 16"/>
            <p:cNvSpPr>
              <a:spLocks noEditPoints="1"/>
            </p:cNvSpPr>
            <p:nvPr userDrawn="1"/>
          </p:nvSpPr>
          <p:spPr bwMode="auto">
            <a:xfrm>
              <a:off x="8423168" y="4892699"/>
              <a:ext cx="65844" cy="95129"/>
            </a:xfrm>
            <a:custGeom>
              <a:avLst/>
              <a:gdLst>
                <a:gd name="T0" fmla="*/ 1 w 87"/>
                <a:gd name="T1" fmla="*/ 0 h 131"/>
                <a:gd name="T2" fmla="*/ 0 w 87"/>
                <a:gd name="T3" fmla="*/ 131 h 131"/>
                <a:gd name="T4" fmla="*/ 41 w 87"/>
                <a:gd name="T5" fmla="*/ 131 h 131"/>
                <a:gd name="T6" fmla="*/ 87 w 87"/>
                <a:gd name="T7" fmla="*/ 92 h 131"/>
                <a:gd name="T8" fmla="*/ 65 w 87"/>
                <a:gd name="T9" fmla="*/ 61 h 131"/>
                <a:gd name="T10" fmla="*/ 62 w 87"/>
                <a:gd name="T11" fmla="*/ 60 h 131"/>
                <a:gd name="T12" fmla="*/ 64 w 87"/>
                <a:gd name="T13" fmla="*/ 59 h 131"/>
                <a:gd name="T14" fmla="*/ 79 w 87"/>
                <a:gd name="T15" fmla="*/ 32 h 131"/>
                <a:gd name="T16" fmla="*/ 42 w 87"/>
                <a:gd name="T17" fmla="*/ 0 h 131"/>
                <a:gd name="T18" fmla="*/ 1 w 87"/>
                <a:gd name="T19" fmla="*/ 0 h 131"/>
                <a:gd name="T20" fmla="*/ 23 w 87"/>
                <a:gd name="T21" fmla="*/ 17 h 131"/>
                <a:gd name="T22" fmla="*/ 36 w 87"/>
                <a:gd name="T23" fmla="*/ 17 h 131"/>
                <a:gd name="T24" fmla="*/ 56 w 87"/>
                <a:gd name="T25" fmla="*/ 35 h 131"/>
                <a:gd name="T26" fmla="*/ 38 w 87"/>
                <a:gd name="T27" fmla="*/ 55 h 131"/>
                <a:gd name="T28" fmla="*/ 22 w 87"/>
                <a:gd name="T29" fmla="*/ 55 h 131"/>
                <a:gd name="T30" fmla="*/ 23 w 87"/>
                <a:gd name="T31" fmla="*/ 17 h 131"/>
                <a:gd name="T32" fmla="*/ 22 w 87"/>
                <a:gd name="T33" fmla="*/ 74 h 131"/>
                <a:gd name="T34" fmla="*/ 40 w 87"/>
                <a:gd name="T35" fmla="*/ 74 h 131"/>
                <a:gd name="T36" fmla="*/ 64 w 87"/>
                <a:gd name="T37" fmla="*/ 92 h 131"/>
                <a:gd name="T38" fmla="*/ 39 w 87"/>
                <a:gd name="T39" fmla="*/ 113 h 131"/>
                <a:gd name="T40" fmla="*/ 22 w 87"/>
                <a:gd name="T41" fmla="*/ 113 h 131"/>
                <a:gd name="T42" fmla="*/ 22 w 87"/>
                <a:gd name="T43" fmla="*/ 7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131">
                  <a:moveTo>
                    <a:pt x="1" y="0"/>
                  </a:moveTo>
                  <a:cubicBezTo>
                    <a:pt x="1" y="3"/>
                    <a:pt x="0" y="129"/>
                    <a:pt x="0" y="131"/>
                  </a:cubicBezTo>
                  <a:cubicBezTo>
                    <a:pt x="2" y="131"/>
                    <a:pt x="41" y="131"/>
                    <a:pt x="41" y="131"/>
                  </a:cubicBezTo>
                  <a:cubicBezTo>
                    <a:pt x="73" y="131"/>
                    <a:pt x="87" y="111"/>
                    <a:pt x="87" y="92"/>
                  </a:cubicBezTo>
                  <a:cubicBezTo>
                    <a:pt x="87" y="77"/>
                    <a:pt x="79" y="65"/>
                    <a:pt x="65" y="61"/>
                  </a:cubicBezTo>
                  <a:cubicBezTo>
                    <a:pt x="62" y="60"/>
                    <a:pt x="62" y="60"/>
                    <a:pt x="62" y="60"/>
                  </a:cubicBezTo>
                  <a:cubicBezTo>
                    <a:pt x="64" y="59"/>
                    <a:pt x="64" y="59"/>
                    <a:pt x="64" y="59"/>
                  </a:cubicBezTo>
                  <a:cubicBezTo>
                    <a:pt x="74" y="54"/>
                    <a:pt x="79" y="44"/>
                    <a:pt x="79" y="32"/>
                  </a:cubicBezTo>
                  <a:cubicBezTo>
                    <a:pt x="79" y="17"/>
                    <a:pt x="68" y="0"/>
                    <a:pt x="42" y="0"/>
                  </a:cubicBezTo>
                  <a:cubicBezTo>
                    <a:pt x="42" y="0"/>
                    <a:pt x="3" y="0"/>
                    <a:pt x="1" y="0"/>
                  </a:cubicBezTo>
                  <a:close/>
                  <a:moveTo>
                    <a:pt x="23" y="17"/>
                  </a:moveTo>
                  <a:cubicBezTo>
                    <a:pt x="36" y="17"/>
                    <a:pt x="36" y="17"/>
                    <a:pt x="36" y="17"/>
                  </a:cubicBezTo>
                  <a:cubicBezTo>
                    <a:pt x="49" y="17"/>
                    <a:pt x="56" y="24"/>
                    <a:pt x="56" y="35"/>
                  </a:cubicBezTo>
                  <a:cubicBezTo>
                    <a:pt x="56" y="47"/>
                    <a:pt x="47" y="55"/>
                    <a:pt x="38" y="55"/>
                  </a:cubicBezTo>
                  <a:cubicBezTo>
                    <a:pt x="22" y="55"/>
                    <a:pt x="22" y="55"/>
                    <a:pt x="22" y="55"/>
                  </a:cubicBezTo>
                  <a:lnTo>
                    <a:pt x="23" y="17"/>
                  </a:lnTo>
                  <a:close/>
                  <a:moveTo>
                    <a:pt x="22" y="74"/>
                  </a:moveTo>
                  <a:cubicBezTo>
                    <a:pt x="40" y="74"/>
                    <a:pt x="40" y="74"/>
                    <a:pt x="40" y="74"/>
                  </a:cubicBezTo>
                  <a:cubicBezTo>
                    <a:pt x="55" y="74"/>
                    <a:pt x="64" y="81"/>
                    <a:pt x="64" y="92"/>
                  </a:cubicBezTo>
                  <a:cubicBezTo>
                    <a:pt x="64" y="105"/>
                    <a:pt x="55" y="113"/>
                    <a:pt x="39" y="113"/>
                  </a:cubicBezTo>
                  <a:cubicBezTo>
                    <a:pt x="22" y="113"/>
                    <a:pt x="22" y="113"/>
                    <a:pt x="22" y="113"/>
                  </a:cubicBezTo>
                  <a:lnTo>
                    <a:pt x="22" y="74"/>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62" name="Freeform 17"/>
            <p:cNvSpPr>
              <a:spLocks noEditPoints="1"/>
            </p:cNvSpPr>
            <p:nvPr userDrawn="1"/>
          </p:nvSpPr>
          <p:spPr bwMode="auto">
            <a:xfrm>
              <a:off x="8546184" y="4923177"/>
              <a:ext cx="66486" cy="66190"/>
            </a:xfrm>
            <a:custGeom>
              <a:avLst/>
              <a:gdLst>
                <a:gd name="T0" fmla="*/ 75 w 88"/>
                <a:gd name="T1" fmla="*/ 78 h 91"/>
                <a:gd name="T2" fmla="*/ 44 w 88"/>
                <a:gd name="T3" fmla="*/ 91 h 91"/>
                <a:gd name="T4" fmla="*/ 14 w 88"/>
                <a:gd name="T5" fmla="*/ 80 h 91"/>
                <a:gd name="T6" fmla="*/ 0 w 88"/>
                <a:gd name="T7" fmla="*/ 46 h 91"/>
                <a:gd name="T8" fmla="*/ 13 w 88"/>
                <a:gd name="T9" fmla="*/ 12 h 91"/>
                <a:gd name="T10" fmla="*/ 44 w 88"/>
                <a:gd name="T11" fmla="*/ 0 h 91"/>
                <a:gd name="T12" fmla="*/ 76 w 88"/>
                <a:gd name="T13" fmla="*/ 12 h 91"/>
                <a:gd name="T14" fmla="*/ 88 w 88"/>
                <a:gd name="T15" fmla="*/ 45 h 91"/>
                <a:gd name="T16" fmla="*/ 75 w 88"/>
                <a:gd name="T17" fmla="*/ 78 h 91"/>
                <a:gd name="T18" fmla="*/ 44 w 88"/>
                <a:gd name="T19" fmla="*/ 17 h 91"/>
                <a:gd name="T20" fmla="*/ 23 w 88"/>
                <a:gd name="T21" fmla="*/ 45 h 91"/>
                <a:gd name="T22" fmla="*/ 44 w 88"/>
                <a:gd name="T23" fmla="*/ 73 h 91"/>
                <a:gd name="T24" fmla="*/ 65 w 88"/>
                <a:gd name="T25" fmla="*/ 45 h 91"/>
                <a:gd name="T26" fmla="*/ 44 w 88"/>
                <a:gd name="T27"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91">
                  <a:moveTo>
                    <a:pt x="75" y="78"/>
                  </a:moveTo>
                  <a:cubicBezTo>
                    <a:pt x="68" y="86"/>
                    <a:pt x="57" y="91"/>
                    <a:pt x="44" y="91"/>
                  </a:cubicBezTo>
                  <a:cubicBezTo>
                    <a:pt x="32" y="91"/>
                    <a:pt x="21" y="87"/>
                    <a:pt x="14" y="80"/>
                  </a:cubicBezTo>
                  <a:cubicBezTo>
                    <a:pt x="5" y="72"/>
                    <a:pt x="0" y="60"/>
                    <a:pt x="0" y="46"/>
                  </a:cubicBezTo>
                  <a:cubicBezTo>
                    <a:pt x="0" y="32"/>
                    <a:pt x="5" y="20"/>
                    <a:pt x="13" y="12"/>
                  </a:cubicBezTo>
                  <a:cubicBezTo>
                    <a:pt x="21" y="4"/>
                    <a:pt x="31" y="0"/>
                    <a:pt x="44" y="0"/>
                  </a:cubicBezTo>
                  <a:cubicBezTo>
                    <a:pt x="57" y="0"/>
                    <a:pt x="68" y="4"/>
                    <a:pt x="76" y="12"/>
                  </a:cubicBezTo>
                  <a:cubicBezTo>
                    <a:pt x="84" y="20"/>
                    <a:pt x="88" y="32"/>
                    <a:pt x="88" y="45"/>
                  </a:cubicBezTo>
                  <a:cubicBezTo>
                    <a:pt x="88" y="58"/>
                    <a:pt x="83" y="70"/>
                    <a:pt x="75" y="78"/>
                  </a:cubicBezTo>
                  <a:close/>
                  <a:moveTo>
                    <a:pt x="44" y="17"/>
                  </a:moveTo>
                  <a:cubicBezTo>
                    <a:pt x="30" y="17"/>
                    <a:pt x="23" y="29"/>
                    <a:pt x="23" y="45"/>
                  </a:cubicBezTo>
                  <a:cubicBezTo>
                    <a:pt x="23" y="62"/>
                    <a:pt x="31" y="73"/>
                    <a:pt x="44" y="73"/>
                  </a:cubicBezTo>
                  <a:cubicBezTo>
                    <a:pt x="58" y="73"/>
                    <a:pt x="65" y="61"/>
                    <a:pt x="65" y="45"/>
                  </a:cubicBezTo>
                  <a:cubicBezTo>
                    <a:pt x="65" y="28"/>
                    <a:pt x="57" y="17"/>
                    <a:pt x="44" y="1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63" name="Freeform 18"/>
            <p:cNvSpPr>
              <a:spLocks/>
            </p:cNvSpPr>
            <p:nvPr userDrawn="1"/>
          </p:nvSpPr>
          <p:spPr bwMode="auto">
            <a:xfrm>
              <a:off x="8728298" y="4923177"/>
              <a:ext cx="60705" cy="65574"/>
            </a:xfrm>
            <a:custGeom>
              <a:avLst/>
              <a:gdLst>
                <a:gd name="T0" fmla="*/ 58 w 80"/>
                <a:gd name="T1" fmla="*/ 90 h 90"/>
                <a:gd name="T2" fmla="*/ 58 w 80"/>
                <a:gd name="T3" fmla="*/ 38 h 90"/>
                <a:gd name="T4" fmla="*/ 45 w 80"/>
                <a:gd name="T5" fmla="*/ 19 h 90"/>
                <a:gd name="T6" fmla="*/ 23 w 80"/>
                <a:gd name="T7" fmla="*/ 28 h 90"/>
                <a:gd name="T8" fmla="*/ 23 w 80"/>
                <a:gd name="T9" fmla="*/ 74 h 90"/>
                <a:gd name="T10" fmla="*/ 0 w 80"/>
                <a:gd name="T11" fmla="*/ 90 h 90"/>
                <a:gd name="T12" fmla="*/ 0 w 80"/>
                <a:gd name="T13" fmla="*/ 2 h 90"/>
                <a:gd name="T14" fmla="*/ 19 w 80"/>
                <a:gd name="T15" fmla="*/ 2 h 90"/>
                <a:gd name="T16" fmla="*/ 22 w 80"/>
                <a:gd name="T17" fmla="*/ 11 h 90"/>
                <a:gd name="T18" fmla="*/ 52 w 80"/>
                <a:gd name="T19" fmla="*/ 0 h 90"/>
                <a:gd name="T20" fmla="*/ 80 w 80"/>
                <a:gd name="T21" fmla="*/ 31 h 90"/>
                <a:gd name="T22" fmla="*/ 80 w 80"/>
                <a:gd name="T23" fmla="*/ 74 h 90"/>
                <a:gd name="T24" fmla="*/ 58 w 80"/>
                <a:gd name="T2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90">
                  <a:moveTo>
                    <a:pt x="58" y="90"/>
                  </a:moveTo>
                  <a:cubicBezTo>
                    <a:pt x="58" y="38"/>
                    <a:pt x="58" y="38"/>
                    <a:pt x="58" y="38"/>
                  </a:cubicBezTo>
                  <a:cubicBezTo>
                    <a:pt x="58" y="29"/>
                    <a:pt x="56" y="19"/>
                    <a:pt x="45" y="19"/>
                  </a:cubicBezTo>
                  <a:cubicBezTo>
                    <a:pt x="37" y="19"/>
                    <a:pt x="29" y="23"/>
                    <a:pt x="23" y="28"/>
                  </a:cubicBezTo>
                  <a:cubicBezTo>
                    <a:pt x="23" y="28"/>
                    <a:pt x="23" y="57"/>
                    <a:pt x="23" y="74"/>
                  </a:cubicBezTo>
                  <a:cubicBezTo>
                    <a:pt x="23" y="90"/>
                    <a:pt x="0" y="90"/>
                    <a:pt x="0" y="90"/>
                  </a:cubicBezTo>
                  <a:cubicBezTo>
                    <a:pt x="0" y="2"/>
                    <a:pt x="0" y="2"/>
                    <a:pt x="0" y="2"/>
                  </a:cubicBezTo>
                  <a:cubicBezTo>
                    <a:pt x="19" y="2"/>
                    <a:pt x="19" y="2"/>
                    <a:pt x="19" y="2"/>
                  </a:cubicBezTo>
                  <a:cubicBezTo>
                    <a:pt x="22" y="11"/>
                    <a:pt x="22" y="11"/>
                    <a:pt x="22" y="11"/>
                  </a:cubicBezTo>
                  <a:cubicBezTo>
                    <a:pt x="31" y="4"/>
                    <a:pt x="40" y="0"/>
                    <a:pt x="52" y="0"/>
                  </a:cubicBezTo>
                  <a:cubicBezTo>
                    <a:pt x="65" y="0"/>
                    <a:pt x="80" y="8"/>
                    <a:pt x="80" y="31"/>
                  </a:cubicBezTo>
                  <a:cubicBezTo>
                    <a:pt x="80" y="31"/>
                    <a:pt x="80" y="57"/>
                    <a:pt x="80" y="74"/>
                  </a:cubicBezTo>
                  <a:cubicBezTo>
                    <a:pt x="80" y="90"/>
                    <a:pt x="58" y="90"/>
                    <a:pt x="58" y="9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64" name="Freeform 19"/>
            <p:cNvSpPr>
              <a:spLocks/>
            </p:cNvSpPr>
            <p:nvPr userDrawn="1"/>
          </p:nvSpPr>
          <p:spPr bwMode="auto">
            <a:xfrm>
              <a:off x="8501217" y="4923177"/>
              <a:ext cx="43361" cy="65574"/>
            </a:xfrm>
            <a:custGeom>
              <a:avLst/>
              <a:gdLst>
                <a:gd name="T0" fmla="*/ 49 w 57"/>
                <a:gd name="T1" fmla="*/ 22 h 90"/>
                <a:gd name="T2" fmla="*/ 39 w 57"/>
                <a:gd name="T3" fmla="*/ 20 h 90"/>
                <a:gd name="T4" fmla="*/ 22 w 57"/>
                <a:gd name="T5" fmla="*/ 27 h 90"/>
                <a:gd name="T6" fmla="*/ 22 w 57"/>
                <a:gd name="T7" fmla="*/ 74 h 90"/>
                <a:gd name="T8" fmla="*/ 0 w 57"/>
                <a:gd name="T9" fmla="*/ 90 h 90"/>
                <a:gd name="T10" fmla="*/ 0 w 57"/>
                <a:gd name="T11" fmla="*/ 2 h 90"/>
                <a:gd name="T12" fmla="*/ 19 w 57"/>
                <a:gd name="T13" fmla="*/ 2 h 90"/>
                <a:gd name="T14" fmla="*/ 21 w 57"/>
                <a:gd name="T15" fmla="*/ 11 h 90"/>
                <a:gd name="T16" fmla="*/ 45 w 57"/>
                <a:gd name="T17" fmla="*/ 0 h 90"/>
                <a:gd name="T18" fmla="*/ 57 w 57"/>
                <a:gd name="T19" fmla="*/ 4 h 90"/>
                <a:gd name="T20" fmla="*/ 49 w 57"/>
                <a:gd name="T21" fmla="*/ 2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0">
                  <a:moveTo>
                    <a:pt x="49" y="22"/>
                  </a:moveTo>
                  <a:cubicBezTo>
                    <a:pt x="46" y="20"/>
                    <a:pt x="42" y="20"/>
                    <a:pt x="39" y="20"/>
                  </a:cubicBezTo>
                  <a:cubicBezTo>
                    <a:pt x="34" y="20"/>
                    <a:pt x="28" y="22"/>
                    <a:pt x="22" y="27"/>
                  </a:cubicBezTo>
                  <a:cubicBezTo>
                    <a:pt x="22" y="27"/>
                    <a:pt x="22" y="57"/>
                    <a:pt x="22" y="74"/>
                  </a:cubicBezTo>
                  <a:cubicBezTo>
                    <a:pt x="22" y="90"/>
                    <a:pt x="0" y="90"/>
                    <a:pt x="0" y="90"/>
                  </a:cubicBezTo>
                  <a:cubicBezTo>
                    <a:pt x="0" y="2"/>
                    <a:pt x="0" y="2"/>
                    <a:pt x="0" y="2"/>
                  </a:cubicBezTo>
                  <a:cubicBezTo>
                    <a:pt x="19" y="2"/>
                    <a:pt x="19" y="2"/>
                    <a:pt x="19"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65" name="Freeform 20"/>
            <p:cNvSpPr>
              <a:spLocks/>
            </p:cNvSpPr>
            <p:nvPr userDrawn="1"/>
          </p:nvSpPr>
          <p:spPr bwMode="auto">
            <a:xfrm>
              <a:off x="7766657" y="4864376"/>
              <a:ext cx="100211" cy="148389"/>
            </a:xfrm>
            <a:custGeom>
              <a:avLst/>
              <a:gdLst>
                <a:gd name="T0" fmla="*/ 0 w 132"/>
                <a:gd name="T1" fmla="*/ 23 h 204"/>
                <a:gd name="T2" fmla="*/ 1 w 132"/>
                <a:gd name="T3" fmla="*/ 22 h 204"/>
                <a:gd name="T4" fmla="*/ 67 w 132"/>
                <a:gd name="T5" fmla="*/ 20 h 204"/>
                <a:gd name="T6" fmla="*/ 80 w 132"/>
                <a:gd name="T7" fmla="*/ 52 h 204"/>
                <a:gd name="T8" fmla="*/ 113 w 132"/>
                <a:gd name="T9" fmla="*/ 65 h 204"/>
                <a:gd name="T10" fmla="*/ 111 w 132"/>
                <a:gd name="T11" fmla="*/ 132 h 204"/>
                <a:gd name="T12" fmla="*/ 38 w 132"/>
                <a:gd name="T13" fmla="*/ 204 h 204"/>
                <a:gd name="T14" fmla="*/ 16 w 132"/>
                <a:gd name="T15" fmla="*/ 182 h 204"/>
                <a:gd name="T16" fmla="*/ 88 w 132"/>
                <a:gd name="T17" fmla="*/ 110 h 204"/>
                <a:gd name="T18" fmla="*/ 91 w 132"/>
                <a:gd name="T19" fmla="*/ 86 h 204"/>
                <a:gd name="T20" fmla="*/ 67 w 132"/>
                <a:gd name="T21" fmla="*/ 88 h 204"/>
                <a:gd name="T22" fmla="*/ 0 w 132"/>
                <a:gd name="T23" fmla="*/ 155 h 204"/>
                <a:gd name="T24" fmla="*/ 0 w 132"/>
                <a:gd name="T25" fmla="*/ 111 h 204"/>
                <a:gd name="T26" fmla="*/ 45 w 132"/>
                <a:gd name="T27" fmla="*/ 66 h 204"/>
                <a:gd name="T28" fmla="*/ 46 w 132"/>
                <a:gd name="T29" fmla="*/ 42 h 204"/>
                <a:gd name="T30" fmla="*/ 22 w 132"/>
                <a:gd name="T31" fmla="*/ 44 h 204"/>
                <a:gd name="T32" fmla="*/ 0 w 132"/>
                <a:gd name="T33" fmla="*/ 66 h 204"/>
                <a:gd name="T34" fmla="*/ 0 w 132"/>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204">
                  <a:moveTo>
                    <a:pt x="0" y="23"/>
                  </a:moveTo>
                  <a:cubicBezTo>
                    <a:pt x="1" y="22"/>
                    <a:pt x="1" y="22"/>
                    <a:pt x="1" y="22"/>
                  </a:cubicBezTo>
                  <a:cubicBezTo>
                    <a:pt x="23" y="0"/>
                    <a:pt x="50" y="2"/>
                    <a:pt x="67" y="20"/>
                  </a:cubicBezTo>
                  <a:cubicBezTo>
                    <a:pt x="80" y="32"/>
                    <a:pt x="81" y="46"/>
                    <a:pt x="80" y="52"/>
                  </a:cubicBezTo>
                  <a:cubicBezTo>
                    <a:pt x="86" y="51"/>
                    <a:pt x="100" y="52"/>
                    <a:pt x="113" y="65"/>
                  </a:cubicBezTo>
                  <a:cubicBezTo>
                    <a:pt x="130" y="82"/>
                    <a:pt x="132" y="110"/>
                    <a:pt x="111" y="132"/>
                  </a:cubicBezTo>
                  <a:cubicBezTo>
                    <a:pt x="38" y="204"/>
                    <a:pt x="38" y="204"/>
                    <a:pt x="38" y="204"/>
                  </a:cubicBezTo>
                  <a:cubicBezTo>
                    <a:pt x="16" y="182"/>
                    <a:pt x="16" y="182"/>
                    <a:pt x="16" y="182"/>
                  </a:cubicBezTo>
                  <a:cubicBezTo>
                    <a:pt x="88" y="110"/>
                    <a:pt x="88" y="110"/>
                    <a:pt x="88" y="110"/>
                  </a:cubicBezTo>
                  <a:cubicBezTo>
                    <a:pt x="97" y="101"/>
                    <a:pt x="96" y="91"/>
                    <a:pt x="91" y="86"/>
                  </a:cubicBezTo>
                  <a:cubicBezTo>
                    <a:pt x="85" y="80"/>
                    <a:pt x="75" y="79"/>
                    <a:pt x="67" y="88"/>
                  </a:cubicBezTo>
                  <a:cubicBezTo>
                    <a:pt x="0" y="155"/>
                    <a:pt x="0" y="155"/>
                    <a:pt x="0" y="155"/>
                  </a:cubicBezTo>
                  <a:cubicBezTo>
                    <a:pt x="0" y="111"/>
                    <a:pt x="0" y="111"/>
                    <a:pt x="0" y="111"/>
                  </a:cubicBezTo>
                  <a:cubicBezTo>
                    <a:pt x="45" y="66"/>
                    <a:pt x="45" y="66"/>
                    <a:pt x="45" y="66"/>
                  </a:cubicBezTo>
                  <a:cubicBezTo>
                    <a:pt x="53" y="57"/>
                    <a:pt x="52" y="47"/>
                    <a:pt x="46" y="42"/>
                  </a:cubicBezTo>
                  <a:cubicBezTo>
                    <a:pt x="41" y="36"/>
                    <a:pt x="31" y="35"/>
                    <a:pt x="22" y="44"/>
                  </a:cubicBezTo>
                  <a:cubicBezTo>
                    <a:pt x="0" y="66"/>
                    <a:pt x="0" y="66"/>
                    <a:pt x="0" y="66"/>
                  </a:cubicBezTo>
                  <a:lnTo>
                    <a:pt x="0"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66" name="Freeform 21"/>
            <p:cNvSpPr>
              <a:spLocks noEditPoints="1"/>
            </p:cNvSpPr>
            <p:nvPr userDrawn="1"/>
          </p:nvSpPr>
          <p:spPr bwMode="auto">
            <a:xfrm>
              <a:off x="7980890" y="5040472"/>
              <a:ext cx="51390" cy="57878"/>
            </a:xfrm>
            <a:custGeom>
              <a:avLst/>
              <a:gdLst>
                <a:gd name="T0" fmla="*/ 0 w 68"/>
                <a:gd name="T1" fmla="*/ 40 h 80"/>
                <a:gd name="T2" fmla="*/ 35 w 68"/>
                <a:gd name="T3" fmla="*/ 0 h 80"/>
                <a:gd name="T4" fmla="*/ 68 w 68"/>
                <a:gd name="T5" fmla="*/ 41 h 80"/>
                <a:gd name="T6" fmla="*/ 68 w 68"/>
                <a:gd name="T7" fmla="*/ 46 h 80"/>
                <a:gd name="T8" fmla="*/ 20 w 68"/>
                <a:gd name="T9" fmla="*/ 46 h 80"/>
                <a:gd name="T10" fmla="*/ 41 w 68"/>
                <a:gd name="T11" fmla="*/ 65 h 80"/>
                <a:gd name="T12" fmla="*/ 60 w 68"/>
                <a:gd name="T13" fmla="*/ 60 h 80"/>
                <a:gd name="T14" fmla="*/ 66 w 68"/>
                <a:gd name="T15" fmla="*/ 73 h 80"/>
                <a:gd name="T16" fmla="*/ 39 w 68"/>
                <a:gd name="T17" fmla="*/ 80 h 80"/>
                <a:gd name="T18" fmla="*/ 0 w 68"/>
                <a:gd name="T19" fmla="*/ 40 h 80"/>
                <a:gd name="T20" fmla="*/ 49 w 68"/>
                <a:gd name="T21" fmla="*/ 32 h 80"/>
                <a:gd name="T22" fmla="*/ 34 w 68"/>
                <a:gd name="T23" fmla="*/ 15 h 80"/>
                <a:gd name="T24" fmla="*/ 19 w 68"/>
                <a:gd name="T25" fmla="*/ 32 h 80"/>
                <a:gd name="T26" fmla="*/ 49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3" y="0"/>
                    <a:pt x="35" y="0"/>
                  </a:cubicBezTo>
                  <a:cubicBezTo>
                    <a:pt x="56" y="0"/>
                    <a:pt x="68" y="16"/>
                    <a:pt x="68" y="41"/>
                  </a:cubicBezTo>
                  <a:cubicBezTo>
                    <a:pt x="68" y="46"/>
                    <a:pt x="68" y="46"/>
                    <a:pt x="68" y="46"/>
                  </a:cubicBezTo>
                  <a:cubicBezTo>
                    <a:pt x="20" y="46"/>
                    <a:pt x="20" y="46"/>
                    <a:pt x="20" y="46"/>
                  </a:cubicBezTo>
                  <a:cubicBezTo>
                    <a:pt x="20" y="57"/>
                    <a:pt x="28" y="65"/>
                    <a:pt x="41" y="65"/>
                  </a:cubicBezTo>
                  <a:cubicBezTo>
                    <a:pt x="49" y="65"/>
                    <a:pt x="55" y="63"/>
                    <a:pt x="60" y="60"/>
                  </a:cubicBezTo>
                  <a:cubicBezTo>
                    <a:pt x="66" y="73"/>
                    <a:pt x="66" y="73"/>
                    <a:pt x="66" y="73"/>
                  </a:cubicBezTo>
                  <a:cubicBezTo>
                    <a:pt x="58" y="78"/>
                    <a:pt x="49" y="80"/>
                    <a:pt x="39" y="80"/>
                  </a:cubicBezTo>
                  <a:cubicBezTo>
                    <a:pt x="11" y="80"/>
                    <a:pt x="0" y="61"/>
                    <a:pt x="0" y="40"/>
                  </a:cubicBezTo>
                  <a:close/>
                  <a:moveTo>
                    <a:pt x="49" y="32"/>
                  </a:moveTo>
                  <a:cubicBezTo>
                    <a:pt x="49" y="23"/>
                    <a:pt x="44" y="15"/>
                    <a:pt x="34" y="15"/>
                  </a:cubicBezTo>
                  <a:cubicBezTo>
                    <a:pt x="25" y="15"/>
                    <a:pt x="19" y="23"/>
                    <a:pt x="19" y="32"/>
                  </a:cubicBezTo>
                  <a:lnTo>
                    <a:pt x="49"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67" name="Freeform 22"/>
            <p:cNvSpPr>
              <a:spLocks/>
            </p:cNvSpPr>
            <p:nvPr userDrawn="1"/>
          </p:nvSpPr>
          <p:spPr bwMode="auto">
            <a:xfrm>
              <a:off x="8295656" y="5041088"/>
              <a:ext cx="37258" cy="56031"/>
            </a:xfrm>
            <a:custGeom>
              <a:avLst/>
              <a:gdLst>
                <a:gd name="T0" fmla="*/ 42 w 49"/>
                <a:gd name="T1" fmla="*/ 19 h 77"/>
                <a:gd name="T2" fmla="*/ 33 w 49"/>
                <a:gd name="T3" fmla="*/ 16 h 77"/>
                <a:gd name="T4" fmla="*/ 19 w 49"/>
                <a:gd name="T5" fmla="*/ 23 h 77"/>
                <a:gd name="T6" fmla="*/ 19 w 49"/>
                <a:gd name="T7" fmla="*/ 63 h 77"/>
                <a:gd name="T8" fmla="*/ 0 w 49"/>
                <a:gd name="T9" fmla="*/ 77 h 77"/>
                <a:gd name="T10" fmla="*/ 0 w 49"/>
                <a:gd name="T11" fmla="*/ 1 h 77"/>
                <a:gd name="T12" fmla="*/ 16 w 49"/>
                <a:gd name="T13" fmla="*/ 1 h 77"/>
                <a:gd name="T14" fmla="*/ 18 w 49"/>
                <a:gd name="T15" fmla="*/ 9 h 77"/>
                <a:gd name="T16" fmla="*/ 39 w 49"/>
                <a:gd name="T17" fmla="*/ 0 h 77"/>
                <a:gd name="T18" fmla="*/ 49 w 49"/>
                <a:gd name="T19" fmla="*/ 3 h 77"/>
                <a:gd name="T20" fmla="*/ 42 w 49"/>
                <a:gd name="T21"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77">
                  <a:moveTo>
                    <a:pt x="42" y="19"/>
                  </a:moveTo>
                  <a:cubicBezTo>
                    <a:pt x="39" y="17"/>
                    <a:pt x="36" y="16"/>
                    <a:pt x="33" y="16"/>
                  </a:cubicBezTo>
                  <a:cubicBezTo>
                    <a:pt x="29" y="16"/>
                    <a:pt x="24" y="18"/>
                    <a:pt x="19" y="23"/>
                  </a:cubicBezTo>
                  <a:cubicBezTo>
                    <a:pt x="19" y="2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2"/>
                    <a:pt x="32" y="0"/>
                    <a:pt x="39" y="0"/>
                  </a:cubicBezTo>
                  <a:cubicBezTo>
                    <a:pt x="42" y="0"/>
                    <a:pt x="46" y="1"/>
                    <a:pt x="49" y="3"/>
                  </a:cubicBezTo>
                  <a:lnTo>
                    <a:pt x="42" y="1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68" name="Freeform 23"/>
            <p:cNvSpPr>
              <a:spLocks noEditPoints="1"/>
            </p:cNvSpPr>
            <p:nvPr userDrawn="1"/>
          </p:nvSpPr>
          <p:spPr bwMode="auto">
            <a:xfrm>
              <a:off x="8178743" y="5040472"/>
              <a:ext cx="51712" cy="57878"/>
            </a:xfrm>
            <a:custGeom>
              <a:avLst/>
              <a:gdLst>
                <a:gd name="T0" fmla="*/ 0 w 68"/>
                <a:gd name="T1" fmla="*/ 40 h 80"/>
                <a:gd name="T2" fmla="*/ 34 w 68"/>
                <a:gd name="T3" fmla="*/ 0 h 80"/>
                <a:gd name="T4" fmla="*/ 68 w 68"/>
                <a:gd name="T5" fmla="*/ 41 h 80"/>
                <a:gd name="T6" fmla="*/ 68 w 68"/>
                <a:gd name="T7" fmla="*/ 46 h 80"/>
                <a:gd name="T8" fmla="*/ 19 w 68"/>
                <a:gd name="T9" fmla="*/ 46 h 80"/>
                <a:gd name="T10" fmla="*/ 41 w 68"/>
                <a:gd name="T11" fmla="*/ 65 h 80"/>
                <a:gd name="T12" fmla="*/ 60 w 68"/>
                <a:gd name="T13" fmla="*/ 60 h 80"/>
                <a:gd name="T14" fmla="*/ 66 w 68"/>
                <a:gd name="T15" fmla="*/ 73 h 80"/>
                <a:gd name="T16" fmla="*/ 39 w 68"/>
                <a:gd name="T17" fmla="*/ 80 h 80"/>
                <a:gd name="T18" fmla="*/ 0 w 68"/>
                <a:gd name="T19" fmla="*/ 40 h 80"/>
                <a:gd name="T20" fmla="*/ 49 w 68"/>
                <a:gd name="T21" fmla="*/ 32 h 80"/>
                <a:gd name="T22" fmla="*/ 34 w 68"/>
                <a:gd name="T23" fmla="*/ 15 h 80"/>
                <a:gd name="T24" fmla="*/ 19 w 68"/>
                <a:gd name="T25" fmla="*/ 32 h 80"/>
                <a:gd name="T26" fmla="*/ 49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3" y="0"/>
                    <a:pt x="34" y="0"/>
                  </a:cubicBezTo>
                  <a:cubicBezTo>
                    <a:pt x="56" y="0"/>
                    <a:pt x="68" y="16"/>
                    <a:pt x="68" y="41"/>
                  </a:cubicBezTo>
                  <a:cubicBezTo>
                    <a:pt x="68" y="46"/>
                    <a:pt x="68" y="46"/>
                    <a:pt x="68" y="46"/>
                  </a:cubicBezTo>
                  <a:cubicBezTo>
                    <a:pt x="19" y="46"/>
                    <a:pt x="19" y="46"/>
                    <a:pt x="19" y="46"/>
                  </a:cubicBezTo>
                  <a:cubicBezTo>
                    <a:pt x="20" y="57"/>
                    <a:pt x="28" y="65"/>
                    <a:pt x="41" y="65"/>
                  </a:cubicBezTo>
                  <a:cubicBezTo>
                    <a:pt x="49" y="65"/>
                    <a:pt x="55" y="63"/>
                    <a:pt x="60" y="60"/>
                  </a:cubicBezTo>
                  <a:cubicBezTo>
                    <a:pt x="66" y="73"/>
                    <a:pt x="66" y="73"/>
                    <a:pt x="66" y="73"/>
                  </a:cubicBezTo>
                  <a:cubicBezTo>
                    <a:pt x="58" y="78"/>
                    <a:pt x="48" y="80"/>
                    <a:pt x="39" y="80"/>
                  </a:cubicBezTo>
                  <a:cubicBezTo>
                    <a:pt x="11" y="80"/>
                    <a:pt x="0" y="61"/>
                    <a:pt x="0" y="40"/>
                  </a:cubicBezTo>
                  <a:close/>
                  <a:moveTo>
                    <a:pt x="49" y="32"/>
                  </a:moveTo>
                  <a:cubicBezTo>
                    <a:pt x="48" y="23"/>
                    <a:pt x="44" y="15"/>
                    <a:pt x="34" y="15"/>
                  </a:cubicBezTo>
                  <a:cubicBezTo>
                    <a:pt x="25" y="15"/>
                    <a:pt x="19" y="23"/>
                    <a:pt x="19" y="32"/>
                  </a:cubicBezTo>
                  <a:lnTo>
                    <a:pt x="49"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69" name="Freeform 24"/>
            <p:cNvSpPr>
              <a:spLocks noEditPoints="1"/>
            </p:cNvSpPr>
            <p:nvPr userDrawn="1"/>
          </p:nvSpPr>
          <p:spPr bwMode="auto">
            <a:xfrm>
              <a:off x="8236557" y="5040472"/>
              <a:ext cx="51390" cy="57878"/>
            </a:xfrm>
            <a:custGeom>
              <a:avLst/>
              <a:gdLst>
                <a:gd name="T0" fmla="*/ 0 w 68"/>
                <a:gd name="T1" fmla="*/ 40 h 80"/>
                <a:gd name="T2" fmla="*/ 34 w 68"/>
                <a:gd name="T3" fmla="*/ 0 h 80"/>
                <a:gd name="T4" fmla="*/ 68 w 68"/>
                <a:gd name="T5" fmla="*/ 41 h 80"/>
                <a:gd name="T6" fmla="*/ 68 w 68"/>
                <a:gd name="T7" fmla="*/ 46 h 80"/>
                <a:gd name="T8" fmla="*/ 19 w 68"/>
                <a:gd name="T9" fmla="*/ 46 h 80"/>
                <a:gd name="T10" fmla="*/ 40 w 68"/>
                <a:gd name="T11" fmla="*/ 65 h 80"/>
                <a:gd name="T12" fmla="*/ 60 w 68"/>
                <a:gd name="T13" fmla="*/ 60 h 80"/>
                <a:gd name="T14" fmla="*/ 65 w 68"/>
                <a:gd name="T15" fmla="*/ 73 h 80"/>
                <a:gd name="T16" fmla="*/ 39 w 68"/>
                <a:gd name="T17" fmla="*/ 80 h 80"/>
                <a:gd name="T18" fmla="*/ 0 w 68"/>
                <a:gd name="T19" fmla="*/ 40 h 80"/>
                <a:gd name="T20" fmla="*/ 48 w 68"/>
                <a:gd name="T21" fmla="*/ 32 h 80"/>
                <a:gd name="T22" fmla="*/ 34 w 68"/>
                <a:gd name="T23" fmla="*/ 15 h 80"/>
                <a:gd name="T24" fmla="*/ 19 w 68"/>
                <a:gd name="T25" fmla="*/ 32 h 80"/>
                <a:gd name="T26" fmla="*/ 48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2" y="0"/>
                    <a:pt x="34" y="0"/>
                  </a:cubicBezTo>
                  <a:cubicBezTo>
                    <a:pt x="55" y="0"/>
                    <a:pt x="68" y="16"/>
                    <a:pt x="68" y="41"/>
                  </a:cubicBezTo>
                  <a:cubicBezTo>
                    <a:pt x="68" y="46"/>
                    <a:pt x="68" y="46"/>
                    <a:pt x="68" y="46"/>
                  </a:cubicBezTo>
                  <a:cubicBezTo>
                    <a:pt x="19" y="46"/>
                    <a:pt x="19" y="46"/>
                    <a:pt x="19" y="46"/>
                  </a:cubicBezTo>
                  <a:cubicBezTo>
                    <a:pt x="19" y="57"/>
                    <a:pt x="28" y="65"/>
                    <a:pt x="40" y="65"/>
                  </a:cubicBezTo>
                  <a:cubicBezTo>
                    <a:pt x="48" y="65"/>
                    <a:pt x="54" y="63"/>
                    <a:pt x="60" y="60"/>
                  </a:cubicBezTo>
                  <a:cubicBezTo>
                    <a:pt x="65" y="73"/>
                    <a:pt x="65" y="73"/>
                    <a:pt x="65" y="73"/>
                  </a:cubicBezTo>
                  <a:cubicBezTo>
                    <a:pt x="57" y="78"/>
                    <a:pt x="48" y="80"/>
                    <a:pt x="39" y="80"/>
                  </a:cubicBezTo>
                  <a:cubicBezTo>
                    <a:pt x="11" y="80"/>
                    <a:pt x="0" y="61"/>
                    <a:pt x="0" y="40"/>
                  </a:cubicBezTo>
                  <a:close/>
                  <a:moveTo>
                    <a:pt x="48" y="32"/>
                  </a:moveTo>
                  <a:cubicBezTo>
                    <a:pt x="48" y="23"/>
                    <a:pt x="44" y="15"/>
                    <a:pt x="34" y="15"/>
                  </a:cubicBezTo>
                  <a:cubicBezTo>
                    <a:pt x="24" y="15"/>
                    <a:pt x="19" y="23"/>
                    <a:pt x="19" y="32"/>
                  </a:cubicBezTo>
                  <a:lnTo>
                    <a:pt x="48"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70" name="Freeform 25"/>
            <p:cNvSpPr>
              <a:spLocks/>
            </p:cNvSpPr>
            <p:nvPr userDrawn="1"/>
          </p:nvSpPr>
          <p:spPr bwMode="auto">
            <a:xfrm>
              <a:off x="8040631" y="5041088"/>
              <a:ext cx="37258" cy="56031"/>
            </a:xfrm>
            <a:custGeom>
              <a:avLst/>
              <a:gdLst>
                <a:gd name="T0" fmla="*/ 42 w 49"/>
                <a:gd name="T1" fmla="*/ 19 h 77"/>
                <a:gd name="T2" fmla="*/ 33 w 49"/>
                <a:gd name="T3" fmla="*/ 16 h 77"/>
                <a:gd name="T4" fmla="*/ 19 w 49"/>
                <a:gd name="T5" fmla="*/ 23 h 77"/>
                <a:gd name="T6" fmla="*/ 19 w 49"/>
                <a:gd name="T7" fmla="*/ 63 h 77"/>
                <a:gd name="T8" fmla="*/ 0 w 49"/>
                <a:gd name="T9" fmla="*/ 77 h 77"/>
                <a:gd name="T10" fmla="*/ 0 w 49"/>
                <a:gd name="T11" fmla="*/ 1 h 77"/>
                <a:gd name="T12" fmla="*/ 16 w 49"/>
                <a:gd name="T13" fmla="*/ 1 h 77"/>
                <a:gd name="T14" fmla="*/ 18 w 49"/>
                <a:gd name="T15" fmla="*/ 9 h 77"/>
                <a:gd name="T16" fmla="*/ 38 w 49"/>
                <a:gd name="T17" fmla="*/ 0 h 77"/>
                <a:gd name="T18" fmla="*/ 49 w 49"/>
                <a:gd name="T19" fmla="*/ 3 h 77"/>
                <a:gd name="T20" fmla="*/ 42 w 49"/>
                <a:gd name="T21"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77">
                  <a:moveTo>
                    <a:pt x="42" y="19"/>
                  </a:moveTo>
                  <a:cubicBezTo>
                    <a:pt x="39" y="17"/>
                    <a:pt x="35" y="16"/>
                    <a:pt x="33" y="16"/>
                  </a:cubicBezTo>
                  <a:cubicBezTo>
                    <a:pt x="29" y="16"/>
                    <a:pt x="24" y="18"/>
                    <a:pt x="19" y="23"/>
                  </a:cubicBezTo>
                  <a:cubicBezTo>
                    <a:pt x="19" y="2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2"/>
                    <a:pt x="31" y="0"/>
                    <a:pt x="38" y="0"/>
                  </a:cubicBezTo>
                  <a:cubicBezTo>
                    <a:pt x="42" y="0"/>
                    <a:pt x="46" y="1"/>
                    <a:pt x="49" y="3"/>
                  </a:cubicBezTo>
                  <a:lnTo>
                    <a:pt x="42" y="1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71" name="Freeform 26"/>
            <p:cNvSpPr>
              <a:spLocks/>
            </p:cNvSpPr>
            <p:nvPr userDrawn="1"/>
          </p:nvSpPr>
          <p:spPr bwMode="auto">
            <a:xfrm>
              <a:off x="8083992" y="5041088"/>
              <a:ext cx="86400" cy="56031"/>
            </a:xfrm>
            <a:custGeom>
              <a:avLst/>
              <a:gdLst>
                <a:gd name="T0" fmla="*/ 114 w 114"/>
                <a:gd name="T1" fmla="*/ 25 h 77"/>
                <a:gd name="T2" fmla="*/ 114 w 114"/>
                <a:gd name="T3" fmla="*/ 63 h 77"/>
                <a:gd name="T4" fmla="*/ 95 w 114"/>
                <a:gd name="T5" fmla="*/ 77 h 77"/>
                <a:gd name="T6" fmla="*/ 95 w 114"/>
                <a:gd name="T7" fmla="*/ 31 h 77"/>
                <a:gd name="T8" fmla="*/ 84 w 114"/>
                <a:gd name="T9" fmla="*/ 16 h 77"/>
                <a:gd name="T10" fmla="*/ 66 w 114"/>
                <a:gd name="T11" fmla="*/ 23 h 77"/>
                <a:gd name="T12" fmla="*/ 66 w 114"/>
                <a:gd name="T13" fmla="*/ 63 h 77"/>
                <a:gd name="T14" fmla="*/ 66 w 114"/>
                <a:gd name="T15" fmla="*/ 63 h 77"/>
                <a:gd name="T16" fmla="*/ 47 w 114"/>
                <a:gd name="T17" fmla="*/ 77 h 77"/>
                <a:gd name="T18" fmla="*/ 47 w 114"/>
                <a:gd name="T19" fmla="*/ 31 h 77"/>
                <a:gd name="T20" fmla="*/ 37 w 114"/>
                <a:gd name="T21" fmla="*/ 16 h 77"/>
                <a:gd name="T22" fmla="*/ 19 w 114"/>
                <a:gd name="T23" fmla="*/ 23 h 77"/>
                <a:gd name="T24" fmla="*/ 19 w 114"/>
                <a:gd name="T25" fmla="*/ 63 h 77"/>
                <a:gd name="T26" fmla="*/ 19 w 114"/>
                <a:gd name="T27" fmla="*/ 63 h 77"/>
                <a:gd name="T28" fmla="*/ 0 w 114"/>
                <a:gd name="T29" fmla="*/ 77 h 77"/>
                <a:gd name="T30" fmla="*/ 0 w 114"/>
                <a:gd name="T31" fmla="*/ 1 h 77"/>
                <a:gd name="T32" fmla="*/ 16 w 114"/>
                <a:gd name="T33" fmla="*/ 1 h 77"/>
                <a:gd name="T34" fmla="*/ 18 w 114"/>
                <a:gd name="T35" fmla="*/ 9 h 77"/>
                <a:gd name="T36" fmla="*/ 43 w 114"/>
                <a:gd name="T37" fmla="*/ 0 h 77"/>
                <a:gd name="T38" fmla="*/ 63 w 114"/>
                <a:gd name="T39" fmla="*/ 11 h 77"/>
                <a:gd name="T40" fmla="*/ 89 w 114"/>
                <a:gd name="T41" fmla="*/ 0 h 77"/>
                <a:gd name="T42" fmla="*/ 114 w 114"/>
                <a:gd name="T43" fmla="*/ 2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77">
                  <a:moveTo>
                    <a:pt x="114" y="25"/>
                  </a:moveTo>
                  <a:cubicBezTo>
                    <a:pt x="114" y="63"/>
                    <a:pt x="114" y="63"/>
                    <a:pt x="114" y="63"/>
                  </a:cubicBezTo>
                  <a:cubicBezTo>
                    <a:pt x="114" y="77"/>
                    <a:pt x="95" y="77"/>
                    <a:pt x="95" y="77"/>
                  </a:cubicBezTo>
                  <a:cubicBezTo>
                    <a:pt x="95" y="31"/>
                    <a:pt x="95" y="31"/>
                    <a:pt x="95" y="31"/>
                  </a:cubicBezTo>
                  <a:cubicBezTo>
                    <a:pt x="95" y="22"/>
                    <a:pt x="93" y="16"/>
                    <a:pt x="84" y="16"/>
                  </a:cubicBezTo>
                  <a:cubicBezTo>
                    <a:pt x="77" y="16"/>
                    <a:pt x="71" y="19"/>
                    <a:pt x="66" y="23"/>
                  </a:cubicBezTo>
                  <a:cubicBezTo>
                    <a:pt x="66" y="63"/>
                    <a:pt x="66" y="63"/>
                    <a:pt x="66" y="63"/>
                  </a:cubicBezTo>
                  <a:cubicBezTo>
                    <a:pt x="66" y="63"/>
                    <a:pt x="66" y="49"/>
                    <a:pt x="66" y="63"/>
                  </a:cubicBezTo>
                  <a:cubicBezTo>
                    <a:pt x="66" y="77"/>
                    <a:pt x="47" y="77"/>
                    <a:pt x="47" y="77"/>
                  </a:cubicBezTo>
                  <a:cubicBezTo>
                    <a:pt x="47" y="31"/>
                    <a:pt x="47" y="31"/>
                    <a:pt x="47" y="31"/>
                  </a:cubicBezTo>
                  <a:cubicBezTo>
                    <a:pt x="47" y="23"/>
                    <a:pt x="46" y="16"/>
                    <a:pt x="37" y="16"/>
                  </a:cubicBezTo>
                  <a:cubicBezTo>
                    <a:pt x="30" y="16"/>
                    <a:pt x="19" y="23"/>
                    <a:pt x="19" y="23"/>
                  </a:cubicBezTo>
                  <a:cubicBezTo>
                    <a:pt x="19" y="63"/>
                    <a:pt x="19" y="63"/>
                    <a:pt x="19" y="63"/>
                  </a:cubicBezTo>
                  <a:cubicBezTo>
                    <a:pt x="19" y="6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3"/>
                    <a:pt x="34" y="0"/>
                    <a:pt x="43" y="0"/>
                  </a:cubicBezTo>
                  <a:cubicBezTo>
                    <a:pt x="52" y="0"/>
                    <a:pt x="59" y="4"/>
                    <a:pt x="63" y="11"/>
                  </a:cubicBezTo>
                  <a:cubicBezTo>
                    <a:pt x="71" y="3"/>
                    <a:pt x="81" y="0"/>
                    <a:pt x="89" y="0"/>
                  </a:cubicBezTo>
                  <a:cubicBezTo>
                    <a:pt x="102" y="0"/>
                    <a:pt x="114" y="6"/>
                    <a:pt x="114" y="25"/>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72" name="Freeform 27"/>
            <p:cNvSpPr>
              <a:spLocks/>
            </p:cNvSpPr>
            <p:nvPr userDrawn="1"/>
          </p:nvSpPr>
          <p:spPr bwMode="auto">
            <a:xfrm>
              <a:off x="7908622" y="5019846"/>
              <a:ext cx="77407" cy="77889"/>
            </a:xfrm>
            <a:custGeom>
              <a:avLst/>
              <a:gdLst>
                <a:gd name="T0" fmla="*/ 43 w 102"/>
                <a:gd name="T1" fmla="*/ 107 h 107"/>
                <a:gd name="T2" fmla="*/ 65 w 102"/>
                <a:gd name="T3" fmla="*/ 91 h 107"/>
                <a:gd name="T4" fmla="*/ 102 w 102"/>
                <a:gd name="T5" fmla="*/ 0 h 107"/>
                <a:gd name="T6" fmla="*/ 81 w 102"/>
                <a:gd name="T7" fmla="*/ 0 h 107"/>
                <a:gd name="T8" fmla="*/ 51 w 102"/>
                <a:gd name="T9" fmla="*/ 78 h 107"/>
                <a:gd name="T10" fmla="*/ 51 w 102"/>
                <a:gd name="T11" fmla="*/ 78 h 107"/>
                <a:gd name="T12" fmla="*/ 21 w 102"/>
                <a:gd name="T13" fmla="*/ 0 h 107"/>
                <a:gd name="T14" fmla="*/ 0 w 102"/>
                <a:gd name="T15" fmla="*/ 0 h 107"/>
                <a:gd name="T16" fmla="*/ 43 w 102"/>
                <a:gd name="T17"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107">
                  <a:moveTo>
                    <a:pt x="43" y="107"/>
                  </a:moveTo>
                  <a:cubicBezTo>
                    <a:pt x="57" y="107"/>
                    <a:pt x="61" y="101"/>
                    <a:pt x="65" y="91"/>
                  </a:cubicBezTo>
                  <a:cubicBezTo>
                    <a:pt x="102" y="0"/>
                    <a:pt x="102" y="0"/>
                    <a:pt x="102" y="0"/>
                  </a:cubicBezTo>
                  <a:cubicBezTo>
                    <a:pt x="81" y="0"/>
                    <a:pt x="81" y="0"/>
                    <a:pt x="81" y="0"/>
                  </a:cubicBezTo>
                  <a:cubicBezTo>
                    <a:pt x="51" y="78"/>
                    <a:pt x="51" y="78"/>
                    <a:pt x="51" y="78"/>
                  </a:cubicBezTo>
                  <a:cubicBezTo>
                    <a:pt x="51" y="78"/>
                    <a:pt x="51" y="78"/>
                    <a:pt x="51" y="78"/>
                  </a:cubicBezTo>
                  <a:cubicBezTo>
                    <a:pt x="21" y="0"/>
                    <a:pt x="21" y="0"/>
                    <a:pt x="21" y="0"/>
                  </a:cubicBezTo>
                  <a:cubicBezTo>
                    <a:pt x="0" y="0"/>
                    <a:pt x="0" y="0"/>
                    <a:pt x="0" y="0"/>
                  </a:cubicBezTo>
                  <a:cubicBezTo>
                    <a:pt x="43" y="107"/>
                    <a:pt x="43" y="107"/>
                    <a:pt x="43" y="10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173" name="Group 172"/>
          <p:cNvGrpSpPr/>
          <p:nvPr userDrawn="1"/>
        </p:nvGrpSpPr>
        <p:grpSpPr>
          <a:xfrm>
            <a:off x="7686461" y="4906654"/>
            <a:ext cx="1124815" cy="151147"/>
            <a:chOff x="7686461" y="4581466"/>
            <a:chExt cx="1124815" cy="151147"/>
          </a:xfrm>
          <a:solidFill>
            <a:schemeClr val="bg1"/>
          </a:solidFill>
        </p:grpSpPr>
        <p:sp>
          <p:nvSpPr>
            <p:cNvPr id="174"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75"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76"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77"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78"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79"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80"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81"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82"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83"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84"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85"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86"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87"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88"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grpSp>
      <p:sp>
        <p:nvSpPr>
          <p:cNvPr id="73"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solidFill>
                  <a:schemeClr val="tx1">
                    <a:lumMod val="50000"/>
                    <a:lumOff val="50000"/>
                  </a:schemeClr>
                </a:solidFill>
                <a:latin typeface="+mn-lt"/>
              </a:rPr>
              <a:t>Private and Confidental</a:t>
            </a:r>
            <a:endParaRPr lang="pt-BR" sz="500" dirty="0">
              <a:solidFill>
                <a:schemeClr val="tx1">
                  <a:lumMod val="50000"/>
                  <a:lumOff val="50000"/>
                </a:schemeClr>
              </a:solidFill>
              <a:latin typeface="+mn-lt"/>
            </a:endParaRPr>
          </a:p>
        </p:txBody>
      </p:sp>
    </p:spTree>
    <p:extLst>
      <p:ext uri="{BB962C8B-B14F-4D97-AF65-F5344CB8AC3E}">
        <p14:creationId xmlns:p14="http://schemas.microsoft.com/office/powerpoint/2010/main" val="2938559653"/>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V_A_MB_Leaf">
    <p:bg>
      <p:bgPr>
        <a:solidFill>
          <a:schemeClr val="bg1"/>
        </a:solidFill>
        <a:effectLst/>
      </p:bgPr>
    </p:bg>
    <p:spTree>
      <p:nvGrpSpPr>
        <p:cNvPr id="1" name=""/>
        <p:cNvGrpSpPr/>
        <p:nvPr/>
      </p:nvGrpSpPr>
      <p:grpSpPr>
        <a:xfrm>
          <a:off x="0" y="0"/>
          <a:ext cx="0" cy="0"/>
          <a:chOff x="0" y="0"/>
          <a:chExt cx="0" cy="0"/>
        </a:xfrm>
      </p:grpSpPr>
      <p:sp>
        <p:nvSpPr>
          <p:cNvPr id="31" name="Rectangle 30"/>
          <p:cNvSpPr/>
          <p:nvPr userDrawn="1"/>
        </p:nvSpPr>
        <p:spPr>
          <a:xfrm>
            <a:off x="0" y="0"/>
            <a:ext cx="9144000" cy="5148263"/>
          </a:xfrm>
          <a:prstGeom prst="rect">
            <a:avLst/>
          </a:prstGeom>
          <a:solidFill>
            <a:schemeClr val="tx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en-GB" sz="1050" smtClean="0">
              <a:solidFill>
                <a:schemeClr val="bg1"/>
              </a:solidFill>
              <a:latin typeface="Arial" panose="020B0604020202020204" pitchFamily="34" charset="0"/>
              <a:cs typeface="Arial" panose="020B0604020202020204" pitchFamily="34" charset="0"/>
            </a:endParaRPr>
          </a:p>
        </p:txBody>
      </p:sp>
      <p:pic>
        <p:nvPicPr>
          <p:cNvPr id="33" name="Picture 32" descr="cookie_white.png"/>
          <p:cNvPicPr>
            <a:picLocks noChangeAspect="1"/>
          </p:cNvPicPr>
          <p:nvPr userDrawn="1"/>
        </p:nvPicPr>
        <p:blipFill rotWithShape="1">
          <a:blip r:embed="rId2" cstate="screen">
            <a:alphaModFix amt="16000"/>
            <a:extLst>
              <a:ext uri="{28A0092B-C50C-407E-A947-70E740481C1C}">
                <a14:useLocalDpi xmlns:a14="http://schemas.microsoft.com/office/drawing/2010/main"/>
              </a:ext>
            </a:extLst>
          </a:blip>
          <a:srcRect/>
          <a:stretch/>
        </p:blipFill>
        <p:spPr>
          <a:xfrm flipH="1">
            <a:off x="5149029" y="2289839"/>
            <a:ext cx="4020091" cy="2880000"/>
          </a:xfrm>
          <a:prstGeom prst="rect">
            <a:avLst/>
          </a:prstGeom>
        </p:spPr>
      </p:pic>
      <p:grpSp>
        <p:nvGrpSpPr>
          <p:cNvPr id="51" name="Group 50"/>
          <p:cNvGrpSpPr/>
          <p:nvPr userDrawn="1"/>
        </p:nvGrpSpPr>
        <p:grpSpPr>
          <a:xfrm>
            <a:off x="4750866" y="4840100"/>
            <a:ext cx="1123200" cy="233974"/>
            <a:chOff x="7665803" y="4864376"/>
            <a:chExt cx="1123200" cy="233974"/>
          </a:xfrm>
          <a:solidFill>
            <a:schemeClr val="bg1"/>
          </a:solidFill>
        </p:grpSpPr>
        <p:sp>
          <p:nvSpPr>
            <p:cNvPr id="52" name="Freeform 6"/>
            <p:cNvSpPr>
              <a:spLocks/>
            </p:cNvSpPr>
            <p:nvPr userDrawn="1"/>
          </p:nvSpPr>
          <p:spPr bwMode="auto">
            <a:xfrm>
              <a:off x="8119644" y="4924717"/>
              <a:ext cx="103102" cy="66806"/>
            </a:xfrm>
            <a:custGeom>
              <a:avLst/>
              <a:gdLst>
                <a:gd name="T0" fmla="*/ 111 w 136"/>
                <a:gd name="T1" fmla="*/ 72 h 92"/>
                <a:gd name="T2" fmla="*/ 87 w 136"/>
                <a:gd name="T3" fmla="*/ 88 h 92"/>
                <a:gd name="T4" fmla="*/ 68 w 136"/>
                <a:gd name="T5" fmla="*/ 28 h 92"/>
                <a:gd name="T6" fmla="*/ 67 w 136"/>
                <a:gd name="T7" fmla="*/ 28 h 92"/>
                <a:gd name="T8" fmla="*/ 53 w 136"/>
                <a:gd name="T9" fmla="*/ 72 h 92"/>
                <a:gd name="T10" fmla="*/ 31 w 136"/>
                <a:gd name="T11" fmla="*/ 88 h 92"/>
                <a:gd name="T12" fmla="*/ 0 w 136"/>
                <a:gd name="T13" fmla="*/ 0 h 92"/>
                <a:gd name="T14" fmla="*/ 22 w 136"/>
                <a:gd name="T15" fmla="*/ 0 h 92"/>
                <a:gd name="T16" fmla="*/ 41 w 136"/>
                <a:gd name="T17" fmla="*/ 60 h 92"/>
                <a:gd name="T18" fmla="*/ 41 w 136"/>
                <a:gd name="T19" fmla="*/ 60 h 92"/>
                <a:gd name="T20" fmla="*/ 60 w 136"/>
                <a:gd name="T21" fmla="*/ 0 h 92"/>
                <a:gd name="T22" fmla="*/ 77 w 136"/>
                <a:gd name="T23" fmla="*/ 0 h 92"/>
                <a:gd name="T24" fmla="*/ 96 w 136"/>
                <a:gd name="T25" fmla="*/ 60 h 92"/>
                <a:gd name="T26" fmla="*/ 97 w 136"/>
                <a:gd name="T27" fmla="*/ 60 h 92"/>
                <a:gd name="T28" fmla="*/ 115 w 136"/>
                <a:gd name="T29" fmla="*/ 0 h 92"/>
                <a:gd name="T30" fmla="*/ 136 w 136"/>
                <a:gd name="T31" fmla="*/ 0 h 92"/>
                <a:gd name="T32" fmla="*/ 111 w 136"/>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 h="92">
                  <a:moveTo>
                    <a:pt x="111" y="72"/>
                  </a:moveTo>
                  <a:cubicBezTo>
                    <a:pt x="103" y="92"/>
                    <a:pt x="87" y="88"/>
                    <a:pt x="87" y="88"/>
                  </a:cubicBezTo>
                  <a:cubicBezTo>
                    <a:pt x="68" y="28"/>
                    <a:pt x="68" y="28"/>
                    <a:pt x="68" y="28"/>
                  </a:cubicBezTo>
                  <a:cubicBezTo>
                    <a:pt x="67" y="28"/>
                    <a:pt x="67" y="28"/>
                    <a:pt x="67" y="28"/>
                  </a:cubicBezTo>
                  <a:cubicBezTo>
                    <a:pt x="67" y="28"/>
                    <a:pt x="58"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6" y="60"/>
                    <a:pt x="96" y="60"/>
                    <a:pt x="96" y="60"/>
                  </a:cubicBezTo>
                  <a:cubicBezTo>
                    <a:pt x="97" y="60"/>
                    <a:pt x="97" y="60"/>
                    <a:pt x="97" y="60"/>
                  </a:cubicBezTo>
                  <a:cubicBezTo>
                    <a:pt x="115" y="0"/>
                    <a:pt x="115" y="0"/>
                    <a:pt x="115" y="0"/>
                  </a:cubicBezTo>
                  <a:cubicBezTo>
                    <a:pt x="136" y="0"/>
                    <a:pt x="136" y="0"/>
                    <a:pt x="136" y="0"/>
                  </a:cubicBezTo>
                  <a:cubicBezTo>
                    <a:pt x="136"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53" name="Freeform 7"/>
            <p:cNvSpPr>
              <a:spLocks noEditPoints="1"/>
            </p:cNvSpPr>
            <p:nvPr userDrawn="1"/>
          </p:nvSpPr>
          <p:spPr bwMode="auto">
            <a:xfrm>
              <a:off x="8225958" y="4923177"/>
              <a:ext cx="57493" cy="66190"/>
            </a:xfrm>
            <a:custGeom>
              <a:avLst/>
              <a:gdLst>
                <a:gd name="T0" fmla="*/ 57 w 76"/>
                <a:gd name="T1" fmla="*/ 90 h 91"/>
                <a:gd name="T2" fmla="*/ 53 w 76"/>
                <a:gd name="T3" fmla="*/ 81 h 91"/>
                <a:gd name="T4" fmla="*/ 28 w 76"/>
                <a:gd name="T5" fmla="*/ 91 h 91"/>
                <a:gd name="T6" fmla="*/ 0 w 76"/>
                <a:gd name="T7" fmla="*/ 63 h 91"/>
                <a:gd name="T8" fmla="*/ 36 w 76"/>
                <a:gd name="T9" fmla="*/ 34 h 91"/>
                <a:gd name="T10" fmla="*/ 51 w 76"/>
                <a:gd name="T11" fmla="*/ 34 h 91"/>
                <a:gd name="T12" fmla="*/ 51 w 76"/>
                <a:gd name="T13" fmla="*/ 31 h 91"/>
                <a:gd name="T14" fmla="*/ 35 w 76"/>
                <a:gd name="T15" fmla="*/ 17 h 91"/>
                <a:gd name="T16" fmla="*/ 12 w 76"/>
                <a:gd name="T17" fmla="*/ 23 h 91"/>
                <a:gd name="T18" fmla="*/ 5 w 76"/>
                <a:gd name="T19" fmla="*/ 9 h 91"/>
                <a:gd name="T20" fmla="*/ 39 w 76"/>
                <a:gd name="T21" fmla="*/ 0 h 91"/>
                <a:gd name="T22" fmla="*/ 74 w 76"/>
                <a:gd name="T23" fmla="*/ 31 h 91"/>
                <a:gd name="T24" fmla="*/ 74 w 76"/>
                <a:gd name="T25" fmla="*/ 66 h 91"/>
                <a:gd name="T26" fmla="*/ 76 w 76"/>
                <a:gd name="T27" fmla="*/ 90 h 91"/>
                <a:gd name="T28" fmla="*/ 57 w 76"/>
                <a:gd name="T29" fmla="*/ 90 h 91"/>
                <a:gd name="T30" fmla="*/ 51 w 76"/>
                <a:gd name="T31" fmla="*/ 49 h 91"/>
                <a:gd name="T32" fmla="*/ 39 w 76"/>
                <a:gd name="T33" fmla="*/ 49 h 91"/>
                <a:gd name="T34" fmla="*/ 22 w 76"/>
                <a:gd name="T35" fmla="*/ 61 h 91"/>
                <a:gd name="T36" fmla="*/ 36 w 76"/>
                <a:gd name="T37" fmla="*/ 73 h 91"/>
                <a:gd name="T38" fmla="*/ 51 w 76"/>
                <a:gd name="T39" fmla="*/ 68 h 91"/>
                <a:gd name="T40" fmla="*/ 51 w 76"/>
                <a:gd name="T41" fmla="*/ 4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91">
                  <a:moveTo>
                    <a:pt x="57" y="90"/>
                  </a:moveTo>
                  <a:cubicBezTo>
                    <a:pt x="53" y="81"/>
                    <a:pt x="53" y="81"/>
                    <a:pt x="53" y="81"/>
                  </a:cubicBezTo>
                  <a:cubicBezTo>
                    <a:pt x="48" y="86"/>
                    <a:pt x="40" y="91"/>
                    <a:pt x="28" y="91"/>
                  </a:cubicBezTo>
                  <a:cubicBezTo>
                    <a:pt x="12" y="91"/>
                    <a:pt x="0" y="80"/>
                    <a:pt x="0" y="63"/>
                  </a:cubicBezTo>
                  <a:cubicBezTo>
                    <a:pt x="0" y="45"/>
                    <a:pt x="14" y="35"/>
                    <a:pt x="36" y="34"/>
                  </a:cubicBezTo>
                  <a:cubicBezTo>
                    <a:pt x="51" y="34"/>
                    <a:pt x="51" y="34"/>
                    <a:pt x="51" y="34"/>
                  </a:cubicBezTo>
                  <a:cubicBezTo>
                    <a:pt x="51" y="33"/>
                    <a:pt x="51" y="32"/>
                    <a:pt x="51" y="31"/>
                  </a:cubicBezTo>
                  <a:cubicBezTo>
                    <a:pt x="51" y="21"/>
                    <a:pt x="44" y="17"/>
                    <a:pt x="35" y="17"/>
                  </a:cubicBezTo>
                  <a:cubicBezTo>
                    <a:pt x="25" y="17"/>
                    <a:pt x="18" y="20"/>
                    <a:pt x="12" y="23"/>
                  </a:cubicBezTo>
                  <a:cubicBezTo>
                    <a:pt x="5" y="9"/>
                    <a:pt x="5" y="9"/>
                    <a:pt x="5" y="9"/>
                  </a:cubicBezTo>
                  <a:cubicBezTo>
                    <a:pt x="17" y="2"/>
                    <a:pt x="28" y="0"/>
                    <a:pt x="39" y="0"/>
                  </a:cubicBezTo>
                  <a:cubicBezTo>
                    <a:pt x="61" y="0"/>
                    <a:pt x="74" y="9"/>
                    <a:pt x="74" y="31"/>
                  </a:cubicBezTo>
                  <a:cubicBezTo>
                    <a:pt x="74" y="66"/>
                    <a:pt x="74" y="66"/>
                    <a:pt x="74" y="66"/>
                  </a:cubicBezTo>
                  <a:cubicBezTo>
                    <a:pt x="74" y="78"/>
                    <a:pt x="75" y="86"/>
                    <a:pt x="76" y="90"/>
                  </a:cubicBezTo>
                  <a:lnTo>
                    <a:pt x="57" y="90"/>
                  </a:lnTo>
                  <a:close/>
                  <a:moveTo>
                    <a:pt x="51" y="49"/>
                  </a:moveTo>
                  <a:cubicBezTo>
                    <a:pt x="39" y="49"/>
                    <a:pt x="39" y="49"/>
                    <a:pt x="39" y="49"/>
                  </a:cubicBezTo>
                  <a:cubicBezTo>
                    <a:pt x="27" y="50"/>
                    <a:pt x="22" y="54"/>
                    <a:pt x="22" y="61"/>
                  </a:cubicBezTo>
                  <a:cubicBezTo>
                    <a:pt x="22" y="68"/>
                    <a:pt x="27" y="73"/>
                    <a:pt x="36" y="73"/>
                  </a:cubicBezTo>
                  <a:cubicBezTo>
                    <a:pt x="44" y="73"/>
                    <a:pt x="49" y="70"/>
                    <a:pt x="51" y="68"/>
                  </a:cubicBezTo>
                  <a:lnTo>
                    <a:pt x="51" y="4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54" name="Freeform 8"/>
            <p:cNvSpPr>
              <a:spLocks noEditPoints="1"/>
            </p:cNvSpPr>
            <p:nvPr userDrawn="1"/>
          </p:nvSpPr>
          <p:spPr bwMode="auto">
            <a:xfrm>
              <a:off x="8342550" y="4892699"/>
              <a:ext cx="62311" cy="96668"/>
            </a:xfrm>
            <a:custGeom>
              <a:avLst/>
              <a:gdLst>
                <a:gd name="T0" fmla="*/ 47 w 82"/>
                <a:gd name="T1" fmla="*/ 133 h 133"/>
                <a:gd name="T2" fmla="*/ 0 w 82"/>
                <a:gd name="T3" fmla="*/ 88 h 133"/>
                <a:gd name="T4" fmla="*/ 48 w 82"/>
                <a:gd name="T5" fmla="*/ 42 h 133"/>
                <a:gd name="T6" fmla="*/ 59 w 82"/>
                <a:gd name="T7" fmla="*/ 42 h 133"/>
                <a:gd name="T8" fmla="*/ 60 w 82"/>
                <a:gd name="T9" fmla="*/ 0 h 133"/>
                <a:gd name="T10" fmla="*/ 82 w 82"/>
                <a:gd name="T11" fmla="*/ 0 h 133"/>
                <a:gd name="T12" fmla="*/ 81 w 82"/>
                <a:gd name="T13" fmla="*/ 126 h 133"/>
                <a:gd name="T14" fmla="*/ 47 w 82"/>
                <a:gd name="T15" fmla="*/ 133 h 133"/>
                <a:gd name="T16" fmla="*/ 59 w 82"/>
                <a:gd name="T17" fmla="*/ 60 h 133"/>
                <a:gd name="T18" fmla="*/ 49 w 82"/>
                <a:gd name="T19" fmla="*/ 59 h 133"/>
                <a:gd name="T20" fmla="*/ 22 w 82"/>
                <a:gd name="T21" fmla="*/ 87 h 133"/>
                <a:gd name="T22" fmla="*/ 49 w 82"/>
                <a:gd name="T23" fmla="*/ 114 h 133"/>
                <a:gd name="T24" fmla="*/ 59 w 82"/>
                <a:gd name="T25" fmla="*/ 113 h 133"/>
                <a:gd name="T26" fmla="*/ 59 w 82"/>
                <a:gd name="T27" fmla="*/ 6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3">
                  <a:moveTo>
                    <a:pt x="47" y="133"/>
                  </a:moveTo>
                  <a:cubicBezTo>
                    <a:pt x="21" y="133"/>
                    <a:pt x="0" y="117"/>
                    <a:pt x="0" y="88"/>
                  </a:cubicBezTo>
                  <a:cubicBezTo>
                    <a:pt x="0" y="61"/>
                    <a:pt x="20" y="42"/>
                    <a:pt x="48" y="42"/>
                  </a:cubicBezTo>
                  <a:cubicBezTo>
                    <a:pt x="52" y="42"/>
                    <a:pt x="56" y="42"/>
                    <a:pt x="59" y="42"/>
                  </a:cubicBezTo>
                  <a:cubicBezTo>
                    <a:pt x="60" y="0"/>
                    <a:pt x="60" y="0"/>
                    <a:pt x="60" y="0"/>
                  </a:cubicBezTo>
                  <a:cubicBezTo>
                    <a:pt x="82" y="0"/>
                    <a:pt x="82" y="0"/>
                    <a:pt x="82" y="0"/>
                  </a:cubicBezTo>
                  <a:cubicBezTo>
                    <a:pt x="81" y="126"/>
                    <a:pt x="81" y="126"/>
                    <a:pt x="81" y="126"/>
                  </a:cubicBezTo>
                  <a:cubicBezTo>
                    <a:pt x="73" y="130"/>
                    <a:pt x="62" y="133"/>
                    <a:pt x="47" y="133"/>
                  </a:cubicBezTo>
                  <a:close/>
                  <a:moveTo>
                    <a:pt x="59" y="60"/>
                  </a:moveTo>
                  <a:cubicBezTo>
                    <a:pt x="56" y="60"/>
                    <a:pt x="54" y="59"/>
                    <a:pt x="49" y="59"/>
                  </a:cubicBezTo>
                  <a:cubicBezTo>
                    <a:pt x="33" y="59"/>
                    <a:pt x="22" y="70"/>
                    <a:pt x="22" y="87"/>
                  </a:cubicBezTo>
                  <a:cubicBezTo>
                    <a:pt x="22" y="103"/>
                    <a:pt x="32" y="114"/>
                    <a:pt x="49" y="114"/>
                  </a:cubicBezTo>
                  <a:cubicBezTo>
                    <a:pt x="53" y="114"/>
                    <a:pt x="57" y="114"/>
                    <a:pt x="59" y="113"/>
                  </a:cubicBezTo>
                  <a:lnTo>
                    <a:pt x="59" y="60"/>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55" name="Freeform 9"/>
            <p:cNvSpPr>
              <a:spLocks/>
            </p:cNvSpPr>
            <p:nvPr userDrawn="1"/>
          </p:nvSpPr>
          <p:spPr bwMode="auto">
            <a:xfrm>
              <a:off x="8093949"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56" name="Freeform 10"/>
            <p:cNvSpPr>
              <a:spLocks/>
            </p:cNvSpPr>
            <p:nvPr userDrawn="1"/>
          </p:nvSpPr>
          <p:spPr bwMode="auto">
            <a:xfrm>
              <a:off x="8060545"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57" name="Freeform 11"/>
            <p:cNvSpPr>
              <a:spLocks/>
            </p:cNvSpPr>
            <p:nvPr userDrawn="1"/>
          </p:nvSpPr>
          <p:spPr bwMode="auto">
            <a:xfrm>
              <a:off x="8297262" y="4923177"/>
              <a:ext cx="43039" cy="66190"/>
            </a:xfrm>
            <a:custGeom>
              <a:avLst/>
              <a:gdLst>
                <a:gd name="T0" fmla="*/ 49 w 57"/>
                <a:gd name="T1" fmla="*/ 22 h 91"/>
                <a:gd name="T2" fmla="*/ 39 w 57"/>
                <a:gd name="T3" fmla="*/ 20 h 91"/>
                <a:gd name="T4" fmla="*/ 22 w 57"/>
                <a:gd name="T5" fmla="*/ 27 h 91"/>
                <a:gd name="T6" fmla="*/ 22 w 57"/>
                <a:gd name="T7" fmla="*/ 74 h 91"/>
                <a:gd name="T8" fmla="*/ 0 w 57"/>
                <a:gd name="T9" fmla="*/ 90 h 91"/>
                <a:gd name="T10" fmla="*/ 0 w 57"/>
                <a:gd name="T11" fmla="*/ 2 h 91"/>
                <a:gd name="T12" fmla="*/ 18 w 57"/>
                <a:gd name="T13" fmla="*/ 2 h 91"/>
                <a:gd name="T14" fmla="*/ 21 w 57"/>
                <a:gd name="T15" fmla="*/ 11 h 91"/>
                <a:gd name="T16" fmla="*/ 45 w 57"/>
                <a:gd name="T17" fmla="*/ 0 h 91"/>
                <a:gd name="T18" fmla="*/ 57 w 57"/>
                <a:gd name="T19" fmla="*/ 4 h 91"/>
                <a:gd name="T20" fmla="*/ 49 w 57"/>
                <a:gd name="T21" fmla="*/ 2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1">
                  <a:moveTo>
                    <a:pt x="49" y="22"/>
                  </a:moveTo>
                  <a:cubicBezTo>
                    <a:pt x="45" y="20"/>
                    <a:pt x="41" y="20"/>
                    <a:pt x="39" y="20"/>
                  </a:cubicBezTo>
                  <a:cubicBezTo>
                    <a:pt x="34" y="20"/>
                    <a:pt x="28" y="22"/>
                    <a:pt x="22" y="27"/>
                  </a:cubicBezTo>
                  <a:cubicBezTo>
                    <a:pt x="22" y="27"/>
                    <a:pt x="22" y="57"/>
                    <a:pt x="22" y="74"/>
                  </a:cubicBezTo>
                  <a:cubicBezTo>
                    <a:pt x="22" y="91"/>
                    <a:pt x="0" y="90"/>
                    <a:pt x="0" y="90"/>
                  </a:cubicBezTo>
                  <a:cubicBezTo>
                    <a:pt x="0" y="2"/>
                    <a:pt x="0" y="2"/>
                    <a:pt x="0" y="2"/>
                  </a:cubicBezTo>
                  <a:cubicBezTo>
                    <a:pt x="18" y="2"/>
                    <a:pt x="18" y="2"/>
                    <a:pt x="18"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12"/>
            <p:cNvSpPr>
              <a:spLocks/>
            </p:cNvSpPr>
            <p:nvPr userDrawn="1"/>
          </p:nvSpPr>
          <p:spPr bwMode="auto">
            <a:xfrm>
              <a:off x="7907980" y="4892699"/>
              <a:ext cx="98605" cy="95129"/>
            </a:xfrm>
            <a:custGeom>
              <a:avLst/>
              <a:gdLst>
                <a:gd name="T0" fmla="*/ 106 w 130"/>
                <a:gd name="T1" fmla="*/ 131 h 131"/>
                <a:gd name="T2" fmla="*/ 106 w 130"/>
                <a:gd name="T3" fmla="*/ 53 h 131"/>
                <a:gd name="T4" fmla="*/ 107 w 130"/>
                <a:gd name="T5" fmla="*/ 39 h 131"/>
                <a:gd name="T6" fmla="*/ 106 w 130"/>
                <a:gd name="T7" fmla="*/ 39 h 131"/>
                <a:gd name="T8" fmla="*/ 99 w 130"/>
                <a:gd name="T9" fmla="*/ 52 h 131"/>
                <a:gd name="T10" fmla="*/ 72 w 130"/>
                <a:gd name="T11" fmla="*/ 93 h 131"/>
                <a:gd name="T12" fmla="*/ 60 w 130"/>
                <a:gd name="T13" fmla="*/ 93 h 131"/>
                <a:gd name="T14" fmla="*/ 32 w 130"/>
                <a:gd name="T15" fmla="*/ 51 h 131"/>
                <a:gd name="T16" fmla="*/ 24 w 130"/>
                <a:gd name="T17" fmla="*/ 39 h 131"/>
                <a:gd name="T18" fmla="*/ 23 w 130"/>
                <a:gd name="T19" fmla="*/ 39 h 131"/>
                <a:gd name="T20" fmla="*/ 24 w 130"/>
                <a:gd name="T21" fmla="*/ 52 h 131"/>
                <a:gd name="T22" fmla="*/ 24 w 130"/>
                <a:gd name="T23" fmla="*/ 131 h 131"/>
                <a:gd name="T24" fmla="*/ 0 w 130"/>
                <a:gd name="T25" fmla="*/ 131 h 131"/>
                <a:gd name="T26" fmla="*/ 0 w 130"/>
                <a:gd name="T27" fmla="*/ 0 h 131"/>
                <a:gd name="T28" fmla="*/ 22 w 130"/>
                <a:gd name="T29" fmla="*/ 0 h 131"/>
                <a:gd name="T30" fmla="*/ 58 w 130"/>
                <a:gd name="T31" fmla="*/ 52 h 131"/>
                <a:gd name="T32" fmla="*/ 66 w 130"/>
                <a:gd name="T33" fmla="*/ 66 h 131"/>
                <a:gd name="T34" fmla="*/ 67 w 130"/>
                <a:gd name="T35" fmla="*/ 66 h 131"/>
                <a:gd name="T36" fmla="*/ 75 w 130"/>
                <a:gd name="T37" fmla="*/ 52 h 131"/>
                <a:gd name="T38" fmla="*/ 108 w 130"/>
                <a:gd name="T39" fmla="*/ 0 h 131"/>
                <a:gd name="T40" fmla="*/ 130 w 130"/>
                <a:gd name="T41" fmla="*/ 0 h 131"/>
                <a:gd name="T42" fmla="*/ 130 w 130"/>
                <a:gd name="T43" fmla="*/ 131 h 131"/>
                <a:gd name="T44" fmla="*/ 106 w 130"/>
                <a:gd name="T45"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0" h="131">
                  <a:moveTo>
                    <a:pt x="106" y="131"/>
                  </a:moveTo>
                  <a:cubicBezTo>
                    <a:pt x="106" y="53"/>
                    <a:pt x="106" y="53"/>
                    <a:pt x="106" y="53"/>
                  </a:cubicBezTo>
                  <a:cubicBezTo>
                    <a:pt x="106" y="48"/>
                    <a:pt x="106" y="44"/>
                    <a:pt x="107" y="39"/>
                  </a:cubicBezTo>
                  <a:cubicBezTo>
                    <a:pt x="106" y="39"/>
                    <a:pt x="106" y="39"/>
                    <a:pt x="106" y="39"/>
                  </a:cubicBezTo>
                  <a:cubicBezTo>
                    <a:pt x="105" y="43"/>
                    <a:pt x="101" y="49"/>
                    <a:pt x="99" y="52"/>
                  </a:cubicBezTo>
                  <a:cubicBezTo>
                    <a:pt x="72" y="93"/>
                    <a:pt x="72" y="93"/>
                    <a:pt x="72" y="93"/>
                  </a:cubicBezTo>
                  <a:cubicBezTo>
                    <a:pt x="60" y="93"/>
                    <a:pt x="60" y="93"/>
                    <a:pt x="60" y="93"/>
                  </a:cubicBezTo>
                  <a:cubicBezTo>
                    <a:pt x="32" y="51"/>
                    <a:pt x="32" y="51"/>
                    <a:pt x="32" y="51"/>
                  </a:cubicBezTo>
                  <a:cubicBezTo>
                    <a:pt x="29" y="48"/>
                    <a:pt x="26" y="44"/>
                    <a:pt x="24" y="39"/>
                  </a:cubicBezTo>
                  <a:cubicBezTo>
                    <a:pt x="23" y="39"/>
                    <a:pt x="23" y="39"/>
                    <a:pt x="23" y="39"/>
                  </a:cubicBezTo>
                  <a:cubicBezTo>
                    <a:pt x="24" y="44"/>
                    <a:pt x="24" y="48"/>
                    <a:pt x="24" y="52"/>
                  </a:cubicBezTo>
                  <a:cubicBezTo>
                    <a:pt x="24" y="131"/>
                    <a:pt x="24" y="131"/>
                    <a:pt x="24" y="131"/>
                  </a:cubicBezTo>
                  <a:cubicBezTo>
                    <a:pt x="0" y="131"/>
                    <a:pt x="0" y="131"/>
                    <a:pt x="0" y="131"/>
                  </a:cubicBezTo>
                  <a:cubicBezTo>
                    <a:pt x="0" y="0"/>
                    <a:pt x="0" y="0"/>
                    <a:pt x="0" y="0"/>
                  </a:cubicBezTo>
                  <a:cubicBezTo>
                    <a:pt x="22" y="0"/>
                    <a:pt x="22" y="0"/>
                    <a:pt x="22" y="0"/>
                  </a:cubicBezTo>
                  <a:cubicBezTo>
                    <a:pt x="58" y="52"/>
                    <a:pt x="58" y="52"/>
                    <a:pt x="58" y="52"/>
                  </a:cubicBezTo>
                  <a:cubicBezTo>
                    <a:pt x="61" y="57"/>
                    <a:pt x="64" y="61"/>
                    <a:pt x="66" y="66"/>
                  </a:cubicBezTo>
                  <a:cubicBezTo>
                    <a:pt x="67" y="66"/>
                    <a:pt x="67" y="66"/>
                    <a:pt x="67" y="66"/>
                  </a:cubicBezTo>
                  <a:cubicBezTo>
                    <a:pt x="69" y="61"/>
                    <a:pt x="71" y="57"/>
                    <a:pt x="75" y="52"/>
                  </a:cubicBezTo>
                  <a:cubicBezTo>
                    <a:pt x="108" y="0"/>
                    <a:pt x="108" y="0"/>
                    <a:pt x="108" y="0"/>
                  </a:cubicBezTo>
                  <a:cubicBezTo>
                    <a:pt x="130" y="0"/>
                    <a:pt x="130" y="0"/>
                    <a:pt x="130" y="0"/>
                  </a:cubicBezTo>
                  <a:cubicBezTo>
                    <a:pt x="130" y="131"/>
                    <a:pt x="130" y="131"/>
                    <a:pt x="130" y="131"/>
                  </a:cubicBezTo>
                  <a:lnTo>
                    <a:pt x="106" y="131"/>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59" name="Freeform 13"/>
            <p:cNvSpPr>
              <a:spLocks/>
            </p:cNvSpPr>
            <p:nvPr userDrawn="1"/>
          </p:nvSpPr>
          <p:spPr bwMode="auto">
            <a:xfrm>
              <a:off x="7665803" y="4864376"/>
              <a:ext cx="100854" cy="148389"/>
            </a:xfrm>
            <a:custGeom>
              <a:avLst/>
              <a:gdLst>
                <a:gd name="T0" fmla="*/ 133 w 133"/>
                <a:gd name="T1" fmla="*/ 23 h 204"/>
                <a:gd name="T2" fmla="*/ 132 w 133"/>
                <a:gd name="T3" fmla="*/ 22 h 204"/>
                <a:gd name="T4" fmla="*/ 65 w 133"/>
                <a:gd name="T5" fmla="*/ 20 h 204"/>
                <a:gd name="T6" fmla="*/ 52 w 133"/>
                <a:gd name="T7" fmla="*/ 52 h 204"/>
                <a:gd name="T8" fmla="*/ 20 w 133"/>
                <a:gd name="T9" fmla="*/ 65 h 204"/>
                <a:gd name="T10" fmla="*/ 22 w 133"/>
                <a:gd name="T11" fmla="*/ 132 h 204"/>
                <a:gd name="T12" fmla="*/ 95 w 133"/>
                <a:gd name="T13" fmla="*/ 204 h 204"/>
                <a:gd name="T14" fmla="*/ 117 w 133"/>
                <a:gd name="T15" fmla="*/ 182 h 204"/>
                <a:gd name="T16" fmla="*/ 44 w 133"/>
                <a:gd name="T17" fmla="*/ 110 h 204"/>
                <a:gd name="T18" fmla="*/ 42 w 133"/>
                <a:gd name="T19" fmla="*/ 86 h 204"/>
                <a:gd name="T20" fmla="*/ 66 w 133"/>
                <a:gd name="T21" fmla="*/ 88 h 204"/>
                <a:gd name="T22" fmla="*/ 133 w 133"/>
                <a:gd name="T23" fmla="*/ 155 h 204"/>
                <a:gd name="T24" fmla="*/ 133 w 133"/>
                <a:gd name="T25" fmla="*/ 111 h 204"/>
                <a:gd name="T26" fmla="*/ 88 w 133"/>
                <a:gd name="T27" fmla="*/ 66 h 204"/>
                <a:gd name="T28" fmla="*/ 86 w 133"/>
                <a:gd name="T29" fmla="*/ 42 h 204"/>
                <a:gd name="T30" fmla="*/ 110 w 133"/>
                <a:gd name="T31" fmla="*/ 44 h 204"/>
                <a:gd name="T32" fmla="*/ 133 w 133"/>
                <a:gd name="T33" fmla="*/ 66 h 204"/>
                <a:gd name="T34" fmla="*/ 133 w 133"/>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204">
                  <a:moveTo>
                    <a:pt x="133" y="23"/>
                  </a:moveTo>
                  <a:cubicBezTo>
                    <a:pt x="132" y="22"/>
                    <a:pt x="132" y="22"/>
                    <a:pt x="132" y="22"/>
                  </a:cubicBezTo>
                  <a:cubicBezTo>
                    <a:pt x="110" y="0"/>
                    <a:pt x="82" y="2"/>
                    <a:pt x="65" y="20"/>
                  </a:cubicBezTo>
                  <a:cubicBezTo>
                    <a:pt x="53" y="32"/>
                    <a:pt x="51" y="46"/>
                    <a:pt x="52" y="52"/>
                  </a:cubicBezTo>
                  <a:cubicBezTo>
                    <a:pt x="47" y="51"/>
                    <a:pt x="32" y="52"/>
                    <a:pt x="20" y="65"/>
                  </a:cubicBezTo>
                  <a:cubicBezTo>
                    <a:pt x="3" y="82"/>
                    <a:pt x="0" y="110"/>
                    <a:pt x="22" y="132"/>
                  </a:cubicBezTo>
                  <a:cubicBezTo>
                    <a:pt x="95" y="204"/>
                    <a:pt x="95" y="204"/>
                    <a:pt x="95" y="204"/>
                  </a:cubicBezTo>
                  <a:cubicBezTo>
                    <a:pt x="117" y="182"/>
                    <a:pt x="117" y="182"/>
                    <a:pt x="117" y="182"/>
                  </a:cubicBezTo>
                  <a:cubicBezTo>
                    <a:pt x="44" y="110"/>
                    <a:pt x="44" y="110"/>
                    <a:pt x="44" y="110"/>
                  </a:cubicBezTo>
                  <a:cubicBezTo>
                    <a:pt x="35" y="101"/>
                    <a:pt x="36" y="91"/>
                    <a:pt x="42" y="86"/>
                  </a:cubicBezTo>
                  <a:cubicBezTo>
                    <a:pt x="47" y="80"/>
                    <a:pt x="58" y="79"/>
                    <a:pt x="66" y="88"/>
                  </a:cubicBezTo>
                  <a:cubicBezTo>
                    <a:pt x="133" y="155"/>
                    <a:pt x="133" y="155"/>
                    <a:pt x="133" y="155"/>
                  </a:cubicBezTo>
                  <a:cubicBezTo>
                    <a:pt x="133" y="111"/>
                    <a:pt x="133" y="111"/>
                    <a:pt x="133" y="111"/>
                  </a:cubicBezTo>
                  <a:cubicBezTo>
                    <a:pt x="88" y="66"/>
                    <a:pt x="88" y="66"/>
                    <a:pt x="88" y="66"/>
                  </a:cubicBezTo>
                  <a:cubicBezTo>
                    <a:pt x="80" y="57"/>
                    <a:pt x="80" y="47"/>
                    <a:pt x="86" y="42"/>
                  </a:cubicBezTo>
                  <a:cubicBezTo>
                    <a:pt x="92" y="36"/>
                    <a:pt x="102" y="35"/>
                    <a:pt x="110" y="44"/>
                  </a:cubicBezTo>
                  <a:cubicBezTo>
                    <a:pt x="133" y="66"/>
                    <a:pt x="133" y="66"/>
                    <a:pt x="133" y="66"/>
                  </a:cubicBezTo>
                  <a:lnTo>
                    <a:pt x="133"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0" name="Freeform 14"/>
            <p:cNvSpPr>
              <a:spLocks noEditPoints="1"/>
            </p:cNvSpPr>
            <p:nvPr userDrawn="1"/>
          </p:nvSpPr>
          <p:spPr bwMode="auto">
            <a:xfrm>
              <a:off x="8023287" y="4895470"/>
              <a:ext cx="20556" cy="93282"/>
            </a:xfrm>
            <a:custGeom>
              <a:avLst/>
              <a:gdLst>
                <a:gd name="T0" fmla="*/ 14 w 27"/>
                <a:gd name="T1" fmla="*/ 26 h 128"/>
                <a:gd name="T2" fmla="*/ 0 w 27"/>
                <a:gd name="T3" fmla="*/ 13 h 128"/>
                <a:gd name="T4" fmla="*/ 14 w 27"/>
                <a:gd name="T5" fmla="*/ 0 h 128"/>
                <a:gd name="T6" fmla="*/ 27 w 27"/>
                <a:gd name="T7" fmla="*/ 13 h 128"/>
                <a:gd name="T8" fmla="*/ 14 w 27"/>
                <a:gd name="T9" fmla="*/ 26 h 128"/>
                <a:gd name="T10" fmla="*/ 3 w 27"/>
                <a:gd name="T11" fmla="*/ 128 h 128"/>
                <a:gd name="T12" fmla="*/ 3 w 27"/>
                <a:gd name="T13" fmla="*/ 40 h 128"/>
                <a:gd name="T14" fmla="*/ 25 w 27"/>
                <a:gd name="T15" fmla="*/ 40 h 128"/>
                <a:gd name="T16" fmla="*/ 25 w 27"/>
                <a:gd name="T17" fmla="*/ 112 h 128"/>
                <a:gd name="T18" fmla="*/ 3 w 27"/>
                <a:gd name="T1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128">
                  <a:moveTo>
                    <a:pt x="14" y="26"/>
                  </a:moveTo>
                  <a:cubicBezTo>
                    <a:pt x="6" y="26"/>
                    <a:pt x="0" y="20"/>
                    <a:pt x="0" y="13"/>
                  </a:cubicBezTo>
                  <a:cubicBezTo>
                    <a:pt x="0" y="6"/>
                    <a:pt x="6" y="0"/>
                    <a:pt x="14" y="0"/>
                  </a:cubicBezTo>
                  <a:cubicBezTo>
                    <a:pt x="21" y="0"/>
                    <a:pt x="27" y="5"/>
                    <a:pt x="27" y="13"/>
                  </a:cubicBezTo>
                  <a:cubicBezTo>
                    <a:pt x="27" y="20"/>
                    <a:pt x="21" y="26"/>
                    <a:pt x="14" y="26"/>
                  </a:cubicBezTo>
                  <a:close/>
                  <a:moveTo>
                    <a:pt x="3" y="128"/>
                  </a:moveTo>
                  <a:cubicBezTo>
                    <a:pt x="3" y="40"/>
                    <a:pt x="3" y="40"/>
                    <a:pt x="3" y="40"/>
                  </a:cubicBezTo>
                  <a:cubicBezTo>
                    <a:pt x="25" y="40"/>
                    <a:pt x="25" y="40"/>
                    <a:pt x="25" y="40"/>
                  </a:cubicBezTo>
                  <a:cubicBezTo>
                    <a:pt x="25" y="40"/>
                    <a:pt x="25" y="95"/>
                    <a:pt x="25" y="112"/>
                  </a:cubicBezTo>
                  <a:cubicBezTo>
                    <a:pt x="25" y="128"/>
                    <a:pt x="3" y="128"/>
                    <a:pt x="3" y="1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1" name="Freeform 15"/>
            <p:cNvSpPr>
              <a:spLocks/>
            </p:cNvSpPr>
            <p:nvPr userDrawn="1"/>
          </p:nvSpPr>
          <p:spPr bwMode="auto">
            <a:xfrm>
              <a:off x="8615239" y="4924717"/>
              <a:ext cx="103744" cy="66806"/>
            </a:xfrm>
            <a:custGeom>
              <a:avLst/>
              <a:gdLst>
                <a:gd name="T0" fmla="*/ 111 w 137"/>
                <a:gd name="T1" fmla="*/ 72 h 92"/>
                <a:gd name="T2" fmla="*/ 88 w 137"/>
                <a:gd name="T3" fmla="*/ 88 h 92"/>
                <a:gd name="T4" fmla="*/ 68 w 137"/>
                <a:gd name="T5" fmla="*/ 28 h 92"/>
                <a:gd name="T6" fmla="*/ 68 w 137"/>
                <a:gd name="T7" fmla="*/ 28 h 92"/>
                <a:gd name="T8" fmla="*/ 53 w 137"/>
                <a:gd name="T9" fmla="*/ 72 h 92"/>
                <a:gd name="T10" fmla="*/ 31 w 137"/>
                <a:gd name="T11" fmla="*/ 88 h 92"/>
                <a:gd name="T12" fmla="*/ 0 w 137"/>
                <a:gd name="T13" fmla="*/ 0 h 92"/>
                <a:gd name="T14" fmla="*/ 22 w 137"/>
                <a:gd name="T15" fmla="*/ 0 h 92"/>
                <a:gd name="T16" fmla="*/ 41 w 137"/>
                <a:gd name="T17" fmla="*/ 60 h 92"/>
                <a:gd name="T18" fmla="*/ 41 w 137"/>
                <a:gd name="T19" fmla="*/ 60 h 92"/>
                <a:gd name="T20" fmla="*/ 60 w 137"/>
                <a:gd name="T21" fmla="*/ 0 h 92"/>
                <a:gd name="T22" fmla="*/ 77 w 137"/>
                <a:gd name="T23" fmla="*/ 0 h 92"/>
                <a:gd name="T24" fmla="*/ 97 w 137"/>
                <a:gd name="T25" fmla="*/ 60 h 92"/>
                <a:gd name="T26" fmla="*/ 97 w 137"/>
                <a:gd name="T27" fmla="*/ 60 h 92"/>
                <a:gd name="T28" fmla="*/ 115 w 137"/>
                <a:gd name="T29" fmla="*/ 0 h 92"/>
                <a:gd name="T30" fmla="*/ 137 w 137"/>
                <a:gd name="T31" fmla="*/ 0 h 92"/>
                <a:gd name="T32" fmla="*/ 111 w 137"/>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 h="92">
                  <a:moveTo>
                    <a:pt x="111" y="72"/>
                  </a:moveTo>
                  <a:cubicBezTo>
                    <a:pt x="104" y="92"/>
                    <a:pt x="88" y="88"/>
                    <a:pt x="88" y="88"/>
                  </a:cubicBezTo>
                  <a:cubicBezTo>
                    <a:pt x="68" y="28"/>
                    <a:pt x="68" y="28"/>
                    <a:pt x="68" y="28"/>
                  </a:cubicBezTo>
                  <a:cubicBezTo>
                    <a:pt x="68" y="28"/>
                    <a:pt x="68" y="28"/>
                    <a:pt x="68" y="28"/>
                  </a:cubicBezTo>
                  <a:cubicBezTo>
                    <a:pt x="68" y="28"/>
                    <a:pt x="59"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7" y="60"/>
                    <a:pt x="97" y="60"/>
                    <a:pt x="97" y="60"/>
                  </a:cubicBezTo>
                  <a:cubicBezTo>
                    <a:pt x="97" y="60"/>
                    <a:pt x="97" y="60"/>
                    <a:pt x="97" y="60"/>
                  </a:cubicBezTo>
                  <a:cubicBezTo>
                    <a:pt x="115" y="0"/>
                    <a:pt x="115" y="0"/>
                    <a:pt x="115" y="0"/>
                  </a:cubicBezTo>
                  <a:cubicBezTo>
                    <a:pt x="137" y="0"/>
                    <a:pt x="137" y="0"/>
                    <a:pt x="137" y="0"/>
                  </a:cubicBezTo>
                  <a:cubicBezTo>
                    <a:pt x="137"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2" name="Freeform 16"/>
            <p:cNvSpPr>
              <a:spLocks noEditPoints="1"/>
            </p:cNvSpPr>
            <p:nvPr userDrawn="1"/>
          </p:nvSpPr>
          <p:spPr bwMode="auto">
            <a:xfrm>
              <a:off x="8423168" y="4892699"/>
              <a:ext cx="65844" cy="95129"/>
            </a:xfrm>
            <a:custGeom>
              <a:avLst/>
              <a:gdLst>
                <a:gd name="T0" fmla="*/ 1 w 87"/>
                <a:gd name="T1" fmla="*/ 0 h 131"/>
                <a:gd name="T2" fmla="*/ 0 w 87"/>
                <a:gd name="T3" fmla="*/ 131 h 131"/>
                <a:gd name="T4" fmla="*/ 41 w 87"/>
                <a:gd name="T5" fmla="*/ 131 h 131"/>
                <a:gd name="T6" fmla="*/ 87 w 87"/>
                <a:gd name="T7" fmla="*/ 92 h 131"/>
                <a:gd name="T8" fmla="*/ 65 w 87"/>
                <a:gd name="T9" fmla="*/ 61 h 131"/>
                <a:gd name="T10" fmla="*/ 62 w 87"/>
                <a:gd name="T11" fmla="*/ 60 h 131"/>
                <a:gd name="T12" fmla="*/ 64 w 87"/>
                <a:gd name="T13" fmla="*/ 59 h 131"/>
                <a:gd name="T14" fmla="*/ 79 w 87"/>
                <a:gd name="T15" fmla="*/ 32 h 131"/>
                <a:gd name="T16" fmla="*/ 42 w 87"/>
                <a:gd name="T17" fmla="*/ 0 h 131"/>
                <a:gd name="T18" fmla="*/ 1 w 87"/>
                <a:gd name="T19" fmla="*/ 0 h 131"/>
                <a:gd name="T20" fmla="*/ 23 w 87"/>
                <a:gd name="T21" fmla="*/ 17 h 131"/>
                <a:gd name="T22" fmla="*/ 36 w 87"/>
                <a:gd name="T23" fmla="*/ 17 h 131"/>
                <a:gd name="T24" fmla="*/ 56 w 87"/>
                <a:gd name="T25" fmla="*/ 35 h 131"/>
                <a:gd name="T26" fmla="*/ 38 w 87"/>
                <a:gd name="T27" fmla="*/ 55 h 131"/>
                <a:gd name="T28" fmla="*/ 22 w 87"/>
                <a:gd name="T29" fmla="*/ 55 h 131"/>
                <a:gd name="T30" fmla="*/ 23 w 87"/>
                <a:gd name="T31" fmla="*/ 17 h 131"/>
                <a:gd name="T32" fmla="*/ 22 w 87"/>
                <a:gd name="T33" fmla="*/ 74 h 131"/>
                <a:gd name="T34" fmla="*/ 40 w 87"/>
                <a:gd name="T35" fmla="*/ 74 h 131"/>
                <a:gd name="T36" fmla="*/ 64 w 87"/>
                <a:gd name="T37" fmla="*/ 92 h 131"/>
                <a:gd name="T38" fmla="*/ 39 w 87"/>
                <a:gd name="T39" fmla="*/ 113 h 131"/>
                <a:gd name="T40" fmla="*/ 22 w 87"/>
                <a:gd name="T41" fmla="*/ 113 h 131"/>
                <a:gd name="T42" fmla="*/ 22 w 87"/>
                <a:gd name="T43" fmla="*/ 7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131">
                  <a:moveTo>
                    <a:pt x="1" y="0"/>
                  </a:moveTo>
                  <a:cubicBezTo>
                    <a:pt x="1" y="3"/>
                    <a:pt x="0" y="129"/>
                    <a:pt x="0" y="131"/>
                  </a:cubicBezTo>
                  <a:cubicBezTo>
                    <a:pt x="2" y="131"/>
                    <a:pt x="41" y="131"/>
                    <a:pt x="41" y="131"/>
                  </a:cubicBezTo>
                  <a:cubicBezTo>
                    <a:pt x="73" y="131"/>
                    <a:pt x="87" y="111"/>
                    <a:pt x="87" y="92"/>
                  </a:cubicBezTo>
                  <a:cubicBezTo>
                    <a:pt x="87" y="77"/>
                    <a:pt x="79" y="65"/>
                    <a:pt x="65" y="61"/>
                  </a:cubicBezTo>
                  <a:cubicBezTo>
                    <a:pt x="62" y="60"/>
                    <a:pt x="62" y="60"/>
                    <a:pt x="62" y="60"/>
                  </a:cubicBezTo>
                  <a:cubicBezTo>
                    <a:pt x="64" y="59"/>
                    <a:pt x="64" y="59"/>
                    <a:pt x="64" y="59"/>
                  </a:cubicBezTo>
                  <a:cubicBezTo>
                    <a:pt x="74" y="54"/>
                    <a:pt x="79" y="44"/>
                    <a:pt x="79" y="32"/>
                  </a:cubicBezTo>
                  <a:cubicBezTo>
                    <a:pt x="79" y="17"/>
                    <a:pt x="68" y="0"/>
                    <a:pt x="42" y="0"/>
                  </a:cubicBezTo>
                  <a:cubicBezTo>
                    <a:pt x="42" y="0"/>
                    <a:pt x="3" y="0"/>
                    <a:pt x="1" y="0"/>
                  </a:cubicBezTo>
                  <a:close/>
                  <a:moveTo>
                    <a:pt x="23" y="17"/>
                  </a:moveTo>
                  <a:cubicBezTo>
                    <a:pt x="36" y="17"/>
                    <a:pt x="36" y="17"/>
                    <a:pt x="36" y="17"/>
                  </a:cubicBezTo>
                  <a:cubicBezTo>
                    <a:pt x="49" y="17"/>
                    <a:pt x="56" y="24"/>
                    <a:pt x="56" y="35"/>
                  </a:cubicBezTo>
                  <a:cubicBezTo>
                    <a:pt x="56" y="47"/>
                    <a:pt x="47" y="55"/>
                    <a:pt x="38" y="55"/>
                  </a:cubicBezTo>
                  <a:cubicBezTo>
                    <a:pt x="22" y="55"/>
                    <a:pt x="22" y="55"/>
                    <a:pt x="22" y="55"/>
                  </a:cubicBezTo>
                  <a:lnTo>
                    <a:pt x="23" y="17"/>
                  </a:lnTo>
                  <a:close/>
                  <a:moveTo>
                    <a:pt x="22" y="74"/>
                  </a:moveTo>
                  <a:cubicBezTo>
                    <a:pt x="40" y="74"/>
                    <a:pt x="40" y="74"/>
                    <a:pt x="40" y="74"/>
                  </a:cubicBezTo>
                  <a:cubicBezTo>
                    <a:pt x="55" y="74"/>
                    <a:pt x="64" y="81"/>
                    <a:pt x="64" y="92"/>
                  </a:cubicBezTo>
                  <a:cubicBezTo>
                    <a:pt x="64" y="105"/>
                    <a:pt x="55" y="113"/>
                    <a:pt x="39" y="113"/>
                  </a:cubicBezTo>
                  <a:cubicBezTo>
                    <a:pt x="22" y="113"/>
                    <a:pt x="22" y="113"/>
                    <a:pt x="22" y="113"/>
                  </a:cubicBezTo>
                  <a:lnTo>
                    <a:pt x="22" y="74"/>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3" name="Freeform 17"/>
            <p:cNvSpPr>
              <a:spLocks noEditPoints="1"/>
            </p:cNvSpPr>
            <p:nvPr userDrawn="1"/>
          </p:nvSpPr>
          <p:spPr bwMode="auto">
            <a:xfrm>
              <a:off x="8546184" y="4923177"/>
              <a:ext cx="66486" cy="66190"/>
            </a:xfrm>
            <a:custGeom>
              <a:avLst/>
              <a:gdLst>
                <a:gd name="T0" fmla="*/ 75 w 88"/>
                <a:gd name="T1" fmla="*/ 78 h 91"/>
                <a:gd name="T2" fmla="*/ 44 w 88"/>
                <a:gd name="T3" fmla="*/ 91 h 91"/>
                <a:gd name="T4" fmla="*/ 14 w 88"/>
                <a:gd name="T5" fmla="*/ 80 h 91"/>
                <a:gd name="T6" fmla="*/ 0 w 88"/>
                <a:gd name="T7" fmla="*/ 46 h 91"/>
                <a:gd name="T8" fmla="*/ 13 w 88"/>
                <a:gd name="T9" fmla="*/ 12 h 91"/>
                <a:gd name="T10" fmla="*/ 44 w 88"/>
                <a:gd name="T11" fmla="*/ 0 h 91"/>
                <a:gd name="T12" fmla="*/ 76 w 88"/>
                <a:gd name="T13" fmla="*/ 12 h 91"/>
                <a:gd name="T14" fmla="*/ 88 w 88"/>
                <a:gd name="T15" fmla="*/ 45 h 91"/>
                <a:gd name="T16" fmla="*/ 75 w 88"/>
                <a:gd name="T17" fmla="*/ 78 h 91"/>
                <a:gd name="T18" fmla="*/ 44 w 88"/>
                <a:gd name="T19" fmla="*/ 17 h 91"/>
                <a:gd name="T20" fmla="*/ 23 w 88"/>
                <a:gd name="T21" fmla="*/ 45 h 91"/>
                <a:gd name="T22" fmla="*/ 44 w 88"/>
                <a:gd name="T23" fmla="*/ 73 h 91"/>
                <a:gd name="T24" fmla="*/ 65 w 88"/>
                <a:gd name="T25" fmla="*/ 45 h 91"/>
                <a:gd name="T26" fmla="*/ 44 w 88"/>
                <a:gd name="T27"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91">
                  <a:moveTo>
                    <a:pt x="75" y="78"/>
                  </a:moveTo>
                  <a:cubicBezTo>
                    <a:pt x="68" y="86"/>
                    <a:pt x="57" y="91"/>
                    <a:pt x="44" y="91"/>
                  </a:cubicBezTo>
                  <a:cubicBezTo>
                    <a:pt x="32" y="91"/>
                    <a:pt x="21" y="87"/>
                    <a:pt x="14" y="80"/>
                  </a:cubicBezTo>
                  <a:cubicBezTo>
                    <a:pt x="5" y="72"/>
                    <a:pt x="0" y="60"/>
                    <a:pt x="0" y="46"/>
                  </a:cubicBezTo>
                  <a:cubicBezTo>
                    <a:pt x="0" y="32"/>
                    <a:pt x="5" y="20"/>
                    <a:pt x="13" y="12"/>
                  </a:cubicBezTo>
                  <a:cubicBezTo>
                    <a:pt x="21" y="4"/>
                    <a:pt x="31" y="0"/>
                    <a:pt x="44" y="0"/>
                  </a:cubicBezTo>
                  <a:cubicBezTo>
                    <a:pt x="57" y="0"/>
                    <a:pt x="68" y="4"/>
                    <a:pt x="76" y="12"/>
                  </a:cubicBezTo>
                  <a:cubicBezTo>
                    <a:pt x="84" y="20"/>
                    <a:pt x="88" y="32"/>
                    <a:pt x="88" y="45"/>
                  </a:cubicBezTo>
                  <a:cubicBezTo>
                    <a:pt x="88" y="58"/>
                    <a:pt x="83" y="70"/>
                    <a:pt x="75" y="78"/>
                  </a:cubicBezTo>
                  <a:close/>
                  <a:moveTo>
                    <a:pt x="44" y="17"/>
                  </a:moveTo>
                  <a:cubicBezTo>
                    <a:pt x="30" y="17"/>
                    <a:pt x="23" y="29"/>
                    <a:pt x="23" y="45"/>
                  </a:cubicBezTo>
                  <a:cubicBezTo>
                    <a:pt x="23" y="62"/>
                    <a:pt x="31" y="73"/>
                    <a:pt x="44" y="73"/>
                  </a:cubicBezTo>
                  <a:cubicBezTo>
                    <a:pt x="58" y="73"/>
                    <a:pt x="65" y="61"/>
                    <a:pt x="65" y="45"/>
                  </a:cubicBezTo>
                  <a:cubicBezTo>
                    <a:pt x="65" y="28"/>
                    <a:pt x="57" y="17"/>
                    <a:pt x="44" y="1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4" name="Freeform 18"/>
            <p:cNvSpPr>
              <a:spLocks/>
            </p:cNvSpPr>
            <p:nvPr userDrawn="1"/>
          </p:nvSpPr>
          <p:spPr bwMode="auto">
            <a:xfrm>
              <a:off x="8728298" y="4923177"/>
              <a:ext cx="60705" cy="65574"/>
            </a:xfrm>
            <a:custGeom>
              <a:avLst/>
              <a:gdLst>
                <a:gd name="T0" fmla="*/ 58 w 80"/>
                <a:gd name="T1" fmla="*/ 90 h 90"/>
                <a:gd name="T2" fmla="*/ 58 w 80"/>
                <a:gd name="T3" fmla="*/ 38 h 90"/>
                <a:gd name="T4" fmla="*/ 45 w 80"/>
                <a:gd name="T5" fmla="*/ 19 h 90"/>
                <a:gd name="T6" fmla="*/ 23 w 80"/>
                <a:gd name="T7" fmla="*/ 28 h 90"/>
                <a:gd name="T8" fmla="*/ 23 w 80"/>
                <a:gd name="T9" fmla="*/ 74 h 90"/>
                <a:gd name="T10" fmla="*/ 0 w 80"/>
                <a:gd name="T11" fmla="*/ 90 h 90"/>
                <a:gd name="T12" fmla="*/ 0 w 80"/>
                <a:gd name="T13" fmla="*/ 2 h 90"/>
                <a:gd name="T14" fmla="*/ 19 w 80"/>
                <a:gd name="T15" fmla="*/ 2 h 90"/>
                <a:gd name="T16" fmla="*/ 22 w 80"/>
                <a:gd name="T17" fmla="*/ 11 h 90"/>
                <a:gd name="T18" fmla="*/ 52 w 80"/>
                <a:gd name="T19" fmla="*/ 0 h 90"/>
                <a:gd name="T20" fmla="*/ 80 w 80"/>
                <a:gd name="T21" fmla="*/ 31 h 90"/>
                <a:gd name="T22" fmla="*/ 80 w 80"/>
                <a:gd name="T23" fmla="*/ 74 h 90"/>
                <a:gd name="T24" fmla="*/ 58 w 80"/>
                <a:gd name="T2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90">
                  <a:moveTo>
                    <a:pt x="58" y="90"/>
                  </a:moveTo>
                  <a:cubicBezTo>
                    <a:pt x="58" y="38"/>
                    <a:pt x="58" y="38"/>
                    <a:pt x="58" y="38"/>
                  </a:cubicBezTo>
                  <a:cubicBezTo>
                    <a:pt x="58" y="29"/>
                    <a:pt x="56" y="19"/>
                    <a:pt x="45" y="19"/>
                  </a:cubicBezTo>
                  <a:cubicBezTo>
                    <a:pt x="37" y="19"/>
                    <a:pt x="29" y="23"/>
                    <a:pt x="23" y="28"/>
                  </a:cubicBezTo>
                  <a:cubicBezTo>
                    <a:pt x="23" y="28"/>
                    <a:pt x="23" y="57"/>
                    <a:pt x="23" y="74"/>
                  </a:cubicBezTo>
                  <a:cubicBezTo>
                    <a:pt x="23" y="90"/>
                    <a:pt x="0" y="90"/>
                    <a:pt x="0" y="90"/>
                  </a:cubicBezTo>
                  <a:cubicBezTo>
                    <a:pt x="0" y="2"/>
                    <a:pt x="0" y="2"/>
                    <a:pt x="0" y="2"/>
                  </a:cubicBezTo>
                  <a:cubicBezTo>
                    <a:pt x="19" y="2"/>
                    <a:pt x="19" y="2"/>
                    <a:pt x="19" y="2"/>
                  </a:cubicBezTo>
                  <a:cubicBezTo>
                    <a:pt x="22" y="11"/>
                    <a:pt x="22" y="11"/>
                    <a:pt x="22" y="11"/>
                  </a:cubicBezTo>
                  <a:cubicBezTo>
                    <a:pt x="31" y="4"/>
                    <a:pt x="40" y="0"/>
                    <a:pt x="52" y="0"/>
                  </a:cubicBezTo>
                  <a:cubicBezTo>
                    <a:pt x="65" y="0"/>
                    <a:pt x="80" y="8"/>
                    <a:pt x="80" y="31"/>
                  </a:cubicBezTo>
                  <a:cubicBezTo>
                    <a:pt x="80" y="31"/>
                    <a:pt x="80" y="57"/>
                    <a:pt x="80" y="74"/>
                  </a:cubicBezTo>
                  <a:cubicBezTo>
                    <a:pt x="80" y="90"/>
                    <a:pt x="58" y="90"/>
                    <a:pt x="58" y="9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5" name="Freeform 19"/>
            <p:cNvSpPr>
              <a:spLocks/>
            </p:cNvSpPr>
            <p:nvPr userDrawn="1"/>
          </p:nvSpPr>
          <p:spPr bwMode="auto">
            <a:xfrm>
              <a:off x="8501217" y="4923177"/>
              <a:ext cx="43361" cy="65574"/>
            </a:xfrm>
            <a:custGeom>
              <a:avLst/>
              <a:gdLst>
                <a:gd name="T0" fmla="*/ 49 w 57"/>
                <a:gd name="T1" fmla="*/ 22 h 90"/>
                <a:gd name="T2" fmla="*/ 39 w 57"/>
                <a:gd name="T3" fmla="*/ 20 h 90"/>
                <a:gd name="T4" fmla="*/ 22 w 57"/>
                <a:gd name="T5" fmla="*/ 27 h 90"/>
                <a:gd name="T6" fmla="*/ 22 w 57"/>
                <a:gd name="T7" fmla="*/ 74 h 90"/>
                <a:gd name="T8" fmla="*/ 0 w 57"/>
                <a:gd name="T9" fmla="*/ 90 h 90"/>
                <a:gd name="T10" fmla="*/ 0 w 57"/>
                <a:gd name="T11" fmla="*/ 2 h 90"/>
                <a:gd name="T12" fmla="*/ 19 w 57"/>
                <a:gd name="T13" fmla="*/ 2 h 90"/>
                <a:gd name="T14" fmla="*/ 21 w 57"/>
                <a:gd name="T15" fmla="*/ 11 h 90"/>
                <a:gd name="T16" fmla="*/ 45 w 57"/>
                <a:gd name="T17" fmla="*/ 0 h 90"/>
                <a:gd name="T18" fmla="*/ 57 w 57"/>
                <a:gd name="T19" fmla="*/ 4 h 90"/>
                <a:gd name="T20" fmla="*/ 49 w 57"/>
                <a:gd name="T21" fmla="*/ 2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0">
                  <a:moveTo>
                    <a:pt x="49" y="22"/>
                  </a:moveTo>
                  <a:cubicBezTo>
                    <a:pt x="46" y="20"/>
                    <a:pt x="42" y="20"/>
                    <a:pt x="39" y="20"/>
                  </a:cubicBezTo>
                  <a:cubicBezTo>
                    <a:pt x="34" y="20"/>
                    <a:pt x="28" y="22"/>
                    <a:pt x="22" y="27"/>
                  </a:cubicBezTo>
                  <a:cubicBezTo>
                    <a:pt x="22" y="27"/>
                    <a:pt x="22" y="57"/>
                    <a:pt x="22" y="74"/>
                  </a:cubicBezTo>
                  <a:cubicBezTo>
                    <a:pt x="22" y="90"/>
                    <a:pt x="0" y="90"/>
                    <a:pt x="0" y="90"/>
                  </a:cubicBezTo>
                  <a:cubicBezTo>
                    <a:pt x="0" y="2"/>
                    <a:pt x="0" y="2"/>
                    <a:pt x="0" y="2"/>
                  </a:cubicBezTo>
                  <a:cubicBezTo>
                    <a:pt x="19" y="2"/>
                    <a:pt x="19" y="2"/>
                    <a:pt x="19"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6" name="Freeform 20"/>
            <p:cNvSpPr>
              <a:spLocks/>
            </p:cNvSpPr>
            <p:nvPr userDrawn="1"/>
          </p:nvSpPr>
          <p:spPr bwMode="auto">
            <a:xfrm>
              <a:off x="7766657" y="4864376"/>
              <a:ext cx="100211" cy="148389"/>
            </a:xfrm>
            <a:custGeom>
              <a:avLst/>
              <a:gdLst>
                <a:gd name="T0" fmla="*/ 0 w 132"/>
                <a:gd name="T1" fmla="*/ 23 h 204"/>
                <a:gd name="T2" fmla="*/ 1 w 132"/>
                <a:gd name="T3" fmla="*/ 22 h 204"/>
                <a:gd name="T4" fmla="*/ 67 w 132"/>
                <a:gd name="T5" fmla="*/ 20 h 204"/>
                <a:gd name="T6" fmla="*/ 80 w 132"/>
                <a:gd name="T7" fmla="*/ 52 h 204"/>
                <a:gd name="T8" fmla="*/ 113 w 132"/>
                <a:gd name="T9" fmla="*/ 65 h 204"/>
                <a:gd name="T10" fmla="*/ 111 w 132"/>
                <a:gd name="T11" fmla="*/ 132 h 204"/>
                <a:gd name="T12" fmla="*/ 38 w 132"/>
                <a:gd name="T13" fmla="*/ 204 h 204"/>
                <a:gd name="T14" fmla="*/ 16 w 132"/>
                <a:gd name="T15" fmla="*/ 182 h 204"/>
                <a:gd name="T16" fmla="*/ 88 w 132"/>
                <a:gd name="T17" fmla="*/ 110 h 204"/>
                <a:gd name="T18" fmla="*/ 91 w 132"/>
                <a:gd name="T19" fmla="*/ 86 h 204"/>
                <a:gd name="T20" fmla="*/ 67 w 132"/>
                <a:gd name="T21" fmla="*/ 88 h 204"/>
                <a:gd name="T22" fmla="*/ 0 w 132"/>
                <a:gd name="T23" fmla="*/ 155 h 204"/>
                <a:gd name="T24" fmla="*/ 0 w 132"/>
                <a:gd name="T25" fmla="*/ 111 h 204"/>
                <a:gd name="T26" fmla="*/ 45 w 132"/>
                <a:gd name="T27" fmla="*/ 66 h 204"/>
                <a:gd name="T28" fmla="*/ 46 w 132"/>
                <a:gd name="T29" fmla="*/ 42 h 204"/>
                <a:gd name="T30" fmla="*/ 22 w 132"/>
                <a:gd name="T31" fmla="*/ 44 h 204"/>
                <a:gd name="T32" fmla="*/ 0 w 132"/>
                <a:gd name="T33" fmla="*/ 66 h 204"/>
                <a:gd name="T34" fmla="*/ 0 w 132"/>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204">
                  <a:moveTo>
                    <a:pt x="0" y="23"/>
                  </a:moveTo>
                  <a:cubicBezTo>
                    <a:pt x="1" y="22"/>
                    <a:pt x="1" y="22"/>
                    <a:pt x="1" y="22"/>
                  </a:cubicBezTo>
                  <a:cubicBezTo>
                    <a:pt x="23" y="0"/>
                    <a:pt x="50" y="2"/>
                    <a:pt x="67" y="20"/>
                  </a:cubicBezTo>
                  <a:cubicBezTo>
                    <a:pt x="80" y="32"/>
                    <a:pt x="81" y="46"/>
                    <a:pt x="80" y="52"/>
                  </a:cubicBezTo>
                  <a:cubicBezTo>
                    <a:pt x="86" y="51"/>
                    <a:pt x="100" y="52"/>
                    <a:pt x="113" y="65"/>
                  </a:cubicBezTo>
                  <a:cubicBezTo>
                    <a:pt x="130" y="82"/>
                    <a:pt x="132" y="110"/>
                    <a:pt x="111" y="132"/>
                  </a:cubicBezTo>
                  <a:cubicBezTo>
                    <a:pt x="38" y="204"/>
                    <a:pt x="38" y="204"/>
                    <a:pt x="38" y="204"/>
                  </a:cubicBezTo>
                  <a:cubicBezTo>
                    <a:pt x="16" y="182"/>
                    <a:pt x="16" y="182"/>
                    <a:pt x="16" y="182"/>
                  </a:cubicBezTo>
                  <a:cubicBezTo>
                    <a:pt x="88" y="110"/>
                    <a:pt x="88" y="110"/>
                    <a:pt x="88" y="110"/>
                  </a:cubicBezTo>
                  <a:cubicBezTo>
                    <a:pt x="97" y="101"/>
                    <a:pt x="96" y="91"/>
                    <a:pt x="91" y="86"/>
                  </a:cubicBezTo>
                  <a:cubicBezTo>
                    <a:pt x="85" y="80"/>
                    <a:pt x="75" y="79"/>
                    <a:pt x="67" y="88"/>
                  </a:cubicBezTo>
                  <a:cubicBezTo>
                    <a:pt x="0" y="155"/>
                    <a:pt x="0" y="155"/>
                    <a:pt x="0" y="155"/>
                  </a:cubicBezTo>
                  <a:cubicBezTo>
                    <a:pt x="0" y="111"/>
                    <a:pt x="0" y="111"/>
                    <a:pt x="0" y="111"/>
                  </a:cubicBezTo>
                  <a:cubicBezTo>
                    <a:pt x="45" y="66"/>
                    <a:pt x="45" y="66"/>
                    <a:pt x="45" y="66"/>
                  </a:cubicBezTo>
                  <a:cubicBezTo>
                    <a:pt x="53" y="57"/>
                    <a:pt x="52" y="47"/>
                    <a:pt x="46" y="42"/>
                  </a:cubicBezTo>
                  <a:cubicBezTo>
                    <a:pt x="41" y="36"/>
                    <a:pt x="31" y="35"/>
                    <a:pt x="22" y="44"/>
                  </a:cubicBezTo>
                  <a:cubicBezTo>
                    <a:pt x="0" y="66"/>
                    <a:pt x="0" y="66"/>
                    <a:pt x="0" y="66"/>
                  </a:cubicBezTo>
                  <a:lnTo>
                    <a:pt x="0"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8" name="Freeform 21"/>
            <p:cNvSpPr>
              <a:spLocks noEditPoints="1"/>
            </p:cNvSpPr>
            <p:nvPr userDrawn="1"/>
          </p:nvSpPr>
          <p:spPr bwMode="auto">
            <a:xfrm>
              <a:off x="7980890" y="5040472"/>
              <a:ext cx="51390" cy="57878"/>
            </a:xfrm>
            <a:custGeom>
              <a:avLst/>
              <a:gdLst>
                <a:gd name="T0" fmla="*/ 0 w 68"/>
                <a:gd name="T1" fmla="*/ 40 h 80"/>
                <a:gd name="T2" fmla="*/ 35 w 68"/>
                <a:gd name="T3" fmla="*/ 0 h 80"/>
                <a:gd name="T4" fmla="*/ 68 w 68"/>
                <a:gd name="T5" fmla="*/ 41 h 80"/>
                <a:gd name="T6" fmla="*/ 68 w 68"/>
                <a:gd name="T7" fmla="*/ 46 h 80"/>
                <a:gd name="T8" fmla="*/ 20 w 68"/>
                <a:gd name="T9" fmla="*/ 46 h 80"/>
                <a:gd name="T10" fmla="*/ 41 w 68"/>
                <a:gd name="T11" fmla="*/ 65 h 80"/>
                <a:gd name="T12" fmla="*/ 60 w 68"/>
                <a:gd name="T13" fmla="*/ 60 h 80"/>
                <a:gd name="T14" fmla="*/ 66 w 68"/>
                <a:gd name="T15" fmla="*/ 73 h 80"/>
                <a:gd name="T16" fmla="*/ 39 w 68"/>
                <a:gd name="T17" fmla="*/ 80 h 80"/>
                <a:gd name="T18" fmla="*/ 0 w 68"/>
                <a:gd name="T19" fmla="*/ 40 h 80"/>
                <a:gd name="T20" fmla="*/ 49 w 68"/>
                <a:gd name="T21" fmla="*/ 32 h 80"/>
                <a:gd name="T22" fmla="*/ 34 w 68"/>
                <a:gd name="T23" fmla="*/ 15 h 80"/>
                <a:gd name="T24" fmla="*/ 19 w 68"/>
                <a:gd name="T25" fmla="*/ 32 h 80"/>
                <a:gd name="T26" fmla="*/ 49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3" y="0"/>
                    <a:pt x="35" y="0"/>
                  </a:cubicBezTo>
                  <a:cubicBezTo>
                    <a:pt x="56" y="0"/>
                    <a:pt x="68" y="16"/>
                    <a:pt x="68" y="41"/>
                  </a:cubicBezTo>
                  <a:cubicBezTo>
                    <a:pt x="68" y="46"/>
                    <a:pt x="68" y="46"/>
                    <a:pt x="68" y="46"/>
                  </a:cubicBezTo>
                  <a:cubicBezTo>
                    <a:pt x="20" y="46"/>
                    <a:pt x="20" y="46"/>
                    <a:pt x="20" y="46"/>
                  </a:cubicBezTo>
                  <a:cubicBezTo>
                    <a:pt x="20" y="57"/>
                    <a:pt x="28" y="65"/>
                    <a:pt x="41" y="65"/>
                  </a:cubicBezTo>
                  <a:cubicBezTo>
                    <a:pt x="49" y="65"/>
                    <a:pt x="55" y="63"/>
                    <a:pt x="60" y="60"/>
                  </a:cubicBezTo>
                  <a:cubicBezTo>
                    <a:pt x="66" y="73"/>
                    <a:pt x="66" y="73"/>
                    <a:pt x="66" y="73"/>
                  </a:cubicBezTo>
                  <a:cubicBezTo>
                    <a:pt x="58" y="78"/>
                    <a:pt x="49" y="80"/>
                    <a:pt x="39" y="80"/>
                  </a:cubicBezTo>
                  <a:cubicBezTo>
                    <a:pt x="11" y="80"/>
                    <a:pt x="0" y="61"/>
                    <a:pt x="0" y="40"/>
                  </a:cubicBezTo>
                  <a:close/>
                  <a:moveTo>
                    <a:pt x="49" y="32"/>
                  </a:moveTo>
                  <a:cubicBezTo>
                    <a:pt x="49" y="23"/>
                    <a:pt x="44" y="15"/>
                    <a:pt x="34" y="15"/>
                  </a:cubicBezTo>
                  <a:cubicBezTo>
                    <a:pt x="25" y="15"/>
                    <a:pt x="19" y="23"/>
                    <a:pt x="19" y="32"/>
                  </a:cubicBezTo>
                  <a:lnTo>
                    <a:pt x="49"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9" name="Freeform 22"/>
            <p:cNvSpPr>
              <a:spLocks/>
            </p:cNvSpPr>
            <p:nvPr userDrawn="1"/>
          </p:nvSpPr>
          <p:spPr bwMode="auto">
            <a:xfrm>
              <a:off x="8295656" y="5041088"/>
              <a:ext cx="37258" cy="56031"/>
            </a:xfrm>
            <a:custGeom>
              <a:avLst/>
              <a:gdLst>
                <a:gd name="T0" fmla="*/ 42 w 49"/>
                <a:gd name="T1" fmla="*/ 19 h 77"/>
                <a:gd name="T2" fmla="*/ 33 w 49"/>
                <a:gd name="T3" fmla="*/ 16 h 77"/>
                <a:gd name="T4" fmla="*/ 19 w 49"/>
                <a:gd name="T5" fmla="*/ 23 h 77"/>
                <a:gd name="T6" fmla="*/ 19 w 49"/>
                <a:gd name="T7" fmla="*/ 63 h 77"/>
                <a:gd name="T8" fmla="*/ 0 w 49"/>
                <a:gd name="T9" fmla="*/ 77 h 77"/>
                <a:gd name="T10" fmla="*/ 0 w 49"/>
                <a:gd name="T11" fmla="*/ 1 h 77"/>
                <a:gd name="T12" fmla="*/ 16 w 49"/>
                <a:gd name="T13" fmla="*/ 1 h 77"/>
                <a:gd name="T14" fmla="*/ 18 w 49"/>
                <a:gd name="T15" fmla="*/ 9 h 77"/>
                <a:gd name="T16" fmla="*/ 39 w 49"/>
                <a:gd name="T17" fmla="*/ 0 h 77"/>
                <a:gd name="T18" fmla="*/ 49 w 49"/>
                <a:gd name="T19" fmla="*/ 3 h 77"/>
                <a:gd name="T20" fmla="*/ 42 w 49"/>
                <a:gd name="T21"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77">
                  <a:moveTo>
                    <a:pt x="42" y="19"/>
                  </a:moveTo>
                  <a:cubicBezTo>
                    <a:pt x="39" y="17"/>
                    <a:pt x="36" y="16"/>
                    <a:pt x="33" y="16"/>
                  </a:cubicBezTo>
                  <a:cubicBezTo>
                    <a:pt x="29" y="16"/>
                    <a:pt x="24" y="18"/>
                    <a:pt x="19" y="23"/>
                  </a:cubicBezTo>
                  <a:cubicBezTo>
                    <a:pt x="19" y="2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2"/>
                    <a:pt x="32" y="0"/>
                    <a:pt x="39" y="0"/>
                  </a:cubicBezTo>
                  <a:cubicBezTo>
                    <a:pt x="42" y="0"/>
                    <a:pt x="46" y="1"/>
                    <a:pt x="49" y="3"/>
                  </a:cubicBezTo>
                  <a:lnTo>
                    <a:pt x="42" y="1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0" name="Freeform 23"/>
            <p:cNvSpPr>
              <a:spLocks noEditPoints="1"/>
            </p:cNvSpPr>
            <p:nvPr userDrawn="1"/>
          </p:nvSpPr>
          <p:spPr bwMode="auto">
            <a:xfrm>
              <a:off x="8178743" y="5040472"/>
              <a:ext cx="51712" cy="57878"/>
            </a:xfrm>
            <a:custGeom>
              <a:avLst/>
              <a:gdLst>
                <a:gd name="T0" fmla="*/ 0 w 68"/>
                <a:gd name="T1" fmla="*/ 40 h 80"/>
                <a:gd name="T2" fmla="*/ 34 w 68"/>
                <a:gd name="T3" fmla="*/ 0 h 80"/>
                <a:gd name="T4" fmla="*/ 68 w 68"/>
                <a:gd name="T5" fmla="*/ 41 h 80"/>
                <a:gd name="T6" fmla="*/ 68 w 68"/>
                <a:gd name="T7" fmla="*/ 46 h 80"/>
                <a:gd name="T8" fmla="*/ 19 w 68"/>
                <a:gd name="T9" fmla="*/ 46 h 80"/>
                <a:gd name="T10" fmla="*/ 41 w 68"/>
                <a:gd name="T11" fmla="*/ 65 h 80"/>
                <a:gd name="T12" fmla="*/ 60 w 68"/>
                <a:gd name="T13" fmla="*/ 60 h 80"/>
                <a:gd name="T14" fmla="*/ 66 w 68"/>
                <a:gd name="T15" fmla="*/ 73 h 80"/>
                <a:gd name="T16" fmla="*/ 39 w 68"/>
                <a:gd name="T17" fmla="*/ 80 h 80"/>
                <a:gd name="T18" fmla="*/ 0 w 68"/>
                <a:gd name="T19" fmla="*/ 40 h 80"/>
                <a:gd name="T20" fmla="*/ 49 w 68"/>
                <a:gd name="T21" fmla="*/ 32 h 80"/>
                <a:gd name="T22" fmla="*/ 34 w 68"/>
                <a:gd name="T23" fmla="*/ 15 h 80"/>
                <a:gd name="T24" fmla="*/ 19 w 68"/>
                <a:gd name="T25" fmla="*/ 32 h 80"/>
                <a:gd name="T26" fmla="*/ 49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3" y="0"/>
                    <a:pt x="34" y="0"/>
                  </a:cubicBezTo>
                  <a:cubicBezTo>
                    <a:pt x="56" y="0"/>
                    <a:pt x="68" y="16"/>
                    <a:pt x="68" y="41"/>
                  </a:cubicBezTo>
                  <a:cubicBezTo>
                    <a:pt x="68" y="46"/>
                    <a:pt x="68" y="46"/>
                    <a:pt x="68" y="46"/>
                  </a:cubicBezTo>
                  <a:cubicBezTo>
                    <a:pt x="19" y="46"/>
                    <a:pt x="19" y="46"/>
                    <a:pt x="19" y="46"/>
                  </a:cubicBezTo>
                  <a:cubicBezTo>
                    <a:pt x="20" y="57"/>
                    <a:pt x="28" y="65"/>
                    <a:pt x="41" y="65"/>
                  </a:cubicBezTo>
                  <a:cubicBezTo>
                    <a:pt x="49" y="65"/>
                    <a:pt x="55" y="63"/>
                    <a:pt x="60" y="60"/>
                  </a:cubicBezTo>
                  <a:cubicBezTo>
                    <a:pt x="66" y="73"/>
                    <a:pt x="66" y="73"/>
                    <a:pt x="66" y="73"/>
                  </a:cubicBezTo>
                  <a:cubicBezTo>
                    <a:pt x="58" y="78"/>
                    <a:pt x="48" y="80"/>
                    <a:pt x="39" y="80"/>
                  </a:cubicBezTo>
                  <a:cubicBezTo>
                    <a:pt x="11" y="80"/>
                    <a:pt x="0" y="61"/>
                    <a:pt x="0" y="40"/>
                  </a:cubicBezTo>
                  <a:close/>
                  <a:moveTo>
                    <a:pt x="49" y="32"/>
                  </a:moveTo>
                  <a:cubicBezTo>
                    <a:pt x="48" y="23"/>
                    <a:pt x="44" y="15"/>
                    <a:pt x="34" y="15"/>
                  </a:cubicBezTo>
                  <a:cubicBezTo>
                    <a:pt x="25" y="15"/>
                    <a:pt x="19" y="23"/>
                    <a:pt x="19" y="32"/>
                  </a:cubicBezTo>
                  <a:lnTo>
                    <a:pt x="49"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1" name="Freeform 24"/>
            <p:cNvSpPr>
              <a:spLocks noEditPoints="1"/>
            </p:cNvSpPr>
            <p:nvPr userDrawn="1"/>
          </p:nvSpPr>
          <p:spPr bwMode="auto">
            <a:xfrm>
              <a:off x="8236557" y="5040472"/>
              <a:ext cx="51390" cy="57878"/>
            </a:xfrm>
            <a:custGeom>
              <a:avLst/>
              <a:gdLst>
                <a:gd name="T0" fmla="*/ 0 w 68"/>
                <a:gd name="T1" fmla="*/ 40 h 80"/>
                <a:gd name="T2" fmla="*/ 34 w 68"/>
                <a:gd name="T3" fmla="*/ 0 h 80"/>
                <a:gd name="T4" fmla="*/ 68 w 68"/>
                <a:gd name="T5" fmla="*/ 41 h 80"/>
                <a:gd name="T6" fmla="*/ 68 w 68"/>
                <a:gd name="T7" fmla="*/ 46 h 80"/>
                <a:gd name="T8" fmla="*/ 19 w 68"/>
                <a:gd name="T9" fmla="*/ 46 h 80"/>
                <a:gd name="T10" fmla="*/ 40 w 68"/>
                <a:gd name="T11" fmla="*/ 65 h 80"/>
                <a:gd name="T12" fmla="*/ 60 w 68"/>
                <a:gd name="T13" fmla="*/ 60 h 80"/>
                <a:gd name="T14" fmla="*/ 65 w 68"/>
                <a:gd name="T15" fmla="*/ 73 h 80"/>
                <a:gd name="T16" fmla="*/ 39 w 68"/>
                <a:gd name="T17" fmla="*/ 80 h 80"/>
                <a:gd name="T18" fmla="*/ 0 w 68"/>
                <a:gd name="T19" fmla="*/ 40 h 80"/>
                <a:gd name="T20" fmla="*/ 48 w 68"/>
                <a:gd name="T21" fmla="*/ 32 h 80"/>
                <a:gd name="T22" fmla="*/ 34 w 68"/>
                <a:gd name="T23" fmla="*/ 15 h 80"/>
                <a:gd name="T24" fmla="*/ 19 w 68"/>
                <a:gd name="T25" fmla="*/ 32 h 80"/>
                <a:gd name="T26" fmla="*/ 48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2" y="0"/>
                    <a:pt x="34" y="0"/>
                  </a:cubicBezTo>
                  <a:cubicBezTo>
                    <a:pt x="55" y="0"/>
                    <a:pt x="68" y="16"/>
                    <a:pt x="68" y="41"/>
                  </a:cubicBezTo>
                  <a:cubicBezTo>
                    <a:pt x="68" y="46"/>
                    <a:pt x="68" y="46"/>
                    <a:pt x="68" y="46"/>
                  </a:cubicBezTo>
                  <a:cubicBezTo>
                    <a:pt x="19" y="46"/>
                    <a:pt x="19" y="46"/>
                    <a:pt x="19" y="46"/>
                  </a:cubicBezTo>
                  <a:cubicBezTo>
                    <a:pt x="19" y="57"/>
                    <a:pt x="28" y="65"/>
                    <a:pt x="40" y="65"/>
                  </a:cubicBezTo>
                  <a:cubicBezTo>
                    <a:pt x="48" y="65"/>
                    <a:pt x="54" y="63"/>
                    <a:pt x="60" y="60"/>
                  </a:cubicBezTo>
                  <a:cubicBezTo>
                    <a:pt x="65" y="73"/>
                    <a:pt x="65" y="73"/>
                    <a:pt x="65" y="73"/>
                  </a:cubicBezTo>
                  <a:cubicBezTo>
                    <a:pt x="57" y="78"/>
                    <a:pt x="48" y="80"/>
                    <a:pt x="39" y="80"/>
                  </a:cubicBezTo>
                  <a:cubicBezTo>
                    <a:pt x="11" y="80"/>
                    <a:pt x="0" y="61"/>
                    <a:pt x="0" y="40"/>
                  </a:cubicBezTo>
                  <a:close/>
                  <a:moveTo>
                    <a:pt x="48" y="32"/>
                  </a:moveTo>
                  <a:cubicBezTo>
                    <a:pt x="48" y="23"/>
                    <a:pt x="44" y="15"/>
                    <a:pt x="34" y="15"/>
                  </a:cubicBezTo>
                  <a:cubicBezTo>
                    <a:pt x="24" y="15"/>
                    <a:pt x="19" y="23"/>
                    <a:pt x="19" y="32"/>
                  </a:cubicBezTo>
                  <a:lnTo>
                    <a:pt x="48"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2" name="Freeform 25"/>
            <p:cNvSpPr>
              <a:spLocks/>
            </p:cNvSpPr>
            <p:nvPr userDrawn="1"/>
          </p:nvSpPr>
          <p:spPr bwMode="auto">
            <a:xfrm>
              <a:off x="8040631" y="5041088"/>
              <a:ext cx="37258" cy="56031"/>
            </a:xfrm>
            <a:custGeom>
              <a:avLst/>
              <a:gdLst>
                <a:gd name="T0" fmla="*/ 42 w 49"/>
                <a:gd name="T1" fmla="*/ 19 h 77"/>
                <a:gd name="T2" fmla="*/ 33 w 49"/>
                <a:gd name="T3" fmla="*/ 16 h 77"/>
                <a:gd name="T4" fmla="*/ 19 w 49"/>
                <a:gd name="T5" fmla="*/ 23 h 77"/>
                <a:gd name="T6" fmla="*/ 19 w 49"/>
                <a:gd name="T7" fmla="*/ 63 h 77"/>
                <a:gd name="T8" fmla="*/ 0 w 49"/>
                <a:gd name="T9" fmla="*/ 77 h 77"/>
                <a:gd name="T10" fmla="*/ 0 w 49"/>
                <a:gd name="T11" fmla="*/ 1 h 77"/>
                <a:gd name="T12" fmla="*/ 16 w 49"/>
                <a:gd name="T13" fmla="*/ 1 h 77"/>
                <a:gd name="T14" fmla="*/ 18 w 49"/>
                <a:gd name="T15" fmla="*/ 9 h 77"/>
                <a:gd name="T16" fmla="*/ 38 w 49"/>
                <a:gd name="T17" fmla="*/ 0 h 77"/>
                <a:gd name="T18" fmla="*/ 49 w 49"/>
                <a:gd name="T19" fmla="*/ 3 h 77"/>
                <a:gd name="T20" fmla="*/ 42 w 49"/>
                <a:gd name="T21"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77">
                  <a:moveTo>
                    <a:pt x="42" y="19"/>
                  </a:moveTo>
                  <a:cubicBezTo>
                    <a:pt x="39" y="17"/>
                    <a:pt x="35" y="16"/>
                    <a:pt x="33" y="16"/>
                  </a:cubicBezTo>
                  <a:cubicBezTo>
                    <a:pt x="29" y="16"/>
                    <a:pt x="24" y="18"/>
                    <a:pt x="19" y="23"/>
                  </a:cubicBezTo>
                  <a:cubicBezTo>
                    <a:pt x="19" y="2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2"/>
                    <a:pt x="31" y="0"/>
                    <a:pt x="38" y="0"/>
                  </a:cubicBezTo>
                  <a:cubicBezTo>
                    <a:pt x="42" y="0"/>
                    <a:pt x="46" y="1"/>
                    <a:pt x="49" y="3"/>
                  </a:cubicBezTo>
                  <a:lnTo>
                    <a:pt x="42" y="1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3" name="Freeform 26"/>
            <p:cNvSpPr>
              <a:spLocks/>
            </p:cNvSpPr>
            <p:nvPr userDrawn="1"/>
          </p:nvSpPr>
          <p:spPr bwMode="auto">
            <a:xfrm>
              <a:off x="8083992" y="5041088"/>
              <a:ext cx="86400" cy="56031"/>
            </a:xfrm>
            <a:custGeom>
              <a:avLst/>
              <a:gdLst>
                <a:gd name="T0" fmla="*/ 114 w 114"/>
                <a:gd name="T1" fmla="*/ 25 h 77"/>
                <a:gd name="T2" fmla="*/ 114 w 114"/>
                <a:gd name="T3" fmla="*/ 63 h 77"/>
                <a:gd name="T4" fmla="*/ 95 w 114"/>
                <a:gd name="T5" fmla="*/ 77 h 77"/>
                <a:gd name="T6" fmla="*/ 95 w 114"/>
                <a:gd name="T7" fmla="*/ 31 h 77"/>
                <a:gd name="T8" fmla="*/ 84 w 114"/>
                <a:gd name="T9" fmla="*/ 16 h 77"/>
                <a:gd name="T10" fmla="*/ 66 w 114"/>
                <a:gd name="T11" fmla="*/ 23 h 77"/>
                <a:gd name="T12" fmla="*/ 66 w 114"/>
                <a:gd name="T13" fmla="*/ 63 h 77"/>
                <a:gd name="T14" fmla="*/ 66 w 114"/>
                <a:gd name="T15" fmla="*/ 63 h 77"/>
                <a:gd name="T16" fmla="*/ 47 w 114"/>
                <a:gd name="T17" fmla="*/ 77 h 77"/>
                <a:gd name="T18" fmla="*/ 47 w 114"/>
                <a:gd name="T19" fmla="*/ 31 h 77"/>
                <a:gd name="T20" fmla="*/ 37 w 114"/>
                <a:gd name="T21" fmla="*/ 16 h 77"/>
                <a:gd name="T22" fmla="*/ 19 w 114"/>
                <a:gd name="T23" fmla="*/ 23 h 77"/>
                <a:gd name="T24" fmla="*/ 19 w 114"/>
                <a:gd name="T25" fmla="*/ 63 h 77"/>
                <a:gd name="T26" fmla="*/ 19 w 114"/>
                <a:gd name="T27" fmla="*/ 63 h 77"/>
                <a:gd name="T28" fmla="*/ 0 w 114"/>
                <a:gd name="T29" fmla="*/ 77 h 77"/>
                <a:gd name="T30" fmla="*/ 0 w 114"/>
                <a:gd name="T31" fmla="*/ 1 h 77"/>
                <a:gd name="T32" fmla="*/ 16 w 114"/>
                <a:gd name="T33" fmla="*/ 1 h 77"/>
                <a:gd name="T34" fmla="*/ 18 w 114"/>
                <a:gd name="T35" fmla="*/ 9 h 77"/>
                <a:gd name="T36" fmla="*/ 43 w 114"/>
                <a:gd name="T37" fmla="*/ 0 h 77"/>
                <a:gd name="T38" fmla="*/ 63 w 114"/>
                <a:gd name="T39" fmla="*/ 11 h 77"/>
                <a:gd name="T40" fmla="*/ 89 w 114"/>
                <a:gd name="T41" fmla="*/ 0 h 77"/>
                <a:gd name="T42" fmla="*/ 114 w 114"/>
                <a:gd name="T43" fmla="*/ 2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77">
                  <a:moveTo>
                    <a:pt x="114" y="25"/>
                  </a:moveTo>
                  <a:cubicBezTo>
                    <a:pt x="114" y="63"/>
                    <a:pt x="114" y="63"/>
                    <a:pt x="114" y="63"/>
                  </a:cubicBezTo>
                  <a:cubicBezTo>
                    <a:pt x="114" y="77"/>
                    <a:pt x="95" y="77"/>
                    <a:pt x="95" y="77"/>
                  </a:cubicBezTo>
                  <a:cubicBezTo>
                    <a:pt x="95" y="31"/>
                    <a:pt x="95" y="31"/>
                    <a:pt x="95" y="31"/>
                  </a:cubicBezTo>
                  <a:cubicBezTo>
                    <a:pt x="95" y="22"/>
                    <a:pt x="93" y="16"/>
                    <a:pt x="84" y="16"/>
                  </a:cubicBezTo>
                  <a:cubicBezTo>
                    <a:pt x="77" y="16"/>
                    <a:pt x="71" y="19"/>
                    <a:pt x="66" y="23"/>
                  </a:cubicBezTo>
                  <a:cubicBezTo>
                    <a:pt x="66" y="63"/>
                    <a:pt x="66" y="63"/>
                    <a:pt x="66" y="63"/>
                  </a:cubicBezTo>
                  <a:cubicBezTo>
                    <a:pt x="66" y="63"/>
                    <a:pt x="66" y="49"/>
                    <a:pt x="66" y="63"/>
                  </a:cubicBezTo>
                  <a:cubicBezTo>
                    <a:pt x="66" y="77"/>
                    <a:pt x="47" y="77"/>
                    <a:pt x="47" y="77"/>
                  </a:cubicBezTo>
                  <a:cubicBezTo>
                    <a:pt x="47" y="31"/>
                    <a:pt x="47" y="31"/>
                    <a:pt x="47" y="31"/>
                  </a:cubicBezTo>
                  <a:cubicBezTo>
                    <a:pt x="47" y="23"/>
                    <a:pt x="46" y="16"/>
                    <a:pt x="37" y="16"/>
                  </a:cubicBezTo>
                  <a:cubicBezTo>
                    <a:pt x="30" y="16"/>
                    <a:pt x="19" y="23"/>
                    <a:pt x="19" y="23"/>
                  </a:cubicBezTo>
                  <a:cubicBezTo>
                    <a:pt x="19" y="63"/>
                    <a:pt x="19" y="63"/>
                    <a:pt x="19" y="63"/>
                  </a:cubicBezTo>
                  <a:cubicBezTo>
                    <a:pt x="19" y="6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3"/>
                    <a:pt x="34" y="0"/>
                    <a:pt x="43" y="0"/>
                  </a:cubicBezTo>
                  <a:cubicBezTo>
                    <a:pt x="52" y="0"/>
                    <a:pt x="59" y="4"/>
                    <a:pt x="63" y="11"/>
                  </a:cubicBezTo>
                  <a:cubicBezTo>
                    <a:pt x="71" y="3"/>
                    <a:pt x="81" y="0"/>
                    <a:pt x="89" y="0"/>
                  </a:cubicBezTo>
                  <a:cubicBezTo>
                    <a:pt x="102" y="0"/>
                    <a:pt x="114" y="6"/>
                    <a:pt x="114" y="25"/>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4" name="Freeform 27"/>
            <p:cNvSpPr>
              <a:spLocks/>
            </p:cNvSpPr>
            <p:nvPr userDrawn="1"/>
          </p:nvSpPr>
          <p:spPr bwMode="auto">
            <a:xfrm>
              <a:off x="7908622" y="5019846"/>
              <a:ext cx="77407" cy="77889"/>
            </a:xfrm>
            <a:custGeom>
              <a:avLst/>
              <a:gdLst>
                <a:gd name="T0" fmla="*/ 43 w 102"/>
                <a:gd name="T1" fmla="*/ 107 h 107"/>
                <a:gd name="T2" fmla="*/ 65 w 102"/>
                <a:gd name="T3" fmla="*/ 91 h 107"/>
                <a:gd name="T4" fmla="*/ 102 w 102"/>
                <a:gd name="T5" fmla="*/ 0 h 107"/>
                <a:gd name="T6" fmla="*/ 81 w 102"/>
                <a:gd name="T7" fmla="*/ 0 h 107"/>
                <a:gd name="T8" fmla="*/ 51 w 102"/>
                <a:gd name="T9" fmla="*/ 78 h 107"/>
                <a:gd name="T10" fmla="*/ 51 w 102"/>
                <a:gd name="T11" fmla="*/ 78 h 107"/>
                <a:gd name="T12" fmla="*/ 21 w 102"/>
                <a:gd name="T13" fmla="*/ 0 h 107"/>
                <a:gd name="T14" fmla="*/ 0 w 102"/>
                <a:gd name="T15" fmla="*/ 0 h 107"/>
                <a:gd name="T16" fmla="*/ 43 w 102"/>
                <a:gd name="T17"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107">
                  <a:moveTo>
                    <a:pt x="43" y="107"/>
                  </a:moveTo>
                  <a:cubicBezTo>
                    <a:pt x="57" y="107"/>
                    <a:pt x="61" y="101"/>
                    <a:pt x="65" y="91"/>
                  </a:cubicBezTo>
                  <a:cubicBezTo>
                    <a:pt x="102" y="0"/>
                    <a:pt x="102" y="0"/>
                    <a:pt x="102" y="0"/>
                  </a:cubicBezTo>
                  <a:cubicBezTo>
                    <a:pt x="81" y="0"/>
                    <a:pt x="81" y="0"/>
                    <a:pt x="81" y="0"/>
                  </a:cubicBezTo>
                  <a:cubicBezTo>
                    <a:pt x="51" y="78"/>
                    <a:pt x="51" y="78"/>
                    <a:pt x="51" y="78"/>
                  </a:cubicBezTo>
                  <a:cubicBezTo>
                    <a:pt x="51" y="78"/>
                    <a:pt x="51" y="78"/>
                    <a:pt x="51" y="78"/>
                  </a:cubicBezTo>
                  <a:cubicBezTo>
                    <a:pt x="21" y="0"/>
                    <a:pt x="21" y="0"/>
                    <a:pt x="21" y="0"/>
                  </a:cubicBezTo>
                  <a:cubicBezTo>
                    <a:pt x="0" y="0"/>
                    <a:pt x="0" y="0"/>
                    <a:pt x="0" y="0"/>
                  </a:cubicBezTo>
                  <a:cubicBezTo>
                    <a:pt x="43" y="107"/>
                    <a:pt x="43" y="107"/>
                    <a:pt x="43" y="10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cxnSp>
        <p:nvCxnSpPr>
          <p:cNvPr id="32" name="Straight Connector 31"/>
          <p:cNvCxnSpPr/>
          <p:nvPr userDrawn="1"/>
        </p:nvCxnSpPr>
        <p:spPr>
          <a:xfrm>
            <a:off x="343365" y="470176"/>
            <a:ext cx="8460000" cy="0"/>
          </a:xfrm>
          <a:prstGeom prst="line">
            <a:avLst/>
          </a:prstGeom>
          <a:ln w="6350" cmpd="sng">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343365" y="4801146"/>
            <a:ext cx="8460000" cy="0"/>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sp>
        <p:nvSpPr>
          <p:cNvPr id="67"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rgbClr val="FFFFFF"/>
                </a:solidFill>
                <a:latin typeface="+mn-lt"/>
              </a:defRPr>
            </a:lvl1pPr>
          </a:lstStyle>
          <a:p>
            <a:fld id="{19AB4E72-7858-48F1-A40D-12FF09E4BFB8}" type="slidenum">
              <a:rPr lang="en-GB" smtClean="0"/>
              <a:pPr/>
              <a:t>‹Nº›</a:t>
            </a:fld>
            <a:endParaRPr lang="en-GB"/>
          </a:p>
        </p:txBody>
      </p:sp>
      <p:sp>
        <p:nvSpPr>
          <p:cNvPr id="36" name="Title 1"/>
          <p:cNvSpPr>
            <a:spLocks noGrp="1"/>
          </p:cNvSpPr>
          <p:nvPr>
            <p:ph type="ctrTitle" hasCustomPrompt="1"/>
          </p:nvPr>
        </p:nvSpPr>
        <p:spPr>
          <a:xfrm>
            <a:off x="343365" y="2867487"/>
            <a:ext cx="8460000" cy="443198"/>
          </a:xfrm>
          <a:prstGeom prst="rect">
            <a:avLst/>
          </a:prstGeom>
        </p:spPr>
        <p:txBody>
          <a:bodyPr lIns="0" tIns="0" rIns="0" bIns="0" anchor="b"/>
          <a:lstStyle>
            <a:lvl1pPr>
              <a:lnSpc>
                <a:spcPct val="90000"/>
              </a:lnSpc>
              <a:defRPr sz="3200" b="0">
                <a:solidFill>
                  <a:schemeClr val="bg1"/>
                </a:solidFill>
              </a:defRPr>
            </a:lvl1pPr>
          </a:lstStyle>
          <a:p>
            <a:r>
              <a:rPr lang="en-US" dirty="0" smtClean="0"/>
              <a:t>Click to edit Master title Style</a:t>
            </a:r>
            <a:endParaRPr lang="en-US" dirty="0"/>
          </a:p>
        </p:txBody>
      </p:sp>
      <p:sp>
        <p:nvSpPr>
          <p:cNvPr id="37" name="Subtitle 2"/>
          <p:cNvSpPr>
            <a:spLocks noGrp="1"/>
          </p:cNvSpPr>
          <p:nvPr>
            <p:ph type="subTitle" idx="1" hasCustomPrompt="1"/>
          </p:nvPr>
        </p:nvSpPr>
        <p:spPr>
          <a:xfrm>
            <a:off x="343364" y="3474100"/>
            <a:ext cx="8460000" cy="202165"/>
          </a:xfrm>
          <a:prstGeom prst="rect">
            <a:avLst/>
          </a:prstGeom>
        </p:spPr>
        <p:txBody>
          <a:bodyPr lIns="0" tIns="0" rIns="0" bIns="0">
            <a:noAutofit/>
          </a:bodyPr>
          <a:lstStyle>
            <a:lvl1pPr marL="0" indent="0" algn="l">
              <a:buNone/>
              <a:defRPr sz="14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cxnSp>
        <p:nvCxnSpPr>
          <p:cNvPr id="38" name="Straight Connector 37"/>
          <p:cNvCxnSpPr/>
          <p:nvPr userDrawn="1"/>
        </p:nvCxnSpPr>
        <p:spPr>
          <a:xfrm>
            <a:off x="346086" y="3395058"/>
            <a:ext cx="8460000" cy="0"/>
          </a:xfrm>
          <a:prstGeom prst="line">
            <a:avLst/>
          </a:prstGeom>
          <a:ln w="12700"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77" name="Text Placeholder 2"/>
          <p:cNvSpPr>
            <a:spLocks noGrp="1"/>
          </p:cNvSpPr>
          <p:nvPr>
            <p:ph type="body" sz="quarter" idx="25" hasCustomPrompt="1"/>
          </p:nvPr>
        </p:nvSpPr>
        <p:spPr>
          <a:xfrm>
            <a:off x="3342796" y="4807465"/>
            <a:ext cx="1160462" cy="341313"/>
          </a:xfrm>
          <a:prstGeom prst="rect">
            <a:avLst/>
          </a:prstGeom>
        </p:spPr>
        <p:txBody>
          <a:bodyPr anchor="ctr"/>
          <a:lstStyle>
            <a:lvl1pPr marL="0" indent="0" algn="ctr">
              <a:buNone/>
              <a:defRPr sz="800">
                <a:solidFill>
                  <a:schemeClr val="bg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grpSp>
        <p:nvGrpSpPr>
          <p:cNvPr id="75" name="Group 74"/>
          <p:cNvGrpSpPr/>
          <p:nvPr userDrawn="1"/>
        </p:nvGrpSpPr>
        <p:grpSpPr>
          <a:xfrm>
            <a:off x="7686461" y="4906654"/>
            <a:ext cx="1124815" cy="151147"/>
            <a:chOff x="7686461" y="4581466"/>
            <a:chExt cx="1124815" cy="151147"/>
          </a:xfrm>
          <a:solidFill>
            <a:schemeClr val="bg1"/>
          </a:solidFill>
        </p:grpSpPr>
        <p:sp>
          <p:nvSpPr>
            <p:cNvPr id="76"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sp>
          <p:nvSpPr>
            <p:cNvPr id="78"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sp>
          <p:nvSpPr>
            <p:cNvPr id="79"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sp>
          <p:nvSpPr>
            <p:cNvPr id="80"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sp>
          <p:nvSpPr>
            <p:cNvPr id="81"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sp>
          <p:nvSpPr>
            <p:cNvPr id="82"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sp>
          <p:nvSpPr>
            <p:cNvPr id="83"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sp>
          <p:nvSpPr>
            <p:cNvPr id="84"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sp>
          <p:nvSpPr>
            <p:cNvPr id="85"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sp>
          <p:nvSpPr>
            <p:cNvPr id="86"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sp>
          <p:nvSpPr>
            <p:cNvPr id="87"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sp>
          <p:nvSpPr>
            <p:cNvPr id="88"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sp>
          <p:nvSpPr>
            <p:cNvPr id="89"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sp>
          <p:nvSpPr>
            <p:cNvPr id="90"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sp>
          <p:nvSpPr>
            <p:cNvPr id="91"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grpSp>
      <p:grpSp>
        <p:nvGrpSpPr>
          <p:cNvPr id="92" name="Group 91"/>
          <p:cNvGrpSpPr/>
          <p:nvPr userDrawn="1"/>
        </p:nvGrpSpPr>
        <p:grpSpPr>
          <a:xfrm>
            <a:off x="6223980" y="4846685"/>
            <a:ext cx="1123200" cy="262528"/>
            <a:chOff x="7673274" y="4343117"/>
            <a:chExt cx="1123200" cy="262528"/>
          </a:xfrm>
          <a:solidFill>
            <a:schemeClr val="bg1"/>
          </a:solidFill>
        </p:grpSpPr>
        <p:grpSp>
          <p:nvGrpSpPr>
            <p:cNvPr id="93" name="Group 92"/>
            <p:cNvGrpSpPr/>
            <p:nvPr userDrawn="1"/>
          </p:nvGrpSpPr>
          <p:grpSpPr>
            <a:xfrm>
              <a:off x="7909937" y="4494135"/>
              <a:ext cx="438357" cy="111510"/>
              <a:chOff x="7909937" y="4491754"/>
              <a:chExt cx="438357" cy="111510"/>
            </a:xfrm>
            <a:grpFill/>
          </p:grpSpPr>
          <p:sp>
            <p:nvSpPr>
              <p:cNvPr id="110" name="Freeform 21"/>
              <p:cNvSpPr>
                <a:spLocks noEditPoints="1"/>
              </p:cNvSpPr>
              <p:nvPr/>
            </p:nvSpPr>
            <p:spPr bwMode="auto">
              <a:xfrm>
                <a:off x="7909937" y="4496945"/>
                <a:ext cx="72264" cy="78286"/>
              </a:xfrm>
              <a:custGeom>
                <a:avLst/>
                <a:gdLst>
                  <a:gd name="T0" fmla="*/ 290 w 696"/>
                  <a:gd name="T1" fmla="*/ 0 h 754"/>
                  <a:gd name="T2" fmla="*/ 394 w 696"/>
                  <a:gd name="T3" fmla="*/ 0 h 754"/>
                  <a:gd name="T4" fmla="*/ 696 w 696"/>
                  <a:gd name="T5" fmla="*/ 754 h 754"/>
                  <a:gd name="T6" fmla="*/ 550 w 696"/>
                  <a:gd name="T7" fmla="*/ 754 h 754"/>
                  <a:gd name="T8" fmla="*/ 478 w 696"/>
                  <a:gd name="T9" fmla="*/ 566 h 754"/>
                  <a:gd name="T10" fmla="*/ 210 w 696"/>
                  <a:gd name="T11" fmla="*/ 566 h 754"/>
                  <a:gd name="T12" fmla="*/ 140 w 696"/>
                  <a:gd name="T13" fmla="*/ 754 h 754"/>
                  <a:gd name="T14" fmla="*/ 0 w 696"/>
                  <a:gd name="T15" fmla="*/ 754 h 754"/>
                  <a:gd name="T16" fmla="*/ 290 w 696"/>
                  <a:gd name="T17" fmla="*/ 0 h 754"/>
                  <a:gd name="T18" fmla="*/ 436 w 696"/>
                  <a:gd name="T19" fmla="*/ 456 h 754"/>
                  <a:gd name="T20" fmla="*/ 384 w 696"/>
                  <a:gd name="T21" fmla="*/ 306 h 754"/>
                  <a:gd name="T22" fmla="*/ 384 w 696"/>
                  <a:gd name="T23" fmla="*/ 306 h 754"/>
                  <a:gd name="T24" fmla="*/ 360 w 696"/>
                  <a:gd name="T25" fmla="*/ 236 h 754"/>
                  <a:gd name="T26" fmla="*/ 346 w 696"/>
                  <a:gd name="T27" fmla="*/ 190 h 754"/>
                  <a:gd name="T28" fmla="*/ 344 w 696"/>
                  <a:gd name="T29" fmla="*/ 190 h 754"/>
                  <a:gd name="T30" fmla="*/ 344 w 696"/>
                  <a:gd name="T31" fmla="*/ 190 h 754"/>
                  <a:gd name="T32" fmla="*/ 328 w 696"/>
                  <a:gd name="T33" fmla="*/ 236 h 754"/>
                  <a:gd name="T34" fmla="*/ 304 w 696"/>
                  <a:gd name="T35" fmla="*/ 306 h 754"/>
                  <a:gd name="T36" fmla="*/ 250 w 696"/>
                  <a:gd name="T37" fmla="*/ 456 h 754"/>
                  <a:gd name="T38" fmla="*/ 436 w 696"/>
                  <a:gd name="T39" fmla="*/ 456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6" h="754">
                    <a:moveTo>
                      <a:pt x="290" y="0"/>
                    </a:moveTo>
                    <a:lnTo>
                      <a:pt x="394" y="0"/>
                    </a:lnTo>
                    <a:lnTo>
                      <a:pt x="696" y="754"/>
                    </a:lnTo>
                    <a:lnTo>
                      <a:pt x="550" y="754"/>
                    </a:lnTo>
                    <a:lnTo>
                      <a:pt x="478" y="566"/>
                    </a:lnTo>
                    <a:lnTo>
                      <a:pt x="210" y="566"/>
                    </a:lnTo>
                    <a:lnTo>
                      <a:pt x="140" y="754"/>
                    </a:lnTo>
                    <a:lnTo>
                      <a:pt x="0" y="754"/>
                    </a:lnTo>
                    <a:lnTo>
                      <a:pt x="290" y="0"/>
                    </a:lnTo>
                    <a:close/>
                    <a:moveTo>
                      <a:pt x="436" y="456"/>
                    </a:moveTo>
                    <a:lnTo>
                      <a:pt x="384" y="306"/>
                    </a:lnTo>
                    <a:lnTo>
                      <a:pt x="384" y="306"/>
                    </a:lnTo>
                    <a:lnTo>
                      <a:pt x="360" y="236"/>
                    </a:lnTo>
                    <a:lnTo>
                      <a:pt x="346" y="190"/>
                    </a:lnTo>
                    <a:lnTo>
                      <a:pt x="344" y="190"/>
                    </a:lnTo>
                    <a:lnTo>
                      <a:pt x="344" y="190"/>
                    </a:lnTo>
                    <a:lnTo>
                      <a:pt x="328" y="236"/>
                    </a:lnTo>
                    <a:lnTo>
                      <a:pt x="304" y="306"/>
                    </a:lnTo>
                    <a:lnTo>
                      <a:pt x="250" y="456"/>
                    </a:lnTo>
                    <a:lnTo>
                      <a:pt x="436" y="4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1" name="Freeform 22"/>
              <p:cNvSpPr>
                <a:spLocks noEditPoints="1"/>
              </p:cNvSpPr>
              <p:nvPr/>
            </p:nvSpPr>
            <p:spPr bwMode="auto">
              <a:xfrm>
                <a:off x="8047404" y="4517918"/>
                <a:ext cx="48591" cy="58558"/>
              </a:xfrm>
              <a:custGeom>
                <a:avLst/>
                <a:gdLst>
                  <a:gd name="T0" fmla="*/ 334 w 468"/>
                  <a:gd name="T1" fmla="*/ 502 h 564"/>
                  <a:gd name="T2" fmla="*/ 302 w 468"/>
                  <a:gd name="T3" fmla="*/ 526 h 564"/>
                  <a:gd name="T4" fmla="*/ 266 w 468"/>
                  <a:gd name="T5" fmla="*/ 546 h 564"/>
                  <a:gd name="T6" fmla="*/ 226 w 468"/>
                  <a:gd name="T7" fmla="*/ 560 h 564"/>
                  <a:gd name="T8" fmla="*/ 178 w 468"/>
                  <a:gd name="T9" fmla="*/ 564 h 564"/>
                  <a:gd name="T10" fmla="*/ 160 w 468"/>
                  <a:gd name="T11" fmla="*/ 564 h 564"/>
                  <a:gd name="T12" fmla="*/ 124 w 468"/>
                  <a:gd name="T13" fmla="*/ 558 h 564"/>
                  <a:gd name="T14" fmla="*/ 92 w 468"/>
                  <a:gd name="T15" fmla="*/ 546 h 564"/>
                  <a:gd name="T16" fmla="*/ 62 w 468"/>
                  <a:gd name="T17" fmla="*/ 528 h 564"/>
                  <a:gd name="T18" fmla="*/ 38 w 468"/>
                  <a:gd name="T19" fmla="*/ 506 h 564"/>
                  <a:gd name="T20" fmla="*/ 20 w 468"/>
                  <a:gd name="T21" fmla="*/ 478 h 564"/>
                  <a:gd name="T22" fmla="*/ 6 w 468"/>
                  <a:gd name="T23" fmla="*/ 446 h 564"/>
                  <a:gd name="T24" fmla="*/ 0 w 468"/>
                  <a:gd name="T25" fmla="*/ 412 h 564"/>
                  <a:gd name="T26" fmla="*/ 0 w 468"/>
                  <a:gd name="T27" fmla="*/ 392 h 564"/>
                  <a:gd name="T28" fmla="*/ 6 w 468"/>
                  <a:gd name="T29" fmla="*/ 342 h 564"/>
                  <a:gd name="T30" fmla="*/ 24 w 468"/>
                  <a:gd name="T31" fmla="*/ 302 h 564"/>
                  <a:gd name="T32" fmla="*/ 52 w 468"/>
                  <a:gd name="T33" fmla="*/ 270 h 564"/>
                  <a:gd name="T34" fmla="*/ 90 w 468"/>
                  <a:gd name="T35" fmla="*/ 246 h 564"/>
                  <a:gd name="T36" fmla="*/ 120 w 468"/>
                  <a:gd name="T37" fmla="*/ 232 h 564"/>
                  <a:gd name="T38" fmla="*/ 190 w 468"/>
                  <a:gd name="T39" fmla="*/ 218 h 564"/>
                  <a:gd name="T40" fmla="*/ 322 w 468"/>
                  <a:gd name="T41" fmla="*/ 210 h 564"/>
                  <a:gd name="T42" fmla="*/ 322 w 468"/>
                  <a:gd name="T43" fmla="*/ 194 h 564"/>
                  <a:gd name="T44" fmla="*/ 314 w 468"/>
                  <a:gd name="T45" fmla="*/ 154 h 564"/>
                  <a:gd name="T46" fmla="*/ 294 w 468"/>
                  <a:gd name="T47" fmla="*/ 126 h 564"/>
                  <a:gd name="T48" fmla="*/ 260 w 468"/>
                  <a:gd name="T49" fmla="*/ 108 h 564"/>
                  <a:gd name="T50" fmla="*/ 218 w 468"/>
                  <a:gd name="T51" fmla="*/ 104 h 564"/>
                  <a:gd name="T52" fmla="*/ 198 w 468"/>
                  <a:gd name="T53" fmla="*/ 104 h 564"/>
                  <a:gd name="T54" fmla="*/ 160 w 468"/>
                  <a:gd name="T55" fmla="*/ 110 h 564"/>
                  <a:gd name="T56" fmla="*/ 108 w 468"/>
                  <a:gd name="T57" fmla="*/ 126 h 564"/>
                  <a:gd name="T58" fmla="*/ 32 w 468"/>
                  <a:gd name="T59" fmla="*/ 54 h 564"/>
                  <a:gd name="T60" fmla="*/ 56 w 468"/>
                  <a:gd name="T61" fmla="*/ 42 h 564"/>
                  <a:gd name="T62" fmla="*/ 106 w 468"/>
                  <a:gd name="T63" fmla="*/ 22 h 564"/>
                  <a:gd name="T64" fmla="*/ 158 w 468"/>
                  <a:gd name="T65" fmla="*/ 8 h 564"/>
                  <a:gd name="T66" fmla="*/ 212 w 468"/>
                  <a:gd name="T67" fmla="*/ 0 h 564"/>
                  <a:gd name="T68" fmla="*/ 240 w 468"/>
                  <a:gd name="T69" fmla="*/ 0 h 564"/>
                  <a:gd name="T70" fmla="*/ 292 w 468"/>
                  <a:gd name="T71" fmla="*/ 4 h 564"/>
                  <a:gd name="T72" fmla="*/ 336 w 468"/>
                  <a:gd name="T73" fmla="*/ 12 h 564"/>
                  <a:gd name="T74" fmla="*/ 372 w 468"/>
                  <a:gd name="T75" fmla="*/ 28 h 564"/>
                  <a:gd name="T76" fmla="*/ 404 w 468"/>
                  <a:gd name="T77" fmla="*/ 50 h 564"/>
                  <a:gd name="T78" fmla="*/ 426 w 468"/>
                  <a:gd name="T79" fmla="*/ 76 h 564"/>
                  <a:gd name="T80" fmla="*/ 444 w 468"/>
                  <a:gd name="T81" fmla="*/ 110 h 564"/>
                  <a:gd name="T82" fmla="*/ 454 w 468"/>
                  <a:gd name="T83" fmla="*/ 150 h 564"/>
                  <a:gd name="T84" fmla="*/ 458 w 468"/>
                  <a:gd name="T85" fmla="*/ 196 h 564"/>
                  <a:gd name="T86" fmla="*/ 458 w 468"/>
                  <a:gd name="T87" fmla="*/ 414 h 564"/>
                  <a:gd name="T88" fmla="*/ 460 w 468"/>
                  <a:gd name="T89" fmla="*/ 496 h 564"/>
                  <a:gd name="T90" fmla="*/ 468 w 468"/>
                  <a:gd name="T91" fmla="*/ 552 h 564"/>
                  <a:gd name="T92" fmla="*/ 334 w 468"/>
                  <a:gd name="T93" fmla="*/ 502 h 564"/>
                  <a:gd name="T94" fmla="*/ 248 w 468"/>
                  <a:gd name="T95" fmla="*/ 304 h 564"/>
                  <a:gd name="T96" fmla="*/ 204 w 468"/>
                  <a:gd name="T97" fmla="*/ 310 h 564"/>
                  <a:gd name="T98" fmla="*/ 170 w 468"/>
                  <a:gd name="T99" fmla="*/ 322 h 564"/>
                  <a:gd name="T100" fmla="*/ 162 w 468"/>
                  <a:gd name="T101" fmla="*/ 326 h 564"/>
                  <a:gd name="T102" fmla="*/ 150 w 468"/>
                  <a:gd name="T103" fmla="*/ 340 h 564"/>
                  <a:gd name="T104" fmla="*/ 142 w 468"/>
                  <a:gd name="T105" fmla="*/ 354 h 564"/>
                  <a:gd name="T106" fmla="*/ 138 w 468"/>
                  <a:gd name="T107" fmla="*/ 382 h 564"/>
                  <a:gd name="T108" fmla="*/ 138 w 468"/>
                  <a:gd name="T109" fmla="*/ 400 h 564"/>
                  <a:gd name="T110" fmla="*/ 150 w 468"/>
                  <a:gd name="T111" fmla="*/ 426 h 564"/>
                  <a:gd name="T112" fmla="*/ 170 w 468"/>
                  <a:gd name="T113" fmla="*/ 446 h 564"/>
                  <a:gd name="T114" fmla="*/ 200 w 468"/>
                  <a:gd name="T115" fmla="*/ 456 h 564"/>
                  <a:gd name="T116" fmla="*/ 216 w 468"/>
                  <a:gd name="T117" fmla="*/ 456 h 564"/>
                  <a:gd name="T118" fmla="*/ 252 w 468"/>
                  <a:gd name="T119" fmla="*/ 452 h 564"/>
                  <a:gd name="T120" fmla="*/ 282 w 468"/>
                  <a:gd name="T121" fmla="*/ 442 h 564"/>
                  <a:gd name="T122" fmla="*/ 322 w 468"/>
                  <a:gd name="T123" fmla="*/ 418 h 564"/>
                  <a:gd name="T124" fmla="*/ 248 w 468"/>
                  <a:gd name="T125" fmla="*/ 30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8" h="564">
                    <a:moveTo>
                      <a:pt x="334" y="502"/>
                    </a:moveTo>
                    <a:lnTo>
                      <a:pt x="334" y="502"/>
                    </a:lnTo>
                    <a:lnTo>
                      <a:pt x="318" y="514"/>
                    </a:lnTo>
                    <a:lnTo>
                      <a:pt x="302" y="526"/>
                    </a:lnTo>
                    <a:lnTo>
                      <a:pt x="284" y="536"/>
                    </a:lnTo>
                    <a:lnTo>
                      <a:pt x="266" y="546"/>
                    </a:lnTo>
                    <a:lnTo>
                      <a:pt x="246" y="554"/>
                    </a:lnTo>
                    <a:lnTo>
                      <a:pt x="226" y="560"/>
                    </a:lnTo>
                    <a:lnTo>
                      <a:pt x="202" y="562"/>
                    </a:lnTo>
                    <a:lnTo>
                      <a:pt x="178" y="564"/>
                    </a:lnTo>
                    <a:lnTo>
                      <a:pt x="178" y="564"/>
                    </a:lnTo>
                    <a:lnTo>
                      <a:pt x="160" y="564"/>
                    </a:lnTo>
                    <a:lnTo>
                      <a:pt x="140" y="560"/>
                    </a:lnTo>
                    <a:lnTo>
                      <a:pt x="124" y="558"/>
                    </a:lnTo>
                    <a:lnTo>
                      <a:pt x="106" y="552"/>
                    </a:lnTo>
                    <a:lnTo>
                      <a:pt x="92" y="546"/>
                    </a:lnTo>
                    <a:lnTo>
                      <a:pt x="76" y="538"/>
                    </a:lnTo>
                    <a:lnTo>
                      <a:pt x="62" y="528"/>
                    </a:lnTo>
                    <a:lnTo>
                      <a:pt x="50" y="516"/>
                    </a:lnTo>
                    <a:lnTo>
                      <a:pt x="38" y="506"/>
                    </a:lnTo>
                    <a:lnTo>
                      <a:pt x="28" y="492"/>
                    </a:lnTo>
                    <a:lnTo>
                      <a:pt x="20" y="478"/>
                    </a:lnTo>
                    <a:lnTo>
                      <a:pt x="12" y="462"/>
                    </a:lnTo>
                    <a:lnTo>
                      <a:pt x="6" y="446"/>
                    </a:lnTo>
                    <a:lnTo>
                      <a:pt x="2" y="430"/>
                    </a:lnTo>
                    <a:lnTo>
                      <a:pt x="0" y="412"/>
                    </a:lnTo>
                    <a:lnTo>
                      <a:pt x="0" y="392"/>
                    </a:lnTo>
                    <a:lnTo>
                      <a:pt x="0" y="392"/>
                    </a:lnTo>
                    <a:lnTo>
                      <a:pt x="0" y="366"/>
                    </a:lnTo>
                    <a:lnTo>
                      <a:pt x="6" y="342"/>
                    </a:lnTo>
                    <a:lnTo>
                      <a:pt x="14" y="320"/>
                    </a:lnTo>
                    <a:lnTo>
                      <a:pt x="24" y="302"/>
                    </a:lnTo>
                    <a:lnTo>
                      <a:pt x="36" y="284"/>
                    </a:lnTo>
                    <a:lnTo>
                      <a:pt x="52" y="270"/>
                    </a:lnTo>
                    <a:lnTo>
                      <a:pt x="70" y="256"/>
                    </a:lnTo>
                    <a:lnTo>
                      <a:pt x="90" y="246"/>
                    </a:lnTo>
                    <a:lnTo>
                      <a:pt x="90" y="246"/>
                    </a:lnTo>
                    <a:lnTo>
                      <a:pt x="120" y="232"/>
                    </a:lnTo>
                    <a:lnTo>
                      <a:pt x="154" y="224"/>
                    </a:lnTo>
                    <a:lnTo>
                      <a:pt x="190" y="218"/>
                    </a:lnTo>
                    <a:lnTo>
                      <a:pt x="230" y="214"/>
                    </a:lnTo>
                    <a:lnTo>
                      <a:pt x="322" y="210"/>
                    </a:lnTo>
                    <a:lnTo>
                      <a:pt x="322" y="194"/>
                    </a:lnTo>
                    <a:lnTo>
                      <a:pt x="322" y="194"/>
                    </a:lnTo>
                    <a:lnTo>
                      <a:pt x="320" y="172"/>
                    </a:lnTo>
                    <a:lnTo>
                      <a:pt x="314" y="154"/>
                    </a:lnTo>
                    <a:lnTo>
                      <a:pt x="306" y="138"/>
                    </a:lnTo>
                    <a:lnTo>
                      <a:pt x="294" y="126"/>
                    </a:lnTo>
                    <a:lnTo>
                      <a:pt x="278" y="116"/>
                    </a:lnTo>
                    <a:lnTo>
                      <a:pt x="260" y="108"/>
                    </a:lnTo>
                    <a:lnTo>
                      <a:pt x="240" y="106"/>
                    </a:lnTo>
                    <a:lnTo>
                      <a:pt x="218" y="104"/>
                    </a:lnTo>
                    <a:lnTo>
                      <a:pt x="218" y="104"/>
                    </a:lnTo>
                    <a:lnTo>
                      <a:pt x="198" y="104"/>
                    </a:lnTo>
                    <a:lnTo>
                      <a:pt x="178" y="106"/>
                    </a:lnTo>
                    <a:lnTo>
                      <a:pt x="160" y="110"/>
                    </a:lnTo>
                    <a:lnTo>
                      <a:pt x="142" y="114"/>
                    </a:lnTo>
                    <a:lnTo>
                      <a:pt x="108" y="126"/>
                    </a:lnTo>
                    <a:lnTo>
                      <a:pt x="76" y="142"/>
                    </a:lnTo>
                    <a:lnTo>
                      <a:pt x="32" y="54"/>
                    </a:lnTo>
                    <a:lnTo>
                      <a:pt x="32" y="54"/>
                    </a:lnTo>
                    <a:lnTo>
                      <a:pt x="56" y="42"/>
                    </a:lnTo>
                    <a:lnTo>
                      <a:pt x="82" y="30"/>
                    </a:lnTo>
                    <a:lnTo>
                      <a:pt x="106" y="22"/>
                    </a:lnTo>
                    <a:lnTo>
                      <a:pt x="132" y="14"/>
                    </a:lnTo>
                    <a:lnTo>
                      <a:pt x="158" y="8"/>
                    </a:lnTo>
                    <a:lnTo>
                      <a:pt x="186" y="4"/>
                    </a:lnTo>
                    <a:lnTo>
                      <a:pt x="212" y="0"/>
                    </a:lnTo>
                    <a:lnTo>
                      <a:pt x="240" y="0"/>
                    </a:lnTo>
                    <a:lnTo>
                      <a:pt x="240" y="0"/>
                    </a:lnTo>
                    <a:lnTo>
                      <a:pt x="268" y="0"/>
                    </a:lnTo>
                    <a:lnTo>
                      <a:pt x="292" y="4"/>
                    </a:lnTo>
                    <a:lnTo>
                      <a:pt x="314" y="6"/>
                    </a:lnTo>
                    <a:lnTo>
                      <a:pt x="336" y="12"/>
                    </a:lnTo>
                    <a:lnTo>
                      <a:pt x="356" y="20"/>
                    </a:lnTo>
                    <a:lnTo>
                      <a:pt x="372" y="28"/>
                    </a:lnTo>
                    <a:lnTo>
                      <a:pt x="388" y="38"/>
                    </a:lnTo>
                    <a:lnTo>
                      <a:pt x="404" y="50"/>
                    </a:lnTo>
                    <a:lnTo>
                      <a:pt x="416" y="62"/>
                    </a:lnTo>
                    <a:lnTo>
                      <a:pt x="426" y="76"/>
                    </a:lnTo>
                    <a:lnTo>
                      <a:pt x="436" y="94"/>
                    </a:lnTo>
                    <a:lnTo>
                      <a:pt x="444" y="110"/>
                    </a:lnTo>
                    <a:lnTo>
                      <a:pt x="450" y="130"/>
                    </a:lnTo>
                    <a:lnTo>
                      <a:pt x="454" y="150"/>
                    </a:lnTo>
                    <a:lnTo>
                      <a:pt x="456" y="172"/>
                    </a:lnTo>
                    <a:lnTo>
                      <a:pt x="458" y="196"/>
                    </a:lnTo>
                    <a:lnTo>
                      <a:pt x="458" y="414"/>
                    </a:lnTo>
                    <a:lnTo>
                      <a:pt x="458" y="414"/>
                    </a:lnTo>
                    <a:lnTo>
                      <a:pt x="458" y="458"/>
                    </a:lnTo>
                    <a:lnTo>
                      <a:pt x="460" y="496"/>
                    </a:lnTo>
                    <a:lnTo>
                      <a:pt x="462" y="528"/>
                    </a:lnTo>
                    <a:lnTo>
                      <a:pt x="468" y="552"/>
                    </a:lnTo>
                    <a:lnTo>
                      <a:pt x="354" y="552"/>
                    </a:lnTo>
                    <a:lnTo>
                      <a:pt x="334" y="502"/>
                    </a:lnTo>
                    <a:close/>
                    <a:moveTo>
                      <a:pt x="248" y="304"/>
                    </a:moveTo>
                    <a:lnTo>
                      <a:pt x="248" y="304"/>
                    </a:lnTo>
                    <a:lnTo>
                      <a:pt x="224" y="306"/>
                    </a:lnTo>
                    <a:lnTo>
                      <a:pt x="204" y="310"/>
                    </a:lnTo>
                    <a:lnTo>
                      <a:pt x="186" y="314"/>
                    </a:lnTo>
                    <a:lnTo>
                      <a:pt x="170" y="322"/>
                    </a:lnTo>
                    <a:lnTo>
                      <a:pt x="170" y="322"/>
                    </a:lnTo>
                    <a:lnTo>
                      <a:pt x="162" y="326"/>
                    </a:lnTo>
                    <a:lnTo>
                      <a:pt x="156" y="332"/>
                    </a:lnTo>
                    <a:lnTo>
                      <a:pt x="150" y="340"/>
                    </a:lnTo>
                    <a:lnTo>
                      <a:pt x="146" y="346"/>
                    </a:lnTo>
                    <a:lnTo>
                      <a:pt x="142" y="354"/>
                    </a:lnTo>
                    <a:lnTo>
                      <a:pt x="140" y="364"/>
                    </a:lnTo>
                    <a:lnTo>
                      <a:pt x="138" y="382"/>
                    </a:lnTo>
                    <a:lnTo>
                      <a:pt x="138" y="382"/>
                    </a:lnTo>
                    <a:lnTo>
                      <a:pt x="138" y="400"/>
                    </a:lnTo>
                    <a:lnTo>
                      <a:pt x="142" y="414"/>
                    </a:lnTo>
                    <a:lnTo>
                      <a:pt x="150" y="426"/>
                    </a:lnTo>
                    <a:lnTo>
                      <a:pt x="158" y="438"/>
                    </a:lnTo>
                    <a:lnTo>
                      <a:pt x="170" y="446"/>
                    </a:lnTo>
                    <a:lnTo>
                      <a:pt x="184" y="452"/>
                    </a:lnTo>
                    <a:lnTo>
                      <a:pt x="200" y="456"/>
                    </a:lnTo>
                    <a:lnTo>
                      <a:pt x="216" y="456"/>
                    </a:lnTo>
                    <a:lnTo>
                      <a:pt x="216" y="456"/>
                    </a:lnTo>
                    <a:lnTo>
                      <a:pt x="234" y="456"/>
                    </a:lnTo>
                    <a:lnTo>
                      <a:pt x="252" y="452"/>
                    </a:lnTo>
                    <a:lnTo>
                      <a:pt x="268" y="448"/>
                    </a:lnTo>
                    <a:lnTo>
                      <a:pt x="282" y="442"/>
                    </a:lnTo>
                    <a:lnTo>
                      <a:pt x="304" y="430"/>
                    </a:lnTo>
                    <a:lnTo>
                      <a:pt x="322" y="418"/>
                    </a:lnTo>
                    <a:lnTo>
                      <a:pt x="322" y="302"/>
                    </a:lnTo>
                    <a:lnTo>
                      <a:pt x="248" y="3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 name="Freeform 23"/>
              <p:cNvSpPr>
                <a:spLocks/>
              </p:cNvSpPr>
              <p:nvPr/>
            </p:nvSpPr>
            <p:spPr bwMode="auto">
              <a:xfrm>
                <a:off x="8121536" y="4519372"/>
                <a:ext cx="62089" cy="83892"/>
              </a:xfrm>
              <a:custGeom>
                <a:avLst/>
                <a:gdLst>
                  <a:gd name="T0" fmla="*/ 34 w 598"/>
                  <a:gd name="T1" fmla="*/ 678 h 808"/>
                  <a:gd name="T2" fmla="*/ 34 w 598"/>
                  <a:gd name="T3" fmla="*/ 678 h 808"/>
                  <a:gd name="T4" fmla="*/ 54 w 598"/>
                  <a:gd name="T5" fmla="*/ 688 h 808"/>
                  <a:gd name="T6" fmla="*/ 74 w 598"/>
                  <a:gd name="T7" fmla="*/ 694 h 808"/>
                  <a:gd name="T8" fmla="*/ 94 w 598"/>
                  <a:gd name="T9" fmla="*/ 698 h 808"/>
                  <a:gd name="T10" fmla="*/ 116 w 598"/>
                  <a:gd name="T11" fmla="*/ 700 h 808"/>
                  <a:gd name="T12" fmla="*/ 116 w 598"/>
                  <a:gd name="T13" fmla="*/ 700 h 808"/>
                  <a:gd name="T14" fmla="*/ 138 w 598"/>
                  <a:gd name="T15" fmla="*/ 698 h 808"/>
                  <a:gd name="T16" fmla="*/ 158 w 598"/>
                  <a:gd name="T17" fmla="*/ 692 h 808"/>
                  <a:gd name="T18" fmla="*/ 168 w 598"/>
                  <a:gd name="T19" fmla="*/ 686 h 808"/>
                  <a:gd name="T20" fmla="*/ 178 w 598"/>
                  <a:gd name="T21" fmla="*/ 680 h 808"/>
                  <a:gd name="T22" fmla="*/ 188 w 598"/>
                  <a:gd name="T23" fmla="*/ 672 h 808"/>
                  <a:gd name="T24" fmla="*/ 198 w 598"/>
                  <a:gd name="T25" fmla="*/ 664 h 808"/>
                  <a:gd name="T26" fmla="*/ 216 w 598"/>
                  <a:gd name="T27" fmla="*/ 642 h 808"/>
                  <a:gd name="T28" fmla="*/ 234 w 598"/>
                  <a:gd name="T29" fmla="*/ 612 h 808"/>
                  <a:gd name="T30" fmla="*/ 250 w 598"/>
                  <a:gd name="T31" fmla="*/ 578 h 808"/>
                  <a:gd name="T32" fmla="*/ 266 w 598"/>
                  <a:gd name="T33" fmla="*/ 536 h 808"/>
                  <a:gd name="T34" fmla="*/ 24 w 598"/>
                  <a:gd name="T35" fmla="*/ 0 h 808"/>
                  <a:gd name="T36" fmla="*/ 164 w 598"/>
                  <a:gd name="T37" fmla="*/ 0 h 808"/>
                  <a:gd name="T38" fmla="*/ 328 w 598"/>
                  <a:gd name="T39" fmla="*/ 382 h 808"/>
                  <a:gd name="T40" fmla="*/ 330 w 598"/>
                  <a:gd name="T41" fmla="*/ 382 h 808"/>
                  <a:gd name="T42" fmla="*/ 460 w 598"/>
                  <a:gd name="T43" fmla="*/ 0 h 808"/>
                  <a:gd name="T44" fmla="*/ 598 w 598"/>
                  <a:gd name="T45" fmla="*/ 0 h 808"/>
                  <a:gd name="T46" fmla="*/ 392 w 598"/>
                  <a:gd name="T47" fmla="*/ 556 h 808"/>
                  <a:gd name="T48" fmla="*/ 392 w 598"/>
                  <a:gd name="T49" fmla="*/ 556 h 808"/>
                  <a:gd name="T50" fmla="*/ 376 w 598"/>
                  <a:gd name="T51" fmla="*/ 596 h 808"/>
                  <a:gd name="T52" fmla="*/ 360 w 598"/>
                  <a:gd name="T53" fmla="*/ 632 h 808"/>
                  <a:gd name="T54" fmla="*/ 344 w 598"/>
                  <a:gd name="T55" fmla="*/ 662 h 808"/>
                  <a:gd name="T56" fmla="*/ 326 w 598"/>
                  <a:gd name="T57" fmla="*/ 690 h 808"/>
                  <a:gd name="T58" fmla="*/ 308 w 598"/>
                  <a:gd name="T59" fmla="*/ 714 h 808"/>
                  <a:gd name="T60" fmla="*/ 292 w 598"/>
                  <a:gd name="T61" fmla="*/ 734 h 808"/>
                  <a:gd name="T62" fmla="*/ 274 w 598"/>
                  <a:gd name="T63" fmla="*/ 752 h 808"/>
                  <a:gd name="T64" fmla="*/ 256 w 598"/>
                  <a:gd name="T65" fmla="*/ 766 h 808"/>
                  <a:gd name="T66" fmla="*/ 238 w 598"/>
                  <a:gd name="T67" fmla="*/ 778 h 808"/>
                  <a:gd name="T68" fmla="*/ 220 w 598"/>
                  <a:gd name="T69" fmla="*/ 788 h 808"/>
                  <a:gd name="T70" fmla="*/ 200 w 598"/>
                  <a:gd name="T71" fmla="*/ 796 h 808"/>
                  <a:gd name="T72" fmla="*/ 182 w 598"/>
                  <a:gd name="T73" fmla="*/ 800 h 808"/>
                  <a:gd name="T74" fmla="*/ 164 w 598"/>
                  <a:gd name="T75" fmla="*/ 804 h 808"/>
                  <a:gd name="T76" fmla="*/ 146 w 598"/>
                  <a:gd name="T77" fmla="*/ 808 h 808"/>
                  <a:gd name="T78" fmla="*/ 108 w 598"/>
                  <a:gd name="T79" fmla="*/ 808 h 808"/>
                  <a:gd name="T80" fmla="*/ 108 w 598"/>
                  <a:gd name="T81" fmla="*/ 808 h 808"/>
                  <a:gd name="T82" fmla="*/ 78 w 598"/>
                  <a:gd name="T83" fmla="*/ 808 h 808"/>
                  <a:gd name="T84" fmla="*/ 52 w 598"/>
                  <a:gd name="T85" fmla="*/ 802 h 808"/>
                  <a:gd name="T86" fmla="*/ 26 w 598"/>
                  <a:gd name="T87" fmla="*/ 794 h 808"/>
                  <a:gd name="T88" fmla="*/ 0 w 598"/>
                  <a:gd name="T89" fmla="*/ 784 h 808"/>
                  <a:gd name="T90" fmla="*/ 34 w 598"/>
                  <a:gd name="T91" fmla="*/ 678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98" h="808">
                    <a:moveTo>
                      <a:pt x="34" y="678"/>
                    </a:moveTo>
                    <a:lnTo>
                      <a:pt x="34" y="678"/>
                    </a:lnTo>
                    <a:lnTo>
                      <a:pt x="54" y="688"/>
                    </a:lnTo>
                    <a:lnTo>
                      <a:pt x="74" y="694"/>
                    </a:lnTo>
                    <a:lnTo>
                      <a:pt x="94" y="698"/>
                    </a:lnTo>
                    <a:lnTo>
                      <a:pt x="116" y="700"/>
                    </a:lnTo>
                    <a:lnTo>
                      <a:pt x="116" y="700"/>
                    </a:lnTo>
                    <a:lnTo>
                      <a:pt x="138" y="698"/>
                    </a:lnTo>
                    <a:lnTo>
                      <a:pt x="158" y="692"/>
                    </a:lnTo>
                    <a:lnTo>
                      <a:pt x="168" y="686"/>
                    </a:lnTo>
                    <a:lnTo>
                      <a:pt x="178" y="680"/>
                    </a:lnTo>
                    <a:lnTo>
                      <a:pt x="188" y="672"/>
                    </a:lnTo>
                    <a:lnTo>
                      <a:pt x="198" y="664"/>
                    </a:lnTo>
                    <a:lnTo>
                      <a:pt x="216" y="642"/>
                    </a:lnTo>
                    <a:lnTo>
                      <a:pt x="234" y="612"/>
                    </a:lnTo>
                    <a:lnTo>
                      <a:pt x="250" y="578"/>
                    </a:lnTo>
                    <a:lnTo>
                      <a:pt x="266" y="536"/>
                    </a:lnTo>
                    <a:lnTo>
                      <a:pt x="24" y="0"/>
                    </a:lnTo>
                    <a:lnTo>
                      <a:pt x="164" y="0"/>
                    </a:lnTo>
                    <a:lnTo>
                      <a:pt x="328" y="382"/>
                    </a:lnTo>
                    <a:lnTo>
                      <a:pt x="330" y="382"/>
                    </a:lnTo>
                    <a:lnTo>
                      <a:pt x="460" y="0"/>
                    </a:lnTo>
                    <a:lnTo>
                      <a:pt x="598" y="0"/>
                    </a:lnTo>
                    <a:lnTo>
                      <a:pt x="392" y="556"/>
                    </a:lnTo>
                    <a:lnTo>
                      <a:pt x="392" y="556"/>
                    </a:lnTo>
                    <a:lnTo>
                      <a:pt x="376" y="596"/>
                    </a:lnTo>
                    <a:lnTo>
                      <a:pt x="360" y="632"/>
                    </a:lnTo>
                    <a:lnTo>
                      <a:pt x="344" y="662"/>
                    </a:lnTo>
                    <a:lnTo>
                      <a:pt x="326" y="690"/>
                    </a:lnTo>
                    <a:lnTo>
                      <a:pt x="308" y="714"/>
                    </a:lnTo>
                    <a:lnTo>
                      <a:pt x="292" y="734"/>
                    </a:lnTo>
                    <a:lnTo>
                      <a:pt x="274" y="752"/>
                    </a:lnTo>
                    <a:lnTo>
                      <a:pt x="256" y="766"/>
                    </a:lnTo>
                    <a:lnTo>
                      <a:pt x="238" y="778"/>
                    </a:lnTo>
                    <a:lnTo>
                      <a:pt x="220" y="788"/>
                    </a:lnTo>
                    <a:lnTo>
                      <a:pt x="200" y="796"/>
                    </a:lnTo>
                    <a:lnTo>
                      <a:pt x="182" y="800"/>
                    </a:lnTo>
                    <a:lnTo>
                      <a:pt x="164" y="804"/>
                    </a:lnTo>
                    <a:lnTo>
                      <a:pt x="146" y="808"/>
                    </a:lnTo>
                    <a:lnTo>
                      <a:pt x="108" y="808"/>
                    </a:lnTo>
                    <a:lnTo>
                      <a:pt x="108" y="808"/>
                    </a:lnTo>
                    <a:lnTo>
                      <a:pt x="78" y="808"/>
                    </a:lnTo>
                    <a:lnTo>
                      <a:pt x="52" y="802"/>
                    </a:lnTo>
                    <a:lnTo>
                      <a:pt x="26" y="794"/>
                    </a:lnTo>
                    <a:lnTo>
                      <a:pt x="0" y="784"/>
                    </a:lnTo>
                    <a:lnTo>
                      <a:pt x="34" y="6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 name="Freeform 24"/>
              <p:cNvSpPr>
                <a:spLocks/>
              </p:cNvSpPr>
              <p:nvPr/>
            </p:nvSpPr>
            <p:spPr bwMode="auto">
              <a:xfrm>
                <a:off x="8179056" y="4502136"/>
                <a:ext cx="45269" cy="74340"/>
              </a:xfrm>
              <a:custGeom>
                <a:avLst/>
                <a:gdLst>
                  <a:gd name="T0" fmla="*/ 124 w 436"/>
                  <a:gd name="T1" fmla="*/ 572 h 716"/>
                  <a:gd name="T2" fmla="*/ 124 w 436"/>
                  <a:gd name="T3" fmla="*/ 272 h 716"/>
                  <a:gd name="T4" fmla="*/ 0 w 436"/>
                  <a:gd name="T5" fmla="*/ 272 h 716"/>
                  <a:gd name="T6" fmla="*/ 28 w 436"/>
                  <a:gd name="T7" fmla="*/ 166 h 716"/>
                  <a:gd name="T8" fmla="*/ 124 w 436"/>
                  <a:gd name="T9" fmla="*/ 166 h 716"/>
                  <a:gd name="T10" fmla="*/ 124 w 436"/>
                  <a:gd name="T11" fmla="*/ 40 h 716"/>
                  <a:gd name="T12" fmla="*/ 260 w 436"/>
                  <a:gd name="T13" fmla="*/ 0 h 716"/>
                  <a:gd name="T14" fmla="*/ 260 w 436"/>
                  <a:gd name="T15" fmla="*/ 166 h 716"/>
                  <a:gd name="T16" fmla="*/ 424 w 436"/>
                  <a:gd name="T17" fmla="*/ 166 h 716"/>
                  <a:gd name="T18" fmla="*/ 390 w 436"/>
                  <a:gd name="T19" fmla="*/ 272 h 716"/>
                  <a:gd name="T20" fmla="*/ 260 w 436"/>
                  <a:gd name="T21" fmla="*/ 272 h 716"/>
                  <a:gd name="T22" fmla="*/ 260 w 436"/>
                  <a:gd name="T23" fmla="*/ 538 h 716"/>
                  <a:gd name="T24" fmla="*/ 260 w 436"/>
                  <a:gd name="T25" fmla="*/ 538 h 716"/>
                  <a:gd name="T26" fmla="*/ 262 w 436"/>
                  <a:gd name="T27" fmla="*/ 556 h 716"/>
                  <a:gd name="T28" fmla="*/ 264 w 436"/>
                  <a:gd name="T29" fmla="*/ 570 h 716"/>
                  <a:gd name="T30" fmla="*/ 268 w 436"/>
                  <a:gd name="T31" fmla="*/ 582 h 716"/>
                  <a:gd name="T32" fmla="*/ 274 w 436"/>
                  <a:gd name="T33" fmla="*/ 592 h 716"/>
                  <a:gd name="T34" fmla="*/ 280 w 436"/>
                  <a:gd name="T35" fmla="*/ 598 h 716"/>
                  <a:gd name="T36" fmla="*/ 290 w 436"/>
                  <a:gd name="T37" fmla="*/ 604 h 716"/>
                  <a:gd name="T38" fmla="*/ 300 w 436"/>
                  <a:gd name="T39" fmla="*/ 606 h 716"/>
                  <a:gd name="T40" fmla="*/ 312 w 436"/>
                  <a:gd name="T41" fmla="*/ 606 h 716"/>
                  <a:gd name="T42" fmla="*/ 312 w 436"/>
                  <a:gd name="T43" fmla="*/ 606 h 716"/>
                  <a:gd name="T44" fmla="*/ 336 w 436"/>
                  <a:gd name="T45" fmla="*/ 604 h 716"/>
                  <a:gd name="T46" fmla="*/ 358 w 436"/>
                  <a:gd name="T47" fmla="*/ 598 h 716"/>
                  <a:gd name="T48" fmla="*/ 378 w 436"/>
                  <a:gd name="T49" fmla="*/ 590 h 716"/>
                  <a:gd name="T50" fmla="*/ 394 w 436"/>
                  <a:gd name="T51" fmla="*/ 580 h 716"/>
                  <a:gd name="T52" fmla="*/ 436 w 436"/>
                  <a:gd name="T53" fmla="*/ 674 h 716"/>
                  <a:gd name="T54" fmla="*/ 436 w 436"/>
                  <a:gd name="T55" fmla="*/ 674 h 716"/>
                  <a:gd name="T56" fmla="*/ 420 w 436"/>
                  <a:gd name="T57" fmla="*/ 684 h 716"/>
                  <a:gd name="T58" fmla="*/ 402 w 436"/>
                  <a:gd name="T59" fmla="*/ 692 h 716"/>
                  <a:gd name="T60" fmla="*/ 384 w 436"/>
                  <a:gd name="T61" fmla="*/ 698 h 716"/>
                  <a:gd name="T62" fmla="*/ 362 w 436"/>
                  <a:gd name="T63" fmla="*/ 704 h 716"/>
                  <a:gd name="T64" fmla="*/ 342 w 436"/>
                  <a:gd name="T65" fmla="*/ 710 h 716"/>
                  <a:gd name="T66" fmla="*/ 320 w 436"/>
                  <a:gd name="T67" fmla="*/ 714 h 716"/>
                  <a:gd name="T68" fmla="*/ 300 w 436"/>
                  <a:gd name="T69" fmla="*/ 716 h 716"/>
                  <a:gd name="T70" fmla="*/ 278 w 436"/>
                  <a:gd name="T71" fmla="*/ 716 h 716"/>
                  <a:gd name="T72" fmla="*/ 278 w 436"/>
                  <a:gd name="T73" fmla="*/ 716 h 716"/>
                  <a:gd name="T74" fmla="*/ 260 w 436"/>
                  <a:gd name="T75" fmla="*/ 716 h 716"/>
                  <a:gd name="T76" fmla="*/ 244 w 436"/>
                  <a:gd name="T77" fmla="*/ 714 h 716"/>
                  <a:gd name="T78" fmla="*/ 228 w 436"/>
                  <a:gd name="T79" fmla="*/ 710 h 716"/>
                  <a:gd name="T80" fmla="*/ 214 w 436"/>
                  <a:gd name="T81" fmla="*/ 706 h 716"/>
                  <a:gd name="T82" fmla="*/ 200 w 436"/>
                  <a:gd name="T83" fmla="*/ 700 h 716"/>
                  <a:gd name="T84" fmla="*/ 188 w 436"/>
                  <a:gd name="T85" fmla="*/ 694 h 716"/>
                  <a:gd name="T86" fmla="*/ 176 w 436"/>
                  <a:gd name="T87" fmla="*/ 686 h 716"/>
                  <a:gd name="T88" fmla="*/ 166 w 436"/>
                  <a:gd name="T89" fmla="*/ 678 h 716"/>
                  <a:gd name="T90" fmla="*/ 156 w 436"/>
                  <a:gd name="T91" fmla="*/ 668 h 716"/>
                  <a:gd name="T92" fmla="*/ 148 w 436"/>
                  <a:gd name="T93" fmla="*/ 656 h 716"/>
                  <a:gd name="T94" fmla="*/ 142 w 436"/>
                  <a:gd name="T95" fmla="*/ 644 h 716"/>
                  <a:gd name="T96" fmla="*/ 136 w 436"/>
                  <a:gd name="T97" fmla="*/ 632 h 716"/>
                  <a:gd name="T98" fmla="*/ 130 w 436"/>
                  <a:gd name="T99" fmla="*/ 618 h 716"/>
                  <a:gd name="T100" fmla="*/ 128 w 436"/>
                  <a:gd name="T101" fmla="*/ 604 h 716"/>
                  <a:gd name="T102" fmla="*/ 126 w 436"/>
                  <a:gd name="T103" fmla="*/ 588 h 716"/>
                  <a:gd name="T104" fmla="*/ 124 w 436"/>
                  <a:gd name="T105" fmla="*/ 572 h 716"/>
                  <a:gd name="T106" fmla="*/ 124 w 436"/>
                  <a:gd name="T107" fmla="*/ 57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6" h="716">
                    <a:moveTo>
                      <a:pt x="124" y="572"/>
                    </a:moveTo>
                    <a:lnTo>
                      <a:pt x="124" y="272"/>
                    </a:lnTo>
                    <a:lnTo>
                      <a:pt x="0" y="272"/>
                    </a:lnTo>
                    <a:lnTo>
                      <a:pt x="28" y="166"/>
                    </a:lnTo>
                    <a:lnTo>
                      <a:pt x="124" y="166"/>
                    </a:lnTo>
                    <a:lnTo>
                      <a:pt x="124" y="40"/>
                    </a:lnTo>
                    <a:lnTo>
                      <a:pt x="260" y="0"/>
                    </a:lnTo>
                    <a:lnTo>
                      <a:pt x="260" y="166"/>
                    </a:lnTo>
                    <a:lnTo>
                      <a:pt x="424" y="166"/>
                    </a:lnTo>
                    <a:lnTo>
                      <a:pt x="390" y="272"/>
                    </a:lnTo>
                    <a:lnTo>
                      <a:pt x="260" y="272"/>
                    </a:lnTo>
                    <a:lnTo>
                      <a:pt x="260" y="538"/>
                    </a:lnTo>
                    <a:lnTo>
                      <a:pt x="260" y="538"/>
                    </a:lnTo>
                    <a:lnTo>
                      <a:pt x="262" y="556"/>
                    </a:lnTo>
                    <a:lnTo>
                      <a:pt x="264" y="570"/>
                    </a:lnTo>
                    <a:lnTo>
                      <a:pt x="268" y="582"/>
                    </a:lnTo>
                    <a:lnTo>
                      <a:pt x="274" y="592"/>
                    </a:lnTo>
                    <a:lnTo>
                      <a:pt x="280" y="598"/>
                    </a:lnTo>
                    <a:lnTo>
                      <a:pt x="290" y="604"/>
                    </a:lnTo>
                    <a:lnTo>
                      <a:pt x="300" y="606"/>
                    </a:lnTo>
                    <a:lnTo>
                      <a:pt x="312" y="606"/>
                    </a:lnTo>
                    <a:lnTo>
                      <a:pt x="312" y="606"/>
                    </a:lnTo>
                    <a:lnTo>
                      <a:pt x="336" y="604"/>
                    </a:lnTo>
                    <a:lnTo>
                      <a:pt x="358" y="598"/>
                    </a:lnTo>
                    <a:lnTo>
                      <a:pt x="378" y="590"/>
                    </a:lnTo>
                    <a:lnTo>
                      <a:pt x="394" y="580"/>
                    </a:lnTo>
                    <a:lnTo>
                      <a:pt x="436" y="674"/>
                    </a:lnTo>
                    <a:lnTo>
                      <a:pt x="436" y="674"/>
                    </a:lnTo>
                    <a:lnTo>
                      <a:pt x="420" y="684"/>
                    </a:lnTo>
                    <a:lnTo>
                      <a:pt x="402" y="692"/>
                    </a:lnTo>
                    <a:lnTo>
                      <a:pt x="384" y="698"/>
                    </a:lnTo>
                    <a:lnTo>
                      <a:pt x="362" y="704"/>
                    </a:lnTo>
                    <a:lnTo>
                      <a:pt x="342" y="710"/>
                    </a:lnTo>
                    <a:lnTo>
                      <a:pt x="320" y="714"/>
                    </a:lnTo>
                    <a:lnTo>
                      <a:pt x="300" y="716"/>
                    </a:lnTo>
                    <a:lnTo>
                      <a:pt x="278" y="716"/>
                    </a:lnTo>
                    <a:lnTo>
                      <a:pt x="278" y="716"/>
                    </a:lnTo>
                    <a:lnTo>
                      <a:pt x="260" y="716"/>
                    </a:lnTo>
                    <a:lnTo>
                      <a:pt x="244" y="714"/>
                    </a:lnTo>
                    <a:lnTo>
                      <a:pt x="228" y="710"/>
                    </a:lnTo>
                    <a:lnTo>
                      <a:pt x="214" y="706"/>
                    </a:lnTo>
                    <a:lnTo>
                      <a:pt x="200" y="700"/>
                    </a:lnTo>
                    <a:lnTo>
                      <a:pt x="188" y="694"/>
                    </a:lnTo>
                    <a:lnTo>
                      <a:pt x="176" y="686"/>
                    </a:lnTo>
                    <a:lnTo>
                      <a:pt x="166" y="678"/>
                    </a:lnTo>
                    <a:lnTo>
                      <a:pt x="156" y="668"/>
                    </a:lnTo>
                    <a:lnTo>
                      <a:pt x="148" y="656"/>
                    </a:lnTo>
                    <a:lnTo>
                      <a:pt x="142" y="644"/>
                    </a:lnTo>
                    <a:lnTo>
                      <a:pt x="136" y="632"/>
                    </a:lnTo>
                    <a:lnTo>
                      <a:pt x="130" y="618"/>
                    </a:lnTo>
                    <a:lnTo>
                      <a:pt x="128" y="604"/>
                    </a:lnTo>
                    <a:lnTo>
                      <a:pt x="126" y="588"/>
                    </a:lnTo>
                    <a:lnTo>
                      <a:pt x="124" y="572"/>
                    </a:lnTo>
                    <a:lnTo>
                      <a:pt x="124" y="5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 name="Freeform 25"/>
              <p:cNvSpPr>
                <a:spLocks/>
              </p:cNvSpPr>
              <p:nvPr/>
            </p:nvSpPr>
            <p:spPr bwMode="auto">
              <a:xfrm>
                <a:off x="8254227" y="4517918"/>
                <a:ext cx="47345" cy="58558"/>
              </a:xfrm>
              <a:custGeom>
                <a:avLst/>
                <a:gdLst>
                  <a:gd name="T0" fmla="*/ 0 w 456"/>
                  <a:gd name="T1" fmla="*/ 288 h 564"/>
                  <a:gd name="T2" fmla="*/ 4 w 456"/>
                  <a:gd name="T3" fmla="*/ 226 h 564"/>
                  <a:gd name="T4" fmla="*/ 22 w 456"/>
                  <a:gd name="T5" fmla="*/ 172 h 564"/>
                  <a:gd name="T6" fmla="*/ 48 w 456"/>
                  <a:gd name="T7" fmla="*/ 122 h 564"/>
                  <a:gd name="T8" fmla="*/ 82 w 456"/>
                  <a:gd name="T9" fmla="*/ 80 h 564"/>
                  <a:gd name="T10" fmla="*/ 124 w 456"/>
                  <a:gd name="T11" fmla="*/ 46 h 564"/>
                  <a:gd name="T12" fmla="*/ 172 w 456"/>
                  <a:gd name="T13" fmla="*/ 22 h 564"/>
                  <a:gd name="T14" fmla="*/ 226 w 456"/>
                  <a:gd name="T15" fmla="*/ 6 h 564"/>
                  <a:gd name="T16" fmla="*/ 284 w 456"/>
                  <a:gd name="T17" fmla="*/ 0 h 564"/>
                  <a:gd name="T18" fmla="*/ 308 w 456"/>
                  <a:gd name="T19" fmla="*/ 0 h 564"/>
                  <a:gd name="T20" fmla="*/ 352 w 456"/>
                  <a:gd name="T21" fmla="*/ 6 h 564"/>
                  <a:gd name="T22" fmla="*/ 388 w 456"/>
                  <a:gd name="T23" fmla="*/ 16 h 564"/>
                  <a:gd name="T24" fmla="*/ 428 w 456"/>
                  <a:gd name="T25" fmla="*/ 36 h 564"/>
                  <a:gd name="T26" fmla="*/ 428 w 456"/>
                  <a:gd name="T27" fmla="*/ 152 h 564"/>
                  <a:gd name="T28" fmla="*/ 400 w 456"/>
                  <a:gd name="T29" fmla="*/ 134 h 564"/>
                  <a:gd name="T30" fmla="*/ 368 w 456"/>
                  <a:gd name="T31" fmla="*/ 120 h 564"/>
                  <a:gd name="T32" fmla="*/ 336 w 456"/>
                  <a:gd name="T33" fmla="*/ 112 h 564"/>
                  <a:gd name="T34" fmla="*/ 298 w 456"/>
                  <a:gd name="T35" fmla="*/ 110 h 564"/>
                  <a:gd name="T36" fmla="*/ 280 w 456"/>
                  <a:gd name="T37" fmla="*/ 110 h 564"/>
                  <a:gd name="T38" fmla="*/ 246 w 456"/>
                  <a:gd name="T39" fmla="*/ 118 h 564"/>
                  <a:gd name="T40" fmla="*/ 216 w 456"/>
                  <a:gd name="T41" fmla="*/ 130 h 564"/>
                  <a:gd name="T42" fmla="*/ 192 w 456"/>
                  <a:gd name="T43" fmla="*/ 148 h 564"/>
                  <a:gd name="T44" fmla="*/ 170 w 456"/>
                  <a:gd name="T45" fmla="*/ 172 h 564"/>
                  <a:gd name="T46" fmla="*/ 156 w 456"/>
                  <a:gd name="T47" fmla="*/ 200 h 564"/>
                  <a:gd name="T48" fmla="*/ 144 w 456"/>
                  <a:gd name="T49" fmla="*/ 230 h 564"/>
                  <a:gd name="T50" fmla="*/ 140 w 456"/>
                  <a:gd name="T51" fmla="*/ 266 h 564"/>
                  <a:gd name="T52" fmla="*/ 138 w 456"/>
                  <a:gd name="T53" fmla="*/ 284 h 564"/>
                  <a:gd name="T54" fmla="*/ 142 w 456"/>
                  <a:gd name="T55" fmla="*/ 322 h 564"/>
                  <a:gd name="T56" fmla="*/ 150 w 456"/>
                  <a:gd name="T57" fmla="*/ 358 h 564"/>
                  <a:gd name="T58" fmla="*/ 162 w 456"/>
                  <a:gd name="T59" fmla="*/ 386 h 564"/>
                  <a:gd name="T60" fmla="*/ 180 w 456"/>
                  <a:gd name="T61" fmla="*/ 410 h 564"/>
                  <a:gd name="T62" fmla="*/ 202 w 456"/>
                  <a:gd name="T63" fmla="*/ 430 h 564"/>
                  <a:gd name="T64" fmla="*/ 228 w 456"/>
                  <a:gd name="T65" fmla="*/ 444 h 564"/>
                  <a:gd name="T66" fmla="*/ 258 w 456"/>
                  <a:gd name="T67" fmla="*/ 452 h 564"/>
                  <a:gd name="T68" fmla="*/ 292 w 456"/>
                  <a:gd name="T69" fmla="*/ 454 h 564"/>
                  <a:gd name="T70" fmla="*/ 310 w 456"/>
                  <a:gd name="T71" fmla="*/ 454 h 564"/>
                  <a:gd name="T72" fmla="*/ 342 w 456"/>
                  <a:gd name="T73" fmla="*/ 448 h 564"/>
                  <a:gd name="T74" fmla="*/ 388 w 456"/>
                  <a:gd name="T75" fmla="*/ 432 h 564"/>
                  <a:gd name="T76" fmla="*/ 456 w 456"/>
                  <a:gd name="T77" fmla="*/ 512 h 564"/>
                  <a:gd name="T78" fmla="*/ 438 w 456"/>
                  <a:gd name="T79" fmla="*/ 522 h 564"/>
                  <a:gd name="T80" fmla="*/ 398 w 456"/>
                  <a:gd name="T81" fmla="*/ 542 h 564"/>
                  <a:gd name="T82" fmla="*/ 352 w 456"/>
                  <a:gd name="T83" fmla="*/ 556 h 564"/>
                  <a:gd name="T84" fmla="*/ 300 w 456"/>
                  <a:gd name="T85" fmla="*/ 564 h 564"/>
                  <a:gd name="T86" fmla="*/ 272 w 456"/>
                  <a:gd name="T87" fmla="*/ 564 h 564"/>
                  <a:gd name="T88" fmla="*/ 210 w 456"/>
                  <a:gd name="T89" fmla="*/ 558 h 564"/>
                  <a:gd name="T90" fmla="*/ 156 w 456"/>
                  <a:gd name="T91" fmla="*/ 542 h 564"/>
                  <a:gd name="T92" fmla="*/ 108 w 456"/>
                  <a:gd name="T93" fmla="*/ 518 h 564"/>
                  <a:gd name="T94" fmla="*/ 70 w 456"/>
                  <a:gd name="T95" fmla="*/ 484 h 564"/>
                  <a:gd name="T96" fmla="*/ 40 w 456"/>
                  <a:gd name="T97" fmla="*/ 444 h 564"/>
                  <a:gd name="T98" fmla="*/ 18 w 456"/>
                  <a:gd name="T99" fmla="*/ 396 h 564"/>
                  <a:gd name="T100" fmla="*/ 4 w 456"/>
                  <a:gd name="T101" fmla="*/ 344 h 564"/>
                  <a:gd name="T102" fmla="*/ 0 w 456"/>
                  <a:gd name="T103" fmla="*/ 288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56" h="564">
                    <a:moveTo>
                      <a:pt x="0" y="288"/>
                    </a:moveTo>
                    <a:lnTo>
                      <a:pt x="0" y="288"/>
                    </a:lnTo>
                    <a:lnTo>
                      <a:pt x="0" y="256"/>
                    </a:lnTo>
                    <a:lnTo>
                      <a:pt x="4" y="226"/>
                    </a:lnTo>
                    <a:lnTo>
                      <a:pt x="12" y="198"/>
                    </a:lnTo>
                    <a:lnTo>
                      <a:pt x="22" y="172"/>
                    </a:lnTo>
                    <a:lnTo>
                      <a:pt x="32" y="146"/>
                    </a:lnTo>
                    <a:lnTo>
                      <a:pt x="48" y="122"/>
                    </a:lnTo>
                    <a:lnTo>
                      <a:pt x="64" y="100"/>
                    </a:lnTo>
                    <a:lnTo>
                      <a:pt x="82" y="80"/>
                    </a:lnTo>
                    <a:lnTo>
                      <a:pt x="102" y="62"/>
                    </a:lnTo>
                    <a:lnTo>
                      <a:pt x="124" y="46"/>
                    </a:lnTo>
                    <a:lnTo>
                      <a:pt x="146" y="32"/>
                    </a:lnTo>
                    <a:lnTo>
                      <a:pt x="172" y="22"/>
                    </a:lnTo>
                    <a:lnTo>
                      <a:pt x="198" y="12"/>
                    </a:lnTo>
                    <a:lnTo>
                      <a:pt x="226" y="6"/>
                    </a:lnTo>
                    <a:lnTo>
                      <a:pt x="254" y="2"/>
                    </a:lnTo>
                    <a:lnTo>
                      <a:pt x="284" y="0"/>
                    </a:lnTo>
                    <a:lnTo>
                      <a:pt x="284" y="0"/>
                    </a:lnTo>
                    <a:lnTo>
                      <a:pt x="308" y="0"/>
                    </a:lnTo>
                    <a:lnTo>
                      <a:pt x="332" y="4"/>
                    </a:lnTo>
                    <a:lnTo>
                      <a:pt x="352" y="6"/>
                    </a:lnTo>
                    <a:lnTo>
                      <a:pt x="372" y="12"/>
                    </a:lnTo>
                    <a:lnTo>
                      <a:pt x="388" y="16"/>
                    </a:lnTo>
                    <a:lnTo>
                      <a:pt x="404" y="24"/>
                    </a:lnTo>
                    <a:lnTo>
                      <a:pt x="428" y="36"/>
                    </a:lnTo>
                    <a:lnTo>
                      <a:pt x="428" y="152"/>
                    </a:lnTo>
                    <a:lnTo>
                      <a:pt x="428" y="152"/>
                    </a:lnTo>
                    <a:lnTo>
                      <a:pt x="414" y="142"/>
                    </a:lnTo>
                    <a:lnTo>
                      <a:pt x="400" y="134"/>
                    </a:lnTo>
                    <a:lnTo>
                      <a:pt x="384" y="126"/>
                    </a:lnTo>
                    <a:lnTo>
                      <a:pt x="368" y="120"/>
                    </a:lnTo>
                    <a:lnTo>
                      <a:pt x="352" y="116"/>
                    </a:lnTo>
                    <a:lnTo>
                      <a:pt x="336" y="112"/>
                    </a:lnTo>
                    <a:lnTo>
                      <a:pt x="316" y="110"/>
                    </a:lnTo>
                    <a:lnTo>
                      <a:pt x="298" y="110"/>
                    </a:lnTo>
                    <a:lnTo>
                      <a:pt x="298" y="110"/>
                    </a:lnTo>
                    <a:lnTo>
                      <a:pt x="280" y="110"/>
                    </a:lnTo>
                    <a:lnTo>
                      <a:pt x="262" y="112"/>
                    </a:lnTo>
                    <a:lnTo>
                      <a:pt x="246" y="118"/>
                    </a:lnTo>
                    <a:lnTo>
                      <a:pt x="230" y="122"/>
                    </a:lnTo>
                    <a:lnTo>
                      <a:pt x="216" y="130"/>
                    </a:lnTo>
                    <a:lnTo>
                      <a:pt x="204" y="138"/>
                    </a:lnTo>
                    <a:lnTo>
                      <a:pt x="192" y="148"/>
                    </a:lnTo>
                    <a:lnTo>
                      <a:pt x="180" y="160"/>
                    </a:lnTo>
                    <a:lnTo>
                      <a:pt x="170" y="172"/>
                    </a:lnTo>
                    <a:lnTo>
                      <a:pt x="162" y="186"/>
                    </a:lnTo>
                    <a:lnTo>
                      <a:pt x="156" y="200"/>
                    </a:lnTo>
                    <a:lnTo>
                      <a:pt x="150" y="214"/>
                    </a:lnTo>
                    <a:lnTo>
                      <a:pt x="144" y="230"/>
                    </a:lnTo>
                    <a:lnTo>
                      <a:pt x="142" y="248"/>
                    </a:lnTo>
                    <a:lnTo>
                      <a:pt x="140" y="266"/>
                    </a:lnTo>
                    <a:lnTo>
                      <a:pt x="138" y="284"/>
                    </a:lnTo>
                    <a:lnTo>
                      <a:pt x="138" y="284"/>
                    </a:lnTo>
                    <a:lnTo>
                      <a:pt x="140" y="304"/>
                    </a:lnTo>
                    <a:lnTo>
                      <a:pt x="142" y="322"/>
                    </a:lnTo>
                    <a:lnTo>
                      <a:pt x="144" y="340"/>
                    </a:lnTo>
                    <a:lnTo>
                      <a:pt x="150" y="358"/>
                    </a:lnTo>
                    <a:lnTo>
                      <a:pt x="156" y="372"/>
                    </a:lnTo>
                    <a:lnTo>
                      <a:pt x="162" y="386"/>
                    </a:lnTo>
                    <a:lnTo>
                      <a:pt x="170" y="400"/>
                    </a:lnTo>
                    <a:lnTo>
                      <a:pt x="180" y="410"/>
                    </a:lnTo>
                    <a:lnTo>
                      <a:pt x="190" y="420"/>
                    </a:lnTo>
                    <a:lnTo>
                      <a:pt x="202" y="430"/>
                    </a:lnTo>
                    <a:lnTo>
                      <a:pt x="214" y="438"/>
                    </a:lnTo>
                    <a:lnTo>
                      <a:pt x="228" y="444"/>
                    </a:lnTo>
                    <a:lnTo>
                      <a:pt x="242" y="448"/>
                    </a:lnTo>
                    <a:lnTo>
                      <a:pt x="258" y="452"/>
                    </a:lnTo>
                    <a:lnTo>
                      <a:pt x="274" y="454"/>
                    </a:lnTo>
                    <a:lnTo>
                      <a:pt x="292" y="454"/>
                    </a:lnTo>
                    <a:lnTo>
                      <a:pt x="292" y="454"/>
                    </a:lnTo>
                    <a:lnTo>
                      <a:pt x="310" y="454"/>
                    </a:lnTo>
                    <a:lnTo>
                      <a:pt x="326" y="452"/>
                    </a:lnTo>
                    <a:lnTo>
                      <a:pt x="342" y="448"/>
                    </a:lnTo>
                    <a:lnTo>
                      <a:pt x="358" y="444"/>
                    </a:lnTo>
                    <a:lnTo>
                      <a:pt x="388" y="432"/>
                    </a:lnTo>
                    <a:lnTo>
                      <a:pt x="416" y="418"/>
                    </a:lnTo>
                    <a:lnTo>
                      <a:pt x="456" y="512"/>
                    </a:lnTo>
                    <a:lnTo>
                      <a:pt x="456" y="512"/>
                    </a:lnTo>
                    <a:lnTo>
                      <a:pt x="438" y="522"/>
                    </a:lnTo>
                    <a:lnTo>
                      <a:pt x="420" y="532"/>
                    </a:lnTo>
                    <a:lnTo>
                      <a:pt x="398" y="542"/>
                    </a:lnTo>
                    <a:lnTo>
                      <a:pt x="376" y="550"/>
                    </a:lnTo>
                    <a:lnTo>
                      <a:pt x="352" y="556"/>
                    </a:lnTo>
                    <a:lnTo>
                      <a:pt x="326" y="560"/>
                    </a:lnTo>
                    <a:lnTo>
                      <a:pt x="300" y="564"/>
                    </a:lnTo>
                    <a:lnTo>
                      <a:pt x="272" y="564"/>
                    </a:lnTo>
                    <a:lnTo>
                      <a:pt x="272" y="564"/>
                    </a:lnTo>
                    <a:lnTo>
                      <a:pt x="240" y="562"/>
                    </a:lnTo>
                    <a:lnTo>
                      <a:pt x="210" y="558"/>
                    </a:lnTo>
                    <a:lnTo>
                      <a:pt x="182" y="552"/>
                    </a:lnTo>
                    <a:lnTo>
                      <a:pt x="156" y="542"/>
                    </a:lnTo>
                    <a:lnTo>
                      <a:pt x="130" y="532"/>
                    </a:lnTo>
                    <a:lnTo>
                      <a:pt x="108" y="518"/>
                    </a:lnTo>
                    <a:lnTo>
                      <a:pt x="88" y="502"/>
                    </a:lnTo>
                    <a:lnTo>
                      <a:pt x="70" y="484"/>
                    </a:lnTo>
                    <a:lnTo>
                      <a:pt x="54" y="464"/>
                    </a:lnTo>
                    <a:lnTo>
                      <a:pt x="40" y="444"/>
                    </a:lnTo>
                    <a:lnTo>
                      <a:pt x="28" y="420"/>
                    </a:lnTo>
                    <a:lnTo>
                      <a:pt x="18" y="396"/>
                    </a:lnTo>
                    <a:lnTo>
                      <a:pt x="10" y="370"/>
                    </a:lnTo>
                    <a:lnTo>
                      <a:pt x="4" y="344"/>
                    </a:lnTo>
                    <a:lnTo>
                      <a:pt x="0" y="316"/>
                    </a:lnTo>
                    <a:lnTo>
                      <a:pt x="0" y="288"/>
                    </a:lnTo>
                    <a:lnTo>
                      <a:pt x="0"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5" name="Freeform 26"/>
              <p:cNvSpPr>
                <a:spLocks/>
              </p:cNvSpPr>
              <p:nvPr/>
            </p:nvSpPr>
            <p:spPr bwMode="auto">
              <a:xfrm>
                <a:off x="8304894" y="4517918"/>
                <a:ext cx="43400" cy="58558"/>
              </a:xfrm>
              <a:custGeom>
                <a:avLst/>
                <a:gdLst>
                  <a:gd name="T0" fmla="*/ 58 w 418"/>
                  <a:gd name="T1" fmla="*/ 422 h 564"/>
                  <a:gd name="T2" fmla="*/ 112 w 418"/>
                  <a:gd name="T3" fmla="*/ 444 h 564"/>
                  <a:gd name="T4" fmla="*/ 170 w 418"/>
                  <a:gd name="T5" fmla="*/ 456 h 564"/>
                  <a:gd name="T6" fmla="*/ 210 w 418"/>
                  <a:gd name="T7" fmla="*/ 456 h 564"/>
                  <a:gd name="T8" fmla="*/ 258 w 418"/>
                  <a:gd name="T9" fmla="*/ 444 h 564"/>
                  <a:gd name="T10" fmla="*/ 282 w 418"/>
                  <a:gd name="T11" fmla="*/ 414 h 564"/>
                  <a:gd name="T12" fmla="*/ 284 w 418"/>
                  <a:gd name="T13" fmla="*/ 392 h 564"/>
                  <a:gd name="T14" fmla="*/ 274 w 418"/>
                  <a:gd name="T15" fmla="*/ 372 h 564"/>
                  <a:gd name="T16" fmla="*/ 226 w 418"/>
                  <a:gd name="T17" fmla="*/ 340 h 564"/>
                  <a:gd name="T18" fmla="*/ 134 w 418"/>
                  <a:gd name="T19" fmla="*/ 304 h 564"/>
                  <a:gd name="T20" fmla="*/ 72 w 418"/>
                  <a:gd name="T21" fmla="*/ 264 h 564"/>
                  <a:gd name="T22" fmla="*/ 48 w 418"/>
                  <a:gd name="T23" fmla="*/ 232 h 564"/>
                  <a:gd name="T24" fmla="*/ 34 w 418"/>
                  <a:gd name="T25" fmla="*/ 194 h 564"/>
                  <a:gd name="T26" fmla="*/ 32 w 418"/>
                  <a:gd name="T27" fmla="*/ 162 h 564"/>
                  <a:gd name="T28" fmla="*/ 40 w 418"/>
                  <a:gd name="T29" fmla="*/ 112 h 564"/>
                  <a:gd name="T30" fmla="*/ 62 w 418"/>
                  <a:gd name="T31" fmla="*/ 70 h 564"/>
                  <a:gd name="T32" fmla="*/ 100 w 418"/>
                  <a:gd name="T33" fmla="*/ 36 h 564"/>
                  <a:gd name="T34" fmla="*/ 150 w 418"/>
                  <a:gd name="T35" fmla="*/ 12 h 564"/>
                  <a:gd name="T36" fmla="*/ 212 w 418"/>
                  <a:gd name="T37" fmla="*/ 0 h 564"/>
                  <a:gd name="T38" fmla="*/ 280 w 418"/>
                  <a:gd name="T39" fmla="*/ 2 h 564"/>
                  <a:gd name="T40" fmla="*/ 394 w 418"/>
                  <a:gd name="T41" fmla="*/ 26 h 564"/>
                  <a:gd name="T42" fmla="*/ 358 w 418"/>
                  <a:gd name="T43" fmla="*/ 128 h 564"/>
                  <a:gd name="T44" fmla="*/ 262 w 418"/>
                  <a:gd name="T45" fmla="*/ 108 h 564"/>
                  <a:gd name="T46" fmla="*/ 224 w 418"/>
                  <a:gd name="T47" fmla="*/ 108 h 564"/>
                  <a:gd name="T48" fmla="*/ 186 w 418"/>
                  <a:gd name="T49" fmla="*/ 118 h 564"/>
                  <a:gd name="T50" fmla="*/ 166 w 418"/>
                  <a:gd name="T51" fmla="*/ 144 h 564"/>
                  <a:gd name="T52" fmla="*/ 166 w 418"/>
                  <a:gd name="T53" fmla="*/ 164 h 564"/>
                  <a:gd name="T54" fmla="*/ 176 w 418"/>
                  <a:gd name="T55" fmla="*/ 184 h 564"/>
                  <a:gd name="T56" fmla="*/ 224 w 418"/>
                  <a:gd name="T57" fmla="*/ 212 h 564"/>
                  <a:gd name="T58" fmla="*/ 314 w 418"/>
                  <a:gd name="T59" fmla="*/ 248 h 564"/>
                  <a:gd name="T60" fmla="*/ 378 w 418"/>
                  <a:gd name="T61" fmla="*/ 292 h 564"/>
                  <a:gd name="T62" fmla="*/ 402 w 418"/>
                  <a:gd name="T63" fmla="*/ 324 h 564"/>
                  <a:gd name="T64" fmla="*/ 414 w 418"/>
                  <a:gd name="T65" fmla="*/ 364 h 564"/>
                  <a:gd name="T66" fmla="*/ 418 w 418"/>
                  <a:gd name="T67" fmla="*/ 396 h 564"/>
                  <a:gd name="T68" fmla="*/ 408 w 418"/>
                  <a:gd name="T69" fmla="*/ 456 h 564"/>
                  <a:gd name="T70" fmla="*/ 380 w 418"/>
                  <a:gd name="T71" fmla="*/ 502 h 564"/>
                  <a:gd name="T72" fmla="*/ 336 w 418"/>
                  <a:gd name="T73" fmla="*/ 534 h 564"/>
                  <a:gd name="T74" fmla="*/ 282 w 418"/>
                  <a:gd name="T75" fmla="*/ 554 h 564"/>
                  <a:gd name="T76" fmla="*/ 220 w 418"/>
                  <a:gd name="T77" fmla="*/ 564 h 564"/>
                  <a:gd name="T78" fmla="*/ 168 w 418"/>
                  <a:gd name="T79" fmla="*/ 562 h 564"/>
                  <a:gd name="T80" fmla="*/ 84 w 418"/>
                  <a:gd name="T81" fmla="*/ 548 h 564"/>
                  <a:gd name="T82" fmla="*/ 18 w 418"/>
                  <a:gd name="T83" fmla="*/ 522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8" h="564">
                    <a:moveTo>
                      <a:pt x="42" y="412"/>
                    </a:moveTo>
                    <a:lnTo>
                      <a:pt x="42" y="412"/>
                    </a:lnTo>
                    <a:lnTo>
                      <a:pt x="58" y="422"/>
                    </a:lnTo>
                    <a:lnTo>
                      <a:pt x="76" y="430"/>
                    </a:lnTo>
                    <a:lnTo>
                      <a:pt x="94" y="438"/>
                    </a:lnTo>
                    <a:lnTo>
                      <a:pt x="112" y="444"/>
                    </a:lnTo>
                    <a:lnTo>
                      <a:pt x="130" y="450"/>
                    </a:lnTo>
                    <a:lnTo>
                      <a:pt x="150" y="454"/>
                    </a:lnTo>
                    <a:lnTo>
                      <a:pt x="170" y="456"/>
                    </a:lnTo>
                    <a:lnTo>
                      <a:pt x="190" y="456"/>
                    </a:lnTo>
                    <a:lnTo>
                      <a:pt x="190" y="456"/>
                    </a:lnTo>
                    <a:lnTo>
                      <a:pt x="210" y="456"/>
                    </a:lnTo>
                    <a:lnTo>
                      <a:pt x="228" y="454"/>
                    </a:lnTo>
                    <a:lnTo>
                      <a:pt x="244" y="450"/>
                    </a:lnTo>
                    <a:lnTo>
                      <a:pt x="258" y="444"/>
                    </a:lnTo>
                    <a:lnTo>
                      <a:pt x="268" y="436"/>
                    </a:lnTo>
                    <a:lnTo>
                      <a:pt x="278" y="426"/>
                    </a:lnTo>
                    <a:lnTo>
                      <a:pt x="282" y="414"/>
                    </a:lnTo>
                    <a:lnTo>
                      <a:pt x="284" y="400"/>
                    </a:lnTo>
                    <a:lnTo>
                      <a:pt x="284" y="400"/>
                    </a:lnTo>
                    <a:lnTo>
                      <a:pt x="284" y="392"/>
                    </a:lnTo>
                    <a:lnTo>
                      <a:pt x="282" y="384"/>
                    </a:lnTo>
                    <a:lnTo>
                      <a:pt x="278" y="378"/>
                    </a:lnTo>
                    <a:lnTo>
                      <a:pt x="274" y="372"/>
                    </a:lnTo>
                    <a:lnTo>
                      <a:pt x="262" y="360"/>
                    </a:lnTo>
                    <a:lnTo>
                      <a:pt x="244" y="350"/>
                    </a:lnTo>
                    <a:lnTo>
                      <a:pt x="226" y="340"/>
                    </a:lnTo>
                    <a:lnTo>
                      <a:pt x="204" y="332"/>
                    </a:lnTo>
                    <a:lnTo>
                      <a:pt x="158" y="314"/>
                    </a:lnTo>
                    <a:lnTo>
                      <a:pt x="134" y="304"/>
                    </a:lnTo>
                    <a:lnTo>
                      <a:pt x="112" y="294"/>
                    </a:lnTo>
                    <a:lnTo>
                      <a:pt x="90" y="280"/>
                    </a:lnTo>
                    <a:lnTo>
                      <a:pt x="72" y="264"/>
                    </a:lnTo>
                    <a:lnTo>
                      <a:pt x="62" y="254"/>
                    </a:lnTo>
                    <a:lnTo>
                      <a:pt x="54" y="244"/>
                    </a:lnTo>
                    <a:lnTo>
                      <a:pt x="48" y="232"/>
                    </a:lnTo>
                    <a:lnTo>
                      <a:pt x="42" y="222"/>
                    </a:lnTo>
                    <a:lnTo>
                      <a:pt x="38" y="208"/>
                    </a:lnTo>
                    <a:lnTo>
                      <a:pt x="34" y="194"/>
                    </a:lnTo>
                    <a:lnTo>
                      <a:pt x="32" y="180"/>
                    </a:lnTo>
                    <a:lnTo>
                      <a:pt x="32" y="162"/>
                    </a:lnTo>
                    <a:lnTo>
                      <a:pt x="32" y="162"/>
                    </a:lnTo>
                    <a:lnTo>
                      <a:pt x="32" y="146"/>
                    </a:lnTo>
                    <a:lnTo>
                      <a:pt x="36" y="128"/>
                    </a:lnTo>
                    <a:lnTo>
                      <a:pt x="40" y="112"/>
                    </a:lnTo>
                    <a:lnTo>
                      <a:pt x="46" y="98"/>
                    </a:lnTo>
                    <a:lnTo>
                      <a:pt x="54" y="82"/>
                    </a:lnTo>
                    <a:lnTo>
                      <a:pt x="62" y="70"/>
                    </a:lnTo>
                    <a:lnTo>
                      <a:pt x="74" y="56"/>
                    </a:lnTo>
                    <a:lnTo>
                      <a:pt x="86" y="46"/>
                    </a:lnTo>
                    <a:lnTo>
                      <a:pt x="100" y="36"/>
                    </a:lnTo>
                    <a:lnTo>
                      <a:pt x="116" y="26"/>
                    </a:lnTo>
                    <a:lnTo>
                      <a:pt x="132" y="18"/>
                    </a:lnTo>
                    <a:lnTo>
                      <a:pt x="150" y="12"/>
                    </a:lnTo>
                    <a:lnTo>
                      <a:pt x="170" y="6"/>
                    </a:lnTo>
                    <a:lnTo>
                      <a:pt x="190" y="4"/>
                    </a:lnTo>
                    <a:lnTo>
                      <a:pt x="212" y="0"/>
                    </a:lnTo>
                    <a:lnTo>
                      <a:pt x="236" y="0"/>
                    </a:lnTo>
                    <a:lnTo>
                      <a:pt x="236" y="0"/>
                    </a:lnTo>
                    <a:lnTo>
                      <a:pt x="280" y="2"/>
                    </a:lnTo>
                    <a:lnTo>
                      <a:pt x="320" y="8"/>
                    </a:lnTo>
                    <a:lnTo>
                      <a:pt x="358" y="16"/>
                    </a:lnTo>
                    <a:lnTo>
                      <a:pt x="394" y="26"/>
                    </a:lnTo>
                    <a:lnTo>
                      <a:pt x="394" y="142"/>
                    </a:lnTo>
                    <a:lnTo>
                      <a:pt x="394" y="142"/>
                    </a:lnTo>
                    <a:lnTo>
                      <a:pt x="358" y="128"/>
                    </a:lnTo>
                    <a:lnTo>
                      <a:pt x="322" y="116"/>
                    </a:lnTo>
                    <a:lnTo>
                      <a:pt x="282" y="110"/>
                    </a:lnTo>
                    <a:lnTo>
                      <a:pt x="262" y="108"/>
                    </a:lnTo>
                    <a:lnTo>
                      <a:pt x="242" y="108"/>
                    </a:lnTo>
                    <a:lnTo>
                      <a:pt x="242" y="108"/>
                    </a:lnTo>
                    <a:lnTo>
                      <a:pt x="224" y="108"/>
                    </a:lnTo>
                    <a:lnTo>
                      <a:pt x="210" y="110"/>
                    </a:lnTo>
                    <a:lnTo>
                      <a:pt x="198" y="114"/>
                    </a:lnTo>
                    <a:lnTo>
                      <a:pt x="186" y="118"/>
                    </a:lnTo>
                    <a:lnTo>
                      <a:pt x="176" y="126"/>
                    </a:lnTo>
                    <a:lnTo>
                      <a:pt x="170" y="134"/>
                    </a:lnTo>
                    <a:lnTo>
                      <a:pt x="166" y="144"/>
                    </a:lnTo>
                    <a:lnTo>
                      <a:pt x="164" y="156"/>
                    </a:lnTo>
                    <a:lnTo>
                      <a:pt x="164" y="156"/>
                    </a:lnTo>
                    <a:lnTo>
                      <a:pt x="166" y="164"/>
                    </a:lnTo>
                    <a:lnTo>
                      <a:pt x="168" y="170"/>
                    </a:lnTo>
                    <a:lnTo>
                      <a:pt x="172" y="178"/>
                    </a:lnTo>
                    <a:lnTo>
                      <a:pt x="176" y="184"/>
                    </a:lnTo>
                    <a:lnTo>
                      <a:pt x="188" y="194"/>
                    </a:lnTo>
                    <a:lnTo>
                      <a:pt x="204" y="204"/>
                    </a:lnTo>
                    <a:lnTo>
                      <a:pt x="224" y="212"/>
                    </a:lnTo>
                    <a:lnTo>
                      <a:pt x="244" y="220"/>
                    </a:lnTo>
                    <a:lnTo>
                      <a:pt x="292" y="238"/>
                    </a:lnTo>
                    <a:lnTo>
                      <a:pt x="314" y="248"/>
                    </a:lnTo>
                    <a:lnTo>
                      <a:pt x="338" y="260"/>
                    </a:lnTo>
                    <a:lnTo>
                      <a:pt x="360" y="274"/>
                    </a:lnTo>
                    <a:lnTo>
                      <a:pt x="378" y="292"/>
                    </a:lnTo>
                    <a:lnTo>
                      <a:pt x="386" y="302"/>
                    </a:lnTo>
                    <a:lnTo>
                      <a:pt x="394" y="312"/>
                    </a:lnTo>
                    <a:lnTo>
                      <a:pt x="402" y="324"/>
                    </a:lnTo>
                    <a:lnTo>
                      <a:pt x="406" y="336"/>
                    </a:lnTo>
                    <a:lnTo>
                      <a:pt x="412" y="350"/>
                    </a:lnTo>
                    <a:lnTo>
                      <a:pt x="414" y="364"/>
                    </a:lnTo>
                    <a:lnTo>
                      <a:pt x="418" y="380"/>
                    </a:lnTo>
                    <a:lnTo>
                      <a:pt x="418" y="396"/>
                    </a:lnTo>
                    <a:lnTo>
                      <a:pt x="418" y="396"/>
                    </a:lnTo>
                    <a:lnTo>
                      <a:pt x="416" y="418"/>
                    </a:lnTo>
                    <a:lnTo>
                      <a:pt x="414" y="438"/>
                    </a:lnTo>
                    <a:lnTo>
                      <a:pt x="408" y="456"/>
                    </a:lnTo>
                    <a:lnTo>
                      <a:pt x="400" y="472"/>
                    </a:lnTo>
                    <a:lnTo>
                      <a:pt x="390" y="488"/>
                    </a:lnTo>
                    <a:lnTo>
                      <a:pt x="380" y="502"/>
                    </a:lnTo>
                    <a:lnTo>
                      <a:pt x="366" y="514"/>
                    </a:lnTo>
                    <a:lnTo>
                      <a:pt x="352" y="524"/>
                    </a:lnTo>
                    <a:lnTo>
                      <a:pt x="336" y="534"/>
                    </a:lnTo>
                    <a:lnTo>
                      <a:pt x="320" y="542"/>
                    </a:lnTo>
                    <a:lnTo>
                      <a:pt x="302" y="550"/>
                    </a:lnTo>
                    <a:lnTo>
                      <a:pt x="282" y="554"/>
                    </a:lnTo>
                    <a:lnTo>
                      <a:pt x="262" y="558"/>
                    </a:lnTo>
                    <a:lnTo>
                      <a:pt x="242" y="562"/>
                    </a:lnTo>
                    <a:lnTo>
                      <a:pt x="220" y="564"/>
                    </a:lnTo>
                    <a:lnTo>
                      <a:pt x="200" y="564"/>
                    </a:lnTo>
                    <a:lnTo>
                      <a:pt x="200" y="564"/>
                    </a:lnTo>
                    <a:lnTo>
                      <a:pt x="168" y="562"/>
                    </a:lnTo>
                    <a:lnTo>
                      <a:pt x="138" y="560"/>
                    </a:lnTo>
                    <a:lnTo>
                      <a:pt x="110" y="554"/>
                    </a:lnTo>
                    <a:lnTo>
                      <a:pt x="84" y="548"/>
                    </a:lnTo>
                    <a:lnTo>
                      <a:pt x="60" y="540"/>
                    </a:lnTo>
                    <a:lnTo>
                      <a:pt x="38" y="532"/>
                    </a:lnTo>
                    <a:lnTo>
                      <a:pt x="18" y="522"/>
                    </a:lnTo>
                    <a:lnTo>
                      <a:pt x="0" y="512"/>
                    </a:lnTo>
                    <a:lnTo>
                      <a:pt x="42" y="4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6" name="Freeform 27"/>
              <p:cNvSpPr>
                <a:spLocks noEditPoints="1"/>
              </p:cNvSpPr>
              <p:nvPr/>
            </p:nvSpPr>
            <p:spPr bwMode="auto">
              <a:xfrm>
                <a:off x="8230347" y="4493623"/>
                <a:ext cx="17443" cy="81608"/>
              </a:xfrm>
              <a:custGeom>
                <a:avLst/>
                <a:gdLst>
                  <a:gd name="T0" fmla="*/ 84 w 168"/>
                  <a:gd name="T1" fmla="*/ 162 h 786"/>
                  <a:gd name="T2" fmla="*/ 84 w 168"/>
                  <a:gd name="T3" fmla="*/ 162 h 786"/>
                  <a:gd name="T4" fmla="*/ 68 w 168"/>
                  <a:gd name="T5" fmla="*/ 160 h 786"/>
                  <a:gd name="T6" fmla="*/ 52 w 168"/>
                  <a:gd name="T7" fmla="*/ 156 h 786"/>
                  <a:gd name="T8" fmla="*/ 38 w 168"/>
                  <a:gd name="T9" fmla="*/ 148 h 786"/>
                  <a:gd name="T10" fmla="*/ 26 w 168"/>
                  <a:gd name="T11" fmla="*/ 138 h 786"/>
                  <a:gd name="T12" fmla="*/ 14 w 168"/>
                  <a:gd name="T13" fmla="*/ 126 h 786"/>
                  <a:gd name="T14" fmla="*/ 8 w 168"/>
                  <a:gd name="T15" fmla="*/ 112 h 786"/>
                  <a:gd name="T16" fmla="*/ 2 w 168"/>
                  <a:gd name="T17" fmla="*/ 98 h 786"/>
                  <a:gd name="T18" fmla="*/ 0 w 168"/>
                  <a:gd name="T19" fmla="*/ 80 h 786"/>
                  <a:gd name="T20" fmla="*/ 0 w 168"/>
                  <a:gd name="T21" fmla="*/ 80 h 786"/>
                  <a:gd name="T22" fmla="*/ 2 w 168"/>
                  <a:gd name="T23" fmla="*/ 64 h 786"/>
                  <a:gd name="T24" fmla="*/ 8 w 168"/>
                  <a:gd name="T25" fmla="*/ 50 h 786"/>
                  <a:gd name="T26" fmla="*/ 14 w 168"/>
                  <a:gd name="T27" fmla="*/ 36 h 786"/>
                  <a:gd name="T28" fmla="*/ 26 w 168"/>
                  <a:gd name="T29" fmla="*/ 24 h 786"/>
                  <a:gd name="T30" fmla="*/ 38 w 168"/>
                  <a:gd name="T31" fmla="*/ 14 h 786"/>
                  <a:gd name="T32" fmla="*/ 52 w 168"/>
                  <a:gd name="T33" fmla="*/ 6 h 786"/>
                  <a:gd name="T34" fmla="*/ 68 w 168"/>
                  <a:gd name="T35" fmla="*/ 2 h 786"/>
                  <a:gd name="T36" fmla="*/ 84 w 168"/>
                  <a:gd name="T37" fmla="*/ 0 h 786"/>
                  <a:gd name="T38" fmla="*/ 84 w 168"/>
                  <a:gd name="T39" fmla="*/ 0 h 786"/>
                  <a:gd name="T40" fmla="*/ 102 w 168"/>
                  <a:gd name="T41" fmla="*/ 2 h 786"/>
                  <a:gd name="T42" fmla="*/ 118 w 168"/>
                  <a:gd name="T43" fmla="*/ 6 h 786"/>
                  <a:gd name="T44" fmla="*/ 132 w 168"/>
                  <a:gd name="T45" fmla="*/ 14 h 786"/>
                  <a:gd name="T46" fmla="*/ 144 w 168"/>
                  <a:gd name="T47" fmla="*/ 24 h 786"/>
                  <a:gd name="T48" fmla="*/ 154 w 168"/>
                  <a:gd name="T49" fmla="*/ 36 h 786"/>
                  <a:gd name="T50" fmla="*/ 162 w 168"/>
                  <a:gd name="T51" fmla="*/ 48 h 786"/>
                  <a:gd name="T52" fmla="*/ 166 w 168"/>
                  <a:gd name="T53" fmla="*/ 64 h 786"/>
                  <a:gd name="T54" fmla="*/ 168 w 168"/>
                  <a:gd name="T55" fmla="*/ 80 h 786"/>
                  <a:gd name="T56" fmla="*/ 168 w 168"/>
                  <a:gd name="T57" fmla="*/ 80 h 786"/>
                  <a:gd name="T58" fmla="*/ 166 w 168"/>
                  <a:gd name="T59" fmla="*/ 96 h 786"/>
                  <a:gd name="T60" fmla="*/ 162 w 168"/>
                  <a:gd name="T61" fmla="*/ 112 h 786"/>
                  <a:gd name="T62" fmla="*/ 154 w 168"/>
                  <a:gd name="T63" fmla="*/ 126 h 786"/>
                  <a:gd name="T64" fmla="*/ 144 w 168"/>
                  <a:gd name="T65" fmla="*/ 138 h 786"/>
                  <a:gd name="T66" fmla="*/ 132 w 168"/>
                  <a:gd name="T67" fmla="*/ 148 h 786"/>
                  <a:gd name="T68" fmla="*/ 118 w 168"/>
                  <a:gd name="T69" fmla="*/ 156 h 786"/>
                  <a:gd name="T70" fmla="*/ 102 w 168"/>
                  <a:gd name="T71" fmla="*/ 160 h 786"/>
                  <a:gd name="T72" fmla="*/ 84 w 168"/>
                  <a:gd name="T73" fmla="*/ 162 h 786"/>
                  <a:gd name="T74" fmla="*/ 84 w 168"/>
                  <a:gd name="T75" fmla="*/ 162 h 786"/>
                  <a:gd name="T76" fmla="*/ 16 w 168"/>
                  <a:gd name="T77" fmla="*/ 786 h 786"/>
                  <a:gd name="T78" fmla="*/ 16 w 168"/>
                  <a:gd name="T79" fmla="*/ 244 h 786"/>
                  <a:gd name="T80" fmla="*/ 152 w 168"/>
                  <a:gd name="T81" fmla="*/ 244 h 786"/>
                  <a:gd name="T82" fmla="*/ 152 w 168"/>
                  <a:gd name="T83" fmla="*/ 244 h 786"/>
                  <a:gd name="T84" fmla="*/ 152 w 168"/>
                  <a:gd name="T85" fmla="*/ 686 h 786"/>
                  <a:gd name="T86" fmla="*/ 152 w 168"/>
                  <a:gd name="T87" fmla="*/ 686 h 786"/>
                  <a:gd name="T88" fmla="*/ 150 w 168"/>
                  <a:gd name="T89" fmla="*/ 704 h 786"/>
                  <a:gd name="T90" fmla="*/ 146 w 168"/>
                  <a:gd name="T91" fmla="*/ 720 h 786"/>
                  <a:gd name="T92" fmla="*/ 138 w 168"/>
                  <a:gd name="T93" fmla="*/ 732 h 786"/>
                  <a:gd name="T94" fmla="*/ 130 w 168"/>
                  <a:gd name="T95" fmla="*/ 744 h 786"/>
                  <a:gd name="T96" fmla="*/ 120 w 168"/>
                  <a:gd name="T97" fmla="*/ 754 h 786"/>
                  <a:gd name="T98" fmla="*/ 108 w 168"/>
                  <a:gd name="T99" fmla="*/ 762 h 786"/>
                  <a:gd name="T100" fmla="*/ 96 w 168"/>
                  <a:gd name="T101" fmla="*/ 768 h 786"/>
                  <a:gd name="T102" fmla="*/ 84 w 168"/>
                  <a:gd name="T103" fmla="*/ 774 h 786"/>
                  <a:gd name="T104" fmla="*/ 60 w 168"/>
                  <a:gd name="T105" fmla="*/ 782 h 786"/>
                  <a:gd name="T106" fmla="*/ 38 w 168"/>
                  <a:gd name="T107" fmla="*/ 784 h 786"/>
                  <a:gd name="T108" fmla="*/ 16 w 168"/>
                  <a:gd name="T109" fmla="*/ 786 h 786"/>
                  <a:gd name="T110" fmla="*/ 16 w 168"/>
                  <a:gd name="T111" fmla="*/ 786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8" h="786">
                    <a:moveTo>
                      <a:pt x="84" y="162"/>
                    </a:moveTo>
                    <a:lnTo>
                      <a:pt x="84" y="162"/>
                    </a:lnTo>
                    <a:lnTo>
                      <a:pt x="68" y="160"/>
                    </a:lnTo>
                    <a:lnTo>
                      <a:pt x="52" y="156"/>
                    </a:lnTo>
                    <a:lnTo>
                      <a:pt x="38" y="148"/>
                    </a:lnTo>
                    <a:lnTo>
                      <a:pt x="26" y="138"/>
                    </a:lnTo>
                    <a:lnTo>
                      <a:pt x="14" y="126"/>
                    </a:lnTo>
                    <a:lnTo>
                      <a:pt x="8" y="112"/>
                    </a:lnTo>
                    <a:lnTo>
                      <a:pt x="2" y="98"/>
                    </a:lnTo>
                    <a:lnTo>
                      <a:pt x="0" y="80"/>
                    </a:lnTo>
                    <a:lnTo>
                      <a:pt x="0" y="80"/>
                    </a:lnTo>
                    <a:lnTo>
                      <a:pt x="2" y="64"/>
                    </a:lnTo>
                    <a:lnTo>
                      <a:pt x="8" y="50"/>
                    </a:lnTo>
                    <a:lnTo>
                      <a:pt x="14" y="36"/>
                    </a:lnTo>
                    <a:lnTo>
                      <a:pt x="26" y="24"/>
                    </a:lnTo>
                    <a:lnTo>
                      <a:pt x="38" y="14"/>
                    </a:lnTo>
                    <a:lnTo>
                      <a:pt x="52" y="6"/>
                    </a:lnTo>
                    <a:lnTo>
                      <a:pt x="68" y="2"/>
                    </a:lnTo>
                    <a:lnTo>
                      <a:pt x="84" y="0"/>
                    </a:lnTo>
                    <a:lnTo>
                      <a:pt x="84" y="0"/>
                    </a:lnTo>
                    <a:lnTo>
                      <a:pt x="102" y="2"/>
                    </a:lnTo>
                    <a:lnTo>
                      <a:pt x="118" y="6"/>
                    </a:lnTo>
                    <a:lnTo>
                      <a:pt x="132" y="14"/>
                    </a:lnTo>
                    <a:lnTo>
                      <a:pt x="144" y="24"/>
                    </a:lnTo>
                    <a:lnTo>
                      <a:pt x="154" y="36"/>
                    </a:lnTo>
                    <a:lnTo>
                      <a:pt x="162" y="48"/>
                    </a:lnTo>
                    <a:lnTo>
                      <a:pt x="166" y="64"/>
                    </a:lnTo>
                    <a:lnTo>
                      <a:pt x="168" y="80"/>
                    </a:lnTo>
                    <a:lnTo>
                      <a:pt x="168" y="80"/>
                    </a:lnTo>
                    <a:lnTo>
                      <a:pt x="166" y="96"/>
                    </a:lnTo>
                    <a:lnTo>
                      <a:pt x="162" y="112"/>
                    </a:lnTo>
                    <a:lnTo>
                      <a:pt x="154" y="126"/>
                    </a:lnTo>
                    <a:lnTo>
                      <a:pt x="144" y="138"/>
                    </a:lnTo>
                    <a:lnTo>
                      <a:pt x="132" y="148"/>
                    </a:lnTo>
                    <a:lnTo>
                      <a:pt x="118" y="156"/>
                    </a:lnTo>
                    <a:lnTo>
                      <a:pt x="102" y="160"/>
                    </a:lnTo>
                    <a:lnTo>
                      <a:pt x="84" y="162"/>
                    </a:lnTo>
                    <a:lnTo>
                      <a:pt x="84" y="162"/>
                    </a:lnTo>
                    <a:close/>
                    <a:moveTo>
                      <a:pt x="16" y="786"/>
                    </a:moveTo>
                    <a:lnTo>
                      <a:pt x="16" y="244"/>
                    </a:lnTo>
                    <a:lnTo>
                      <a:pt x="152" y="244"/>
                    </a:lnTo>
                    <a:lnTo>
                      <a:pt x="152" y="244"/>
                    </a:lnTo>
                    <a:lnTo>
                      <a:pt x="152" y="686"/>
                    </a:lnTo>
                    <a:lnTo>
                      <a:pt x="152" y="686"/>
                    </a:lnTo>
                    <a:lnTo>
                      <a:pt x="150" y="704"/>
                    </a:lnTo>
                    <a:lnTo>
                      <a:pt x="146" y="720"/>
                    </a:lnTo>
                    <a:lnTo>
                      <a:pt x="138" y="732"/>
                    </a:lnTo>
                    <a:lnTo>
                      <a:pt x="130" y="744"/>
                    </a:lnTo>
                    <a:lnTo>
                      <a:pt x="120" y="754"/>
                    </a:lnTo>
                    <a:lnTo>
                      <a:pt x="108" y="762"/>
                    </a:lnTo>
                    <a:lnTo>
                      <a:pt x="96" y="768"/>
                    </a:lnTo>
                    <a:lnTo>
                      <a:pt x="84" y="774"/>
                    </a:lnTo>
                    <a:lnTo>
                      <a:pt x="60" y="782"/>
                    </a:lnTo>
                    <a:lnTo>
                      <a:pt x="38" y="784"/>
                    </a:lnTo>
                    <a:lnTo>
                      <a:pt x="16" y="786"/>
                    </a:lnTo>
                    <a:lnTo>
                      <a:pt x="16" y="7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 name="Freeform 28"/>
              <p:cNvSpPr>
                <a:spLocks/>
              </p:cNvSpPr>
              <p:nvPr/>
            </p:nvSpPr>
            <p:spPr bwMode="auto">
              <a:xfrm>
                <a:off x="7989468" y="4518126"/>
                <a:ext cx="49837" cy="57313"/>
              </a:xfrm>
              <a:custGeom>
                <a:avLst/>
                <a:gdLst>
                  <a:gd name="T0" fmla="*/ 346 w 480"/>
                  <a:gd name="T1" fmla="*/ 230 h 552"/>
                  <a:gd name="T2" fmla="*/ 344 w 480"/>
                  <a:gd name="T3" fmla="*/ 210 h 552"/>
                  <a:gd name="T4" fmla="*/ 338 w 480"/>
                  <a:gd name="T5" fmla="*/ 170 h 552"/>
                  <a:gd name="T6" fmla="*/ 322 w 480"/>
                  <a:gd name="T7" fmla="*/ 138 h 552"/>
                  <a:gd name="T8" fmla="*/ 308 w 480"/>
                  <a:gd name="T9" fmla="*/ 126 h 552"/>
                  <a:gd name="T10" fmla="*/ 290 w 480"/>
                  <a:gd name="T11" fmla="*/ 118 h 552"/>
                  <a:gd name="T12" fmla="*/ 268 w 480"/>
                  <a:gd name="T13" fmla="*/ 116 h 552"/>
                  <a:gd name="T14" fmla="*/ 250 w 480"/>
                  <a:gd name="T15" fmla="*/ 116 h 552"/>
                  <a:gd name="T16" fmla="*/ 216 w 480"/>
                  <a:gd name="T17" fmla="*/ 126 h 552"/>
                  <a:gd name="T18" fmla="*/ 182 w 480"/>
                  <a:gd name="T19" fmla="*/ 140 h 552"/>
                  <a:gd name="T20" fmla="*/ 134 w 480"/>
                  <a:gd name="T21" fmla="*/ 172 h 552"/>
                  <a:gd name="T22" fmla="*/ 134 w 480"/>
                  <a:gd name="T23" fmla="*/ 452 h 552"/>
                  <a:gd name="T24" fmla="*/ 132 w 480"/>
                  <a:gd name="T25" fmla="*/ 470 h 552"/>
                  <a:gd name="T26" fmla="*/ 120 w 480"/>
                  <a:gd name="T27" fmla="*/ 498 h 552"/>
                  <a:gd name="T28" fmla="*/ 102 w 480"/>
                  <a:gd name="T29" fmla="*/ 518 h 552"/>
                  <a:gd name="T30" fmla="*/ 78 w 480"/>
                  <a:gd name="T31" fmla="*/ 534 h 552"/>
                  <a:gd name="T32" fmla="*/ 42 w 480"/>
                  <a:gd name="T33" fmla="*/ 546 h 552"/>
                  <a:gd name="T34" fmla="*/ 0 w 480"/>
                  <a:gd name="T35" fmla="*/ 552 h 552"/>
                  <a:gd name="T36" fmla="*/ 114 w 480"/>
                  <a:gd name="T37" fmla="*/ 14 h 552"/>
                  <a:gd name="T38" fmla="*/ 128 w 480"/>
                  <a:gd name="T39" fmla="*/ 70 h 552"/>
                  <a:gd name="T40" fmla="*/ 170 w 480"/>
                  <a:gd name="T41" fmla="*/ 42 h 552"/>
                  <a:gd name="T42" fmla="*/ 214 w 480"/>
                  <a:gd name="T43" fmla="*/ 20 h 552"/>
                  <a:gd name="T44" fmla="*/ 262 w 480"/>
                  <a:gd name="T45" fmla="*/ 6 h 552"/>
                  <a:gd name="T46" fmla="*/ 314 w 480"/>
                  <a:gd name="T47" fmla="*/ 0 h 552"/>
                  <a:gd name="T48" fmla="*/ 328 w 480"/>
                  <a:gd name="T49" fmla="*/ 2 h 552"/>
                  <a:gd name="T50" fmla="*/ 358 w 480"/>
                  <a:gd name="T51" fmla="*/ 6 h 552"/>
                  <a:gd name="T52" fmla="*/ 388 w 480"/>
                  <a:gd name="T53" fmla="*/ 16 h 552"/>
                  <a:gd name="T54" fmla="*/ 414 w 480"/>
                  <a:gd name="T55" fmla="*/ 32 h 552"/>
                  <a:gd name="T56" fmla="*/ 438 w 480"/>
                  <a:gd name="T57" fmla="*/ 54 h 552"/>
                  <a:gd name="T58" fmla="*/ 458 w 480"/>
                  <a:gd name="T59" fmla="*/ 84 h 552"/>
                  <a:gd name="T60" fmla="*/ 472 w 480"/>
                  <a:gd name="T61" fmla="*/ 120 h 552"/>
                  <a:gd name="T62" fmla="*/ 478 w 480"/>
                  <a:gd name="T63" fmla="*/ 166 h 552"/>
                  <a:gd name="T64" fmla="*/ 480 w 480"/>
                  <a:gd name="T65" fmla="*/ 190 h 552"/>
                  <a:gd name="T66" fmla="*/ 480 w 480"/>
                  <a:gd name="T67" fmla="*/ 452 h 552"/>
                  <a:gd name="T68" fmla="*/ 474 w 480"/>
                  <a:gd name="T69" fmla="*/ 484 h 552"/>
                  <a:gd name="T70" fmla="*/ 458 w 480"/>
                  <a:gd name="T71" fmla="*/ 510 h 552"/>
                  <a:gd name="T72" fmla="*/ 438 w 480"/>
                  <a:gd name="T73" fmla="*/ 528 h 552"/>
                  <a:gd name="T74" fmla="*/ 412 w 480"/>
                  <a:gd name="T75" fmla="*/ 540 h 552"/>
                  <a:gd name="T76" fmla="*/ 366 w 480"/>
                  <a:gd name="T77" fmla="*/ 550 h 552"/>
                  <a:gd name="T78" fmla="*/ 346 w 480"/>
                  <a:gd name="T79" fmla="*/ 552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80" h="552">
                    <a:moveTo>
                      <a:pt x="346" y="552"/>
                    </a:moveTo>
                    <a:lnTo>
                      <a:pt x="346" y="230"/>
                    </a:lnTo>
                    <a:lnTo>
                      <a:pt x="346" y="230"/>
                    </a:lnTo>
                    <a:lnTo>
                      <a:pt x="344" y="210"/>
                    </a:lnTo>
                    <a:lnTo>
                      <a:pt x="342" y="190"/>
                    </a:lnTo>
                    <a:lnTo>
                      <a:pt x="338" y="170"/>
                    </a:lnTo>
                    <a:lnTo>
                      <a:pt x="332" y="152"/>
                    </a:lnTo>
                    <a:lnTo>
                      <a:pt x="322" y="138"/>
                    </a:lnTo>
                    <a:lnTo>
                      <a:pt x="316" y="132"/>
                    </a:lnTo>
                    <a:lnTo>
                      <a:pt x="308" y="126"/>
                    </a:lnTo>
                    <a:lnTo>
                      <a:pt x="300" y="122"/>
                    </a:lnTo>
                    <a:lnTo>
                      <a:pt x="290" y="118"/>
                    </a:lnTo>
                    <a:lnTo>
                      <a:pt x="280" y="116"/>
                    </a:lnTo>
                    <a:lnTo>
                      <a:pt x="268" y="116"/>
                    </a:lnTo>
                    <a:lnTo>
                      <a:pt x="268" y="116"/>
                    </a:lnTo>
                    <a:lnTo>
                      <a:pt x="250" y="116"/>
                    </a:lnTo>
                    <a:lnTo>
                      <a:pt x="232" y="120"/>
                    </a:lnTo>
                    <a:lnTo>
                      <a:pt x="216" y="126"/>
                    </a:lnTo>
                    <a:lnTo>
                      <a:pt x="198" y="132"/>
                    </a:lnTo>
                    <a:lnTo>
                      <a:pt x="182" y="140"/>
                    </a:lnTo>
                    <a:lnTo>
                      <a:pt x="166" y="150"/>
                    </a:lnTo>
                    <a:lnTo>
                      <a:pt x="134" y="172"/>
                    </a:lnTo>
                    <a:lnTo>
                      <a:pt x="134" y="172"/>
                    </a:lnTo>
                    <a:lnTo>
                      <a:pt x="134" y="452"/>
                    </a:lnTo>
                    <a:lnTo>
                      <a:pt x="134" y="452"/>
                    </a:lnTo>
                    <a:lnTo>
                      <a:pt x="132" y="470"/>
                    </a:lnTo>
                    <a:lnTo>
                      <a:pt x="128" y="484"/>
                    </a:lnTo>
                    <a:lnTo>
                      <a:pt x="120" y="498"/>
                    </a:lnTo>
                    <a:lnTo>
                      <a:pt x="112" y="510"/>
                    </a:lnTo>
                    <a:lnTo>
                      <a:pt x="102" y="518"/>
                    </a:lnTo>
                    <a:lnTo>
                      <a:pt x="90" y="528"/>
                    </a:lnTo>
                    <a:lnTo>
                      <a:pt x="78" y="534"/>
                    </a:lnTo>
                    <a:lnTo>
                      <a:pt x="66" y="540"/>
                    </a:lnTo>
                    <a:lnTo>
                      <a:pt x="42" y="546"/>
                    </a:lnTo>
                    <a:lnTo>
                      <a:pt x="20" y="550"/>
                    </a:lnTo>
                    <a:lnTo>
                      <a:pt x="0" y="552"/>
                    </a:lnTo>
                    <a:lnTo>
                      <a:pt x="0" y="14"/>
                    </a:lnTo>
                    <a:lnTo>
                      <a:pt x="114" y="14"/>
                    </a:lnTo>
                    <a:lnTo>
                      <a:pt x="128" y="70"/>
                    </a:lnTo>
                    <a:lnTo>
                      <a:pt x="128" y="70"/>
                    </a:lnTo>
                    <a:lnTo>
                      <a:pt x="150" y="54"/>
                    </a:lnTo>
                    <a:lnTo>
                      <a:pt x="170" y="42"/>
                    </a:lnTo>
                    <a:lnTo>
                      <a:pt x="192" y="30"/>
                    </a:lnTo>
                    <a:lnTo>
                      <a:pt x="214" y="20"/>
                    </a:lnTo>
                    <a:lnTo>
                      <a:pt x="238" y="12"/>
                    </a:lnTo>
                    <a:lnTo>
                      <a:pt x="262" y="6"/>
                    </a:lnTo>
                    <a:lnTo>
                      <a:pt x="286" y="2"/>
                    </a:lnTo>
                    <a:lnTo>
                      <a:pt x="314" y="0"/>
                    </a:lnTo>
                    <a:lnTo>
                      <a:pt x="314" y="0"/>
                    </a:lnTo>
                    <a:lnTo>
                      <a:pt x="328" y="2"/>
                    </a:lnTo>
                    <a:lnTo>
                      <a:pt x="344" y="2"/>
                    </a:lnTo>
                    <a:lnTo>
                      <a:pt x="358" y="6"/>
                    </a:lnTo>
                    <a:lnTo>
                      <a:pt x="374" y="10"/>
                    </a:lnTo>
                    <a:lnTo>
                      <a:pt x="388" y="16"/>
                    </a:lnTo>
                    <a:lnTo>
                      <a:pt x="402" y="24"/>
                    </a:lnTo>
                    <a:lnTo>
                      <a:pt x="414" y="32"/>
                    </a:lnTo>
                    <a:lnTo>
                      <a:pt x="426" y="42"/>
                    </a:lnTo>
                    <a:lnTo>
                      <a:pt x="438" y="54"/>
                    </a:lnTo>
                    <a:lnTo>
                      <a:pt x="448" y="68"/>
                    </a:lnTo>
                    <a:lnTo>
                      <a:pt x="458" y="84"/>
                    </a:lnTo>
                    <a:lnTo>
                      <a:pt x="464" y="102"/>
                    </a:lnTo>
                    <a:lnTo>
                      <a:pt x="472" y="120"/>
                    </a:lnTo>
                    <a:lnTo>
                      <a:pt x="476" y="142"/>
                    </a:lnTo>
                    <a:lnTo>
                      <a:pt x="478" y="166"/>
                    </a:lnTo>
                    <a:lnTo>
                      <a:pt x="480" y="190"/>
                    </a:lnTo>
                    <a:lnTo>
                      <a:pt x="480" y="190"/>
                    </a:lnTo>
                    <a:lnTo>
                      <a:pt x="480" y="452"/>
                    </a:lnTo>
                    <a:lnTo>
                      <a:pt x="480" y="452"/>
                    </a:lnTo>
                    <a:lnTo>
                      <a:pt x="478" y="470"/>
                    </a:lnTo>
                    <a:lnTo>
                      <a:pt x="474" y="484"/>
                    </a:lnTo>
                    <a:lnTo>
                      <a:pt x="468" y="498"/>
                    </a:lnTo>
                    <a:lnTo>
                      <a:pt x="458" y="510"/>
                    </a:lnTo>
                    <a:lnTo>
                      <a:pt x="448" y="520"/>
                    </a:lnTo>
                    <a:lnTo>
                      <a:pt x="438" y="528"/>
                    </a:lnTo>
                    <a:lnTo>
                      <a:pt x="424" y="534"/>
                    </a:lnTo>
                    <a:lnTo>
                      <a:pt x="412" y="540"/>
                    </a:lnTo>
                    <a:lnTo>
                      <a:pt x="388" y="546"/>
                    </a:lnTo>
                    <a:lnTo>
                      <a:pt x="366" y="550"/>
                    </a:lnTo>
                    <a:lnTo>
                      <a:pt x="346" y="552"/>
                    </a:lnTo>
                    <a:lnTo>
                      <a:pt x="346" y="5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 name="Freeform 29"/>
              <p:cNvSpPr>
                <a:spLocks/>
              </p:cNvSpPr>
              <p:nvPr/>
            </p:nvSpPr>
            <p:spPr bwMode="auto">
              <a:xfrm>
                <a:off x="8106170" y="4491754"/>
                <a:ext cx="14120" cy="83477"/>
              </a:xfrm>
              <a:custGeom>
                <a:avLst/>
                <a:gdLst>
                  <a:gd name="T0" fmla="*/ 136 w 136"/>
                  <a:gd name="T1" fmla="*/ 704 h 804"/>
                  <a:gd name="T2" fmla="*/ 136 w 136"/>
                  <a:gd name="T3" fmla="*/ 704 h 804"/>
                  <a:gd name="T4" fmla="*/ 134 w 136"/>
                  <a:gd name="T5" fmla="*/ 722 h 804"/>
                  <a:gd name="T6" fmla="*/ 130 w 136"/>
                  <a:gd name="T7" fmla="*/ 738 h 804"/>
                  <a:gd name="T8" fmla="*/ 122 w 136"/>
                  <a:gd name="T9" fmla="*/ 750 h 804"/>
                  <a:gd name="T10" fmla="*/ 114 w 136"/>
                  <a:gd name="T11" fmla="*/ 762 h 804"/>
                  <a:gd name="T12" fmla="*/ 104 w 136"/>
                  <a:gd name="T13" fmla="*/ 772 h 804"/>
                  <a:gd name="T14" fmla="*/ 92 w 136"/>
                  <a:gd name="T15" fmla="*/ 780 h 804"/>
                  <a:gd name="T16" fmla="*/ 80 w 136"/>
                  <a:gd name="T17" fmla="*/ 786 h 804"/>
                  <a:gd name="T18" fmla="*/ 68 w 136"/>
                  <a:gd name="T19" fmla="*/ 792 h 804"/>
                  <a:gd name="T20" fmla="*/ 44 w 136"/>
                  <a:gd name="T21" fmla="*/ 800 h 804"/>
                  <a:gd name="T22" fmla="*/ 22 w 136"/>
                  <a:gd name="T23" fmla="*/ 802 h 804"/>
                  <a:gd name="T24" fmla="*/ 0 w 136"/>
                  <a:gd name="T25" fmla="*/ 804 h 804"/>
                  <a:gd name="T26" fmla="*/ 0 w 136"/>
                  <a:gd name="T27" fmla="*/ 0 h 804"/>
                  <a:gd name="T28" fmla="*/ 136 w 136"/>
                  <a:gd name="T29" fmla="*/ 0 h 804"/>
                  <a:gd name="T30" fmla="*/ 136 w 136"/>
                  <a:gd name="T31" fmla="*/ 0 h 804"/>
                  <a:gd name="T32" fmla="*/ 136 w 136"/>
                  <a:gd name="T33" fmla="*/ 704 h 804"/>
                  <a:gd name="T34" fmla="*/ 136 w 136"/>
                  <a:gd name="T35" fmla="*/ 70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04">
                    <a:moveTo>
                      <a:pt x="136" y="704"/>
                    </a:moveTo>
                    <a:lnTo>
                      <a:pt x="136" y="704"/>
                    </a:lnTo>
                    <a:lnTo>
                      <a:pt x="134" y="722"/>
                    </a:lnTo>
                    <a:lnTo>
                      <a:pt x="130" y="738"/>
                    </a:lnTo>
                    <a:lnTo>
                      <a:pt x="122" y="750"/>
                    </a:lnTo>
                    <a:lnTo>
                      <a:pt x="114" y="762"/>
                    </a:lnTo>
                    <a:lnTo>
                      <a:pt x="104" y="772"/>
                    </a:lnTo>
                    <a:lnTo>
                      <a:pt x="92" y="780"/>
                    </a:lnTo>
                    <a:lnTo>
                      <a:pt x="80" y="786"/>
                    </a:lnTo>
                    <a:lnTo>
                      <a:pt x="68" y="792"/>
                    </a:lnTo>
                    <a:lnTo>
                      <a:pt x="44" y="800"/>
                    </a:lnTo>
                    <a:lnTo>
                      <a:pt x="22" y="802"/>
                    </a:lnTo>
                    <a:lnTo>
                      <a:pt x="0" y="804"/>
                    </a:lnTo>
                    <a:lnTo>
                      <a:pt x="0" y="0"/>
                    </a:lnTo>
                    <a:lnTo>
                      <a:pt x="136" y="0"/>
                    </a:lnTo>
                    <a:lnTo>
                      <a:pt x="136" y="0"/>
                    </a:lnTo>
                    <a:lnTo>
                      <a:pt x="136" y="704"/>
                    </a:lnTo>
                    <a:lnTo>
                      <a:pt x="136" y="7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4" name="Group 93"/>
            <p:cNvGrpSpPr/>
            <p:nvPr userDrawn="1"/>
          </p:nvGrpSpPr>
          <p:grpSpPr>
            <a:xfrm>
              <a:off x="7673274" y="4343117"/>
              <a:ext cx="1123200" cy="148389"/>
              <a:chOff x="7665803" y="4864376"/>
              <a:chExt cx="1123200" cy="148389"/>
            </a:xfrm>
            <a:grpFill/>
          </p:grpSpPr>
          <p:sp>
            <p:nvSpPr>
              <p:cNvPr id="95" name="Freeform 6"/>
              <p:cNvSpPr>
                <a:spLocks/>
              </p:cNvSpPr>
              <p:nvPr userDrawn="1"/>
            </p:nvSpPr>
            <p:spPr bwMode="auto">
              <a:xfrm>
                <a:off x="8119644" y="4924717"/>
                <a:ext cx="103102" cy="66806"/>
              </a:xfrm>
              <a:custGeom>
                <a:avLst/>
                <a:gdLst>
                  <a:gd name="T0" fmla="*/ 111 w 136"/>
                  <a:gd name="T1" fmla="*/ 72 h 92"/>
                  <a:gd name="T2" fmla="*/ 87 w 136"/>
                  <a:gd name="T3" fmla="*/ 88 h 92"/>
                  <a:gd name="T4" fmla="*/ 68 w 136"/>
                  <a:gd name="T5" fmla="*/ 28 h 92"/>
                  <a:gd name="T6" fmla="*/ 67 w 136"/>
                  <a:gd name="T7" fmla="*/ 28 h 92"/>
                  <a:gd name="T8" fmla="*/ 53 w 136"/>
                  <a:gd name="T9" fmla="*/ 72 h 92"/>
                  <a:gd name="T10" fmla="*/ 31 w 136"/>
                  <a:gd name="T11" fmla="*/ 88 h 92"/>
                  <a:gd name="T12" fmla="*/ 0 w 136"/>
                  <a:gd name="T13" fmla="*/ 0 h 92"/>
                  <a:gd name="T14" fmla="*/ 22 w 136"/>
                  <a:gd name="T15" fmla="*/ 0 h 92"/>
                  <a:gd name="T16" fmla="*/ 41 w 136"/>
                  <a:gd name="T17" fmla="*/ 60 h 92"/>
                  <a:gd name="T18" fmla="*/ 41 w 136"/>
                  <a:gd name="T19" fmla="*/ 60 h 92"/>
                  <a:gd name="T20" fmla="*/ 60 w 136"/>
                  <a:gd name="T21" fmla="*/ 0 h 92"/>
                  <a:gd name="T22" fmla="*/ 77 w 136"/>
                  <a:gd name="T23" fmla="*/ 0 h 92"/>
                  <a:gd name="T24" fmla="*/ 96 w 136"/>
                  <a:gd name="T25" fmla="*/ 60 h 92"/>
                  <a:gd name="T26" fmla="*/ 97 w 136"/>
                  <a:gd name="T27" fmla="*/ 60 h 92"/>
                  <a:gd name="T28" fmla="*/ 115 w 136"/>
                  <a:gd name="T29" fmla="*/ 0 h 92"/>
                  <a:gd name="T30" fmla="*/ 136 w 136"/>
                  <a:gd name="T31" fmla="*/ 0 h 92"/>
                  <a:gd name="T32" fmla="*/ 111 w 136"/>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 h="92">
                    <a:moveTo>
                      <a:pt x="111" y="72"/>
                    </a:moveTo>
                    <a:cubicBezTo>
                      <a:pt x="103" y="92"/>
                      <a:pt x="87" y="88"/>
                      <a:pt x="87" y="88"/>
                    </a:cubicBezTo>
                    <a:cubicBezTo>
                      <a:pt x="68" y="28"/>
                      <a:pt x="68" y="28"/>
                      <a:pt x="68" y="28"/>
                    </a:cubicBezTo>
                    <a:cubicBezTo>
                      <a:pt x="67" y="28"/>
                      <a:pt x="67" y="28"/>
                      <a:pt x="67" y="28"/>
                    </a:cubicBezTo>
                    <a:cubicBezTo>
                      <a:pt x="67" y="28"/>
                      <a:pt x="58"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6" y="60"/>
                      <a:pt x="96" y="60"/>
                      <a:pt x="96" y="60"/>
                    </a:cubicBezTo>
                    <a:cubicBezTo>
                      <a:pt x="97" y="60"/>
                      <a:pt x="97" y="60"/>
                      <a:pt x="97" y="60"/>
                    </a:cubicBezTo>
                    <a:cubicBezTo>
                      <a:pt x="115" y="0"/>
                      <a:pt x="115" y="0"/>
                      <a:pt x="115" y="0"/>
                    </a:cubicBezTo>
                    <a:cubicBezTo>
                      <a:pt x="136" y="0"/>
                      <a:pt x="136" y="0"/>
                      <a:pt x="136" y="0"/>
                    </a:cubicBezTo>
                    <a:cubicBezTo>
                      <a:pt x="136"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6" name="Freeform 7"/>
              <p:cNvSpPr>
                <a:spLocks noEditPoints="1"/>
              </p:cNvSpPr>
              <p:nvPr userDrawn="1"/>
            </p:nvSpPr>
            <p:spPr bwMode="auto">
              <a:xfrm>
                <a:off x="8225958" y="4923177"/>
                <a:ext cx="57493" cy="66190"/>
              </a:xfrm>
              <a:custGeom>
                <a:avLst/>
                <a:gdLst>
                  <a:gd name="T0" fmla="*/ 57 w 76"/>
                  <a:gd name="T1" fmla="*/ 90 h 91"/>
                  <a:gd name="T2" fmla="*/ 53 w 76"/>
                  <a:gd name="T3" fmla="*/ 81 h 91"/>
                  <a:gd name="T4" fmla="*/ 28 w 76"/>
                  <a:gd name="T5" fmla="*/ 91 h 91"/>
                  <a:gd name="T6" fmla="*/ 0 w 76"/>
                  <a:gd name="T7" fmla="*/ 63 h 91"/>
                  <a:gd name="T8" fmla="*/ 36 w 76"/>
                  <a:gd name="T9" fmla="*/ 34 h 91"/>
                  <a:gd name="T10" fmla="*/ 51 w 76"/>
                  <a:gd name="T11" fmla="*/ 34 h 91"/>
                  <a:gd name="T12" fmla="*/ 51 w 76"/>
                  <a:gd name="T13" fmla="*/ 31 h 91"/>
                  <a:gd name="T14" fmla="*/ 35 w 76"/>
                  <a:gd name="T15" fmla="*/ 17 h 91"/>
                  <a:gd name="T16" fmla="*/ 12 w 76"/>
                  <a:gd name="T17" fmla="*/ 23 h 91"/>
                  <a:gd name="T18" fmla="*/ 5 w 76"/>
                  <a:gd name="T19" fmla="*/ 9 h 91"/>
                  <a:gd name="T20" fmla="*/ 39 w 76"/>
                  <a:gd name="T21" fmla="*/ 0 h 91"/>
                  <a:gd name="T22" fmla="*/ 74 w 76"/>
                  <a:gd name="T23" fmla="*/ 31 h 91"/>
                  <a:gd name="T24" fmla="*/ 74 w 76"/>
                  <a:gd name="T25" fmla="*/ 66 h 91"/>
                  <a:gd name="T26" fmla="*/ 76 w 76"/>
                  <a:gd name="T27" fmla="*/ 90 h 91"/>
                  <a:gd name="T28" fmla="*/ 57 w 76"/>
                  <a:gd name="T29" fmla="*/ 90 h 91"/>
                  <a:gd name="T30" fmla="*/ 51 w 76"/>
                  <a:gd name="T31" fmla="*/ 49 h 91"/>
                  <a:gd name="T32" fmla="*/ 39 w 76"/>
                  <a:gd name="T33" fmla="*/ 49 h 91"/>
                  <a:gd name="T34" fmla="*/ 22 w 76"/>
                  <a:gd name="T35" fmla="*/ 61 h 91"/>
                  <a:gd name="T36" fmla="*/ 36 w 76"/>
                  <a:gd name="T37" fmla="*/ 73 h 91"/>
                  <a:gd name="T38" fmla="*/ 51 w 76"/>
                  <a:gd name="T39" fmla="*/ 68 h 91"/>
                  <a:gd name="T40" fmla="*/ 51 w 76"/>
                  <a:gd name="T41" fmla="*/ 4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91">
                    <a:moveTo>
                      <a:pt x="57" y="90"/>
                    </a:moveTo>
                    <a:cubicBezTo>
                      <a:pt x="53" y="81"/>
                      <a:pt x="53" y="81"/>
                      <a:pt x="53" y="81"/>
                    </a:cubicBezTo>
                    <a:cubicBezTo>
                      <a:pt x="48" y="86"/>
                      <a:pt x="40" y="91"/>
                      <a:pt x="28" y="91"/>
                    </a:cubicBezTo>
                    <a:cubicBezTo>
                      <a:pt x="12" y="91"/>
                      <a:pt x="0" y="80"/>
                      <a:pt x="0" y="63"/>
                    </a:cubicBezTo>
                    <a:cubicBezTo>
                      <a:pt x="0" y="45"/>
                      <a:pt x="14" y="35"/>
                      <a:pt x="36" y="34"/>
                    </a:cubicBezTo>
                    <a:cubicBezTo>
                      <a:pt x="51" y="34"/>
                      <a:pt x="51" y="34"/>
                      <a:pt x="51" y="34"/>
                    </a:cubicBezTo>
                    <a:cubicBezTo>
                      <a:pt x="51" y="33"/>
                      <a:pt x="51" y="32"/>
                      <a:pt x="51" y="31"/>
                    </a:cubicBezTo>
                    <a:cubicBezTo>
                      <a:pt x="51" y="21"/>
                      <a:pt x="44" y="17"/>
                      <a:pt x="35" y="17"/>
                    </a:cubicBezTo>
                    <a:cubicBezTo>
                      <a:pt x="25" y="17"/>
                      <a:pt x="18" y="20"/>
                      <a:pt x="12" y="23"/>
                    </a:cubicBezTo>
                    <a:cubicBezTo>
                      <a:pt x="5" y="9"/>
                      <a:pt x="5" y="9"/>
                      <a:pt x="5" y="9"/>
                    </a:cubicBezTo>
                    <a:cubicBezTo>
                      <a:pt x="17" y="2"/>
                      <a:pt x="28" y="0"/>
                      <a:pt x="39" y="0"/>
                    </a:cubicBezTo>
                    <a:cubicBezTo>
                      <a:pt x="61" y="0"/>
                      <a:pt x="74" y="9"/>
                      <a:pt x="74" y="31"/>
                    </a:cubicBezTo>
                    <a:cubicBezTo>
                      <a:pt x="74" y="66"/>
                      <a:pt x="74" y="66"/>
                      <a:pt x="74" y="66"/>
                    </a:cubicBezTo>
                    <a:cubicBezTo>
                      <a:pt x="74" y="78"/>
                      <a:pt x="75" y="86"/>
                      <a:pt x="76" y="90"/>
                    </a:cubicBezTo>
                    <a:lnTo>
                      <a:pt x="57" y="90"/>
                    </a:lnTo>
                    <a:close/>
                    <a:moveTo>
                      <a:pt x="51" y="49"/>
                    </a:moveTo>
                    <a:cubicBezTo>
                      <a:pt x="39" y="49"/>
                      <a:pt x="39" y="49"/>
                      <a:pt x="39" y="49"/>
                    </a:cubicBezTo>
                    <a:cubicBezTo>
                      <a:pt x="27" y="50"/>
                      <a:pt x="22" y="54"/>
                      <a:pt x="22" y="61"/>
                    </a:cubicBezTo>
                    <a:cubicBezTo>
                      <a:pt x="22" y="68"/>
                      <a:pt x="27" y="73"/>
                      <a:pt x="36" y="73"/>
                    </a:cubicBezTo>
                    <a:cubicBezTo>
                      <a:pt x="44" y="73"/>
                      <a:pt x="49" y="70"/>
                      <a:pt x="51" y="68"/>
                    </a:cubicBezTo>
                    <a:lnTo>
                      <a:pt x="51" y="4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7" name="Freeform 8"/>
              <p:cNvSpPr>
                <a:spLocks noEditPoints="1"/>
              </p:cNvSpPr>
              <p:nvPr userDrawn="1"/>
            </p:nvSpPr>
            <p:spPr bwMode="auto">
              <a:xfrm>
                <a:off x="8342550" y="4892699"/>
                <a:ext cx="62311" cy="96668"/>
              </a:xfrm>
              <a:custGeom>
                <a:avLst/>
                <a:gdLst>
                  <a:gd name="T0" fmla="*/ 47 w 82"/>
                  <a:gd name="T1" fmla="*/ 133 h 133"/>
                  <a:gd name="T2" fmla="*/ 0 w 82"/>
                  <a:gd name="T3" fmla="*/ 88 h 133"/>
                  <a:gd name="T4" fmla="*/ 48 w 82"/>
                  <a:gd name="T5" fmla="*/ 42 h 133"/>
                  <a:gd name="T6" fmla="*/ 59 w 82"/>
                  <a:gd name="T7" fmla="*/ 42 h 133"/>
                  <a:gd name="T8" fmla="*/ 60 w 82"/>
                  <a:gd name="T9" fmla="*/ 0 h 133"/>
                  <a:gd name="T10" fmla="*/ 82 w 82"/>
                  <a:gd name="T11" fmla="*/ 0 h 133"/>
                  <a:gd name="T12" fmla="*/ 81 w 82"/>
                  <a:gd name="T13" fmla="*/ 126 h 133"/>
                  <a:gd name="T14" fmla="*/ 47 w 82"/>
                  <a:gd name="T15" fmla="*/ 133 h 133"/>
                  <a:gd name="T16" fmla="*/ 59 w 82"/>
                  <a:gd name="T17" fmla="*/ 60 h 133"/>
                  <a:gd name="T18" fmla="*/ 49 w 82"/>
                  <a:gd name="T19" fmla="*/ 59 h 133"/>
                  <a:gd name="T20" fmla="*/ 22 w 82"/>
                  <a:gd name="T21" fmla="*/ 87 h 133"/>
                  <a:gd name="T22" fmla="*/ 49 w 82"/>
                  <a:gd name="T23" fmla="*/ 114 h 133"/>
                  <a:gd name="T24" fmla="*/ 59 w 82"/>
                  <a:gd name="T25" fmla="*/ 113 h 133"/>
                  <a:gd name="T26" fmla="*/ 59 w 82"/>
                  <a:gd name="T27" fmla="*/ 6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3">
                    <a:moveTo>
                      <a:pt x="47" y="133"/>
                    </a:moveTo>
                    <a:cubicBezTo>
                      <a:pt x="21" y="133"/>
                      <a:pt x="0" y="117"/>
                      <a:pt x="0" y="88"/>
                    </a:cubicBezTo>
                    <a:cubicBezTo>
                      <a:pt x="0" y="61"/>
                      <a:pt x="20" y="42"/>
                      <a:pt x="48" y="42"/>
                    </a:cubicBezTo>
                    <a:cubicBezTo>
                      <a:pt x="52" y="42"/>
                      <a:pt x="56" y="42"/>
                      <a:pt x="59" y="42"/>
                    </a:cubicBezTo>
                    <a:cubicBezTo>
                      <a:pt x="60" y="0"/>
                      <a:pt x="60" y="0"/>
                      <a:pt x="60" y="0"/>
                    </a:cubicBezTo>
                    <a:cubicBezTo>
                      <a:pt x="82" y="0"/>
                      <a:pt x="82" y="0"/>
                      <a:pt x="82" y="0"/>
                    </a:cubicBezTo>
                    <a:cubicBezTo>
                      <a:pt x="81" y="126"/>
                      <a:pt x="81" y="126"/>
                      <a:pt x="81" y="126"/>
                    </a:cubicBezTo>
                    <a:cubicBezTo>
                      <a:pt x="73" y="130"/>
                      <a:pt x="62" y="133"/>
                      <a:pt x="47" y="133"/>
                    </a:cubicBezTo>
                    <a:close/>
                    <a:moveTo>
                      <a:pt x="59" y="60"/>
                    </a:moveTo>
                    <a:cubicBezTo>
                      <a:pt x="56" y="60"/>
                      <a:pt x="54" y="59"/>
                      <a:pt x="49" y="59"/>
                    </a:cubicBezTo>
                    <a:cubicBezTo>
                      <a:pt x="33" y="59"/>
                      <a:pt x="22" y="70"/>
                      <a:pt x="22" y="87"/>
                    </a:cubicBezTo>
                    <a:cubicBezTo>
                      <a:pt x="22" y="103"/>
                      <a:pt x="32" y="114"/>
                      <a:pt x="49" y="114"/>
                    </a:cubicBezTo>
                    <a:cubicBezTo>
                      <a:pt x="53" y="114"/>
                      <a:pt x="57" y="114"/>
                      <a:pt x="59" y="113"/>
                    </a:cubicBezTo>
                    <a:lnTo>
                      <a:pt x="59" y="60"/>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8" name="Freeform 9"/>
              <p:cNvSpPr>
                <a:spLocks/>
              </p:cNvSpPr>
              <p:nvPr userDrawn="1"/>
            </p:nvSpPr>
            <p:spPr bwMode="auto">
              <a:xfrm>
                <a:off x="8093949"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9" name="Freeform 10"/>
              <p:cNvSpPr>
                <a:spLocks/>
              </p:cNvSpPr>
              <p:nvPr userDrawn="1"/>
            </p:nvSpPr>
            <p:spPr bwMode="auto">
              <a:xfrm>
                <a:off x="8060545"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0" name="Freeform 11"/>
              <p:cNvSpPr>
                <a:spLocks/>
              </p:cNvSpPr>
              <p:nvPr userDrawn="1"/>
            </p:nvSpPr>
            <p:spPr bwMode="auto">
              <a:xfrm>
                <a:off x="8297262" y="4923177"/>
                <a:ext cx="43039" cy="66190"/>
              </a:xfrm>
              <a:custGeom>
                <a:avLst/>
                <a:gdLst>
                  <a:gd name="T0" fmla="*/ 49 w 57"/>
                  <a:gd name="T1" fmla="*/ 22 h 91"/>
                  <a:gd name="T2" fmla="*/ 39 w 57"/>
                  <a:gd name="T3" fmla="*/ 20 h 91"/>
                  <a:gd name="T4" fmla="*/ 22 w 57"/>
                  <a:gd name="T5" fmla="*/ 27 h 91"/>
                  <a:gd name="T6" fmla="*/ 22 w 57"/>
                  <a:gd name="T7" fmla="*/ 74 h 91"/>
                  <a:gd name="T8" fmla="*/ 0 w 57"/>
                  <a:gd name="T9" fmla="*/ 90 h 91"/>
                  <a:gd name="T10" fmla="*/ 0 w 57"/>
                  <a:gd name="T11" fmla="*/ 2 h 91"/>
                  <a:gd name="T12" fmla="*/ 18 w 57"/>
                  <a:gd name="T13" fmla="*/ 2 h 91"/>
                  <a:gd name="T14" fmla="*/ 21 w 57"/>
                  <a:gd name="T15" fmla="*/ 11 h 91"/>
                  <a:gd name="T16" fmla="*/ 45 w 57"/>
                  <a:gd name="T17" fmla="*/ 0 h 91"/>
                  <a:gd name="T18" fmla="*/ 57 w 57"/>
                  <a:gd name="T19" fmla="*/ 4 h 91"/>
                  <a:gd name="T20" fmla="*/ 49 w 57"/>
                  <a:gd name="T21" fmla="*/ 2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1">
                    <a:moveTo>
                      <a:pt x="49" y="22"/>
                    </a:moveTo>
                    <a:cubicBezTo>
                      <a:pt x="45" y="20"/>
                      <a:pt x="41" y="20"/>
                      <a:pt x="39" y="20"/>
                    </a:cubicBezTo>
                    <a:cubicBezTo>
                      <a:pt x="34" y="20"/>
                      <a:pt x="28" y="22"/>
                      <a:pt x="22" y="27"/>
                    </a:cubicBezTo>
                    <a:cubicBezTo>
                      <a:pt x="22" y="27"/>
                      <a:pt x="22" y="57"/>
                      <a:pt x="22" y="74"/>
                    </a:cubicBezTo>
                    <a:cubicBezTo>
                      <a:pt x="22" y="91"/>
                      <a:pt x="0" y="90"/>
                      <a:pt x="0" y="90"/>
                    </a:cubicBezTo>
                    <a:cubicBezTo>
                      <a:pt x="0" y="2"/>
                      <a:pt x="0" y="2"/>
                      <a:pt x="0" y="2"/>
                    </a:cubicBezTo>
                    <a:cubicBezTo>
                      <a:pt x="18" y="2"/>
                      <a:pt x="18" y="2"/>
                      <a:pt x="18"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1" name="Freeform 12"/>
              <p:cNvSpPr>
                <a:spLocks/>
              </p:cNvSpPr>
              <p:nvPr userDrawn="1"/>
            </p:nvSpPr>
            <p:spPr bwMode="auto">
              <a:xfrm>
                <a:off x="7907980" y="4892699"/>
                <a:ext cx="98605" cy="95129"/>
              </a:xfrm>
              <a:custGeom>
                <a:avLst/>
                <a:gdLst>
                  <a:gd name="T0" fmla="*/ 106 w 130"/>
                  <a:gd name="T1" fmla="*/ 131 h 131"/>
                  <a:gd name="T2" fmla="*/ 106 w 130"/>
                  <a:gd name="T3" fmla="*/ 53 h 131"/>
                  <a:gd name="T4" fmla="*/ 107 w 130"/>
                  <a:gd name="T5" fmla="*/ 39 h 131"/>
                  <a:gd name="T6" fmla="*/ 106 w 130"/>
                  <a:gd name="T7" fmla="*/ 39 h 131"/>
                  <a:gd name="T8" fmla="*/ 99 w 130"/>
                  <a:gd name="T9" fmla="*/ 52 h 131"/>
                  <a:gd name="T10" fmla="*/ 72 w 130"/>
                  <a:gd name="T11" fmla="*/ 93 h 131"/>
                  <a:gd name="T12" fmla="*/ 60 w 130"/>
                  <a:gd name="T13" fmla="*/ 93 h 131"/>
                  <a:gd name="T14" fmla="*/ 32 w 130"/>
                  <a:gd name="T15" fmla="*/ 51 h 131"/>
                  <a:gd name="T16" fmla="*/ 24 w 130"/>
                  <a:gd name="T17" fmla="*/ 39 h 131"/>
                  <a:gd name="T18" fmla="*/ 23 w 130"/>
                  <a:gd name="T19" fmla="*/ 39 h 131"/>
                  <a:gd name="T20" fmla="*/ 24 w 130"/>
                  <a:gd name="T21" fmla="*/ 52 h 131"/>
                  <a:gd name="T22" fmla="*/ 24 w 130"/>
                  <a:gd name="T23" fmla="*/ 131 h 131"/>
                  <a:gd name="T24" fmla="*/ 0 w 130"/>
                  <a:gd name="T25" fmla="*/ 131 h 131"/>
                  <a:gd name="T26" fmla="*/ 0 w 130"/>
                  <a:gd name="T27" fmla="*/ 0 h 131"/>
                  <a:gd name="T28" fmla="*/ 22 w 130"/>
                  <a:gd name="T29" fmla="*/ 0 h 131"/>
                  <a:gd name="T30" fmla="*/ 58 w 130"/>
                  <a:gd name="T31" fmla="*/ 52 h 131"/>
                  <a:gd name="T32" fmla="*/ 66 w 130"/>
                  <a:gd name="T33" fmla="*/ 66 h 131"/>
                  <a:gd name="T34" fmla="*/ 67 w 130"/>
                  <a:gd name="T35" fmla="*/ 66 h 131"/>
                  <a:gd name="T36" fmla="*/ 75 w 130"/>
                  <a:gd name="T37" fmla="*/ 52 h 131"/>
                  <a:gd name="T38" fmla="*/ 108 w 130"/>
                  <a:gd name="T39" fmla="*/ 0 h 131"/>
                  <a:gd name="T40" fmla="*/ 130 w 130"/>
                  <a:gd name="T41" fmla="*/ 0 h 131"/>
                  <a:gd name="T42" fmla="*/ 130 w 130"/>
                  <a:gd name="T43" fmla="*/ 131 h 131"/>
                  <a:gd name="T44" fmla="*/ 106 w 130"/>
                  <a:gd name="T45"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0" h="131">
                    <a:moveTo>
                      <a:pt x="106" y="131"/>
                    </a:moveTo>
                    <a:cubicBezTo>
                      <a:pt x="106" y="53"/>
                      <a:pt x="106" y="53"/>
                      <a:pt x="106" y="53"/>
                    </a:cubicBezTo>
                    <a:cubicBezTo>
                      <a:pt x="106" y="48"/>
                      <a:pt x="106" y="44"/>
                      <a:pt x="107" y="39"/>
                    </a:cubicBezTo>
                    <a:cubicBezTo>
                      <a:pt x="106" y="39"/>
                      <a:pt x="106" y="39"/>
                      <a:pt x="106" y="39"/>
                    </a:cubicBezTo>
                    <a:cubicBezTo>
                      <a:pt x="105" y="43"/>
                      <a:pt x="101" y="49"/>
                      <a:pt x="99" y="52"/>
                    </a:cubicBezTo>
                    <a:cubicBezTo>
                      <a:pt x="72" y="93"/>
                      <a:pt x="72" y="93"/>
                      <a:pt x="72" y="93"/>
                    </a:cubicBezTo>
                    <a:cubicBezTo>
                      <a:pt x="60" y="93"/>
                      <a:pt x="60" y="93"/>
                      <a:pt x="60" y="93"/>
                    </a:cubicBezTo>
                    <a:cubicBezTo>
                      <a:pt x="32" y="51"/>
                      <a:pt x="32" y="51"/>
                      <a:pt x="32" y="51"/>
                    </a:cubicBezTo>
                    <a:cubicBezTo>
                      <a:pt x="29" y="48"/>
                      <a:pt x="26" y="44"/>
                      <a:pt x="24" y="39"/>
                    </a:cubicBezTo>
                    <a:cubicBezTo>
                      <a:pt x="23" y="39"/>
                      <a:pt x="23" y="39"/>
                      <a:pt x="23" y="39"/>
                    </a:cubicBezTo>
                    <a:cubicBezTo>
                      <a:pt x="24" y="44"/>
                      <a:pt x="24" y="48"/>
                      <a:pt x="24" y="52"/>
                    </a:cubicBezTo>
                    <a:cubicBezTo>
                      <a:pt x="24" y="131"/>
                      <a:pt x="24" y="131"/>
                      <a:pt x="24" y="131"/>
                    </a:cubicBezTo>
                    <a:cubicBezTo>
                      <a:pt x="0" y="131"/>
                      <a:pt x="0" y="131"/>
                      <a:pt x="0" y="131"/>
                    </a:cubicBezTo>
                    <a:cubicBezTo>
                      <a:pt x="0" y="0"/>
                      <a:pt x="0" y="0"/>
                      <a:pt x="0" y="0"/>
                    </a:cubicBezTo>
                    <a:cubicBezTo>
                      <a:pt x="22" y="0"/>
                      <a:pt x="22" y="0"/>
                      <a:pt x="22" y="0"/>
                    </a:cubicBezTo>
                    <a:cubicBezTo>
                      <a:pt x="58" y="52"/>
                      <a:pt x="58" y="52"/>
                      <a:pt x="58" y="52"/>
                    </a:cubicBezTo>
                    <a:cubicBezTo>
                      <a:pt x="61" y="57"/>
                      <a:pt x="64" y="61"/>
                      <a:pt x="66" y="66"/>
                    </a:cubicBezTo>
                    <a:cubicBezTo>
                      <a:pt x="67" y="66"/>
                      <a:pt x="67" y="66"/>
                      <a:pt x="67" y="66"/>
                    </a:cubicBezTo>
                    <a:cubicBezTo>
                      <a:pt x="69" y="61"/>
                      <a:pt x="71" y="57"/>
                      <a:pt x="75" y="52"/>
                    </a:cubicBezTo>
                    <a:cubicBezTo>
                      <a:pt x="108" y="0"/>
                      <a:pt x="108" y="0"/>
                      <a:pt x="108" y="0"/>
                    </a:cubicBezTo>
                    <a:cubicBezTo>
                      <a:pt x="130" y="0"/>
                      <a:pt x="130" y="0"/>
                      <a:pt x="130" y="0"/>
                    </a:cubicBezTo>
                    <a:cubicBezTo>
                      <a:pt x="130" y="131"/>
                      <a:pt x="130" y="131"/>
                      <a:pt x="130" y="131"/>
                    </a:cubicBezTo>
                    <a:lnTo>
                      <a:pt x="106" y="131"/>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2" name="Freeform 13"/>
              <p:cNvSpPr>
                <a:spLocks/>
              </p:cNvSpPr>
              <p:nvPr userDrawn="1"/>
            </p:nvSpPr>
            <p:spPr bwMode="auto">
              <a:xfrm>
                <a:off x="7665803" y="4864376"/>
                <a:ext cx="100854" cy="148389"/>
              </a:xfrm>
              <a:custGeom>
                <a:avLst/>
                <a:gdLst>
                  <a:gd name="T0" fmla="*/ 133 w 133"/>
                  <a:gd name="T1" fmla="*/ 23 h 204"/>
                  <a:gd name="T2" fmla="*/ 132 w 133"/>
                  <a:gd name="T3" fmla="*/ 22 h 204"/>
                  <a:gd name="T4" fmla="*/ 65 w 133"/>
                  <a:gd name="T5" fmla="*/ 20 h 204"/>
                  <a:gd name="T6" fmla="*/ 52 w 133"/>
                  <a:gd name="T7" fmla="*/ 52 h 204"/>
                  <a:gd name="T8" fmla="*/ 20 w 133"/>
                  <a:gd name="T9" fmla="*/ 65 h 204"/>
                  <a:gd name="T10" fmla="*/ 22 w 133"/>
                  <a:gd name="T11" fmla="*/ 132 h 204"/>
                  <a:gd name="T12" fmla="*/ 95 w 133"/>
                  <a:gd name="T13" fmla="*/ 204 h 204"/>
                  <a:gd name="T14" fmla="*/ 117 w 133"/>
                  <a:gd name="T15" fmla="*/ 182 h 204"/>
                  <a:gd name="T16" fmla="*/ 44 w 133"/>
                  <a:gd name="T17" fmla="*/ 110 h 204"/>
                  <a:gd name="T18" fmla="*/ 42 w 133"/>
                  <a:gd name="T19" fmla="*/ 86 h 204"/>
                  <a:gd name="T20" fmla="*/ 66 w 133"/>
                  <a:gd name="T21" fmla="*/ 88 h 204"/>
                  <a:gd name="T22" fmla="*/ 133 w 133"/>
                  <a:gd name="T23" fmla="*/ 155 h 204"/>
                  <a:gd name="T24" fmla="*/ 133 w 133"/>
                  <a:gd name="T25" fmla="*/ 111 h 204"/>
                  <a:gd name="T26" fmla="*/ 88 w 133"/>
                  <a:gd name="T27" fmla="*/ 66 h 204"/>
                  <a:gd name="T28" fmla="*/ 86 w 133"/>
                  <a:gd name="T29" fmla="*/ 42 h 204"/>
                  <a:gd name="T30" fmla="*/ 110 w 133"/>
                  <a:gd name="T31" fmla="*/ 44 h 204"/>
                  <a:gd name="T32" fmla="*/ 133 w 133"/>
                  <a:gd name="T33" fmla="*/ 66 h 204"/>
                  <a:gd name="T34" fmla="*/ 133 w 133"/>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204">
                    <a:moveTo>
                      <a:pt x="133" y="23"/>
                    </a:moveTo>
                    <a:cubicBezTo>
                      <a:pt x="132" y="22"/>
                      <a:pt x="132" y="22"/>
                      <a:pt x="132" y="22"/>
                    </a:cubicBezTo>
                    <a:cubicBezTo>
                      <a:pt x="110" y="0"/>
                      <a:pt x="82" y="2"/>
                      <a:pt x="65" y="20"/>
                    </a:cubicBezTo>
                    <a:cubicBezTo>
                      <a:pt x="53" y="32"/>
                      <a:pt x="51" y="46"/>
                      <a:pt x="52" y="52"/>
                    </a:cubicBezTo>
                    <a:cubicBezTo>
                      <a:pt x="47" y="51"/>
                      <a:pt x="32" y="52"/>
                      <a:pt x="20" y="65"/>
                    </a:cubicBezTo>
                    <a:cubicBezTo>
                      <a:pt x="3" y="82"/>
                      <a:pt x="0" y="110"/>
                      <a:pt x="22" y="132"/>
                    </a:cubicBezTo>
                    <a:cubicBezTo>
                      <a:pt x="95" y="204"/>
                      <a:pt x="95" y="204"/>
                      <a:pt x="95" y="204"/>
                    </a:cubicBezTo>
                    <a:cubicBezTo>
                      <a:pt x="117" y="182"/>
                      <a:pt x="117" y="182"/>
                      <a:pt x="117" y="182"/>
                    </a:cubicBezTo>
                    <a:cubicBezTo>
                      <a:pt x="44" y="110"/>
                      <a:pt x="44" y="110"/>
                      <a:pt x="44" y="110"/>
                    </a:cubicBezTo>
                    <a:cubicBezTo>
                      <a:pt x="35" y="101"/>
                      <a:pt x="36" y="91"/>
                      <a:pt x="42" y="86"/>
                    </a:cubicBezTo>
                    <a:cubicBezTo>
                      <a:pt x="47" y="80"/>
                      <a:pt x="58" y="79"/>
                      <a:pt x="66" y="88"/>
                    </a:cubicBezTo>
                    <a:cubicBezTo>
                      <a:pt x="133" y="155"/>
                      <a:pt x="133" y="155"/>
                      <a:pt x="133" y="155"/>
                    </a:cubicBezTo>
                    <a:cubicBezTo>
                      <a:pt x="133" y="111"/>
                      <a:pt x="133" y="111"/>
                      <a:pt x="133" y="111"/>
                    </a:cubicBezTo>
                    <a:cubicBezTo>
                      <a:pt x="88" y="66"/>
                      <a:pt x="88" y="66"/>
                      <a:pt x="88" y="66"/>
                    </a:cubicBezTo>
                    <a:cubicBezTo>
                      <a:pt x="80" y="57"/>
                      <a:pt x="80" y="47"/>
                      <a:pt x="86" y="42"/>
                    </a:cubicBezTo>
                    <a:cubicBezTo>
                      <a:pt x="92" y="36"/>
                      <a:pt x="102" y="35"/>
                      <a:pt x="110" y="44"/>
                    </a:cubicBezTo>
                    <a:cubicBezTo>
                      <a:pt x="133" y="66"/>
                      <a:pt x="133" y="66"/>
                      <a:pt x="133" y="66"/>
                    </a:cubicBezTo>
                    <a:lnTo>
                      <a:pt x="133"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3" name="Freeform 14"/>
              <p:cNvSpPr>
                <a:spLocks noEditPoints="1"/>
              </p:cNvSpPr>
              <p:nvPr userDrawn="1"/>
            </p:nvSpPr>
            <p:spPr bwMode="auto">
              <a:xfrm>
                <a:off x="8023287" y="4895470"/>
                <a:ext cx="20556" cy="93282"/>
              </a:xfrm>
              <a:custGeom>
                <a:avLst/>
                <a:gdLst>
                  <a:gd name="T0" fmla="*/ 14 w 27"/>
                  <a:gd name="T1" fmla="*/ 26 h 128"/>
                  <a:gd name="T2" fmla="*/ 0 w 27"/>
                  <a:gd name="T3" fmla="*/ 13 h 128"/>
                  <a:gd name="T4" fmla="*/ 14 w 27"/>
                  <a:gd name="T5" fmla="*/ 0 h 128"/>
                  <a:gd name="T6" fmla="*/ 27 w 27"/>
                  <a:gd name="T7" fmla="*/ 13 h 128"/>
                  <a:gd name="T8" fmla="*/ 14 w 27"/>
                  <a:gd name="T9" fmla="*/ 26 h 128"/>
                  <a:gd name="T10" fmla="*/ 3 w 27"/>
                  <a:gd name="T11" fmla="*/ 128 h 128"/>
                  <a:gd name="T12" fmla="*/ 3 w 27"/>
                  <a:gd name="T13" fmla="*/ 40 h 128"/>
                  <a:gd name="T14" fmla="*/ 25 w 27"/>
                  <a:gd name="T15" fmla="*/ 40 h 128"/>
                  <a:gd name="T16" fmla="*/ 25 w 27"/>
                  <a:gd name="T17" fmla="*/ 112 h 128"/>
                  <a:gd name="T18" fmla="*/ 3 w 27"/>
                  <a:gd name="T1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128">
                    <a:moveTo>
                      <a:pt x="14" y="26"/>
                    </a:moveTo>
                    <a:cubicBezTo>
                      <a:pt x="6" y="26"/>
                      <a:pt x="0" y="20"/>
                      <a:pt x="0" y="13"/>
                    </a:cubicBezTo>
                    <a:cubicBezTo>
                      <a:pt x="0" y="6"/>
                      <a:pt x="6" y="0"/>
                      <a:pt x="14" y="0"/>
                    </a:cubicBezTo>
                    <a:cubicBezTo>
                      <a:pt x="21" y="0"/>
                      <a:pt x="27" y="5"/>
                      <a:pt x="27" y="13"/>
                    </a:cubicBezTo>
                    <a:cubicBezTo>
                      <a:pt x="27" y="20"/>
                      <a:pt x="21" y="26"/>
                      <a:pt x="14" y="26"/>
                    </a:cubicBezTo>
                    <a:close/>
                    <a:moveTo>
                      <a:pt x="3" y="128"/>
                    </a:moveTo>
                    <a:cubicBezTo>
                      <a:pt x="3" y="40"/>
                      <a:pt x="3" y="40"/>
                      <a:pt x="3" y="40"/>
                    </a:cubicBezTo>
                    <a:cubicBezTo>
                      <a:pt x="25" y="40"/>
                      <a:pt x="25" y="40"/>
                      <a:pt x="25" y="40"/>
                    </a:cubicBezTo>
                    <a:cubicBezTo>
                      <a:pt x="25" y="40"/>
                      <a:pt x="25" y="95"/>
                      <a:pt x="25" y="112"/>
                    </a:cubicBezTo>
                    <a:cubicBezTo>
                      <a:pt x="25" y="128"/>
                      <a:pt x="3" y="128"/>
                      <a:pt x="3" y="1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4" name="Freeform 15"/>
              <p:cNvSpPr>
                <a:spLocks/>
              </p:cNvSpPr>
              <p:nvPr userDrawn="1"/>
            </p:nvSpPr>
            <p:spPr bwMode="auto">
              <a:xfrm>
                <a:off x="8615239" y="4924717"/>
                <a:ext cx="103744" cy="66806"/>
              </a:xfrm>
              <a:custGeom>
                <a:avLst/>
                <a:gdLst>
                  <a:gd name="T0" fmla="*/ 111 w 137"/>
                  <a:gd name="T1" fmla="*/ 72 h 92"/>
                  <a:gd name="T2" fmla="*/ 88 w 137"/>
                  <a:gd name="T3" fmla="*/ 88 h 92"/>
                  <a:gd name="T4" fmla="*/ 68 w 137"/>
                  <a:gd name="T5" fmla="*/ 28 h 92"/>
                  <a:gd name="T6" fmla="*/ 68 w 137"/>
                  <a:gd name="T7" fmla="*/ 28 h 92"/>
                  <a:gd name="T8" fmla="*/ 53 w 137"/>
                  <a:gd name="T9" fmla="*/ 72 h 92"/>
                  <a:gd name="T10" fmla="*/ 31 w 137"/>
                  <a:gd name="T11" fmla="*/ 88 h 92"/>
                  <a:gd name="T12" fmla="*/ 0 w 137"/>
                  <a:gd name="T13" fmla="*/ 0 h 92"/>
                  <a:gd name="T14" fmla="*/ 22 w 137"/>
                  <a:gd name="T15" fmla="*/ 0 h 92"/>
                  <a:gd name="T16" fmla="*/ 41 w 137"/>
                  <a:gd name="T17" fmla="*/ 60 h 92"/>
                  <a:gd name="T18" fmla="*/ 41 w 137"/>
                  <a:gd name="T19" fmla="*/ 60 h 92"/>
                  <a:gd name="T20" fmla="*/ 60 w 137"/>
                  <a:gd name="T21" fmla="*/ 0 h 92"/>
                  <a:gd name="T22" fmla="*/ 77 w 137"/>
                  <a:gd name="T23" fmla="*/ 0 h 92"/>
                  <a:gd name="T24" fmla="*/ 97 w 137"/>
                  <a:gd name="T25" fmla="*/ 60 h 92"/>
                  <a:gd name="T26" fmla="*/ 97 w 137"/>
                  <a:gd name="T27" fmla="*/ 60 h 92"/>
                  <a:gd name="T28" fmla="*/ 115 w 137"/>
                  <a:gd name="T29" fmla="*/ 0 h 92"/>
                  <a:gd name="T30" fmla="*/ 137 w 137"/>
                  <a:gd name="T31" fmla="*/ 0 h 92"/>
                  <a:gd name="T32" fmla="*/ 111 w 137"/>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 h="92">
                    <a:moveTo>
                      <a:pt x="111" y="72"/>
                    </a:moveTo>
                    <a:cubicBezTo>
                      <a:pt x="104" y="92"/>
                      <a:pt x="88" y="88"/>
                      <a:pt x="88" y="88"/>
                    </a:cubicBezTo>
                    <a:cubicBezTo>
                      <a:pt x="68" y="28"/>
                      <a:pt x="68" y="28"/>
                      <a:pt x="68" y="28"/>
                    </a:cubicBezTo>
                    <a:cubicBezTo>
                      <a:pt x="68" y="28"/>
                      <a:pt x="68" y="28"/>
                      <a:pt x="68" y="28"/>
                    </a:cubicBezTo>
                    <a:cubicBezTo>
                      <a:pt x="68" y="28"/>
                      <a:pt x="59"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7" y="60"/>
                      <a:pt x="97" y="60"/>
                      <a:pt x="97" y="60"/>
                    </a:cubicBezTo>
                    <a:cubicBezTo>
                      <a:pt x="97" y="60"/>
                      <a:pt x="97" y="60"/>
                      <a:pt x="97" y="60"/>
                    </a:cubicBezTo>
                    <a:cubicBezTo>
                      <a:pt x="115" y="0"/>
                      <a:pt x="115" y="0"/>
                      <a:pt x="115" y="0"/>
                    </a:cubicBezTo>
                    <a:cubicBezTo>
                      <a:pt x="137" y="0"/>
                      <a:pt x="137" y="0"/>
                      <a:pt x="137" y="0"/>
                    </a:cubicBezTo>
                    <a:cubicBezTo>
                      <a:pt x="137"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5" name="Freeform 16"/>
              <p:cNvSpPr>
                <a:spLocks noEditPoints="1"/>
              </p:cNvSpPr>
              <p:nvPr userDrawn="1"/>
            </p:nvSpPr>
            <p:spPr bwMode="auto">
              <a:xfrm>
                <a:off x="8423168" y="4892699"/>
                <a:ext cx="65844" cy="95129"/>
              </a:xfrm>
              <a:custGeom>
                <a:avLst/>
                <a:gdLst>
                  <a:gd name="T0" fmla="*/ 1 w 87"/>
                  <a:gd name="T1" fmla="*/ 0 h 131"/>
                  <a:gd name="T2" fmla="*/ 0 w 87"/>
                  <a:gd name="T3" fmla="*/ 131 h 131"/>
                  <a:gd name="T4" fmla="*/ 41 w 87"/>
                  <a:gd name="T5" fmla="*/ 131 h 131"/>
                  <a:gd name="T6" fmla="*/ 87 w 87"/>
                  <a:gd name="T7" fmla="*/ 92 h 131"/>
                  <a:gd name="T8" fmla="*/ 65 w 87"/>
                  <a:gd name="T9" fmla="*/ 61 h 131"/>
                  <a:gd name="T10" fmla="*/ 62 w 87"/>
                  <a:gd name="T11" fmla="*/ 60 h 131"/>
                  <a:gd name="T12" fmla="*/ 64 w 87"/>
                  <a:gd name="T13" fmla="*/ 59 h 131"/>
                  <a:gd name="T14" fmla="*/ 79 w 87"/>
                  <a:gd name="T15" fmla="*/ 32 h 131"/>
                  <a:gd name="T16" fmla="*/ 42 w 87"/>
                  <a:gd name="T17" fmla="*/ 0 h 131"/>
                  <a:gd name="T18" fmla="*/ 1 w 87"/>
                  <a:gd name="T19" fmla="*/ 0 h 131"/>
                  <a:gd name="T20" fmla="*/ 23 w 87"/>
                  <a:gd name="T21" fmla="*/ 17 h 131"/>
                  <a:gd name="T22" fmla="*/ 36 w 87"/>
                  <a:gd name="T23" fmla="*/ 17 h 131"/>
                  <a:gd name="T24" fmla="*/ 56 w 87"/>
                  <a:gd name="T25" fmla="*/ 35 h 131"/>
                  <a:gd name="T26" fmla="*/ 38 w 87"/>
                  <a:gd name="T27" fmla="*/ 55 h 131"/>
                  <a:gd name="T28" fmla="*/ 22 w 87"/>
                  <a:gd name="T29" fmla="*/ 55 h 131"/>
                  <a:gd name="T30" fmla="*/ 23 w 87"/>
                  <a:gd name="T31" fmla="*/ 17 h 131"/>
                  <a:gd name="T32" fmla="*/ 22 w 87"/>
                  <a:gd name="T33" fmla="*/ 74 h 131"/>
                  <a:gd name="T34" fmla="*/ 40 w 87"/>
                  <a:gd name="T35" fmla="*/ 74 h 131"/>
                  <a:gd name="T36" fmla="*/ 64 w 87"/>
                  <a:gd name="T37" fmla="*/ 92 h 131"/>
                  <a:gd name="T38" fmla="*/ 39 w 87"/>
                  <a:gd name="T39" fmla="*/ 113 h 131"/>
                  <a:gd name="T40" fmla="*/ 22 w 87"/>
                  <a:gd name="T41" fmla="*/ 113 h 131"/>
                  <a:gd name="T42" fmla="*/ 22 w 87"/>
                  <a:gd name="T43" fmla="*/ 7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131">
                    <a:moveTo>
                      <a:pt x="1" y="0"/>
                    </a:moveTo>
                    <a:cubicBezTo>
                      <a:pt x="1" y="3"/>
                      <a:pt x="0" y="129"/>
                      <a:pt x="0" y="131"/>
                    </a:cubicBezTo>
                    <a:cubicBezTo>
                      <a:pt x="2" y="131"/>
                      <a:pt x="41" y="131"/>
                      <a:pt x="41" y="131"/>
                    </a:cubicBezTo>
                    <a:cubicBezTo>
                      <a:pt x="73" y="131"/>
                      <a:pt x="87" y="111"/>
                      <a:pt x="87" y="92"/>
                    </a:cubicBezTo>
                    <a:cubicBezTo>
                      <a:pt x="87" y="77"/>
                      <a:pt x="79" y="65"/>
                      <a:pt x="65" y="61"/>
                    </a:cubicBezTo>
                    <a:cubicBezTo>
                      <a:pt x="62" y="60"/>
                      <a:pt x="62" y="60"/>
                      <a:pt x="62" y="60"/>
                    </a:cubicBezTo>
                    <a:cubicBezTo>
                      <a:pt x="64" y="59"/>
                      <a:pt x="64" y="59"/>
                      <a:pt x="64" y="59"/>
                    </a:cubicBezTo>
                    <a:cubicBezTo>
                      <a:pt x="74" y="54"/>
                      <a:pt x="79" y="44"/>
                      <a:pt x="79" y="32"/>
                    </a:cubicBezTo>
                    <a:cubicBezTo>
                      <a:pt x="79" y="17"/>
                      <a:pt x="68" y="0"/>
                      <a:pt x="42" y="0"/>
                    </a:cubicBezTo>
                    <a:cubicBezTo>
                      <a:pt x="42" y="0"/>
                      <a:pt x="3" y="0"/>
                      <a:pt x="1" y="0"/>
                    </a:cubicBezTo>
                    <a:close/>
                    <a:moveTo>
                      <a:pt x="23" y="17"/>
                    </a:moveTo>
                    <a:cubicBezTo>
                      <a:pt x="36" y="17"/>
                      <a:pt x="36" y="17"/>
                      <a:pt x="36" y="17"/>
                    </a:cubicBezTo>
                    <a:cubicBezTo>
                      <a:pt x="49" y="17"/>
                      <a:pt x="56" y="24"/>
                      <a:pt x="56" y="35"/>
                    </a:cubicBezTo>
                    <a:cubicBezTo>
                      <a:pt x="56" y="47"/>
                      <a:pt x="47" y="55"/>
                      <a:pt x="38" y="55"/>
                    </a:cubicBezTo>
                    <a:cubicBezTo>
                      <a:pt x="22" y="55"/>
                      <a:pt x="22" y="55"/>
                      <a:pt x="22" y="55"/>
                    </a:cubicBezTo>
                    <a:lnTo>
                      <a:pt x="23" y="17"/>
                    </a:lnTo>
                    <a:close/>
                    <a:moveTo>
                      <a:pt x="22" y="74"/>
                    </a:moveTo>
                    <a:cubicBezTo>
                      <a:pt x="40" y="74"/>
                      <a:pt x="40" y="74"/>
                      <a:pt x="40" y="74"/>
                    </a:cubicBezTo>
                    <a:cubicBezTo>
                      <a:pt x="55" y="74"/>
                      <a:pt x="64" y="81"/>
                      <a:pt x="64" y="92"/>
                    </a:cubicBezTo>
                    <a:cubicBezTo>
                      <a:pt x="64" y="105"/>
                      <a:pt x="55" y="113"/>
                      <a:pt x="39" y="113"/>
                    </a:cubicBezTo>
                    <a:cubicBezTo>
                      <a:pt x="22" y="113"/>
                      <a:pt x="22" y="113"/>
                      <a:pt x="22" y="113"/>
                    </a:cubicBezTo>
                    <a:lnTo>
                      <a:pt x="22" y="74"/>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6" name="Freeform 17"/>
              <p:cNvSpPr>
                <a:spLocks noEditPoints="1"/>
              </p:cNvSpPr>
              <p:nvPr userDrawn="1"/>
            </p:nvSpPr>
            <p:spPr bwMode="auto">
              <a:xfrm>
                <a:off x="8546184" y="4923177"/>
                <a:ext cx="66486" cy="66190"/>
              </a:xfrm>
              <a:custGeom>
                <a:avLst/>
                <a:gdLst>
                  <a:gd name="T0" fmla="*/ 75 w 88"/>
                  <a:gd name="T1" fmla="*/ 78 h 91"/>
                  <a:gd name="T2" fmla="*/ 44 w 88"/>
                  <a:gd name="T3" fmla="*/ 91 h 91"/>
                  <a:gd name="T4" fmla="*/ 14 w 88"/>
                  <a:gd name="T5" fmla="*/ 80 h 91"/>
                  <a:gd name="T6" fmla="*/ 0 w 88"/>
                  <a:gd name="T7" fmla="*/ 46 h 91"/>
                  <a:gd name="T8" fmla="*/ 13 w 88"/>
                  <a:gd name="T9" fmla="*/ 12 h 91"/>
                  <a:gd name="T10" fmla="*/ 44 w 88"/>
                  <a:gd name="T11" fmla="*/ 0 h 91"/>
                  <a:gd name="T12" fmla="*/ 76 w 88"/>
                  <a:gd name="T13" fmla="*/ 12 h 91"/>
                  <a:gd name="T14" fmla="*/ 88 w 88"/>
                  <a:gd name="T15" fmla="*/ 45 h 91"/>
                  <a:gd name="T16" fmla="*/ 75 w 88"/>
                  <a:gd name="T17" fmla="*/ 78 h 91"/>
                  <a:gd name="T18" fmla="*/ 44 w 88"/>
                  <a:gd name="T19" fmla="*/ 17 h 91"/>
                  <a:gd name="T20" fmla="*/ 23 w 88"/>
                  <a:gd name="T21" fmla="*/ 45 h 91"/>
                  <a:gd name="T22" fmla="*/ 44 w 88"/>
                  <a:gd name="T23" fmla="*/ 73 h 91"/>
                  <a:gd name="T24" fmla="*/ 65 w 88"/>
                  <a:gd name="T25" fmla="*/ 45 h 91"/>
                  <a:gd name="T26" fmla="*/ 44 w 88"/>
                  <a:gd name="T27"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91">
                    <a:moveTo>
                      <a:pt x="75" y="78"/>
                    </a:moveTo>
                    <a:cubicBezTo>
                      <a:pt x="68" y="86"/>
                      <a:pt x="57" y="91"/>
                      <a:pt x="44" y="91"/>
                    </a:cubicBezTo>
                    <a:cubicBezTo>
                      <a:pt x="32" y="91"/>
                      <a:pt x="21" y="87"/>
                      <a:pt x="14" y="80"/>
                    </a:cubicBezTo>
                    <a:cubicBezTo>
                      <a:pt x="5" y="72"/>
                      <a:pt x="0" y="60"/>
                      <a:pt x="0" y="46"/>
                    </a:cubicBezTo>
                    <a:cubicBezTo>
                      <a:pt x="0" y="32"/>
                      <a:pt x="5" y="20"/>
                      <a:pt x="13" y="12"/>
                    </a:cubicBezTo>
                    <a:cubicBezTo>
                      <a:pt x="21" y="4"/>
                      <a:pt x="31" y="0"/>
                      <a:pt x="44" y="0"/>
                    </a:cubicBezTo>
                    <a:cubicBezTo>
                      <a:pt x="57" y="0"/>
                      <a:pt x="68" y="4"/>
                      <a:pt x="76" y="12"/>
                    </a:cubicBezTo>
                    <a:cubicBezTo>
                      <a:pt x="84" y="20"/>
                      <a:pt x="88" y="32"/>
                      <a:pt x="88" y="45"/>
                    </a:cubicBezTo>
                    <a:cubicBezTo>
                      <a:pt x="88" y="58"/>
                      <a:pt x="83" y="70"/>
                      <a:pt x="75" y="78"/>
                    </a:cubicBezTo>
                    <a:close/>
                    <a:moveTo>
                      <a:pt x="44" y="17"/>
                    </a:moveTo>
                    <a:cubicBezTo>
                      <a:pt x="30" y="17"/>
                      <a:pt x="23" y="29"/>
                      <a:pt x="23" y="45"/>
                    </a:cubicBezTo>
                    <a:cubicBezTo>
                      <a:pt x="23" y="62"/>
                      <a:pt x="31" y="73"/>
                      <a:pt x="44" y="73"/>
                    </a:cubicBezTo>
                    <a:cubicBezTo>
                      <a:pt x="58" y="73"/>
                      <a:pt x="65" y="61"/>
                      <a:pt x="65" y="45"/>
                    </a:cubicBezTo>
                    <a:cubicBezTo>
                      <a:pt x="65" y="28"/>
                      <a:pt x="57" y="17"/>
                      <a:pt x="44" y="1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7" name="Freeform 18"/>
              <p:cNvSpPr>
                <a:spLocks/>
              </p:cNvSpPr>
              <p:nvPr userDrawn="1"/>
            </p:nvSpPr>
            <p:spPr bwMode="auto">
              <a:xfrm>
                <a:off x="8728298" y="4923177"/>
                <a:ext cx="60705" cy="65574"/>
              </a:xfrm>
              <a:custGeom>
                <a:avLst/>
                <a:gdLst>
                  <a:gd name="T0" fmla="*/ 58 w 80"/>
                  <a:gd name="T1" fmla="*/ 90 h 90"/>
                  <a:gd name="T2" fmla="*/ 58 w 80"/>
                  <a:gd name="T3" fmla="*/ 38 h 90"/>
                  <a:gd name="T4" fmla="*/ 45 w 80"/>
                  <a:gd name="T5" fmla="*/ 19 h 90"/>
                  <a:gd name="T6" fmla="*/ 23 w 80"/>
                  <a:gd name="T7" fmla="*/ 28 h 90"/>
                  <a:gd name="T8" fmla="*/ 23 w 80"/>
                  <a:gd name="T9" fmla="*/ 74 h 90"/>
                  <a:gd name="T10" fmla="*/ 0 w 80"/>
                  <a:gd name="T11" fmla="*/ 90 h 90"/>
                  <a:gd name="T12" fmla="*/ 0 w 80"/>
                  <a:gd name="T13" fmla="*/ 2 h 90"/>
                  <a:gd name="T14" fmla="*/ 19 w 80"/>
                  <a:gd name="T15" fmla="*/ 2 h 90"/>
                  <a:gd name="T16" fmla="*/ 22 w 80"/>
                  <a:gd name="T17" fmla="*/ 11 h 90"/>
                  <a:gd name="T18" fmla="*/ 52 w 80"/>
                  <a:gd name="T19" fmla="*/ 0 h 90"/>
                  <a:gd name="T20" fmla="*/ 80 w 80"/>
                  <a:gd name="T21" fmla="*/ 31 h 90"/>
                  <a:gd name="T22" fmla="*/ 80 w 80"/>
                  <a:gd name="T23" fmla="*/ 74 h 90"/>
                  <a:gd name="T24" fmla="*/ 58 w 80"/>
                  <a:gd name="T2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90">
                    <a:moveTo>
                      <a:pt x="58" y="90"/>
                    </a:moveTo>
                    <a:cubicBezTo>
                      <a:pt x="58" y="38"/>
                      <a:pt x="58" y="38"/>
                      <a:pt x="58" y="38"/>
                    </a:cubicBezTo>
                    <a:cubicBezTo>
                      <a:pt x="58" y="29"/>
                      <a:pt x="56" y="19"/>
                      <a:pt x="45" y="19"/>
                    </a:cubicBezTo>
                    <a:cubicBezTo>
                      <a:pt x="37" y="19"/>
                      <a:pt x="29" y="23"/>
                      <a:pt x="23" y="28"/>
                    </a:cubicBezTo>
                    <a:cubicBezTo>
                      <a:pt x="23" y="28"/>
                      <a:pt x="23" y="57"/>
                      <a:pt x="23" y="74"/>
                    </a:cubicBezTo>
                    <a:cubicBezTo>
                      <a:pt x="23" y="90"/>
                      <a:pt x="0" y="90"/>
                      <a:pt x="0" y="90"/>
                    </a:cubicBezTo>
                    <a:cubicBezTo>
                      <a:pt x="0" y="2"/>
                      <a:pt x="0" y="2"/>
                      <a:pt x="0" y="2"/>
                    </a:cubicBezTo>
                    <a:cubicBezTo>
                      <a:pt x="19" y="2"/>
                      <a:pt x="19" y="2"/>
                      <a:pt x="19" y="2"/>
                    </a:cubicBezTo>
                    <a:cubicBezTo>
                      <a:pt x="22" y="11"/>
                      <a:pt x="22" y="11"/>
                      <a:pt x="22" y="11"/>
                    </a:cubicBezTo>
                    <a:cubicBezTo>
                      <a:pt x="31" y="4"/>
                      <a:pt x="40" y="0"/>
                      <a:pt x="52" y="0"/>
                    </a:cubicBezTo>
                    <a:cubicBezTo>
                      <a:pt x="65" y="0"/>
                      <a:pt x="80" y="8"/>
                      <a:pt x="80" y="31"/>
                    </a:cubicBezTo>
                    <a:cubicBezTo>
                      <a:pt x="80" y="31"/>
                      <a:pt x="80" y="57"/>
                      <a:pt x="80" y="74"/>
                    </a:cubicBezTo>
                    <a:cubicBezTo>
                      <a:pt x="80" y="90"/>
                      <a:pt x="58" y="90"/>
                      <a:pt x="58" y="9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8" name="Freeform 19"/>
              <p:cNvSpPr>
                <a:spLocks/>
              </p:cNvSpPr>
              <p:nvPr userDrawn="1"/>
            </p:nvSpPr>
            <p:spPr bwMode="auto">
              <a:xfrm>
                <a:off x="8501217" y="4923177"/>
                <a:ext cx="43361" cy="65574"/>
              </a:xfrm>
              <a:custGeom>
                <a:avLst/>
                <a:gdLst>
                  <a:gd name="T0" fmla="*/ 49 w 57"/>
                  <a:gd name="T1" fmla="*/ 22 h 90"/>
                  <a:gd name="T2" fmla="*/ 39 w 57"/>
                  <a:gd name="T3" fmla="*/ 20 h 90"/>
                  <a:gd name="T4" fmla="*/ 22 w 57"/>
                  <a:gd name="T5" fmla="*/ 27 h 90"/>
                  <a:gd name="T6" fmla="*/ 22 w 57"/>
                  <a:gd name="T7" fmla="*/ 74 h 90"/>
                  <a:gd name="T8" fmla="*/ 0 w 57"/>
                  <a:gd name="T9" fmla="*/ 90 h 90"/>
                  <a:gd name="T10" fmla="*/ 0 w 57"/>
                  <a:gd name="T11" fmla="*/ 2 h 90"/>
                  <a:gd name="T12" fmla="*/ 19 w 57"/>
                  <a:gd name="T13" fmla="*/ 2 h 90"/>
                  <a:gd name="T14" fmla="*/ 21 w 57"/>
                  <a:gd name="T15" fmla="*/ 11 h 90"/>
                  <a:gd name="T16" fmla="*/ 45 w 57"/>
                  <a:gd name="T17" fmla="*/ 0 h 90"/>
                  <a:gd name="T18" fmla="*/ 57 w 57"/>
                  <a:gd name="T19" fmla="*/ 4 h 90"/>
                  <a:gd name="T20" fmla="*/ 49 w 57"/>
                  <a:gd name="T21" fmla="*/ 2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0">
                    <a:moveTo>
                      <a:pt x="49" y="22"/>
                    </a:moveTo>
                    <a:cubicBezTo>
                      <a:pt x="46" y="20"/>
                      <a:pt x="42" y="20"/>
                      <a:pt x="39" y="20"/>
                    </a:cubicBezTo>
                    <a:cubicBezTo>
                      <a:pt x="34" y="20"/>
                      <a:pt x="28" y="22"/>
                      <a:pt x="22" y="27"/>
                    </a:cubicBezTo>
                    <a:cubicBezTo>
                      <a:pt x="22" y="27"/>
                      <a:pt x="22" y="57"/>
                      <a:pt x="22" y="74"/>
                    </a:cubicBezTo>
                    <a:cubicBezTo>
                      <a:pt x="22" y="90"/>
                      <a:pt x="0" y="90"/>
                      <a:pt x="0" y="90"/>
                    </a:cubicBezTo>
                    <a:cubicBezTo>
                      <a:pt x="0" y="2"/>
                      <a:pt x="0" y="2"/>
                      <a:pt x="0" y="2"/>
                    </a:cubicBezTo>
                    <a:cubicBezTo>
                      <a:pt x="19" y="2"/>
                      <a:pt x="19" y="2"/>
                      <a:pt x="19"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9" name="Freeform 20"/>
              <p:cNvSpPr>
                <a:spLocks/>
              </p:cNvSpPr>
              <p:nvPr userDrawn="1"/>
            </p:nvSpPr>
            <p:spPr bwMode="auto">
              <a:xfrm>
                <a:off x="7766657" y="4864376"/>
                <a:ext cx="100211" cy="148389"/>
              </a:xfrm>
              <a:custGeom>
                <a:avLst/>
                <a:gdLst>
                  <a:gd name="T0" fmla="*/ 0 w 132"/>
                  <a:gd name="T1" fmla="*/ 23 h 204"/>
                  <a:gd name="T2" fmla="*/ 1 w 132"/>
                  <a:gd name="T3" fmla="*/ 22 h 204"/>
                  <a:gd name="T4" fmla="*/ 67 w 132"/>
                  <a:gd name="T5" fmla="*/ 20 h 204"/>
                  <a:gd name="T6" fmla="*/ 80 w 132"/>
                  <a:gd name="T7" fmla="*/ 52 h 204"/>
                  <a:gd name="T8" fmla="*/ 113 w 132"/>
                  <a:gd name="T9" fmla="*/ 65 h 204"/>
                  <a:gd name="T10" fmla="*/ 111 w 132"/>
                  <a:gd name="T11" fmla="*/ 132 h 204"/>
                  <a:gd name="T12" fmla="*/ 38 w 132"/>
                  <a:gd name="T13" fmla="*/ 204 h 204"/>
                  <a:gd name="T14" fmla="*/ 16 w 132"/>
                  <a:gd name="T15" fmla="*/ 182 h 204"/>
                  <a:gd name="T16" fmla="*/ 88 w 132"/>
                  <a:gd name="T17" fmla="*/ 110 h 204"/>
                  <a:gd name="T18" fmla="*/ 91 w 132"/>
                  <a:gd name="T19" fmla="*/ 86 h 204"/>
                  <a:gd name="T20" fmla="*/ 67 w 132"/>
                  <a:gd name="T21" fmla="*/ 88 h 204"/>
                  <a:gd name="T22" fmla="*/ 0 w 132"/>
                  <a:gd name="T23" fmla="*/ 155 h 204"/>
                  <a:gd name="T24" fmla="*/ 0 w 132"/>
                  <a:gd name="T25" fmla="*/ 111 h 204"/>
                  <a:gd name="T26" fmla="*/ 45 w 132"/>
                  <a:gd name="T27" fmla="*/ 66 h 204"/>
                  <a:gd name="T28" fmla="*/ 46 w 132"/>
                  <a:gd name="T29" fmla="*/ 42 h 204"/>
                  <a:gd name="T30" fmla="*/ 22 w 132"/>
                  <a:gd name="T31" fmla="*/ 44 h 204"/>
                  <a:gd name="T32" fmla="*/ 0 w 132"/>
                  <a:gd name="T33" fmla="*/ 66 h 204"/>
                  <a:gd name="T34" fmla="*/ 0 w 132"/>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204">
                    <a:moveTo>
                      <a:pt x="0" y="23"/>
                    </a:moveTo>
                    <a:cubicBezTo>
                      <a:pt x="1" y="22"/>
                      <a:pt x="1" y="22"/>
                      <a:pt x="1" y="22"/>
                    </a:cubicBezTo>
                    <a:cubicBezTo>
                      <a:pt x="23" y="0"/>
                      <a:pt x="50" y="2"/>
                      <a:pt x="67" y="20"/>
                    </a:cubicBezTo>
                    <a:cubicBezTo>
                      <a:pt x="80" y="32"/>
                      <a:pt x="81" y="46"/>
                      <a:pt x="80" y="52"/>
                    </a:cubicBezTo>
                    <a:cubicBezTo>
                      <a:pt x="86" y="51"/>
                      <a:pt x="100" y="52"/>
                      <a:pt x="113" y="65"/>
                    </a:cubicBezTo>
                    <a:cubicBezTo>
                      <a:pt x="130" y="82"/>
                      <a:pt x="132" y="110"/>
                      <a:pt x="111" y="132"/>
                    </a:cubicBezTo>
                    <a:cubicBezTo>
                      <a:pt x="38" y="204"/>
                      <a:pt x="38" y="204"/>
                      <a:pt x="38" y="204"/>
                    </a:cubicBezTo>
                    <a:cubicBezTo>
                      <a:pt x="16" y="182"/>
                      <a:pt x="16" y="182"/>
                      <a:pt x="16" y="182"/>
                    </a:cubicBezTo>
                    <a:cubicBezTo>
                      <a:pt x="88" y="110"/>
                      <a:pt x="88" y="110"/>
                      <a:pt x="88" y="110"/>
                    </a:cubicBezTo>
                    <a:cubicBezTo>
                      <a:pt x="97" y="101"/>
                      <a:pt x="96" y="91"/>
                      <a:pt x="91" y="86"/>
                    </a:cubicBezTo>
                    <a:cubicBezTo>
                      <a:pt x="85" y="80"/>
                      <a:pt x="75" y="79"/>
                      <a:pt x="67" y="88"/>
                    </a:cubicBezTo>
                    <a:cubicBezTo>
                      <a:pt x="0" y="155"/>
                      <a:pt x="0" y="155"/>
                      <a:pt x="0" y="155"/>
                    </a:cubicBezTo>
                    <a:cubicBezTo>
                      <a:pt x="0" y="111"/>
                      <a:pt x="0" y="111"/>
                      <a:pt x="0" y="111"/>
                    </a:cubicBezTo>
                    <a:cubicBezTo>
                      <a:pt x="45" y="66"/>
                      <a:pt x="45" y="66"/>
                      <a:pt x="45" y="66"/>
                    </a:cubicBezTo>
                    <a:cubicBezTo>
                      <a:pt x="53" y="57"/>
                      <a:pt x="52" y="47"/>
                      <a:pt x="46" y="42"/>
                    </a:cubicBezTo>
                    <a:cubicBezTo>
                      <a:pt x="41" y="36"/>
                      <a:pt x="31" y="35"/>
                      <a:pt x="22" y="44"/>
                    </a:cubicBezTo>
                    <a:cubicBezTo>
                      <a:pt x="0" y="66"/>
                      <a:pt x="0" y="66"/>
                      <a:pt x="0" y="66"/>
                    </a:cubicBezTo>
                    <a:lnTo>
                      <a:pt x="0"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grpSp>
      <p:sp>
        <p:nvSpPr>
          <p:cNvPr id="119"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solidFill>
                  <a:schemeClr val="tx2">
                    <a:lumMod val="75000"/>
                  </a:schemeClr>
                </a:solidFill>
                <a:latin typeface="+mn-lt"/>
              </a:rPr>
              <a:t>Private and Confidental</a:t>
            </a:r>
            <a:endParaRPr lang="pt-BR" sz="500" dirty="0">
              <a:solidFill>
                <a:schemeClr val="tx2">
                  <a:lumMod val="75000"/>
                </a:schemeClr>
              </a:solidFill>
              <a:latin typeface="+mn-lt"/>
            </a:endParaRPr>
          </a:p>
        </p:txBody>
      </p:sp>
    </p:spTree>
    <p:extLst>
      <p:ext uri="{BB962C8B-B14F-4D97-AF65-F5344CB8AC3E}">
        <p14:creationId xmlns:p14="http://schemas.microsoft.com/office/powerpoint/2010/main" val="2411146300"/>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_A_MB_Orange">
    <p:bg>
      <p:bgPr>
        <a:solidFill>
          <a:schemeClr val="bg1"/>
        </a:solidFill>
        <a:effectLst/>
      </p:bgPr>
    </p:bg>
    <p:spTree>
      <p:nvGrpSpPr>
        <p:cNvPr id="1" name=""/>
        <p:cNvGrpSpPr/>
        <p:nvPr/>
      </p:nvGrpSpPr>
      <p:grpSpPr>
        <a:xfrm>
          <a:off x="0" y="0"/>
          <a:ext cx="0" cy="0"/>
          <a:chOff x="0" y="0"/>
          <a:chExt cx="0" cy="0"/>
        </a:xfrm>
      </p:grpSpPr>
      <p:sp>
        <p:nvSpPr>
          <p:cNvPr id="31" name="Rectangle 30"/>
          <p:cNvSpPr/>
          <p:nvPr userDrawn="1"/>
        </p:nvSpPr>
        <p:spPr>
          <a:xfrm>
            <a:off x="0" y="0"/>
            <a:ext cx="9144000" cy="5148263"/>
          </a:xfrm>
          <a:prstGeom prst="rect">
            <a:avLst/>
          </a:prstGeom>
          <a:solidFill>
            <a:schemeClr val="accent4">
              <a:lumMod val="75000"/>
            </a:schemeClr>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en-GB" sz="1050" smtClean="0">
              <a:solidFill>
                <a:schemeClr val="bg1"/>
              </a:solidFill>
              <a:latin typeface="Arial" panose="020B0604020202020204" pitchFamily="34" charset="0"/>
              <a:cs typeface="Arial" panose="020B0604020202020204" pitchFamily="34" charset="0"/>
            </a:endParaRPr>
          </a:p>
        </p:txBody>
      </p:sp>
      <p:pic>
        <p:nvPicPr>
          <p:cNvPr id="33" name="Picture 32" descr="cookie_white.png"/>
          <p:cNvPicPr>
            <a:picLocks noChangeAspect="1"/>
          </p:cNvPicPr>
          <p:nvPr userDrawn="1"/>
        </p:nvPicPr>
        <p:blipFill rotWithShape="1">
          <a:blip r:embed="rId2" cstate="screen">
            <a:alphaModFix amt="16000"/>
            <a:extLst>
              <a:ext uri="{28A0092B-C50C-407E-A947-70E740481C1C}">
                <a14:useLocalDpi xmlns:a14="http://schemas.microsoft.com/office/drawing/2010/main"/>
              </a:ext>
            </a:extLst>
          </a:blip>
          <a:srcRect/>
          <a:stretch/>
        </p:blipFill>
        <p:spPr>
          <a:xfrm flipH="1">
            <a:off x="5149029" y="2289839"/>
            <a:ext cx="4020091" cy="2880000"/>
          </a:xfrm>
          <a:prstGeom prst="rect">
            <a:avLst/>
          </a:prstGeom>
        </p:spPr>
      </p:pic>
      <p:cxnSp>
        <p:nvCxnSpPr>
          <p:cNvPr id="32" name="Straight Connector 31"/>
          <p:cNvCxnSpPr/>
          <p:nvPr userDrawn="1"/>
        </p:nvCxnSpPr>
        <p:spPr>
          <a:xfrm>
            <a:off x="343365" y="470176"/>
            <a:ext cx="8460000" cy="0"/>
          </a:xfrm>
          <a:prstGeom prst="line">
            <a:avLst/>
          </a:prstGeom>
          <a:ln w="6350" cmpd="sng">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343365" y="4801146"/>
            <a:ext cx="8460000" cy="0"/>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sp>
        <p:nvSpPr>
          <p:cNvPr id="67"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rgbClr val="FFFFFF"/>
                </a:solidFill>
                <a:latin typeface="+mn-lt"/>
              </a:defRPr>
            </a:lvl1pPr>
          </a:lstStyle>
          <a:p>
            <a:fld id="{19AB4E72-7858-48F1-A40D-12FF09E4BFB8}" type="slidenum">
              <a:rPr lang="en-GB" smtClean="0"/>
              <a:pPr/>
              <a:t>‹Nº›</a:t>
            </a:fld>
            <a:endParaRPr lang="en-GB"/>
          </a:p>
        </p:txBody>
      </p:sp>
      <p:sp>
        <p:nvSpPr>
          <p:cNvPr id="36" name="Title 1"/>
          <p:cNvSpPr>
            <a:spLocks noGrp="1"/>
          </p:cNvSpPr>
          <p:nvPr>
            <p:ph type="ctrTitle" hasCustomPrompt="1"/>
          </p:nvPr>
        </p:nvSpPr>
        <p:spPr>
          <a:xfrm>
            <a:off x="343365" y="2867487"/>
            <a:ext cx="8460000" cy="443198"/>
          </a:xfrm>
          <a:prstGeom prst="rect">
            <a:avLst/>
          </a:prstGeom>
        </p:spPr>
        <p:txBody>
          <a:bodyPr lIns="0" tIns="0" rIns="0" bIns="0" anchor="b"/>
          <a:lstStyle>
            <a:lvl1pPr>
              <a:lnSpc>
                <a:spcPct val="90000"/>
              </a:lnSpc>
              <a:defRPr sz="3200" b="0">
                <a:solidFill>
                  <a:schemeClr val="bg1"/>
                </a:solidFill>
              </a:defRPr>
            </a:lvl1pPr>
          </a:lstStyle>
          <a:p>
            <a:r>
              <a:rPr lang="en-US" dirty="0" smtClean="0"/>
              <a:t>Click to edit Master title Style</a:t>
            </a:r>
            <a:endParaRPr lang="en-US" dirty="0"/>
          </a:p>
        </p:txBody>
      </p:sp>
      <p:sp>
        <p:nvSpPr>
          <p:cNvPr id="37" name="Subtitle 2"/>
          <p:cNvSpPr>
            <a:spLocks noGrp="1"/>
          </p:cNvSpPr>
          <p:nvPr>
            <p:ph type="subTitle" idx="1" hasCustomPrompt="1"/>
          </p:nvPr>
        </p:nvSpPr>
        <p:spPr>
          <a:xfrm>
            <a:off x="343364" y="3474100"/>
            <a:ext cx="8460000" cy="202165"/>
          </a:xfrm>
          <a:prstGeom prst="rect">
            <a:avLst/>
          </a:prstGeom>
        </p:spPr>
        <p:txBody>
          <a:bodyPr lIns="0" tIns="0" rIns="0" bIns="0">
            <a:noAutofit/>
          </a:bodyPr>
          <a:lstStyle>
            <a:lvl1pPr marL="0" indent="0" algn="l">
              <a:buNone/>
              <a:defRPr sz="14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cxnSp>
        <p:nvCxnSpPr>
          <p:cNvPr id="38" name="Straight Connector 37"/>
          <p:cNvCxnSpPr/>
          <p:nvPr userDrawn="1"/>
        </p:nvCxnSpPr>
        <p:spPr>
          <a:xfrm>
            <a:off x="346086" y="3395058"/>
            <a:ext cx="8460000" cy="0"/>
          </a:xfrm>
          <a:prstGeom prst="line">
            <a:avLst/>
          </a:prstGeom>
          <a:ln w="12700" cmpd="sng">
            <a:solidFill>
              <a:schemeClr val="bg1"/>
            </a:solidFill>
          </a:ln>
        </p:spPr>
        <p:style>
          <a:lnRef idx="1">
            <a:schemeClr val="accent1"/>
          </a:lnRef>
          <a:fillRef idx="0">
            <a:schemeClr val="accent1"/>
          </a:fillRef>
          <a:effectRef idx="0">
            <a:schemeClr val="accent1"/>
          </a:effectRef>
          <a:fontRef idx="minor">
            <a:schemeClr val="tx1"/>
          </a:fontRef>
        </p:style>
      </p:cxnSp>
      <p:grpSp>
        <p:nvGrpSpPr>
          <p:cNvPr id="74" name="Group 73"/>
          <p:cNvGrpSpPr/>
          <p:nvPr userDrawn="1"/>
        </p:nvGrpSpPr>
        <p:grpSpPr>
          <a:xfrm>
            <a:off x="4750866" y="4840100"/>
            <a:ext cx="1123200" cy="233974"/>
            <a:chOff x="7665803" y="4864376"/>
            <a:chExt cx="1123200" cy="233974"/>
          </a:xfrm>
          <a:solidFill>
            <a:schemeClr val="bg1"/>
          </a:solidFill>
        </p:grpSpPr>
        <p:sp>
          <p:nvSpPr>
            <p:cNvPr id="98" name="Freeform 6"/>
            <p:cNvSpPr>
              <a:spLocks/>
            </p:cNvSpPr>
            <p:nvPr userDrawn="1"/>
          </p:nvSpPr>
          <p:spPr bwMode="auto">
            <a:xfrm>
              <a:off x="8119644" y="4924717"/>
              <a:ext cx="103102" cy="66806"/>
            </a:xfrm>
            <a:custGeom>
              <a:avLst/>
              <a:gdLst>
                <a:gd name="T0" fmla="*/ 111 w 136"/>
                <a:gd name="T1" fmla="*/ 72 h 92"/>
                <a:gd name="T2" fmla="*/ 87 w 136"/>
                <a:gd name="T3" fmla="*/ 88 h 92"/>
                <a:gd name="T4" fmla="*/ 68 w 136"/>
                <a:gd name="T5" fmla="*/ 28 h 92"/>
                <a:gd name="T6" fmla="*/ 67 w 136"/>
                <a:gd name="T7" fmla="*/ 28 h 92"/>
                <a:gd name="T8" fmla="*/ 53 w 136"/>
                <a:gd name="T9" fmla="*/ 72 h 92"/>
                <a:gd name="T10" fmla="*/ 31 w 136"/>
                <a:gd name="T11" fmla="*/ 88 h 92"/>
                <a:gd name="T12" fmla="*/ 0 w 136"/>
                <a:gd name="T13" fmla="*/ 0 h 92"/>
                <a:gd name="T14" fmla="*/ 22 w 136"/>
                <a:gd name="T15" fmla="*/ 0 h 92"/>
                <a:gd name="T16" fmla="*/ 41 w 136"/>
                <a:gd name="T17" fmla="*/ 60 h 92"/>
                <a:gd name="T18" fmla="*/ 41 w 136"/>
                <a:gd name="T19" fmla="*/ 60 h 92"/>
                <a:gd name="T20" fmla="*/ 60 w 136"/>
                <a:gd name="T21" fmla="*/ 0 h 92"/>
                <a:gd name="T22" fmla="*/ 77 w 136"/>
                <a:gd name="T23" fmla="*/ 0 h 92"/>
                <a:gd name="T24" fmla="*/ 96 w 136"/>
                <a:gd name="T25" fmla="*/ 60 h 92"/>
                <a:gd name="T26" fmla="*/ 97 w 136"/>
                <a:gd name="T27" fmla="*/ 60 h 92"/>
                <a:gd name="T28" fmla="*/ 115 w 136"/>
                <a:gd name="T29" fmla="*/ 0 h 92"/>
                <a:gd name="T30" fmla="*/ 136 w 136"/>
                <a:gd name="T31" fmla="*/ 0 h 92"/>
                <a:gd name="T32" fmla="*/ 111 w 136"/>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 h="92">
                  <a:moveTo>
                    <a:pt x="111" y="72"/>
                  </a:moveTo>
                  <a:cubicBezTo>
                    <a:pt x="103" y="92"/>
                    <a:pt x="87" y="88"/>
                    <a:pt x="87" y="88"/>
                  </a:cubicBezTo>
                  <a:cubicBezTo>
                    <a:pt x="68" y="28"/>
                    <a:pt x="68" y="28"/>
                    <a:pt x="68" y="28"/>
                  </a:cubicBezTo>
                  <a:cubicBezTo>
                    <a:pt x="67" y="28"/>
                    <a:pt x="67" y="28"/>
                    <a:pt x="67" y="28"/>
                  </a:cubicBezTo>
                  <a:cubicBezTo>
                    <a:pt x="67" y="28"/>
                    <a:pt x="58"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6" y="60"/>
                    <a:pt x="96" y="60"/>
                    <a:pt x="96" y="60"/>
                  </a:cubicBezTo>
                  <a:cubicBezTo>
                    <a:pt x="97" y="60"/>
                    <a:pt x="97" y="60"/>
                    <a:pt x="97" y="60"/>
                  </a:cubicBezTo>
                  <a:cubicBezTo>
                    <a:pt x="115" y="0"/>
                    <a:pt x="115" y="0"/>
                    <a:pt x="115" y="0"/>
                  </a:cubicBezTo>
                  <a:cubicBezTo>
                    <a:pt x="136" y="0"/>
                    <a:pt x="136" y="0"/>
                    <a:pt x="136" y="0"/>
                  </a:cubicBezTo>
                  <a:cubicBezTo>
                    <a:pt x="136"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9" name="Freeform 7"/>
            <p:cNvSpPr>
              <a:spLocks noEditPoints="1"/>
            </p:cNvSpPr>
            <p:nvPr userDrawn="1"/>
          </p:nvSpPr>
          <p:spPr bwMode="auto">
            <a:xfrm>
              <a:off x="8225958" y="4923177"/>
              <a:ext cx="57493" cy="66190"/>
            </a:xfrm>
            <a:custGeom>
              <a:avLst/>
              <a:gdLst>
                <a:gd name="T0" fmla="*/ 57 w 76"/>
                <a:gd name="T1" fmla="*/ 90 h 91"/>
                <a:gd name="T2" fmla="*/ 53 w 76"/>
                <a:gd name="T3" fmla="*/ 81 h 91"/>
                <a:gd name="T4" fmla="*/ 28 w 76"/>
                <a:gd name="T5" fmla="*/ 91 h 91"/>
                <a:gd name="T6" fmla="*/ 0 w 76"/>
                <a:gd name="T7" fmla="*/ 63 h 91"/>
                <a:gd name="T8" fmla="*/ 36 w 76"/>
                <a:gd name="T9" fmla="*/ 34 h 91"/>
                <a:gd name="T10" fmla="*/ 51 w 76"/>
                <a:gd name="T11" fmla="*/ 34 h 91"/>
                <a:gd name="T12" fmla="*/ 51 w 76"/>
                <a:gd name="T13" fmla="*/ 31 h 91"/>
                <a:gd name="T14" fmla="*/ 35 w 76"/>
                <a:gd name="T15" fmla="*/ 17 h 91"/>
                <a:gd name="T16" fmla="*/ 12 w 76"/>
                <a:gd name="T17" fmla="*/ 23 h 91"/>
                <a:gd name="T18" fmla="*/ 5 w 76"/>
                <a:gd name="T19" fmla="*/ 9 h 91"/>
                <a:gd name="T20" fmla="*/ 39 w 76"/>
                <a:gd name="T21" fmla="*/ 0 h 91"/>
                <a:gd name="T22" fmla="*/ 74 w 76"/>
                <a:gd name="T23" fmla="*/ 31 h 91"/>
                <a:gd name="T24" fmla="*/ 74 w 76"/>
                <a:gd name="T25" fmla="*/ 66 h 91"/>
                <a:gd name="T26" fmla="*/ 76 w 76"/>
                <a:gd name="T27" fmla="*/ 90 h 91"/>
                <a:gd name="T28" fmla="*/ 57 w 76"/>
                <a:gd name="T29" fmla="*/ 90 h 91"/>
                <a:gd name="T30" fmla="*/ 51 w 76"/>
                <a:gd name="T31" fmla="*/ 49 h 91"/>
                <a:gd name="T32" fmla="*/ 39 w 76"/>
                <a:gd name="T33" fmla="*/ 49 h 91"/>
                <a:gd name="T34" fmla="*/ 22 w 76"/>
                <a:gd name="T35" fmla="*/ 61 h 91"/>
                <a:gd name="T36" fmla="*/ 36 w 76"/>
                <a:gd name="T37" fmla="*/ 73 h 91"/>
                <a:gd name="T38" fmla="*/ 51 w 76"/>
                <a:gd name="T39" fmla="*/ 68 h 91"/>
                <a:gd name="T40" fmla="*/ 51 w 76"/>
                <a:gd name="T41" fmla="*/ 4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91">
                  <a:moveTo>
                    <a:pt x="57" y="90"/>
                  </a:moveTo>
                  <a:cubicBezTo>
                    <a:pt x="53" y="81"/>
                    <a:pt x="53" y="81"/>
                    <a:pt x="53" y="81"/>
                  </a:cubicBezTo>
                  <a:cubicBezTo>
                    <a:pt x="48" y="86"/>
                    <a:pt x="40" y="91"/>
                    <a:pt x="28" y="91"/>
                  </a:cubicBezTo>
                  <a:cubicBezTo>
                    <a:pt x="12" y="91"/>
                    <a:pt x="0" y="80"/>
                    <a:pt x="0" y="63"/>
                  </a:cubicBezTo>
                  <a:cubicBezTo>
                    <a:pt x="0" y="45"/>
                    <a:pt x="14" y="35"/>
                    <a:pt x="36" y="34"/>
                  </a:cubicBezTo>
                  <a:cubicBezTo>
                    <a:pt x="51" y="34"/>
                    <a:pt x="51" y="34"/>
                    <a:pt x="51" y="34"/>
                  </a:cubicBezTo>
                  <a:cubicBezTo>
                    <a:pt x="51" y="33"/>
                    <a:pt x="51" y="32"/>
                    <a:pt x="51" y="31"/>
                  </a:cubicBezTo>
                  <a:cubicBezTo>
                    <a:pt x="51" y="21"/>
                    <a:pt x="44" y="17"/>
                    <a:pt x="35" y="17"/>
                  </a:cubicBezTo>
                  <a:cubicBezTo>
                    <a:pt x="25" y="17"/>
                    <a:pt x="18" y="20"/>
                    <a:pt x="12" y="23"/>
                  </a:cubicBezTo>
                  <a:cubicBezTo>
                    <a:pt x="5" y="9"/>
                    <a:pt x="5" y="9"/>
                    <a:pt x="5" y="9"/>
                  </a:cubicBezTo>
                  <a:cubicBezTo>
                    <a:pt x="17" y="2"/>
                    <a:pt x="28" y="0"/>
                    <a:pt x="39" y="0"/>
                  </a:cubicBezTo>
                  <a:cubicBezTo>
                    <a:pt x="61" y="0"/>
                    <a:pt x="74" y="9"/>
                    <a:pt x="74" y="31"/>
                  </a:cubicBezTo>
                  <a:cubicBezTo>
                    <a:pt x="74" y="66"/>
                    <a:pt x="74" y="66"/>
                    <a:pt x="74" y="66"/>
                  </a:cubicBezTo>
                  <a:cubicBezTo>
                    <a:pt x="74" y="78"/>
                    <a:pt x="75" y="86"/>
                    <a:pt x="76" y="90"/>
                  </a:cubicBezTo>
                  <a:lnTo>
                    <a:pt x="57" y="90"/>
                  </a:lnTo>
                  <a:close/>
                  <a:moveTo>
                    <a:pt x="51" y="49"/>
                  </a:moveTo>
                  <a:cubicBezTo>
                    <a:pt x="39" y="49"/>
                    <a:pt x="39" y="49"/>
                    <a:pt x="39" y="49"/>
                  </a:cubicBezTo>
                  <a:cubicBezTo>
                    <a:pt x="27" y="50"/>
                    <a:pt x="22" y="54"/>
                    <a:pt x="22" y="61"/>
                  </a:cubicBezTo>
                  <a:cubicBezTo>
                    <a:pt x="22" y="68"/>
                    <a:pt x="27" y="73"/>
                    <a:pt x="36" y="73"/>
                  </a:cubicBezTo>
                  <a:cubicBezTo>
                    <a:pt x="44" y="73"/>
                    <a:pt x="49" y="70"/>
                    <a:pt x="51" y="68"/>
                  </a:cubicBezTo>
                  <a:lnTo>
                    <a:pt x="51" y="4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0" name="Freeform 8"/>
            <p:cNvSpPr>
              <a:spLocks noEditPoints="1"/>
            </p:cNvSpPr>
            <p:nvPr userDrawn="1"/>
          </p:nvSpPr>
          <p:spPr bwMode="auto">
            <a:xfrm>
              <a:off x="8342550" y="4892699"/>
              <a:ext cx="62311" cy="96668"/>
            </a:xfrm>
            <a:custGeom>
              <a:avLst/>
              <a:gdLst>
                <a:gd name="T0" fmla="*/ 47 w 82"/>
                <a:gd name="T1" fmla="*/ 133 h 133"/>
                <a:gd name="T2" fmla="*/ 0 w 82"/>
                <a:gd name="T3" fmla="*/ 88 h 133"/>
                <a:gd name="T4" fmla="*/ 48 w 82"/>
                <a:gd name="T5" fmla="*/ 42 h 133"/>
                <a:gd name="T6" fmla="*/ 59 w 82"/>
                <a:gd name="T7" fmla="*/ 42 h 133"/>
                <a:gd name="T8" fmla="*/ 60 w 82"/>
                <a:gd name="T9" fmla="*/ 0 h 133"/>
                <a:gd name="T10" fmla="*/ 82 w 82"/>
                <a:gd name="T11" fmla="*/ 0 h 133"/>
                <a:gd name="T12" fmla="*/ 81 w 82"/>
                <a:gd name="T13" fmla="*/ 126 h 133"/>
                <a:gd name="T14" fmla="*/ 47 w 82"/>
                <a:gd name="T15" fmla="*/ 133 h 133"/>
                <a:gd name="T16" fmla="*/ 59 w 82"/>
                <a:gd name="T17" fmla="*/ 60 h 133"/>
                <a:gd name="T18" fmla="*/ 49 w 82"/>
                <a:gd name="T19" fmla="*/ 59 h 133"/>
                <a:gd name="T20" fmla="*/ 22 w 82"/>
                <a:gd name="T21" fmla="*/ 87 h 133"/>
                <a:gd name="T22" fmla="*/ 49 w 82"/>
                <a:gd name="T23" fmla="*/ 114 h 133"/>
                <a:gd name="T24" fmla="*/ 59 w 82"/>
                <a:gd name="T25" fmla="*/ 113 h 133"/>
                <a:gd name="T26" fmla="*/ 59 w 82"/>
                <a:gd name="T27" fmla="*/ 6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3">
                  <a:moveTo>
                    <a:pt x="47" y="133"/>
                  </a:moveTo>
                  <a:cubicBezTo>
                    <a:pt x="21" y="133"/>
                    <a:pt x="0" y="117"/>
                    <a:pt x="0" y="88"/>
                  </a:cubicBezTo>
                  <a:cubicBezTo>
                    <a:pt x="0" y="61"/>
                    <a:pt x="20" y="42"/>
                    <a:pt x="48" y="42"/>
                  </a:cubicBezTo>
                  <a:cubicBezTo>
                    <a:pt x="52" y="42"/>
                    <a:pt x="56" y="42"/>
                    <a:pt x="59" y="42"/>
                  </a:cubicBezTo>
                  <a:cubicBezTo>
                    <a:pt x="60" y="0"/>
                    <a:pt x="60" y="0"/>
                    <a:pt x="60" y="0"/>
                  </a:cubicBezTo>
                  <a:cubicBezTo>
                    <a:pt x="82" y="0"/>
                    <a:pt x="82" y="0"/>
                    <a:pt x="82" y="0"/>
                  </a:cubicBezTo>
                  <a:cubicBezTo>
                    <a:pt x="81" y="126"/>
                    <a:pt x="81" y="126"/>
                    <a:pt x="81" y="126"/>
                  </a:cubicBezTo>
                  <a:cubicBezTo>
                    <a:pt x="73" y="130"/>
                    <a:pt x="62" y="133"/>
                    <a:pt x="47" y="133"/>
                  </a:cubicBezTo>
                  <a:close/>
                  <a:moveTo>
                    <a:pt x="59" y="60"/>
                  </a:moveTo>
                  <a:cubicBezTo>
                    <a:pt x="56" y="60"/>
                    <a:pt x="54" y="59"/>
                    <a:pt x="49" y="59"/>
                  </a:cubicBezTo>
                  <a:cubicBezTo>
                    <a:pt x="33" y="59"/>
                    <a:pt x="22" y="70"/>
                    <a:pt x="22" y="87"/>
                  </a:cubicBezTo>
                  <a:cubicBezTo>
                    <a:pt x="22" y="103"/>
                    <a:pt x="32" y="114"/>
                    <a:pt x="49" y="114"/>
                  </a:cubicBezTo>
                  <a:cubicBezTo>
                    <a:pt x="53" y="114"/>
                    <a:pt x="57" y="114"/>
                    <a:pt x="59" y="113"/>
                  </a:cubicBezTo>
                  <a:lnTo>
                    <a:pt x="59" y="60"/>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1" name="Freeform 9"/>
            <p:cNvSpPr>
              <a:spLocks/>
            </p:cNvSpPr>
            <p:nvPr userDrawn="1"/>
          </p:nvSpPr>
          <p:spPr bwMode="auto">
            <a:xfrm>
              <a:off x="8093949"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2" name="Freeform 10"/>
            <p:cNvSpPr>
              <a:spLocks/>
            </p:cNvSpPr>
            <p:nvPr userDrawn="1"/>
          </p:nvSpPr>
          <p:spPr bwMode="auto">
            <a:xfrm>
              <a:off x="8060545"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3" name="Freeform 11"/>
            <p:cNvSpPr>
              <a:spLocks/>
            </p:cNvSpPr>
            <p:nvPr userDrawn="1"/>
          </p:nvSpPr>
          <p:spPr bwMode="auto">
            <a:xfrm>
              <a:off x="8297262" y="4923177"/>
              <a:ext cx="43039" cy="66190"/>
            </a:xfrm>
            <a:custGeom>
              <a:avLst/>
              <a:gdLst>
                <a:gd name="T0" fmla="*/ 49 w 57"/>
                <a:gd name="T1" fmla="*/ 22 h 91"/>
                <a:gd name="T2" fmla="*/ 39 w 57"/>
                <a:gd name="T3" fmla="*/ 20 h 91"/>
                <a:gd name="T4" fmla="*/ 22 w 57"/>
                <a:gd name="T5" fmla="*/ 27 h 91"/>
                <a:gd name="T6" fmla="*/ 22 w 57"/>
                <a:gd name="T7" fmla="*/ 74 h 91"/>
                <a:gd name="T8" fmla="*/ 0 w 57"/>
                <a:gd name="T9" fmla="*/ 90 h 91"/>
                <a:gd name="T10" fmla="*/ 0 w 57"/>
                <a:gd name="T11" fmla="*/ 2 h 91"/>
                <a:gd name="T12" fmla="*/ 18 w 57"/>
                <a:gd name="T13" fmla="*/ 2 h 91"/>
                <a:gd name="T14" fmla="*/ 21 w 57"/>
                <a:gd name="T15" fmla="*/ 11 h 91"/>
                <a:gd name="T16" fmla="*/ 45 w 57"/>
                <a:gd name="T17" fmla="*/ 0 h 91"/>
                <a:gd name="T18" fmla="*/ 57 w 57"/>
                <a:gd name="T19" fmla="*/ 4 h 91"/>
                <a:gd name="T20" fmla="*/ 49 w 57"/>
                <a:gd name="T21" fmla="*/ 2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1">
                  <a:moveTo>
                    <a:pt x="49" y="22"/>
                  </a:moveTo>
                  <a:cubicBezTo>
                    <a:pt x="45" y="20"/>
                    <a:pt x="41" y="20"/>
                    <a:pt x="39" y="20"/>
                  </a:cubicBezTo>
                  <a:cubicBezTo>
                    <a:pt x="34" y="20"/>
                    <a:pt x="28" y="22"/>
                    <a:pt x="22" y="27"/>
                  </a:cubicBezTo>
                  <a:cubicBezTo>
                    <a:pt x="22" y="27"/>
                    <a:pt x="22" y="57"/>
                    <a:pt x="22" y="74"/>
                  </a:cubicBezTo>
                  <a:cubicBezTo>
                    <a:pt x="22" y="91"/>
                    <a:pt x="0" y="90"/>
                    <a:pt x="0" y="90"/>
                  </a:cubicBezTo>
                  <a:cubicBezTo>
                    <a:pt x="0" y="2"/>
                    <a:pt x="0" y="2"/>
                    <a:pt x="0" y="2"/>
                  </a:cubicBezTo>
                  <a:cubicBezTo>
                    <a:pt x="18" y="2"/>
                    <a:pt x="18" y="2"/>
                    <a:pt x="18"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4" name="Freeform 12"/>
            <p:cNvSpPr>
              <a:spLocks/>
            </p:cNvSpPr>
            <p:nvPr userDrawn="1"/>
          </p:nvSpPr>
          <p:spPr bwMode="auto">
            <a:xfrm>
              <a:off x="7907980" y="4892699"/>
              <a:ext cx="98605" cy="95129"/>
            </a:xfrm>
            <a:custGeom>
              <a:avLst/>
              <a:gdLst>
                <a:gd name="T0" fmla="*/ 106 w 130"/>
                <a:gd name="T1" fmla="*/ 131 h 131"/>
                <a:gd name="T2" fmla="*/ 106 w 130"/>
                <a:gd name="T3" fmla="*/ 53 h 131"/>
                <a:gd name="T4" fmla="*/ 107 w 130"/>
                <a:gd name="T5" fmla="*/ 39 h 131"/>
                <a:gd name="T6" fmla="*/ 106 w 130"/>
                <a:gd name="T7" fmla="*/ 39 h 131"/>
                <a:gd name="T8" fmla="*/ 99 w 130"/>
                <a:gd name="T9" fmla="*/ 52 h 131"/>
                <a:gd name="T10" fmla="*/ 72 w 130"/>
                <a:gd name="T11" fmla="*/ 93 h 131"/>
                <a:gd name="T12" fmla="*/ 60 w 130"/>
                <a:gd name="T13" fmla="*/ 93 h 131"/>
                <a:gd name="T14" fmla="*/ 32 w 130"/>
                <a:gd name="T15" fmla="*/ 51 h 131"/>
                <a:gd name="T16" fmla="*/ 24 w 130"/>
                <a:gd name="T17" fmla="*/ 39 h 131"/>
                <a:gd name="T18" fmla="*/ 23 w 130"/>
                <a:gd name="T19" fmla="*/ 39 h 131"/>
                <a:gd name="T20" fmla="*/ 24 w 130"/>
                <a:gd name="T21" fmla="*/ 52 h 131"/>
                <a:gd name="T22" fmla="*/ 24 w 130"/>
                <a:gd name="T23" fmla="*/ 131 h 131"/>
                <a:gd name="T24" fmla="*/ 0 w 130"/>
                <a:gd name="T25" fmla="*/ 131 h 131"/>
                <a:gd name="T26" fmla="*/ 0 w 130"/>
                <a:gd name="T27" fmla="*/ 0 h 131"/>
                <a:gd name="T28" fmla="*/ 22 w 130"/>
                <a:gd name="T29" fmla="*/ 0 h 131"/>
                <a:gd name="T30" fmla="*/ 58 w 130"/>
                <a:gd name="T31" fmla="*/ 52 h 131"/>
                <a:gd name="T32" fmla="*/ 66 w 130"/>
                <a:gd name="T33" fmla="*/ 66 h 131"/>
                <a:gd name="T34" fmla="*/ 67 w 130"/>
                <a:gd name="T35" fmla="*/ 66 h 131"/>
                <a:gd name="T36" fmla="*/ 75 w 130"/>
                <a:gd name="T37" fmla="*/ 52 h 131"/>
                <a:gd name="T38" fmla="*/ 108 w 130"/>
                <a:gd name="T39" fmla="*/ 0 h 131"/>
                <a:gd name="T40" fmla="*/ 130 w 130"/>
                <a:gd name="T41" fmla="*/ 0 h 131"/>
                <a:gd name="T42" fmla="*/ 130 w 130"/>
                <a:gd name="T43" fmla="*/ 131 h 131"/>
                <a:gd name="T44" fmla="*/ 106 w 130"/>
                <a:gd name="T45"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0" h="131">
                  <a:moveTo>
                    <a:pt x="106" y="131"/>
                  </a:moveTo>
                  <a:cubicBezTo>
                    <a:pt x="106" y="53"/>
                    <a:pt x="106" y="53"/>
                    <a:pt x="106" y="53"/>
                  </a:cubicBezTo>
                  <a:cubicBezTo>
                    <a:pt x="106" y="48"/>
                    <a:pt x="106" y="44"/>
                    <a:pt x="107" y="39"/>
                  </a:cubicBezTo>
                  <a:cubicBezTo>
                    <a:pt x="106" y="39"/>
                    <a:pt x="106" y="39"/>
                    <a:pt x="106" y="39"/>
                  </a:cubicBezTo>
                  <a:cubicBezTo>
                    <a:pt x="105" y="43"/>
                    <a:pt x="101" y="49"/>
                    <a:pt x="99" y="52"/>
                  </a:cubicBezTo>
                  <a:cubicBezTo>
                    <a:pt x="72" y="93"/>
                    <a:pt x="72" y="93"/>
                    <a:pt x="72" y="93"/>
                  </a:cubicBezTo>
                  <a:cubicBezTo>
                    <a:pt x="60" y="93"/>
                    <a:pt x="60" y="93"/>
                    <a:pt x="60" y="93"/>
                  </a:cubicBezTo>
                  <a:cubicBezTo>
                    <a:pt x="32" y="51"/>
                    <a:pt x="32" y="51"/>
                    <a:pt x="32" y="51"/>
                  </a:cubicBezTo>
                  <a:cubicBezTo>
                    <a:pt x="29" y="48"/>
                    <a:pt x="26" y="44"/>
                    <a:pt x="24" y="39"/>
                  </a:cubicBezTo>
                  <a:cubicBezTo>
                    <a:pt x="23" y="39"/>
                    <a:pt x="23" y="39"/>
                    <a:pt x="23" y="39"/>
                  </a:cubicBezTo>
                  <a:cubicBezTo>
                    <a:pt x="24" y="44"/>
                    <a:pt x="24" y="48"/>
                    <a:pt x="24" y="52"/>
                  </a:cubicBezTo>
                  <a:cubicBezTo>
                    <a:pt x="24" y="131"/>
                    <a:pt x="24" y="131"/>
                    <a:pt x="24" y="131"/>
                  </a:cubicBezTo>
                  <a:cubicBezTo>
                    <a:pt x="0" y="131"/>
                    <a:pt x="0" y="131"/>
                    <a:pt x="0" y="131"/>
                  </a:cubicBezTo>
                  <a:cubicBezTo>
                    <a:pt x="0" y="0"/>
                    <a:pt x="0" y="0"/>
                    <a:pt x="0" y="0"/>
                  </a:cubicBezTo>
                  <a:cubicBezTo>
                    <a:pt x="22" y="0"/>
                    <a:pt x="22" y="0"/>
                    <a:pt x="22" y="0"/>
                  </a:cubicBezTo>
                  <a:cubicBezTo>
                    <a:pt x="58" y="52"/>
                    <a:pt x="58" y="52"/>
                    <a:pt x="58" y="52"/>
                  </a:cubicBezTo>
                  <a:cubicBezTo>
                    <a:pt x="61" y="57"/>
                    <a:pt x="64" y="61"/>
                    <a:pt x="66" y="66"/>
                  </a:cubicBezTo>
                  <a:cubicBezTo>
                    <a:pt x="67" y="66"/>
                    <a:pt x="67" y="66"/>
                    <a:pt x="67" y="66"/>
                  </a:cubicBezTo>
                  <a:cubicBezTo>
                    <a:pt x="69" y="61"/>
                    <a:pt x="71" y="57"/>
                    <a:pt x="75" y="52"/>
                  </a:cubicBezTo>
                  <a:cubicBezTo>
                    <a:pt x="108" y="0"/>
                    <a:pt x="108" y="0"/>
                    <a:pt x="108" y="0"/>
                  </a:cubicBezTo>
                  <a:cubicBezTo>
                    <a:pt x="130" y="0"/>
                    <a:pt x="130" y="0"/>
                    <a:pt x="130" y="0"/>
                  </a:cubicBezTo>
                  <a:cubicBezTo>
                    <a:pt x="130" y="131"/>
                    <a:pt x="130" y="131"/>
                    <a:pt x="130" y="131"/>
                  </a:cubicBezTo>
                  <a:lnTo>
                    <a:pt x="106" y="131"/>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5" name="Freeform 13"/>
            <p:cNvSpPr>
              <a:spLocks/>
            </p:cNvSpPr>
            <p:nvPr userDrawn="1"/>
          </p:nvSpPr>
          <p:spPr bwMode="auto">
            <a:xfrm>
              <a:off x="7665803" y="4864376"/>
              <a:ext cx="100854" cy="148389"/>
            </a:xfrm>
            <a:custGeom>
              <a:avLst/>
              <a:gdLst>
                <a:gd name="T0" fmla="*/ 133 w 133"/>
                <a:gd name="T1" fmla="*/ 23 h 204"/>
                <a:gd name="T2" fmla="*/ 132 w 133"/>
                <a:gd name="T3" fmla="*/ 22 h 204"/>
                <a:gd name="T4" fmla="*/ 65 w 133"/>
                <a:gd name="T5" fmla="*/ 20 h 204"/>
                <a:gd name="T6" fmla="*/ 52 w 133"/>
                <a:gd name="T7" fmla="*/ 52 h 204"/>
                <a:gd name="T8" fmla="*/ 20 w 133"/>
                <a:gd name="T9" fmla="*/ 65 h 204"/>
                <a:gd name="T10" fmla="*/ 22 w 133"/>
                <a:gd name="T11" fmla="*/ 132 h 204"/>
                <a:gd name="T12" fmla="*/ 95 w 133"/>
                <a:gd name="T13" fmla="*/ 204 h 204"/>
                <a:gd name="T14" fmla="*/ 117 w 133"/>
                <a:gd name="T15" fmla="*/ 182 h 204"/>
                <a:gd name="T16" fmla="*/ 44 w 133"/>
                <a:gd name="T17" fmla="*/ 110 h 204"/>
                <a:gd name="T18" fmla="*/ 42 w 133"/>
                <a:gd name="T19" fmla="*/ 86 h 204"/>
                <a:gd name="T20" fmla="*/ 66 w 133"/>
                <a:gd name="T21" fmla="*/ 88 h 204"/>
                <a:gd name="T22" fmla="*/ 133 w 133"/>
                <a:gd name="T23" fmla="*/ 155 h 204"/>
                <a:gd name="T24" fmla="*/ 133 w 133"/>
                <a:gd name="T25" fmla="*/ 111 h 204"/>
                <a:gd name="T26" fmla="*/ 88 w 133"/>
                <a:gd name="T27" fmla="*/ 66 h 204"/>
                <a:gd name="T28" fmla="*/ 86 w 133"/>
                <a:gd name="T29" fmla="*/ 42 h 204"/>
                <a:gd name="T30" fmla="*/ 110 w 133"/>
                <a:gd name="T31" fmla="*/ 44 h 204"/>
                <a:gd name="T32" fmla="*/ 133 w 133"/>
                <a:gd name="T33" fmla="*/ 66 h 204"/>
                <a:gd name="T34" fmla="*/ 133 w 133"/>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204">
                  <a:moveTo>
                    <a:pt x="133" y="23"/>
                  </a:moveTo>
                  <a:cubicBezTo>
                    <a:pt x="132" y="22"/>
                    <a:pt x="132" y="22"/>
                    <a:pt x="132" y="22"/>
                  </a:cubicBezTo>
                  <a:cubicBezTo>
                    <a:pt x="110" y="0"/>
                    <a:pt x="82" y="2"/>
                    <a:pt x="65" y="20"/>
                  </a:cubicBezTo>
                  <a:cubicBezTo>
                    <a:pt x="53" y="32"/>
                    <a:pt x="51" y="46"/>
                    <a:pt x="52" y="52"/>
                  </a:cubicBezTo>
                  <a:cubicBezTo>
                    <a:pt x="47" y="51"/>
                    <a:pt x="32" y="52"/>
                    <a:pt x="20" y="65"/>
                  </a:cubicBezTo>
                  <a:cubicBezTo>
                    <a:pt x="3" y="82"/>
                    <a:pt x="0" y="110"/>
                    <a:pt x="22" y="132"/>
                  </a:cubicBezTo>
                  <a:cubicBezTo>
                    <a:pt x="95" y="204"/>
                    <a:pt x="95" y="204"/>
                    <a:pt x="95" y="204"/>
                  </a:cubicBezTo>
                  <a:cubicBezTo>
                    <a:pt x="117" y="182"/>
                    <a:pt x="117" y="182"/>
                    <a:pt x="117" y="182"/>
                  </a:cubicBezTo>
                  <a:cubicBezTo>
                    <a:pt x="44" y="110"/>
                    <a:pt x="44" y="110"/>
                    <a:pt x="44" y="110"/>
                  </a:cubicBezTo>
                  <a:cubicBezTo>
                    <a:pt x="35" y="101"/>
                    <a:pt x="36" y="91"/>
                    <a:pt x="42" y="86"/>
                  </a:cubicBezTo>
                  <a:cubicBezTo>
                    <a:pt x="47" y="80"/>
                    <a:pt x="58" y="79"/>
                    <a:pt x="66" y="88"/>
                  </a:cubicBezTo>
                  <a:cubicBezTo>
                    <a:pt x="133" y="155"/>
                    <a:pt x="133" y="155"/>
                    <a:pt x="133" y="155"/>
                  </a:cubicBezTo>
                  <a:cubicBezTo>
                    <a:pt x="133" y="111"/>
                    <a:pt x="133" y="111"/>
                    <a:pt x="133" y="111"/>
                  </a:cubicBezTo>
                  <a:cubicBezTo>
                    <a:pt x="88" y="66"/>
                    <a:pt x="88" y="66"/>
                    <a:pt x="88" y="66"/>
                  </a:cubicBezTo>
                  <a:cubicBezTo>
                    <a:pt x="80" y="57"/>
                    <a:pt x="80" y="47"/>
                    <a:pt x="86" y="42"/>
                  </a:cubicBezTo>
                  <a:cubicBezTo>
                    <a:pt x="92" y="36"/>
                    <a:pt x="102" y="35"/>
                    <a:pt x="110" y="44"/>
                  </a:cubicBezTo>
                  <a:cubicBezTo>
                    <a:pt x="133" y="66"/>
                    <a:pt x="133" y="66"/>
                    <a:pt x="133" y="66"/>
                  </a:cubicBezTo>
                  <a:lnTo>
                    <a:pt x="133"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6" name="Freeform 14"/>
            <p:cNvSpPr>
              <a:spLocks noEditPoints="1"/>
            </p:cNvSpPr>
            <p:nvPr userDrawn="1"/>
          </p:nvSpPr>
          <p:spPr bwMode="auto">
            <a:xfrm>
              <a:off x="8023287" y="4895470"/>
              <a:ext cx="20556" cy="93282"/>
            </a:xfrm>
            <a:custGeom>
              <a:avLst/>
              <a:gdLst>
                <a:gd name="T0" fmla="*/ 14 w 27"/>
                <a:gd name="T1" fmla="*/ 26 h 128"/>
                <a:gd name="T2" fmla="*/ 0 w 27"/>
                <a:gd name="T3" fmla="*/ 13 h 128"/>
                <a:gd name="T4" fmla="*/ 14 w 27"/>
                <a:gd name="T5" fmla="*/ 0 h 128"/>
                <a:gd name="T6" fmla="*/ 27 w 27"/>
                <a:gd name="T7" fmla="*/ 13 h 128"/>
                <a:gd name="T8" fmla="*/ 14 w 27"/>
                <a:gd name="T9" fmla="*/ 26 h 128"/>
                <a:gd name="T10" fmla="*/ 3 w 27"/>
                <a:gd name="T11" fmla="*/ 128 h 128"/>
                <a:gd name="T12" fmla="*/ 3 w 27"/>
                <a:gd name="T13" fmla="*/ 40 h 128"/>
                <a:gd name="T14" fmla="*/ 25 w 27"/>
                <a:gd name="T15" fmla="*/ 40 h 128"/>
                <a:gd name="T16" fmla="*/ 25 w 27"/>
                <a:gd name="T17" fmla="*/ 112 h 128"/>
                <a:gd name="T18" fmla="*/ 3 w 27"/>
                <a:gd name="T1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128">
                  <a:moveTo>
                    <a:pt x="14" y="26"/>
                  </a:moveTo>
                  <a:cubicBezTo>
                    <a:pt x="6" y="26"/>
                    <a:pt x="0" y="20"/>
                    <a:pt x="0" y="13"/>
                  </a:cubicBezTo>
                  <a:cubicBezTo>
                    <a:pt x="0" y="6"/>
                    <a:pt x="6" y="0"/>
                    <a:pt x="14" y="0"/>
                  </a:cubicBezTo>
                  <a:cubicBezTo>
                    <a:pt x="21" y="0"/>
                    <a:pt x="27" y="5"/>
                    <a:pt x="27" y="13"/>
                  </a:cubicBezTo>
                  <a:cubicBezTo>
                    <a:pt x="27" y="20"/>
                    <a:pt x="21" y="26"/>
                    <a:pt x="14" y="26"/>
                  </a:cubicBezTo>
                  <a:close/>
                  <a:moveTo>
                    <a:pt x="3" y="128"/>
                  </a:moveTo>
                  <a:cubicBezTo>
                    <a:pt x="3" y="40"/>
                    <a:pt x="3" y="40"/>
                    <a:pt x="3" y="40"/>
                  </a:cubicBezTo>
                  <a:cubicBezTo>
                    <a:pt x="25" y="40"/>
                    <a:pt x="25" y="40"/>
                    <a:pt x="25" y="40"/>
                  </a:cubicBezTo>
                  <a:cubicBezTo>
                    <a:pt x="25" y="40"/>
                    <a:pt x="25" y="95"/>
                    <a:pt x="25" y="112"/>
                  </a:cubicBezTo>
                  <a:cubicBezTo>
                    <a:pt x="25" y="128"/>
                    <a:pt x="3" y="128"/>
                    <a:pt x="3" y="1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7" name="Freeform 15"/>
            <p:cNvSpPr>
              <a:spLocks/>
            </p:cNvSpPr>
            <p:nvPr userDrawn="1"/>
          </p:nvSpPr>
          <p:spPr bwMode="auto">
            <a:xfrm>
              <a:off x="8615239" y="4924717"/>
              <a:ext cx="103744" cy="66806"/>
            </a:xfrm>
            <a:custGeom>
              <a:avLst/>
              <a:gdLst>
                <a:gd name="T0" fmla="*/ 111 w 137"/>
                <a:gd name="T1" fmla="*/ 72 h 92"/>
                <a:gd name="T2" fmla="*/ 88 w 137"/>
                <a:gd name="T3" fmla="*/ 88 h 92"/>
                <a:gd name="T4" fmla="*/ 68 w 137"/>
                <a:gd name="T5" fmla="*/ 28 h 92"/>
                <a:gd name="T6" fmla="*/ 68 w 137"/>
                <a:gd name="T7" fmla="*/ 28 h 92"/>
                <a:gd name="T8" fmla="*/ 53 w 137"/>
                <a:gd name="T9" fmla="*/ 72 h 92"/>
                <a:gd name="T10" fmla="*/ 31 w 137"/>
                <a:gd name="T11" fmla="*/ 88 h 92"/>
                <a:gd name="T12" fmla="*/ 0 w 137"/>
                <a:gd name="T13" fmla="*/ 0 h 92"/>
                <a:gd name="T14" fmla="*/ 22 w 137"/>
                <a:gd name="T15" fmla="*/ 0 h 92"/>
                <a:gd name="T16" fmla="*/ 41 w 137"/>
                <a:gd name="T17" fmla="*/ 60 h 92"/>
                <a:gd name="T18" fmla="*/ 41 w 137"/>
                <a:gd name="T19" fmla="*/ 60 h 92"/>
                <a:gd name="T20" fmla="*/ 60 w 137"/>
                <a:gd name="T21" fmla="*/ 0 h 92"/>
                <a:gd name="T22" fmla="*/ 77 w 137"/>
                <a:gd name="T23" fmla="*/ 0 h 92"/>
                <a:gd name="T24" fmla="*/ 97 w 137"/>
                <a:gd name="T25" fmla="*/ 60 h 92"/>
                <a:gd name="T26" fmla="*/ 97 w 137"/>
                <a:gd name="T27" fmla="*/ 60 h 92"/>
                <a:gd name="T28" fmla="*/ 115 w 137"/>
                <a:gd name="T29" fmla="*/ 0 h 92"/>
                <a:gd name="T30" fmla="*/ 137 w 137"/>
                <a:gd name="T31" fmla="*/ 0 h 92"/>
                <a:gd name="T32" fmla="*/ 111 w 137"/>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 h="92">
                  <a:moveTo>
                    <a:pt x="111" y="72"/>
                  </a:moveTo>
                  <a:cubicBezTo>
                    <a:pt x="104" y="92"/>
                    <a:pt x="88" y="88"/>
                    <a:pt x="88" y="88"/>
                  </a:cubicBezTo>
                  <a:cubicBezTo>
                    <a:pt x="68" y="28"/>
                    <a:pt x="68" y="28"/>
                    <a:pt x="68" y="28"/>
                  </a:cubicBezTo>
                  <a:cubicBezTo>
                    <a:pt x="68" y="28"/>
                    <a:pt x="68" y="28"/>
                    <a:pt x="68" y="28"/>
                  </a:cubicBezTo>
                  <a:cubicBezTo>
                    <a:pt x="68" y="28"/>
                    <a:pt x="59"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7" y="60"/>
                    <a:pt x="97" y="60"/>
                    <a:pt x="97" y="60"/>
                  </a:cubicBezTo>
                  <a:cubicBezTo>
                    <a:pt x="97" y="60"/>
                    <a:pt x="97" y="60"/>
                    <a:pt x="97" y="60"/>
                  </a:cubicBezTo>
                  <a:cubicBezTo>
                    <a:pt x="115" y="0"/>
                    <a:pt x="115" y="0"/>
                    <a:pt x="115" y="0"/>
                  </a:cubicBezTo>
                  <a:cubicBezTo>
                    <a:pt x="137" y="0"/>
                    <a:pt x="137" y="0"/>
                    <a:pt x="137" y="0"/>
                  </a:cubicBezTo>
                  <a:cubicBezTo>
                    <a:pt x="137"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8" name="Freeform 16"/>
            <p:cNvSpPr>
              <a:spLocks noEditPoints="1"/>
            </p:cNvSpPr>
            <p:nvPr userDrawn="1"/>
          </p:nvSpPr>
          <p:spPr bwMode="auto">
            <a:xfrm>
              <a:off x="8423168" y="4892699"/>
              <a:ext cx="65844" cy="95129"/>
            </a:xfrm>
            <a:custGeom>
              <a:avLst/>
              <a:gdLst>
                <a:gd name="T0" fmla="*/ 1 w 87"/>
                <a:gd name="T1" fmla="*/ 0 h 131"/>
                <a:gd name="T2" fmla="*/ 0 w 87"/>
                <a:gd name="T3" fmla="*/ 131 h 131"/>
                <a:gd name="T4" fmla="*/ 41 w 87"/>
                <a:gd name="T5" fmla="*/ 131 h 131"/>
                <a:gd name="T6" fmla="*/ 87 w 87"/>
                <a:gd name="T7" fmla="*/ 92 h 131"/>
                <a:gd name="T8" fmla="*/ 65 w 87"/>
                <a:gd name="T9" fmla="*/ 61 h 131"/>
                <a:gd name="T10" fmla="*/ 62 w 87"/>
                <a:gd name="T11" fmla="*/ 60 h 131"/>
                <a:gd name="T12" fmla="*/ 64 w 87"/>
                <a:gd name="T13" fmla="*/ 59 h 131"/>
                <a:gd name="T14" fmla="*/ 79 w 87"/>
                <a:gd name="T15" fmla="*/ 32 h 131"/>
                <a:gd name="T16" fmla="*/ 42 w 87"/>
                <a:gd name="T17" fmla="*/ 0 h 131"/>
                <a:gd name="T18" fmla="*/ 1 w 87"/>
                <a:gd name="T19" fmla="*/ 0 h 131"/>
                <a:gd name="T20" fmla="*/ 23 w 87"/>
                <a:gd name="T21" fmla="*/ 17 h 131"/>
                <a:gd name="T22" fmla="*/ 36 w 87"/>
                <a:gd name="T23" fmla="*/ 17 h 131"/>
                <a:gd name="T24" fmla="*/ 56 w 87"/>
                <a:gd name="T25" fmla="*/ 35 h 131"/>
                <a:gd name="T26" fmla="*/ 38 w 87"/>
                <a:gd name="T27" fmla="*/ 55 h 131"/>
                <a:gd name="T28" fmla="*/ 22 w 87"/>
                <a:gd name="T29" fmla="*/ 55 h 131"/>
                <a:gd name="T30" fmla="*/ 23 w 87"/>
                <a:gd name="T31" fmla="*/ 17 h 131"/>
                <a:gd name="T32" fmla="*/ 22 w 87"/>
                <a:gd name="T33" fmla="*/ 74 h 131"/>
                <a:gd name="T34" fmla="*/ 40 w 87"/>
                <a:gd name="T35" fmla="*/ 74 h 131"/>
                <a:gd name="T36" fmla="*/ 64 w 87"/>
                <a:gd name="T37" fmla="*/ 92 h 131"/>
                <a:gd name="T38" fmla="*/ 39 w 87"/>
                <a:gd name="T39" fmla="*/ 113 h 131"/>
                <a:gd name="T40" fmla="*/ 22 w 87"/>
                <a:gd name="T41" fmla="*/ 113 h 131"/>
                <a:gd name="T42" fmla="*/ 22 w 87"/>
                <a:gd name="T43" fmla="*/ 7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131">
                  <a:moveTo>
                    <a:pt x="1" y="0"/>
                  </a:moveTo>
                  <a:cubicBezTo>
                    <a:pt x="1" y="3"/>
                    <a:pt x="0" y="129"/>
                    <a:pt x="0" y="131"/>
                  </a:cubicBezTo>
                  <a:cubicBezTo>
                    <a:pt x="2" y="131"/>
                    <a:pt x="41" y="131"/>
                    <a:pt x="41" y="131"/>
                  </a:cubicBezTo>
                  <a:cubicBezTo>
                    <a:pt x="73" y="131"/>
                    <a:pt x="87" y="111"/>
                    <a:pt x="87" y="92"/>
                  </a:cubicBezTo>
                  <a:cubicBezTo>
                    <a:pt x="87" y="77"/>
                    <a:pt x="79" y="65"/>
                    <a:pt x="65" y="61"/>
                  </a:cubicBezTo>
                  <a:cubicBezTo>
                    <a:pt x="62" y="60"/>
                    <a:pt x="62" y="60"/>
                    <a:pt x="62" y="60"/>
                  </a:cubicBezTo>
                  <a:cubicBezTo>
                    <a:pt x="64" y="59"/>
                    <a:pt x="64" y="59"/>
                    <a:pt x="64" y="59"/>
                  </a:cubicBezTo>
                  <a:cubicBezTo>
                    <a:pt x="74" y="54"/>
                    <a:pt x="79" y="44"/>
                    <a:pt x="79" y="32"/>
                  </a:cubicBezTo>
                  <a:cubicBezTo>
                    <a:pt x="79" y="17"/>
                    <a:pt x="68" y="0"/>
                    <a:pt x="42" y="0"/>
                  </a:cubicBezTo>
                  <a:cubicBezTo>
                    <a:pt x="42" y="0"/>
                    <a:pt x="3" y="0"/>
                    <a:pt x="1" y="0"/>
                  </a:cubicBezTo>
                  <a:close/>
                  <a:moveTo>
                    <a:pt x="23" y="17"/>
                  </a:moveTo>
                  <a:cubicBezTo>
                    <a:pt x="36" y="17"/>
                    <a:pt x="36" y="17"/>
                    <a:pt x="36" y="17"/>
                  </a:cubicBezTo>
                  <a:cubicBezTo>
                    <a:pt x="49" y="17"/>
                    <a:pt x="56" y="24"/>
                    <a:pt x="56" y="35"/>
                  </a:cubicBezTo>
                  <a:cubicBezTo>
                    <a:pt x="56" y="47"/>
                    <a:pt x="47" y="55"/>
                    <a:pt x="38" y="55"/>
                  </a:cubicBezTo>
                  <a:cubicBezTo>
                    <a:pt x="22" y="55"/>
                    <a:pt x="22" y="55"/>
                    <a:pt x="22" y="55"/>
                  </a:cubicBezTo>
                  <a:lnTo>
                    <a:pt x="23" y="17"/>
                  </a:lnTo>
                  <a:close/>
                  <a:moveTo>
                    <a:pt x="22" y="74"/>
                  </a:moveTo>
                  <a:cubicBezTo>
                    <a:pt x="40" y="74"/>
                    <a:pt x="40" y="74"/>
                    <a:pt x="40" y="74"/>
                  </a:cubicBezTo>
                  <a:cubicBezTo>
                    <a:pt x="55" y="74"/>
                    <a:pt x="64" y="81"/>
                    <a:pt x="64" y="92"/>
                  </a:cubicBezTo>
                  <a:cubicBezTo>
                    <a:pt x="64" y="105"/>
                    <a:pt x="55" y="113"/>
                    <a:pt x="39" y="113"/>
                  </a:cubicBezTo>
                  <a:cubicBezTo>
                    <a:pt x="22" y="113"/>
                    <a:pt x="22" y="113"/>
                    <a:pt x="22" y="113"/>
                  </a:cubicBezTo>
                  <a:lnTo>
                    <a:pt x="22" y="74"/>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9" name="Freeform 17"/>
            <p:cNvSpPr>
              <a:spLocks noEditPoints="1"/>
            </p:cNvSpPr>
            <p:nvPr userDrawn="1"/>
          </p:nvSpPr>
          <p:spPr bwMode="auto">
            <a:xfrm>
              <a:off x="8546184" y="4923177"/>
              <a:ext cx="66486" cy="66190"/>
            </a:xfrm>
            <a:custGeom>
              <a:avLst/>
              <a:gdLst>
                <a:gd name="T0" fmla="*/ 75 w 88"/>
                <a:gd name="T1" fmla="*/ 78 h 91"/>
                <a:gd name="T2" fmla="*/ 44 w 88"/>
                <a:gd name="T3" fmla="*/ 91 h 91"/>
                <a:gd name="T4" fmla="*/ 14 w 88"/>
                <a:gd name="T5" fmla="*/ 80 h 91"/>
                <a:gd name="T6" fmla="*/ 0 w 88"/>
                <a:gd name="T7" fmla="*/ 46 h 91"/>
                <a:gd name="T8" fmla="*/ 13 w 88"/>
                <a:gd name="T9" fmla="*/ 12 h 91"/>
                <a:gd name="T10" fmla="*/ 44 w 88"/>
                <a:gd name="T11" fmla="*/ 0 h 91"/>
                <a:gd name="T12" fmla="*/ 76 w 88"/>
                <a:gd name="T13" fmla="*/ 12 h 91"/>
                <a:gd name="T14" fmla="*/ 88 w 88"/>
                <a:gd name="T15" fmla="*/ 45 h 91"/>
                <a:gd name="T16" fmla="*/ 75 w 88"/>
                <a:gd name="T17" fmla="*/ 78 h 91"/>
                <a:gd name="T18" fmla="*/ 44 w 88"/>
                <a:gd name="T19" fmla="*/ 17 h 91"/>
                <a:gd name="T20" fmla="*/ 23 w 88"/>
                <a:gd name="T21" fmla="*/ 45 h 91"/>
                <a:gd name="T22" fmla="*/ 44 w 88"/>
                <a:gd name="T23" fmla="*/ 73 h 91"/>
                <a:gd name="T24" fmla="*/ 65 w 88"/>
                <a:gd name="T25" fmla="*/ 45 h 91"/>
                <a:gd name="T26" fmla="*/ 44 w 88"/>
                <a:gd name="T27"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91">
                  <a:moveTo>
                    <a:pt x="75" y="78"/>
                  </a:moveTo>
                  <a:cubicBezTo>
                    <a:pt x="68" y="86"/>
                    <a:pt x="57" y="91"/>
                    <a:pt x="44" y="91"/>
                  </a:cubicBezTo>
                  <a:cubicBezTo>
                    <a:pt x="32" y="91"/>
                    <a:pt x="21" y="87"/>
                    <a:pt x="14" y="80"/>
                  </a:cubicBezTo>
                  <a:cubicBezTo>
                    <a:pt x="5" y="72"/>
                    <a:pt x="0" y="60"/>
                    <a:pt x="0" y="46"/>
                  </a:cubicBezTo>
                  <a:cubicBezTo>
                    <a:pt x="0" y="32"/>
                    <a:pt x="5" y="20"/>
                    <a:pt x="13" y="12"/>
                  </a:cubicBezTo>
                  <a:cubicBezTo>
                    <a:pt x="21" y="4"/>
                    <a:pt x="31" y="0"/>
                    <a:pt x="44" y="0"/>
                  </a:cubicBezTo>
                  <a:cubicBezTo>
                    <a:pt x="57" y="0"/>
                    <a:pt x="68" y="4"/>
                    <a:pt x="76" y="12"/>
                  </a:cubicBezTo>
                  <a:cubicBezTo>
                    <a:pt x="84" y="20"/>
                    <a:pt x="88" y="32"/>
                    <a:pt x="88" y="45"/>
                  </a:cubicBezTo>
                  <a:cubicBezTo>
                    <a:pt x="88" y="58"/>
                    <a:pt x="83" y="70"/>
                    <a:pt x="75" y="78"/>
                  </a:cubicBezTo>
                  <a:close/>
                  <a:moveTo>
                    <a:pt x="44" y="17"/>
                  </a:moveTo>
                  <a:cubicBezTo>
                    <a:pt x="30" y="17"/>
                    <a:pt x="23" y="29"/>
                    <a:pt x="23" y="45"/>
                  </a:cubicBezTo>
                  <a:cubicBezTo>
                    <a:pt x="23" y="62"/>
                    <a:pt x="31" y="73"/>
                    <a:pt x="44" y="73"/>
                  </a:cubicBezTo>
                  <a:cubicBezTo>
                    <a:pt x="58" y="73"/>
                    <a:pt x="65" y="61"/>
                    <a:pt x="65" y="45"/>
                  </a:cubicBezTo>
                  <a:cubicBezTo>
                    <a:pt x="65" y="28"/>
                    <a:pt x="57" y="17"/>
                    <a:pt x="44" y="1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0" name="Freeform 18"/>
            <p:cNvSpPr>
              <a:spLocks/>
            </p:cNvSpPr>
            <p:nvPr userDrawn="1"/>
          </p:nvSpPr>
          <p:spPr bwMode="auto">
            <a:xfrm>
              <a:off x="8728298" y="4923177"/>
              <a:ext cx="60705" cy="65574"/>
            </a:xfrm>
            <a:custGeom>
              <a:avLst/>
              <a:gdLst>
                <a:gd name="T0" fmla="*/ 58 w 80"/>
                <a:gd name="T1" fmla="*/ 90 h 90"/>
                <a:gd name="T2" fmla="*/ 58 w 80"/>
                <a:gd name="T3" fmla="*/ 38 h 90"/>
                <a:gd name="T4" fmla="*/ 45 w 80"/>
                <a:gd name="T5" fmla="*/ 19 h 90"/>
                <a:gd name="T6" fmla="*/ 23 w 80"/>
                <a:gd name="T7" fmla="*/ 28 h 90"/>
                <a:gd name="T8" fmla="*/ 23 w 80"/>
                <a:gd name="T9" fmla="*/ 74 h 90"/>
                <a:gd name="T10" fmla="*/ 0 w 80"/>
                <a:gd name="T11" fmla="*/ 90 h 90"/>
                <a:gd name="T12" fmla="*/ 0 w 80"/>
                <a:gd name="T13" fmla="*/ 2 h 90"/>
                <a:gd name="T14" fmla="*/ 19 w 80"/>
                <a:gd name="T15" fmla="*/ 2 h 90"/>
                <a:gd name="T16" fmla="*/ 22 w 80"/>
                <a:gd name="T17" fmla="*/ 11 h 90"/>
                <a:gd name="T18" fmla="*/ 52 w 80"/>
                <a:gd name="T19" fmla="*/ 0 h 90"/>
                <a:gd name="T20" fmla="*/ 80 w 80"/>
                <a:gd name="T21" fmla="*/ 31 h 90"/>
                <a:gd name="T22" fmla="*/ 80 w 80"/>
                <a:gd name="T23" fmla="*/ 74 h 90"/>
                <a:gd name="T24" fmla="*/ 58 w 80"/>
                <a:gd name="T2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90">
                  <a:moveTo>
                    <a:pt x="58" y="90"/>
                  </a:moveTo>
                  <a:cubicBezTo>
                    <a:pt x="58" y="38"/>
                    <a:pt x="58" y="38"/>
                    <a:pt x="58" y="38"/>
                  </a:cubicBezTo>
                  <a:cubicBezTo>
                    <a:pt x="58" y="29"/>
                    <a:pt x="56" y="19"/>
                    <a:pt x="45" y="19"/>
                  </a:cubicBezTo>
                  <a:cubicBezTo>
                    <a:pt x="37" y="19"/>
                    <a:pt x="29" y="23"/>
                    <a:pt x="23" y="28"/>
                  </a:cubicBezTo>
                  <a:cubicBezTo>
                    <a:pt x="23" y="28"/>
                    <a:pt x="23" y="57"/>
                    <a:pt x="23" y="74"/>
                  </a:cubicBezTo>
                  <a:cubicBezTo>
                    <a:pt x="23" y="90"/>
                    <a:pt x="0" y="90"/>
                    <a:pt x="0" y="90"/>
                  </a:cubicBezTo>
                  <a:cubicBezTo>
                    <a:pt x="0" y="2"/>
                    <a:pt x="0" y="2"/>
                    <a:pt x="0" y="2"/>
                  </a:cubicBezTo>
                  <a:cubicBezTo>
                    <a:pt x="19" y="2"/>
                    <a:pt x="19" y="2"/>
                    <a:pt x="19" y="2"/>
                  </a:cubicBezTo>
                  <a:cubicBezTo>
                    <a:pt x="22" y="11"/>
                    <a:pt x="22" y="11"/>
                    <a:pt x="22" y="11"/>
                  </a:cubicBezTo>
                  <a:cubicBezTo>
                    <a:pt x="31" y="4"/>
                    <a:pt x="40" y="0"/>
                    <a:pt x="52" y="0"/>
                  </a:cubicBezTo>
                  <a:cubicBezTo>
                    <a:pt x="65" y="0"/>
                    <a:pt x="80" y="8"/>
                    <a:pt x="80" y="31"/>
                  </a:cubicBezTo>
                  <a:cubicBezTo>
                    <a:pt x="80" y="31"/>
                    <a:pt x="80" y="57"/>
                    <a:pt x="80" y="74"/>
                  </a:cubicBezTo>
                  <a:cubicBezTo>
                    <a:pt x="80" y="90"/>
                    <a:pt x="58" y="90"/>
                    <a:pt x="58" y="9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1" name="Freeform 19"/>
            <p:cNvSpPr>
              <a:spLocks/>
            </p:cNvSpPr>
            <p:nvPr userDrawn="1"/>
          </p:nvSpPr>
          <p:spPr bwMode="auto">
            <a:xfrm>
              <a:off x="8501217" y="4923177"/>
              <a:ext cx="43361" cy="65574"/>
            </a:xfrm>
            <a:custGeom>
              <a:avLst/>
              <a:gdLst>
                <a:gd name="T0" fmla="*/ 49 w 57"/>
                <a:gd name="T1" fmla="*/ 22 h 90"/>
                <a:gd name="T2" fmla="*/ 39 w 57"/>
                <a:gd name="T3" fmla="*/ 20 h 90"/>
                <a:gd name="T4" fmla="*/ 22 w 57"/>
                <a:gd name="T5" fmla="*/ 27 h 90"/>
                <a:gd name="T6" fmla="*/ 22 w 57"/>
                <a:gd name="T7" fmla="*/ 74 h 90"/>
                <a:gd name="T8" fmla="*/ 0 w 57"/>
                <a:gd name="T9" fmla="*/ 90 h 90"/>
                <a:gd name="T10" fmla="*/ 0 w 57"/>
                <a:gd name="T11" fmla="*/ 2 h 90"/>
                <a:gd name="T12" fmla="*/ 19 w 57"/>
                <a:gd name="T13" fmla="*/ 2 h 90"/>
                <a:gd name="T14" fmla="*/ 21 w 57"/>
                <a:gd name="T15" fmla="*/ 11 h 90"/>
                <a:gd name="T16" fmla="*/ 45 w 57"/>
                <a:gd name="T17" fmla="*/ 0 h 90"/>
                <a:gd name="T18" fmla="*/ 57 w 57"/>
                <a:gd name="T19" fmla="*/ 4 h 90"/>
                <a:gd name="T20" fmla="*/ 49 w 57"/>
                <a:gd name="T21" fmla="*/ 2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0">
                  <a:moveTo>
                    <a:pt x="49" y="22"/>
                  </a:moveTo>
                  <a:cubicBezTo>
                    <a:pt x="46" y="20"/>
                    <a:pt x="42" y="20"/>
                    <a:pt x="39" y="20"/>
                  </a:cubicBezTo>
                  <a:cubicBezTo>
                    <a:pt x="34" y="20"/>
                    <a:pt x="28" y="22"/>
                    <a:pt x="22" y="27"/>
                  </a:cubicBezTo>
                  <a:cubicBezTo>
                    <a:pt x="22" y="27"/>
                    <a:pt x="22" y="57"/>
                    <a:pt x="22" y="74"/>
                  </a:cubicBezTo>
                  <a:cubicBezTo>
                    <a:pt x="22" y="90"/>
                    <a:pt x="0" y="90"/>
                    <a:pt x="0" y="90"/>
                  </a:cubicBezTo>
                  <a:cubicBezTo>
                    <a:pt x="0" y="2"/>
                    <a:pt x="0" y="2"/>
                    <a:pt x="0" y="2"/>
                  </a:cubicBezTo>
                  <a:cubicBezTo>
                    <a:pt x="19" y="2"/>
                    <a:pt x="19" y="2"/>
                    <a:pt x="19"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2" name="Freeform 20"/>
            <p:cNvSpPr>
              <a:spLocks/>
            </p:cNvSpPr>
            <p:nvPr userDrawn="1"/>
          </p:nvSpPr>
          <p:spPr bwMode="auto">
            <a:xfrm>
              <a:off x="7766657" y="4864376"/>
              <a:ext cx="100211" cy="148389"/>
            </a:xfrm>
            <a:custGeom>
              <a:avLst/>
              <a:gdLst>
                <a:gd name="T0" fmla="*/ 0 w 132"/>
                <a:gd name="T1" fmla="*/ 23 h 204"/>
                <a:gd name="T2" fmla="*/ 1 w 132"/>
                <a:gd name="T3" fmla="*/ 22 h 204"/>
                <a:gd name="T4" fmla="*/ 67 w 132"/>
                <a:gd name="T5" fmla="*/ 20 h 204"/>
                <a:gd name="T6" fmla="*/ 80 w 132"/>
                <a:gd name="T7" fmla="*/ 52 h 204"/>
                <a:gd name="T8" fmla="*/ 113 w 132"/>
                <a:gd name="T9" fmla="*/ 65 h 204"/>
                <a:gd name="T10" fmla="*/ 111 w 132"/>
                <a:gd name="T11" fmla="*/ 132 h 204"/>
                <a:gd name="T12" fmla="*/ 38 w 132"/>
                <a:gd name="T13" fmla="*/ 204 h 204"/>
                <a:gd name="T14" fmla="*/ 16 w 132"/>
                <a:gd name="T15" fmla="*/ 182 h 204"/>
                <a:gd name="T16" fmla="*/ 88 w 132"/>
                <a:gd name="T17" fmla="*/ 110 h 204"/>
                <a:gd name="T18" fmla="*/ 91 w 132"/>
                <a:gd name="T19" fmla="*/ 86 h 204"/>
                <a:gd name="T20" fmla="*/ 67 w 132"/>
                <a:gd name="T21" fmla="*/ 88 h 204"/>
                <a:gd name="T22" fmla="*/ 0 w 132"/>
                <a:gd name="T23" fmla="*/ 155 h 204"/>
                <a:gd name="T24" fmla="*/ 0 w 132"/>
                <a:gd name="T25" fmla="*/ 111 h 204"/>
                <a:gd name="T26" fmla="*/ 45 w 132"/>
                <a:gd name="T27" fmla="*/ 66 h 204"/>
                <a:gd name="T28" fmla="*/ 46 w 132"/>
                <a:gd name="T29" fmla="*/ 42 h 204"/>
                <a:gd name="T30" fmla="*/ 22 w 132"/>
                <a:gd name="T31" fmla="*/ 44 h 204"/>
                <a:gd name="T32" fmla="*/ 0 w 132"/>
                <a:gd name="T33" fmla="*/ 66 h 204"/>
                <a:gd name="T34" fmla="*/ 0 w 132"/>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204">
                  <a:moveTo>
                    <a:pt x="0" y="23"/>
                  </a:moveTo>
                  <a:cubicBezTo>
                    <a:pt x="1" y="22"/>
                    <a:pt x="1" y="22"/>
                    <a:pt x="1" y="22"/>
                  </a:cubicBezTo>
                  <a:cubicBezTo>
                    <a:pt x="23" y="0"/>
                    <a:pt x="50" y="2"/>
                    <a:pt x="67" y="20"/>
                  </a:cubicBezTo>
                  <a:cubicBezTo>
                    <a:pt x="80" y="32"/>
                    <a:pt x="81" y="46"/>
                    <a:pt x="80" y="52"/>
                  </a:cubicBezTo>
                  <a:cubicBezTo>
                    <a:pt x="86" y="51"/>
                    <a:pt x="100" y="52"/>
                    <a:pt x="113" y="65"/>
                  </a:cubicBezTo>
                  <a:cubicBezTo>
                    <a:pt x="130" y="82"/>
                    <a:pt x="132" y="110"/>
                    <a:pt x="111" y="132"/>
                  </a:cubicBezTo>
                  <a:cubicBezTo>
                    <a:pt x="38" y="204"/>
                    <a:pt x="38" y="204"/>
                    <a:pt x="38" y="204"/>
                  </a:cubicBezTo>
                  <a:cubicBezTo>
                    <a:pt x="16" y="182"/>
                    <a:pt x="16" y="182"/>
                    <a:pt x="16" y="182"/>
                  </a:cubicBezTo>
                  <a:cubicBezTo>
                    <a:pt x="88" y="110"/>
                    <a:pt x="88" y="110"/>
                    <a:pt x="88" y="110"/>
                  </a:cubicBezTo>
                  <a:cubicBezTo>
                    <a:pt x="97" y="101"/>
                    <a:pt x="96" y="91"/>
                    <a:pt x="91" y="86"/>
                  </a:cubicBezTo>
                  <a:cubicBezTo>
                    <a:pt x="85" y="80"/>
                    <a:pt x="75" y="79"/>
                    <a:pt x="67" y="88"/>
                  </a:cubicBezTo>
                  <a:cubicBezTo>
                    <a:pt x="0" y="155"/>
                    <a:pt x="0" y="155"/>
                    <a:pt x="0" y="155"/>
                  </a:cubicBezTo>
                  <a:cubicBezTo>
                    <a:pt x="0" y="111"/>
                    <a:pt x="0" y="111"/>
                    <a:pt x="0" y="111"/>
                  </a:cubicBezTo>
                  <a:cubicBezTo>
                    <a:pt x="45" y="66"/>
                    <a:pt x="45" y="66"/>
                    <a:pt x="45" y="66"/>
                  </a:cubicBezTo>
                  <a:cubicBezTo>
                    <a:pt x="53" y="57"/>
                    <a:pt x="52" y="47"/>
                    <a:pt x="46" y="42"/>
                  </a:cubicBezTo>
                  <a:cubicBezTo>
                    <a:pt x="41" y="36"/>
                    <a:pt x="31" y="35"/>
                    <a:pt x="22" y="44"/>
                  </a:cubicBezTo>
                  <a:cubicBezTo>
                    <a:pt x="0" y="66"/>
                    <a:pt x="0" y="66"/>
                    <a:pt x="0" y="66"/>
                  </a:cubicBezTo>
                  <a:lnTo>
                    <a:pt x="0"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3" name="Freeform 21"/>
            <p:cNvSpPr>
              <a:spLocks noEditPoints="1"/>
            </p:cNvSpPr>
            <p:nvPr userDrawn="1"/>
          </p:nvSpPr>
          <p:spPr bwMode="auto">
            <a:xfrm>
              <a:off x="7980890" y="5040472"/>
              <a:ext cx="51390" cy="57878"/>
            </a:xfrm>
            <a:custGeom>
              <a:avLst/>
              <a:gdLst>
                <a:gd name="T0" fmla="*/ 0 w 68"/>
                <a:gd name="T1" fmla="*/ 40 h 80"/>
                <a:gd name="T2" fmla="*/ 35 w 68"/>
                <a:gd name="T3" fmla="*/ 0 h 80"/>
                <a:gd name="T4" fmla="*/ 68 w 68"/>
                <a:gd name="T5" fmla="*/ 41 h 80"/>
                <a:gd name="T6" fmla="*/ 68 w 68"/>
                <a:gd name="T7" fmla="*/ 46 h 80"/>
                <a:gd name="T8" fmla="*/ 20 w 68"/>
                <a:gd name="T9" fmla="*/ 46 h 80"/>
                <a:gd name="T10" fmla="*/ 41 w 68"/>
                <a:gd name="T11" fmla="*/ 65 h 80"/>
                <a:gd name="T12" fmla="*/ 60 w 68"/>
                <a:gd name="T13" fmla="*/ 60 h 80"/>
                <a:gd name="T14" fmla="*/ 66 w 68"/>
                <a:gd name="T15" fmla="*/ 73 h 80"/>
                <a:gd name="T16" fmla="*/ 39 w 68"/>
                <a:gd name="T17" fmla="*/ 80 h 80"/>
                <a:gd name="T18" fmla="*/ 0 w 68"/>
                <a:gd name="T19" fmla="*/ 40 h 80"/>
                <a:gd name="T20" fmla="*/ 49 w 68"/>
                <a:gd name="T21" fmla="*/ 32 h 80"/>
                <a:gd name="T22" fmla="*/ 34 w 68"/>
                <a:gd name="T23" fmla="*/ 15 h 80"/>
                <a:gd name="T24" fmla="*/ 19 w 68"/>
                <a:gd name="T25" fmla="*/ 32 h 80"/>
                <a:gd name="T26" fmla="*/ 49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3" y="0"/>
                    <a:pt x="35" y="0"/>
                  </a:cubicBezTo>
                  <a:cubicBezTo>
                    <a:pt x="56" y="0"/>
                    <a:pt x="68" y="16"/>
                    <a:pt x="68" y="41"/>
                  </a:cubicBezTo>
                  <a:cubicBezTo>
                    <a:pt x="68" y="46"/>
                    <a:pt x="68" y="46"/>
                    <a:pt x="68" y="46"/>
                  </a:cubicBezTo>
                  <a:cubicBezTo>
                    <a:pt x="20" y="46"/>
                    <a:pt x="20" y="46"/>
                    <a:pt x="20" y="46"/>
                  </a:cubicBezTo>
                  <a:cubicBezTo>
                    <a:pt x="20" y="57"/>
                    <a:pt x="28" y="65"/>
                    <a:pt x="41" y="65"/>
                  </a:cubicBezTo>
                  <a:cubicBezTo>
                    <a:pt x="49" y="65"/>
                    <a:pt x="55" y="63"/>
                    <a:pt x="60" y="60"/>
                  </a:cubicBezTo>
                  <a:cubicBezTo>
                    <a:pt x="66" y="73"/>
                    <a:pt x="66" y="73"/>
                    <a:pt x="66" y="73"/>
                  </a:cubicBezTo>
                  <a:cubicBezTo>
                    <a:pt x="58" y="78"/>
                    <a:pt x="49" y="80"/>
                    <a:pt x="39" y="80"/>
                  </a:cubicBezTo>
                  <a:cubicBezTo>
                    <a:pt x="11" y="80"/>
                    <a:pt x="0" y="61"/>
                    <a:pt x="0" y="40"/>
                  </a:cubicBezTo>
                  <a:close/>
                  <a:moveTo>
                    <a:pt x="49" y="32"/>
                  </a:moveTo>
                  <a:cubicBezTo>
                    <a:pt x="49" y="23"/>
                    <a:pt x="44" y="15"/>
                    <a:pt x="34" y="15"/>
                  </a:cubicBezTo>
                  <a:cubicBezTo>
                    <a:pt x="25" y="15"/>
                    <a:pt x="19" y="23"/>
                    <a:pt x="19" y="32"/>
                  </a:cubicBezTo>
                  <a:lnTo>
                    <a:pt x="49"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4" name="Freeform 22"/>
            <p:cNvSpPr>
              <a:spLocks/>
            </p:cNvSpPr>
            <p:nvPr userDrawn="1"/>
          </p:nvSpPr>
          <p:spPr bwMode="auto">
            <a:xfrm>
              <a:off x="8295656" y="5041088"/>
              <a:ext cx="37258" cy="56031"/>
            </a:xfrm>
            <a:custGeom>
              <a:avLst/>
              <a:gdLst>
                <a:gd name="T0" fmla="*/ 42 w 49"/>
                <a:gd name="T1" fmla="*/ 19 h 77"/>
                <a:gd name="T2" fmla="*/ 33 w 49"/>
                <a:gd name="T3" fmla="*/ 16 h 77"/>
                <a:gd name="T4" fmla="*/ 19 w 49"/>
                <a:gd name="T5" fmla="*/ 23 h 77"/>
                <a:gd name="T6" fmla="*/ 19 w 49"/>
                <a:gd name="T7" fmla="*/ 63 h 77"/>
                <a:gd name="T8" fmla="*/ 0 w 49"/>
                <a:gd name="T9" fmla="*/ 77 h 77"/>
                <a:gd name="T10" fmla="*/ 0 w 49"/>
                <a:gd name="T11" fmla="*/ 1 h 77"/>
                <a:gd name="T12" fmla="*/ 16 w 49"/>
                <a:gd name="T13" fmla="*/ 1 h 77"/>
                <a:gd name="T14" fmla="*/ 18 w 49"/>
                <a:gd name="T15" fmla="*/ 9 h 77"/>
                <a:gd name="T16" fmla="*/ 39 w 49"/>
                <a:gd name="T17" fmla="*/ 0 h 77"/>
                <a:gd name="T18" fmla="*/ 49 w 49"/>
                <a:gd name="T19" fmla="*/ 3 h 77"/>
                <a:gd name="T20" fmla="*/ 42 w 49"/>
                <a:gd name="T21"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77">
                  <a:moveTo>
                    <a:pt x="42" y="19"/>
                  </a:moveTo>
                  <a:cubicBezTo>
                    <a:pt x="39" y="17"/>
                    <a:pt x="36" y="16"/>
                    <a:pt x="33" y="16"/>
                  </a:cubicBezTo>
                  <a:cubicBezTo>
                    <a:pt x="29" y="16"/>
                    <a:pt x="24" y="18"/>
                    <a:pt x="19" y="23"/>
                  </a:cubicBezTo>
                  <a:cubicBezTo>
                    <a:pt x="19" y="2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2"/>
                    <a:pt x="32" y="0"/>
                    <a:pt x="39" y="0"/>
                  </a:cubicBezTo>
                  <a:cubicBezTo>
                    <a:pt x="42" y="0"/>
                    <a:pt x="46" y="1"/>
                    <a:pt x="49" y="3"/>
                  </a:cubicBezTo>
                  <a:lnTo>
                    <a:pt x="42" y="1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5" name="Freeform 23"/>
            <p:cNvSpPr>
              <a:spLocks noEditPoints="1"/>
            </p:cNvSpPr>
            <p:nvPr userDrawn="1"/>
          </p:nvSpPr>
          <p:spPr bwMode="auto">
            <a:xfrm>
              <a:off x="8178743" y="5040472"/>
              <a:ext cx="51712" cy="57878"/>
            </a:xfrm>
            <a:custGeom>
              <a:avLst/>
              <a:gdLst>
                <a:gd name="T0" fmla="*/ 0 w 68"/>
                <a:gd name="T1" fmla="*/ 40 h 80"/>
                <a:gd name="T2" fmla="*/ 34 w 68"/>
                <a:gd name="T3" fmla="*/ 0 h 80"/>
                <a:gd name="T4" fmla="*/ 68 w 68"/>
                <a:gd name="T5" fmla="*/ 41 h 80"/>
                <a:gd name="T6" fmla="*/ 68 w 68"/>
                <a:gd name="T7" fmla="*/ 46 h 80"/>
                <a:gd name="T8" fmla="*/ 19 w 68"/>
                <a:gd name="T9" fmla="*/ 46 h 80"/>
                <a:gd name="T10" fmla="*/ 41 w 68"/>
                <a:gd name="T11" fmla="*/ 65 h 80"/>
                <a:gd name="T12" fmla="*/ 60 w 68"/>
                <a:gd name="T13" fmla="*/ 60 h 80"/>
                <a:gd name="T14" fmla="*/ 66 w 68"/>
                <a:gd name="T15" fmla="*/ 73 h 80"/>
                <a:gd name="T16" fmla="*/ 39 w 68"/>
                <a:gd name="T17" fmla="*/ 80 h 80"/>
                <a:gd name="T18" fmla="*/ 0 w 68"/>
                <a:gd name="T19" fmla="*/ 40 h 80"/>
                <a:gd name="T20" fmla="*/ 49 w 68"/>
                <a:gd name="T21" fmla="*/ 32 h 80"/>
                <a:gd name="T22" fmla="*/ 34 w 68"/>
                <a:gd name="T23" fmla="*/ 15 h 80"/>
                <a:gd name="T24" fmla="*/ 19 w 68"/>
                <a:gd name="T25" fmla="*/ 32 h 80"/>
                <a:gd name="T26" fmla="*/ 49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3" y="0"/>
                    <a:pt x="34" y="0"/>
                  </a:cubicBezTo>
                  <a:cubicBezTo>
                    <a:pt x="56" y="0"/>
                    <a:pt x="68" y="16"/>
                    <a:pt x="68" y="41"/>
                  </a:cubicBezTo>
                  <a:cubicBezTo>
                    <a:pt x="68" y="46"/>
                    <a:pt x="68" y="46"/>
                    <a:pt x="68" y="46"/>
                  </a:cubicBezTo>
                  <a:cubicBezTo>
                    <a:pt x="19" y="46"/>
                    <a:pt x="19" y="46"/>
                    <a:pt x="19" y="46"/>
                  </a:cubicBezTo>
                  <a:cubicBezTo>
                    <a:pt x="20" y="57"/>
                    <a:pt x="28" y="65"/>
                    <a:pt x="41" y="65"/>
                  </a:cubicBezTo>
                  <a:cubicBezTo>
                    <a:pt x="49" y="65"/>
                    <a:pt x="55" y="63"/>
                    <a:pt x="60" y="60"/>
                  </a:cubicBezTo>
                  <a:cubicBezTo>
                    <a:pt x="66" y="73"/>
                    <a:pt x="66" y="73"/>
                    <a:pt x="66" y="73"/>
                  </a:cubicBezTo>
                  <a:cubicBezTo>
                    <a:pt x="58" y="78"/>
                    <a:pt x="48" y="80"/>
                    <a:pt x="39" y="80"/>
                  </a:cubicBezTo>
                  <a:cubicBezTo>
                    <a:pt x="11" y="80"/>
                    <a:pt x="0" y="61"/>
                    <a:pt x="0" y="40"/>
                  </a:cubicBezTo>
                  <a:close/>
                  <a:moveTo>
                    <a:pt x="49" y="32"/>
                  </a:moveTo>
                  <a:cubicBezTo>
                    <a:pt x="48" y="23"/>
                    <a:pt x="44" y="15"/>
                    <a:pt x="34" y="15"/>
                  </a:cubicBezTo>
                  <a:cubicBezTo>
                    <a:pt x="25" y="15"/>
                    <a:pt x="19" y="23"/>
                    <a:pt x="19" y="32"/>
                  </a:cubicBezTo>
                  <a:lnTo>
                    <a:pt x="49"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6" name="Freeform 24"/>
            <p:cNvSpPr>
              <a:spLocks noEditPoints="1"/>
            </p:cNvSpPr>
            <p:nvPr userDrawn="1"/>
          </p:nvSpPr>
          <p:spPr bwMode="auto">
            <a:xfrm>
              <a:off x="8236557" y="5040472"/>
              <a:ext cx="51390" cy="57878"/>
            </a:xfrm>
            <a:custGeom>
              <a:avLst/>
              <a:gdLst>
                <a:gd name="T0" fmla="*/ 0 w 68"/>
                <a:gd name="T1" fmla="*/ 40 h 80"/>
                <a:gd name="T2" fmla="*/ 34 w 68"/>
                <a:gd name="T3" fmla="*/ 0 h 80"/>
                <a:gd name="T4" fmla="*/ 68 w 68"/>
                <a:gd name="T5" fmla="*/ 41 h 80"/>
                <a:gd name="T6" fmla="*/ 68 w 68"/>
                <a:gd name="T7" fmla="*/ 46 h 80"/>
                <a:gd name="T8" fmla="*/ 19 w 68"/>
                <a:gd name="T9" fmla="*/ 46 h 80"/>
                <a:gd name="T10" fmla="*/ 40 w 68"/>
                <a:gd name="T11" fmla="*/ 65 h 80"/>
                <a:gd name="T12" fmla="*/ 60 w 68"/>
                <a:gd name="T13" fmla="*/ 60 h 80"/>
                <a:gd name="T14" fmla="*/ 65 w 68"/>
                <a:gd name="T15" fmla="*/ 73 h 80"/>
                <a:gd name="T16" fmla="*/ 39 w 68"/>
                <a:gd name="T17" fmla="*/ 80 h 80"/>
                <a:gd name="T18" fmla="*/ 0 w 68"/>
                <a:gd name="T19" fmla="*/ 40 h 80"/>
                <a:gd name="T20" fmla="*/ 48 w 68"/>
                <a:gd name="T21" fmla="*/ 32 h 80"/>
                <a:gd name="T22" fmla="*/ 34 w 68"/>
                <a:gd name="T23" fmla="*/ 15 h 80"/>
                <a:gd name="T24" fmla="*/ 19 w 68"/>
                <a:gd name="T25" fmla="*/ 32 h 80"/>
                <a:gd name="T26" fmla="*/ 48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2" y="0"/>
                    <a:pt x="34" y="0"/>
                  </a:cubicBezTo>
                  <a:cubicBezTo>
                    <a:pt x="55" y="0"/>
                    <a:pt x="68" y="16"/>
                    <a:pt x="68" y="41"/>
                  </a:cubicBezTo>
                  <a:cubicBezTo>
                    <a:pt x="68" y="46"/>
                    <a:pt x="68" y="46"/>
                    <a:pt x="68" y="46"/>
                  </a:cubicBezTo>
                  <a:cubicBezTo>
                    <a:pt x="19" y="46"/>
                    <a:pt x="19" y="46"/>
                    <a:pt x="19" y="46"/>
                  </a:cubicBezTo>
                  <a:cubicBezTo>
                    <a:pt x="19" y="57"/>
                    <a:pt x="28" y="65"/>
                    <a:pt x="40" y="65"/>
                  </a:cubicBezTo>
                  <a:cubicBezTo>
                    <a:pt x="48" y="65"/>
                    <a:pt x="54" y="63"/>
                    <a:pt x="60" y="60"/>
                  </a:cubicBezTo>
                  <a:cubicBezTo>
                    <a:pt x="65" y="73"/>
                    <a:pt x="65" y="73"/>
                    <a:pt x="65" y="73"/>
                  </a:cubicBezTo>
                  <a:cubicBezTo>
                    <a:pt x="57" y="78"/>
                    <a:pt x="48" y="80"/>
                    <a:pt x="39" y="80"/>
                  </a:cubicBezTo>
                  <a:cubicBezTo>
                    <a:pt x="11" y="80"/>
                    <a:pt x="0" y="61"/>
                    <a:pt x="0" y="40"/>
                  </a:cubicBezTo>
                  <a:close/>
                  <a:moveTo>
                    <a:pt x="48" y="32"/>
                  </a:moveTo>
                  <a:cubicBezTo>
                    <a:pt x="48" y="23"/>
                    <a:pt x="44" y="15"/>
                    <a:pt x="34" y="15"/>
                  </a:cubicBezTo>
                  <a:cubicBezTo>
                    <a:pt x="24" y="15"/>
                    <a:pt x="19" y="23"/>
                    <a:pt x="19" y="32"/>
                  </a:cubicBezTo>
                  <a:lnTo>
                    <a:pt x="48"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7" name="Freeform 25"/>
            <p:cNvSpPr>
              <a:spLocks/>
            </p:cNvSpPr>
            <p:nvPr userDrawn="1"/>
          </p:nvSpPr>
          <p:spPr bwMode="auto">
            <a:xfrm>
              <a:off x="8040631" y="5041088"/>
              <a:ext cx="37258" cy="56031"/>
            </a:xfrm>
            <a:custGeom>
              <a:avLst/>
              <a:gdLst>
                <a:gd name="T0" fmla="*/ 42 w 49"/>
                <a:gd name="T1" fmla="*/ 19 h 77"/>
                <a:gd name="T2" fmla="*/ 33 w 49"/>
                <a:gd name="T3" fmla="*/ 16 h 77"/>
                <a:gd name="T4" fmla="*/ 19 w 49"/>
                <a:gd name="T5" fmla="*/ 23 h 77"/>
                <a:gd name="T6" fmla="*/ 19 w 49"/>
                <a:gd name="T7" fmla="*/ 63 h 77"/>
                <a:gd name="T8" fmla="*/ 0 w 49"/>
                <a:gd name="T9" fmla="*/ 77 h 77"/>
                <a:gd name="T10" fmla="*/ 0 w 49"/>
                <a:gd name="T11" fmla="*/ 1 h 77"/>
                <a:gd name="T12" fmla="*/ 16 w 49"/>
                <a:gd name="T13" fmla="*/ 1 h 77"/>
                <a:gd name="T14" fmla="*/ 18 w 49"/>
                <a:gd name="T15" fmla="*/ 9 h 77"/>
                <a:gd name="T16" fmla="*/ 38 w 49"/>
                <a:gd name="T17" fmla="*/ 0 h 77"/>
                <a:gd name="T18" fmla="*/ 49 w 49"/>
                <a:gd name="T19" fmla="*/ 3 h 77"/>
                <a:gd name="T20" fmla="*/ 42 w 49"/>
                <a:gd name="T21"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77">
                  <a:moveTo>
                    <a:pt x="42" y="19"/>
                  </a:moveTo>
                  <a:cubicBezTo>
                    <a:pt x="39" y="17"/>
                    <a:pt x="35" y="16"/>
                    <a:pt x="33" y="16"/>
                  </a:cubicBezTo>
                  <a:cubicBezTo>
                    <a:pt x="29" y="16"/>
                    <a:pt x="24" y="18"/>
                    <a:pt x="19" y="23"/>
                  </a:cubicBezTo>
                  <a:cubicBezTo>
                    <a:pt x="19" y="2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2"/>
                    <a:pt x="31" y="0"/>
                    <a:pt x="38" y="0"/>
                  </a:cubicBezTo>
                  <a:cubicBezTo>
                    <a:pt x="42" y="0"/>
                    <a:pt x="46" y="1"/>
                    <a:pt x="49" y="3"/>
                  </a:cubicBezTo>
                  <a:lnTo>
                    <a:pt x="42" y="1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8" name="Freeform 26"/>
            <p:cNvSpPr>
              <a:spLocks/>
            </p:cNvSpPr>
            <p:nvPr userDrawn="1"/>
          </p:nvSpPr>
          <p:spPr bwMode="auto">
            <a:xfrm>
              <a:off x="8083992" y="5041088"/>
              <a:ext cx="86400" cy="56031"/>
            </a:xfrm>
            <a:custGeom>
              <a:avLst/>
              <a:gdLst>
                <a:gd name="T0" fmla="*/ 114 w 114"/>
                <a:gd name="T1" fmla="*/ 25 h 77"/>
                <a:gd name="T2" fmla="*/ 114 w 114"/>
                <a:gd name="T3" fmla="*/ 63 h 77"/>
                <a:gd name="T4" fmla="*/ 95 w 114"/>
                <a:gd name="T5" fmla="*/ 77 h 77"/>
                <a:gd name="T6" fmla="*/ 95 w 114"/>
                <a:gd name="T7" fmla="*/ 31 h 77"/>
                <a:gd name="T8" fmla="*/ 84 w 114"/>
                <a:gd name="T9" fmla="*/ 16 h 77"/>
                <a:gd name="T10" fmla="*/ 66 w 114"/>
                <a:gd name="T11" fmla="*/ 23 h 77"/>
                <a:gd name="T12" fmla="*/ 66 w 114"/>
                <a:gd name="T13" fmla="*/ 63 h 77"/>
                <a:gd name="T14" fmla="*/ 66 w 114"/>
                <a:gd name="T15" fmla="*/ 63 h 77"/>
                <a:gd name="T16" fmla="*/ 47 w 114"/>
                <a:gd name="T17" fmla="*/ 77 h 77"/>
                <a:gd name="T18" fmla="*/ 47 w 114"/>
                <a:gd name="T19" fmla="*/ 31 h 77"/>
                <a:gd name="T20" fmla="*/ 37 w 114"/>
                <a:gd name="T21" fmla="*/ 16 h 77"/>
                <a:gd name="T22" fmla="*/ 19 w 114"/>
                <a:gd name="T23" fmla="*/ 23 h 77"/>
                <a:gd name="T24" fmla="*/ 19 w 114"/>
                <a:gd name="T25" fmla="*/ 63 h 77"/>
                <a:gd name="T26" fmla="*/ 19 w 114"/>
                <a:gd name="T27" fmla="*/ 63 h 77"/>
                <a:gd name="T28" fmla="*/ 0 w 114"/>
                <a:gd name="T29" fmla="*/ 77 h 77"/>
                <a:gd name="T30" fmla="*/ 0 w 114"/>
                <a:gd name="T31" fmla="*/ 1 h 77"/>
                <a:gd name="T32" fmla="*/ 16 w 114"/>
                <a:gd name="T33" fmla="*/ 1 h 77"/>
                <a:gd name="T34" fmla="*/ 18 w 114"/>
                <a:gd name="T35" fmla="*/ 9 h 77"/>
                <a:gd name="T36" fmla="*/ 43 w 114"/>
                <a:gd name="T37" fmla="*/ 0 h 77"/>
                <a:gd name="T38" fmla="*/ 63 w 114"/>
                <a:gd name="T39" fmla="*/ 11 h 77"/>
                <a:gd name="T40" fmla="*/ 89 w 114"/>
                <a:gd name="T41" fmla="*/ 0 h 77"/>
                <a:gd name="T42" fmla="*/ 114 w 114"/>
                <a:gd name="T43" fmla="*/ 2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77">
                  <a:moveTo>
                    <a:pt x="114" y="25"/>
                  </a:moveTo>
                  <a:cubicBezTo>
                    <a:pt x="114" y="63"/>
                    <a:pt x="114" y="63"/>
                    <a:pt x="114" y="63"/>
                  </a:cubicBezTo>
                  <a:cubicBezTo>
                    <a:pt x="114" y="77"/>
                    <a:pt x="95" y="77"/>
                    <a:pt x="95" y="77"/>
                  </a:cubicBezTo>
                  <a:cubicBezTo>
                    <a:pt x="95" y="31"/>
                    <a:pt x="95" y="31"/>
                    <a:pt x="95" y="31"/>
                  </a:cubicBezTo>
                  <a:cubicBezTo>
                    <a:pt x="95" y="22"/>
                    <a:pt x="93" y="16"/>
                    <a:pt x="84" y="16"/>
                  </a:cubicBezTo>
                  <a:cubicBezTo>
                    <a:pt x="77" y="16"/>
                    <a:pt x="71" y="19"/>
                    <a:pt x="66" y="23"/>
                  </a:cubicBezTo>
                  <a:cubicBezTo>
                    <a:pt x="66" y="63"/>
                    <a:pt x="66" y="63"/>
                    <a:pt x="66" y="63"/>
                  </a:cubicBezTo>
                  <a:cubicBezTo>
                    <a:pt x="66" y="63"/>
                    <a:pt x="66" y="49"/>
                    <a:pt x="66" y="63"/>
                  </a:cubicBezTo>
                  <a:cubicBezTo>
                    <a:pt x="66" y="77"/>
                    <a:pt x="47" y="77"/>
                    <a:pt x="47" y="77"/>
                  </a:cubicBezTo>
                  <a:cubicBezTo>
                    <a:pt x="47" y="31"/>
                    <a:pt x="47" y="31"/>
                    <a:pt x="47" y="31"/>
                  </a:cubicBezTo>
                  <a:cubicBezTo>
                    <a:pt x="47" y="23"/>
                    <a:pt x="46" y="16"/>
                    <a:pt x="37" y="16"/>
                  </a:cubicBezTo>
                  <a:cubicBezTo>
                    <a:pt x="30" y="16"/>
                    <a:pt x="19" y="23"/>
                    <a:pt x="19" y="23"/>
                  </a:cubicBezTo>
                  <a:cubicBezTo>
                    <a:pt x="19" y="63"/>
                    <a:pt x="19" y="63"/>
                    <a:pt x="19" y="63"/>
                  </a:cubicBezTo>
                  <a:cubicBezTo>
                    <a:pt x="19" y="6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3"/>
                    <a:pt x="34" y="0"/>
                    <a:pt x="43" y="0"/>
                  </a:cubicBezTo>
                  <a:cubicBezTo>
                    <a:pt x="52" y="0"/>
                    <a:pt x="59" y="4"/>
                    <a:pt x="63" y="11"/>
                  </a:cubicBezTo>
                  <a:cubicBezTo>
                    <a:pt x="71" y="3"/>
                    <a:pt x="81" y="0"/>
                    <a:pt x="89" y="0"/>
                  </a:cubicBezTo>
                  <a:cubicBezTo>
                    <a:pt x="102" y="0"/>
                    <a:pt x="114" y="6"/>
                    <a:pt x="114" y="25"/>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9" name="Freeform 27"/>
            <p:cNvSpPr>
              <a:spLocks/>
            </p:cNvSpPr>
            <p:nvPr userDrawn="1"/>
          </p:nvSpPr>
          <p:spPr bwMode="auto">
            <a:xfrm>
              <a:off x="7908622" y="5019846"/>
              <a:ext cx="77407" cy="77889"/>
            </a:xfrm>
            <a:custGeom>
              <a:avLst/>
              <a:gdLst>
                <a:gd name="T0" fmla="*/ 43 w 102"/>
                <a:gd name="T1" fmla="*/ 107 h 107"/>
                <a:gd name="T2" fmla="*/ 65 w 102"/>
                <a:gd name="T3" fmla="*/ 91 h 107"/>
                <a:gd name="T4" fmla="*/ 102 w 102"/>
                <a:gd name="T5" fmla="*/ 0 h 107"/>
                <a:gd name="T6" fmla="*/ 81 w 102"/>
                <a:gd name="T7" fmla="*/ 0 h 107"/>
                <a:gd name="T8" fmla="*/ 51 w 102"/>
                <a:gd name="T9" fmla="*/ 78 h 107"/>
                <a:gd name="T10" fmla="*/ 51 w 102"/>
                <a:gd name="T11" fmla="*/ 78 h 107"/>
                <a:gd name="T12" fmla="*/ 21 w 102"/>
                <a:gd name="T13" fmla="*/ 0 h 107"/>
                <a:gd name="T14" fmla="*/ 0 w 102"/>
                <a:gd name="T15" fmla="*/ 0 h 107"/>
                <a:gd name="T16" fmla="*/ 43 w 102"/>
                <a:gd name="T17"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107">
                  <a:moveTo>
                    <a:pt x="43" y="107"/>
                  </a:moveTo>
                  <a:cubicBezTo>
                    <a:pt x="57" y="107"/>
                    <a:pt x="61" y="101"/>
                    <a:pt x="65" y="91"/>
                  </a:cubicBezTo>
                  <a:cubicBezTo>
                    <a:pt x="102" y="0"/>
                    <a:pt x="102" y="0"/>
                    <a:pt x="102" y="0"/>
                  </a:cubicBezTo>
                  <a:cubicBezTo>
                    <a:pt x="81" y="0"/>
                    <a:pt x="81" y="0"/>
                    <a:pt x="81" y="0"/>
                  </a:cubicBezTo>
                  <a:cubicBezTo>
                    <a:pt x="51" y="78"/>
                    <a:pt x="51" y="78"/>
                    <a:pt x="51" y="78"/>
                  </a:cubicBezTo>
                  <a:cubicBezTo>
                    <a:pt x="51" y="78"/>
                    <a:pt x="51" y="78"/>
                    <a:pt x="51" y="78"/>
                  </a:cubicBezTo>
                  <a:cubicBezTo>
                    <a:pt x="21" y="0"/>
                    <a:pt x="21" y="0"/>
                    <a:pt x="21" y="0"/>
                  </a:cubicBezTo>
                  <a:cubicBezTo>
                    <a:pt x="0" y="0"/>
                    <a:pt x="0" y="0"/>
                    <a:pt x="0" y="0"/>
                  </a:cubicBezTo>
                  <a:cubicBezTo>
                    <a:pt x="43" y="107"/>
                    <a:pt x="43" y="107"/>
                    <a:pt x="43" y="10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sp>
        <p:nvSpPr>
          <p:cNvPr id="166" name="Text Placeholder 2"/>
          <p:cNvSpPr>
            <a:spLocks noGrp="1"/>
          </p:cNvSpPr>
          <p:nvPr>
            <p:ph type="body" sz="quarter" idx="25" hasCustomPrompt="1"/>
          </p:nvPr>
        </p:nvSpPr>
        <p:spPr>
          <a:xfrm>
            <a:off x="3342796" y="4807465"/>
            <a:ext cx="1160462" cy="341313"/>
          </a:xfrm>
          <a:prstGeom prst="rect">
            <a:avLst/>
          </a:prstGeom>
        </p:spPr>
        <p:txBody>
          <a:bodyPr anchor="ctr"/>
          <a:lstStyle>
            <a:lvl1pPr marL="0" indent="0" algn="ctr">
              <a:buNone/>
              <a:defRPr sz="800">
                <a:solidFill>
                  <a:schemeClr val="bg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grpSp>
        <p:nvGrpSpPr>
          <p:cNvPr id="167" name="Group 166"/>
          <p:cNvGrpSpPr/>
          <p:nvPr userDrawn="1"/>
        </p:nvGrpSpPr>
        <p:grpSpPr>
          <a:xfrm>
            <a:off x="7686461" y="4906654"/>
            <a:ext cx="1124815" cy="151147"/>
            <a:chOff x="7686461" y="4581466"/>
            <a:chExt cx="1124815" cy="151147"/>
          </a:xfrm>
          <a:solidFill>
            <a:schemeClr val="bg1"/>
          </a:solidFill>
        </p:grpSpPr>
        <p:sp>
          <p:nvSpPr>
            <p:cNvPr id="168"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sp>
          <p:nvSpPr>
            <p:cNvPr id="169"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sp>
          <p:nvSpPr>
            <p:cNvPr id="170"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sp>
          <p:nvSpPr>
            <p:cNvPr id="171"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sp>
          <p:nvSpPr>
            <p:cNvPr id="172"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sp>
          <p:nvSpPr>
            <p:cNvPr id="173"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sp>
          <p:nvSpPr>
            <p:cNvPr id="174"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sp>
          <p:nvSpPr>
            <p:cNvPr id="175"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sp>
          <p:nvSpPr>
            <p:cNvPr id="176"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sp>
          <p:nvSpPr>
            <p:cNvPr id="177"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sp>
          <p:nvSpPr>
            <p:cNvPr id="178"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sp>
          <p:nvSpPr>
            <p:cNvPr id="179"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sp>
          <p:nvSpPr>
            <p:cNvPr id="180"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sp>
          <p:nvSpPr>
            <p:cNvPr id="181"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sp>
          <p:nvSpPr>
            <p:cNvPr id="182"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b="1"/>
            </a:p>
          </p:txBody>
        </p:sp>
      </p:grpSp>
      <p:grpSp>
        <p:nvGrpSpPr>
          <p:cNvPr id="73" name="Group 72"/>
          <p:cNvGrpSpPr/>
          <p:nvPr userDrawn="1"/>
        </p:nvGrpSpPr>
        <p:grpSpPr>
          <a:xfrm>
            <a:off x="6223980" y="4846685"/>
            <a:ext cx="1123200" cy="262528"/>
            <a:chOff x="7673274" y="4343117"/>
            <a:chExt cx="1123200" cy="262528"/>
          </a:xfrm>
          <a:solidFill>
            <a:schemeClr val="bg1"/>
          </a:solidFill>
        </p:grpSpPr>
        <p:grpSp>
          <p:nvGrpSpPr>
            <p:cNvPr id="75" name="Group 74"/>
            <p:cNvGrpSpPr/>
            <p:nvPr userDrawn="1"/>
          </p:nvGrpSpPr>
          <p:grpSpPr>
            <a:xfrm>
              <a:off x="7909937" y="4494135"/>
              <a:ext cx="438357" cy="111510"/>
              <a:chOff x="7909937" y="4491754"/>
              <a:chExt cx="438357" cy="111510"/>
            </a:xfrm>
            <a:grpFill/>
          </p:grpSpPr>
          <p:sp>
            <p:nvSpPr>
              <p:cNvPr id="92" name="Freeform 21"/>
              <p:cNvSpPr>
                <a:spLocks noEditPoints="1"/>
              </p:cNvSpPr>
              <p:nvPr/>
            </p:nvSpPr>
            <p:spPr bwMode="auto">
              <a:xfrm>
                <a:off x="7909937" y="4496945"/>
                <a:ext cx="72264" cy="78286"/>
              </a:xfrm>
              <a:custGeom>
                <a:avLst/>
                <a:gdLst>
                  <a:gd name="T0" fmla="*/ 290 w 696"/>
                  <a:gd name="T1" fmla="*/ 0 h 754"/>
                  <a:gd name="T2" fmla="*/ 394 w 696"/>
                  <a:gd name="T3" fmla="*/ 0 h 754"/>
                  <a:gd name="T4" fmla="*/ 696 w 696"/>
                  <a:gd name="T5" fmla="*/ 754 h 754"/>
                  <a:gd name="T6" fmla="*/ 550 w 696"/>
                  <a:gd name="T7" fmla="*/ 754 h 754"/>
                  <a:gd name="T8" fmla="*/ 478 w 696"/>
                  <a:gd name="T9" fmla="*/ 566 h 754"/>
                  <a:gd name="T10" fmla="*/ 210 w 696"/>
                  <a:gd name="T11" fmla="*/ 566 h 754"/>
                  <a:gd name="T12" fmla="*/ 140 w 696"/>
                  <a:gd name="T13" fmla="*/ 754 h 754"/>
                  <a:gd name="T14" fmla="*/ 0 w 696"/>
                  <a:gd name="T15" fmla="*/ 754 h 754"/>
                  <a:gd name="T16" fmla="*/ 290 w 696"/>
                  <a:gd name="T17" fmla="*/ 0 h 754"/>
                  <a:gd name="T18" fmla="*/ 436 w 696"/>
                  <a:gd name="T19" fmla="*/ 456 h 754"/>
                  <a:gd name="T20" fmla="*/ 384 w 696"/>
                  <a:gd name="T21" fmla="*/ 306 h 754"/>
                  <a:gd name="T22" fmla="*/ 384 w 696"/>
                  <a:gd name="T23" fmla="*/ 306 h 754"/>
                  <a:gd name="T24" fmla="*/ 360 w 696"/>
                  <a:gd name="T25" fmla="*/ 236 h 754"/>
                  <a:gd name="T26" fmla="*/ 346 w 696"/>
                  <a:gd name="T27" fmla="*/ 190 h 754"/>
                  <a:gd name="T28" fmla="*/ 344 w 696"/>
                  <a:gd name="T29" fmla="*/ 190 h 754"/>
                  <a:gd name="T30" fmla="*/ 344 w 696"/>
                  <a:gd name="T31" fmla="*/ 190 h 754"/>
                  <a:gd name="T32" fmla="*/ 328 w 696"/>
                  <a:gd name="T33" fmla="*/ 236 h 754"/>
                  <a:gd name="T34" fmla="*/ 304 w 696"/>
                  <a:gd name="T35" fmla="*/ 306 h 754"/>
                  <a:gd name="T36" fmla="*/ 250 w 696"/>
                  <a:gd name="T37" fmla="*/ 456 h 754"/>
                  <a:gd name="T38" fmla="*/ 436 w 696"/>
                  <a:gd name="T39" fmla="*/ 456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6" h="754">
                    <a:moveTo>
                      <a:pt x="290" y="0"/>
                    </a:moveTo>
                    <a:lnTo>
                      <a:pt x="394" y="0"/>
                    </a:lnTo>
                    <a:lnTo>
                      <a:pt x="696" y="754"/>
                    </a:lnTo>
                    <a:lnTo>
                      <a:pt x="550" y="754"/>
                    </a:lnTo>
                    <a:lnTo>
                      <a:pt x="478" y="566"/>
                    </a:lnTo>
                    <a:lnTo>
                      <a:pt x="210" y="566"/>
                    </a:lnTo>
                    <a:lnTo>
                      <a:pt x="140" y="754"/>
                    </a:lnTo>
                    <a:lnTo>
                      <a:pt x="0" y="754"/>
                    </a:lnTo>
                    <a:lnTo>
                      <a:pt x="290" y="0"/>
                    </a:lnTo>
                    <a:close/>
                    <a:moveTo>
                      <a:pt x="436" y="456"/>
                    </a:moveTo>
                    <a:lnTo>
                      <a:pt x="384" y="306"/>
                    </a:lnTo>
                    <a:lnTo>
                      <a:pt x="384" y="306"/>
                    </a:lnTo>
                    <a:lnTo>
                      <a:pt x="360" y="236"/>
                    </a:lnTo>
                    <a:lnTo>
                      <a:pt x="346" y="190"/>
                    </a:lnTo>
                    <a:lnTo>
                      <a:pt x="344" y="190"/>
                    </a:lnTo>
                    <a:lnTo>
                      <a:pt x="344" y="190"/>
                    </a:lnTo>
                    <a:lnTo>
                      <a:pt x="328" y="236"/>
                    </a:lnTo>
                    <a:lnTo>
                      <a:pt x="304" y="306"/>
                    </a:lnTo>
                    <a:lnTo>
                      <a:pt x="250" y="456"/>
                    </a:lnTo>
                    <a:lnTo>
                      <a:pt x="436" y="4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 name="Freeform 22"/>
              <p:cNvSpPr>
                <a:spLocks noEditPoints="1"/>
              </p:cNvSpPr>
              <p:nvPr/>
            </p:nvSpPr>
            <p:spPr bwMode="auto">
              <a:xfrm>
                <a:off x="8047404" y="4517918"/>
                <a:ext cx="48591" cy="58558"/>
              </a:xfrm>
              <a:custGeom>
                <a:avLst/>
                <a:gdLst>
                  <a:gd name="T0" fmla="*/ 334 w 468"/>
                  <a:gd name="T1" fmla="*/ 502 h 564"/>
                  <a:gd name="T2" fmla="*/ 302 w 468"/>
                  <a:gd name="T3" fmla="*/ 526 h 564"/>
                  <a:gd name="T4" fmla="*/ 266 w 468"/>
                  <a:gd name="T5" fmla="*/ 546 h 564"/>
                  <a:gd name="T6" fmla="*/ 226 w 468"/>
                  <a:gd name="T7" fmla="*/ 560 h 564"/>
                  <a:gd name="T8" fmla="*/ 178 w 468"/>
                  <a:gd name="T9" fmla="*/ 564 h 564"/>
                  <a:gd name="T10" fmla="*/ 160 w 468"/>
                  <a:gd name="T11" fmla="*/ 564 h 564"/>
                  <a:gd name="T12" fmla="*/ 124 w 468"/>
                  <a:gd name="T13" fmla="*/ 558 h 564"/>
                  <a:gd name="T14" fmla="*/ 92 w 468"/>
                  <a:gd name="T15" fmla="*/ 546 h 564"/>
                  <a:gd name="T16" fmla="*/ 62 w 468"/>
                  <a:gd name="T17" fmla="*/ 528 h 564"/>
                  <a:gd name="T18" fmla="*/ 38 w 468"/>
                  <a:gd name="T19" fmla="*/ 506 h 564"/>
                  <a:gd name="T20" fmla="*/ 20 w 468"/>
                  <a:gd name="T21" fmla="*/ 478 h 564"/>
                  <a:gd name="T22" fmla="*/ 6 w 468"/>
                  <a:gd name="T23" fmla="*/ 446 h 564"/>
                  <a:gd name="T24" fmla="*/ 0 w 468"/>
                  <a:gd name="T25" fmla="*/ 412 h 564"/>
                  <a:gd name="T26" fmla="*/ 0 w 468"/>
                  <a:gd name="T27" fmla="*/ 392 h 564"/>
                  <a:gd name="T28" fmla="*/ 6 w 468"/>
                  <a:gd name="T29" fmla="*/ 342 h 564"/>
                  <a:gd name="T30" fmla="*/ 24 w 468"/>
                  <a:gd name="T31" fmla="*/ 302 h 564"/>
                  <a:gd name="T32" fmla="*/ 52 w 468"/>
                  <a:gd name="T33" fmla="*/ 270 h 564"/>
                  <a:gd name="T34" fmla="*/ 90 w 468"/>
                  <a:gd name="T35" fmla="*/ 246 h 564"/>
                  <a:gd name="T36" fmla="*/ 120 w 468"/>
                  <a:gd name="T37" fmla="*/ 232 h 564"/>
                  <a:gd name="T38" fmla="*/ 190 w 468"/>
                  <a:gd name="T39" fmla="*/ 218 h 564"/>
                  <a:gd name="T40" fmla="*/ 322 w 468"/>
                  <a:gd name="T41" fmla="*/ 210 h 564"/>
                  <a:gd name="T42" fmla="*/ 322 w 468"/>
                  <a:gd name="T43" fmla="*/ 194 h 564"/>
                  <a:gd name="T44" fmla="*/ 314 w 468"/>
                  <a:gd name="T45" fmla="*/ 154 h 564"/>
                  <a:gd name="T46" fmla="*/ 294 w 468"/>
                  <a:gd name="T47" fmla="*/ 126 h 564"/>
                  <a:gd name="T48" fmla="*/ 260 w 468"/>
                  <a:gd name="T49" fmla="*/ 108 h 564"/>
                  <a:gd name="T50" fmla="*/ 218 w 468"/>
                  <a:gd name="T51" fmla="*/ 104 h 564"/>
                  <a:gd name="T52" fmla="*/ 198 w 468"/>
                  <a:gd name="T53" fmla="*/ 104 h 564"/>
                  <a:gd name="T54" fmla="*/ 160 w 468"/>
                  <a:gd name="T55" fmla="*/ 110 h 564"/>
                  <a:gd name="T56" fmla="*/ 108 w 468"/>
                  <a:gd name="T57" fmla="*/ 126 h 564"/>
                  <a:gd name="T58" fmla="*/ 32 w 468"/>
                  <a:gd name="T59" fmla="*/ 54 h 564"/>
                  <a:gd name="T60" fmla="*/ 56 w 468"/>
                  <a:gd name="T61" fmla="*/ 42 h 564"/>
                  <a:gd name="T62" fmla="*/ 106 w 468"/>
                  <a:gd name="T63" fmla="*/ 22 h 564"/>
                  <a:gd name="T64" fmla="*/ 158 w 468"/>
                  <a:gd name="T65" fmla="*/ 8 h 564"/>
                  <a:gd name="T66" fmla="*/ 212 w 468"/>
                  <a:gd name="T67" fmla="*/ 0 h 564"/>
                  <a:gd name="T68" fmla="*/ 240 w 468"/>
                  <a:gd name="T69" fmla="*/ 0 h 564"/>
                  <a:gd name="T70" fmla="*/ 292 w 468"/>
                  <a:gd name="T71" fmla="*/ 4 h 564"/>
                  <a:gd name="T72" fmla="*/ 336 w 468"/>
                  <a:gd name="T73" fmla="*/ 12 h 564"/>
                  <a:gd name="T74" fmla="*/ 372 w 468"/>
                  <a:gd name="T75" fmla="*/ 28 h 564"/>
                  <a:gd name="T76" fmla="*/ 404 w 468"/>
                  <a:gd name="T77" fmla="*/ 50 h 564"/>
                  <a:gd name="T78" fmla="*/ 426 w 468"/>
                  <a:gd name="T79" fmla="*/ 76 h 564"/>
                  <a:gd name="T80" fmla="*/ 444 w 468"/>
                  <a:gd name="T81" fmla="*/ 110 h 564"/>
                  <a:gd name="T82" fmla="*/ 454 w 468"/>
                  <a:gd name="T83" fmla="*/ 150 h 564"/>
                  <a:gd name="T84" fmla="*/ 458 w 468"/>
                  <a:gd name="T85" fmla="*/ 196 h 564"/>
                  <a:gd name="T86" fmla="*/ 458 w 468"/>
                  <a:gd name="T87" fmla="*/ 414 h 564"/>
                  <a:gd name="T88" fmla="*/ 460 w 468"/>
                  <a:gd name="T89" fmla="*/ 496 h 564"/>
                  <a:gd name="T90" fmla="*/ 468 w 468"/>
                  <a:gd name="T91" fmla="*/ 552 h 564"/>
                  <a:gd name="T92" fmla="*/ 334 w 468"/>
                  <a:gd name="T93" fmla="*/ 502 h 564"/>
                  <a:gd name="T94" fmla="*/ 248 w 468"/>
                  <a:gd name="T95" fmla="*/ 304 h 564"/>
                  <a:gd name="T96" fmla="*/ 204 w 468"/>
                  <a:gd name="T97" fmla="*/ 310 h 564"/>
                  <a:gd name="T98" fmla="*/ 170 w 468"/>
                  <a:gd name="T99" fmla="*/ 322 h 564"/>
                  <a:gd name="T100" fmla="*/ 162 w 468"/>
                  <a:gd name="T101" fmla="*/ 326 h 564"/>
                  <a:gd name="T102" fmla="*/ 150 w 468"/>
                  <a:gd name="T103" fmla="*/ 340 h 564"/>
                  <a:gd name="T104" fmla="*/ 142 w 468"/>
                  <a:gd name="T105" fmla="*/ 354 h 564"/>
                  <a:gd name="T106" fmla="*/ 138 w 468"/>
                  <a:gd name="T107" fmla="*/ 382 h 564"/>
                  <a:gd name="T108" fmla="*/ 138 w 468"/>
                  <a:gd name="T109" fmla="*/ 400 h 564"/>
                  <a:gd name="T110" fmla="*/ 150 w 468"/>
                  <a:gd name="T111" fmla="*/ 426 h 564"/>
                  <a:gd name="T112" fmla="*/ 170 w 468"/>
                  <a:gd name="T113" fmla="*/ 446 h 564"/>
                  <a:gd name="T114" fmla="*/ 200 w 468"/>
                  <a:gd name="T115" fmla="*/ 456 h 564"/>
                  <a:gd name="T116" fmla="*/ 216 w 468"/>
                  <a:gd name="T117" fmla="*/ 456 h 564"/>
                  <a:gd name="T118" fmla="*/ 252 w 468"/>
                  <a:gd name="T119" fmla="*/ 452 h 564"/>
                  <a:gd name="T120" fmla="*/ 282 w 468"/>
                  <a:gd name="T121" fmla="*/ 442 h 564"/>
                  <a:gd name="T122" fmla="*/ 322 w 468"/>
                  <a:gd name="T123" fmla="*/ 418 h 564"/>
                  <a:gd name="T124" fmla="*/ 248 w 468"/>
                  <a:gd name="T125" fmla="*/ 30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8" h="564">
                    <a:moveTo>
                      <a:pt x="334" y="502"/>
                    </a:moveTo>
                    <a:lnTo>
                      <a:pt x="334" y="502"/>
                    </a:lnTo>
                    <a:lnTo>
                      <a:pt x="318" y="514"/>
                    </a:lnTo>
                    <a:lnTo>
                      <a:pt x="302" y="526"/>
                    </a:lnTo>
                    <a:lnTo>
                      <a:pt x="284" y="536"/>
                    </a:lnTo>
                    <a:lnTo>
                      <a:pt x="266" y="546"/>
                    </a:lnTo>
                    <a:lnTo>
                      <a:pt x="246" y="554"/>
                    </a:lnTo>
                    <a:lnTo>
                      <a:pt x="226" y="560"/>
                    </a:lnTo>
                    <a:lnTo>
                      <a:pt x="202" y="562"/>
                    </a:lnTo>
                    <a:lnTo>
                      <a:pt x="178" y="564"/>
                    </a:lnTo>
                    <a:lnTo>
                      <a:pt x="178" y="564"/>
                    </a:lnTo>
                    <a:lnTo>
                      <a:pt x="160" y="564"/>
                    </a:lnTo>
                    <a:lnTo>
                      <a:pt x="140" y="560"/>
                    </a:lnTo>
                    <a:lnTo>
                      <a:pt x="124" y="558"/>
                    </a:lnTo>
                    <a:lnTo>
                      <a:pt x="106" y="552"/>
                    </a:lnTo>
                    <a:lnTo>
                      <a:pt x="92" y="546"/>
                    </a:lnTo>
                    <a:lnTo>
                      <a:pt x="76" y="538"/>
                    </a:lnTo>
                    <a:lnTo>
                      <a:pt x="62" y="528"/>
                    </a:lnTo>
                    <a:lnTo>
                      <a:pt x="50" y="516"/>
                    </a:lnTo>
                    <a:lnTo>
                      <a:pt x="38" y="506"/>
                    </a:lnTo>
                    <a:lnTo>
                      <a:pt x="28" y="492"/>
                    </a:lnTo>
                    <a:lnTo>
                      <a:pt x="20" y="478"/>
                    </a:lnTo>
                    <a:lnTo>
                      <a:pt x="12" y="462"/>
                    </a:lnTo>
                    <a:lnTo>
                      <a:pt x="6" y="446"/>
                    </a:lnTo>
                    <a:lnTo>
                      <a:pt x="2" y="430"/>
                    </a:lnTo>
                    <a:lnTo>
                      <a:pt x="0" y="412"/>
                    </a:lnTo>
                    <a:lnTo>
                      <a:pt x="0" y="392"/>
                    </a:lnTo>
                    <a:lnTo>
                      <a:pt x="0" y="392"/>
                    </a:lnTo>
                    <a:lnTo>
                      <a:pt x="0" y="366"/>
                    </a:lnTo>
                    <a:lnTo>
                      <a:pt x="6" y="342"/>
                    </a:lnTo>
                    <a:lnTo>
                      <a:pt x="14" y="320"/>
                    </a:lnTo>
                    <a:lnTo>
                      <a:pt x="24" y="302"/>
                    </a:lnTo>
                    <a:lnTo>
                      <a:pt x="36" y="284"/>
                    </a:lnTo>
                    <a:lnTo>
                      <a:pt x="52" y="270"/>
                    </a:lnTo>
                    <a:lnTo>
                      <a:pt x="70" y="256"/>
                    </a:lnTo>
                    <a:lnTo>
                      <a:pt x="90" y="246"/>
                    </a:lnTo>
                    <a:lnTo>
                      <a:pt x="90" y="246"/>
                    </a:lnTo>
                    <a:lnTo>
                      <a:pt x="120" y="232"/>
                    </a:lnTo>
                    <a:lnTo>
                      <a:pt x="154" y="224"/>
                    </a:lnTo>
                    <a:lnTo>
                      <a:pt x="190" y="218"/>
                    </a:lnTo>
                    <a:lnTo>
                      <a:pt x="230" y="214"/>
                    </a:lnTo>
                    <a:lnTo>
                      <a:pt x="322" y="210"/>
                    </a:lnTo>
                    <a:lnTo>
                      <a:pt x="322" y="194"/>
                    </a:lnTo>
                    <a:lnTo>
                      <a:pt x="322" y="194"/>
                    </a:lnTo>
                    <a:lnTo>
                      <a:pt x="320" y="172"/>
                    </a:lnTo>
                    <a:lnTo>
                      <a:pt x="314" y="154"/>
                    </a:lnTo>
                    <a:lnTo>
                      <a:pt x="306" y="138"/>
                    </a:lnTo>
                    <a:lnTo>
                      <a:pt x="294" y="126"/>
                    </a:lnTo>
                    <a:lnTo>
                      <a:pt x="278" y="116"/>
                    </a:lnTo>
                    <a:lnTo>
                      <a:pt x="260" y="108"/>
                    </a:lnTo>
                    <a:lnTo>
                      <a:pt x="240" y="106"/>
                    </a:lnTo>
                    <a:lnTo>
                      <a:pt x="218" y="104"/>
                    </a:lnTo>
                    <a:lnTo>
                      <a:pt x="218" y="104"/>
                    </a:lnTo>
                    <a:lnTo>
                      <a:pt x="198" y="104"/>
                    </a:lnTo>
                    <a:lnTo>
                      <a:pt x="178" y="106"/>
                    </a:lnTo>
                    <a:lnTo>
                      <a:pt x="160" y="110"/>
                    </a:lnTo>
                    <a:lnTo>
                      <a:pt x="142" y="114"/>
                    </a:lnTo>
                    <a:lnTo>
                      <a:pt x="108" y="126"/>
                    </a:lnTo>
                    <a:lnTo>
                      <a:pt x="76" y="142"/>
                    </a:lnTo>
                    <a:lnTo>
                      <a:pt x="32" y="54"/>
                    </a:lnTo>
                    <a:lnTo>
                      <a:pt x="32" y="54"/>
                    </a:lnTo>
                    <a:lnTo>
                      <a:pt x="56" y="42"/>
                    </a:lnTo>
                    <a:lnTo>
                      <a:pt x="82" y="30"/>
                    </a:lnTo>
                    <a:lnTo>
                      <a:pt x="106" y="22"/>
                    </a:lnTo>
                    <a:lnTo>
                      <a:pt x="132" y="14"/>
                    </a:lnTo>
                    <a:lnTo>
                      <a:pt x="158" y="8"/>
                    </a:lnTo>
                    <a:lnTo>
                      <a:pt x="186" y="4"/>
                    </a:lnTo>
                    <a:lnTo>
                      <a:pt x="212" y="0"/>
                    </a:lnTo>
                    <a:lnTo>
                      <a:pt x="240" y="0"/>
                    </a:lnTo>
                    <a:lnTo>
                      <a:pt x="240" y="0"/>
                    </a:lnTo>
                    <a:lnTo>
                      <a:pt x="268" y="0"/>
                    </a:lnTo>
                    <a:lnTo>
                      <a:pt x="292" y="4"/>
                    </a:lnTo>
                    <a:lnTo>
                      <a:pt x="314" y="6"/>
                    </a:lnTo>
                    <a:lnTo>
                      <a:pt x="336" y="12"/>
                    </a:lnTo>
                    <a:lnTo>
                      <a:pt x="356" y="20"/>
                    </a:lnTo>
                    <a:lnTo>
                      <a:pt x="372" y="28"/>
                    </a:lnTo>
                    <a:lnTo>
                      <a:pt x="388" y="38"/>
                    </a:lnTo>
                    <a:lnTo>
                      <a:pt x="404" y="50"/>
                    </a:lnTo>
                    <a:lnTo>
                      <a:pt x="416" y="62"/>
                    </a:lnTo>
                    <a:lnTo>
                      <a:pt x="426" y="76"/>
                    </a:lnTo>
                    <a:lnTo>
                      <a:pt x="436" y="94"/>
                    </a:lnTo>
                    <a:lnTo>
                      <a:pt x="444" y="110"/>
                    </a:lnTo>
                    <a:lnTo>
                      <a:pt x="450" y="130"/>
                    </a:lnTo>
                    <a:lnTo>
                      <a:pt x="454" y="150"/>
                    </a:lnTo>
                    <a:lnTo>
                      <a:pt x="456" y="172"/>
                    </a:lnTo>
                    <a:lnTo>
                      <a:pt x="458" y="196"/>
                    </a:lnTo>
                    <a:lnTo>
                      <a:pt x="458" y="414"/>
                    </a:lnTo>
                    <a:lnTo>
                      <a:pt x="458" y="414"/>
                    </a:lnTo>
                    <a:lnTo>
                      <a:pt x="458" y="458"/>
                    </a:lnTo>
                    <a:lnTo>
                      <a:pt x="460" y="496"/>
                    </a:lnTo>
                    <a:lnTo>
                      <a:pt x="462" y="528"/>
                    </a:lnTo>
                    <a:lnTo>
                      <a:pt x="468" y="552"/>
                    </a:lnTo>
                    <a:lnTo>
                      <a:pt x="354" y="552"/>
                    </a:lnTo>
                    <a:lnTo>
                      <a:pt x="334" y="502"/>
                    </a:lnTo>
                    <a:close/>
                    <a:moveTo>
                      <a:pt x="248" y="304"/>
                    </a:moveTo>
                    <a:lnTo>
                      <a:pt x="248" y="304"/>
                    </a:lnTo>
                    <a:lnTo>
                      <a:pt x="224" y="306"/>
                    </a:lnTo>
                    <a:lnTo>
                      <a:pt x="204" y="310"/>
                    </a:lnTo>
                    <a:lnTo>
                      <a:pt x="186" y="314"/>
                    </a:lnTo>
                    <a:lnTo>
                      <a:pt x="170" y="322"/>
                    </a:lnTo>
                    <a:lnTo>
                      <a:pt x="170" y="322"/>
                    </a:lnTo>
                    <a:lnTo>
                      <a:pt x="162" y="326"/>
                    </a:lnTo>
                    <a:lnTo>
                      <a:pt x="156" y="332"/>
                    </a:lnTo>
                    <a:lnTo>
                      <a:pt x="150" y="340"/>
                    </a:lnTo>
                    <a:lnTo>
                      <a:pt x="146" y="346"/>
                    </a:lnTo>
                    <a:lnTo>
                      <a:pt x="142" y="354"/>
                    </a:lnTo>
                    <a:lnTo>
                      <a:pt x="140" y="364"/>
                    </a:lnTo>
                    <a:lnTo>
                      <a:pt x="138" y="382"/>
                    </a:lnTo>
                    <a:lnTo>
                      <a:pt x="138" y="382"/>
                    </a:lnTo>
                    <a:lnTo>
                      <a:pt x="138" y="400"/>
                    </a:lnTo>
                    <a:lnTo>
                      <a:pt x="142" y="414"/>
                    </a:lnTo>
                    <a:lnTo>
                      <a:pt x="150" y="426"/>
                    </a:lnTo>
                    <a:lnTo>
                      <a:pt x="158" y="438"/>
                    </a:lnTo>
                    <a:lnTo>
                      <a:pt x="170" y="446"/>
                    </a:lnTo>
                    <a:lnTo>
                      <a:pt x="184" y="452"/>
                    </a:lnTo>
                    <a:lnTo>
                      <a:pt x="200" y="456"/>
                    </a:lnTo>
                    <a:lnTo>
                      <a:pt x="216" y="456"/>
                    </a:lnTo>
                    <a:lnTo>
                      <a:pt x="216" y="456"/>
                    </a:lnTo>
                    <a:lnTo>
                      <a:pt x="234" y="456"/>
                    </a:lnTo>
                    <a:lnTo>
                      <a:pt x="252" y="452"/>
                    </a:lnTo>
                    <a:lnTo>
                      <a:pt x="268" y="448"/>
                    </a:lnTo>
                    <a:lnTo>
                      <a:pt x="282" y="442"/>
                    </a:lnTo>
                    <a:lnTo>
                      <a:pt x="304" y="430"/>
                    </a:lnTo>
                    <a:lnTo>
                      <a:pt x="322" y="418"/>
                    </a:lnTo>
                    <a:lnTo>
                      <a:pt x="322" y="302"/>
                    </a:lnTo>
                    <a:lnTo>
                      <a:pt x="248" y="3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 name="Freeform 23"/>
              <p:cNvSpPr>
                <a:spLocks/>
              </p:cNvSpPr>
              <p:nvPr/>
            </p:nvSpPr>
            <p:spPr bwMode="auto">
              <a:xfrm>
                <a:off x="8121536" y="4519372"/>
                <a:ext cx="62089" cy="83892"/>
              </a:xfrm>
              <a:custGeom>
                <a:avLst/>
                <a:gdLst>
                  <a:gd name="T0" fmla="*/ 34 w 598"/>
                  <a:gd name="T1" fmla="*/ 678 h 808"/>
                  <a:gd name="T2" fmla="*/ 34 w 598"/>
                  <a:gd name="T3" fmla="*/ 678 h 808"/>
                  <a:gd name="T4" fmla="*/ 54 w 598"/>
                  <a:gd name="T5" fmla="*/ 688 h 808"/>
                  <a:gd name="T6" fmla="*/ 74 w 598"/>
                  <a:gd name="T7" fmla="*/ 694 h 808"/>
                  <a:gd name="T8" fmla="*/ 94 w 598"/>
                  <a:gd name="T9" fmla="*/ 698 h 808"/>
                  <a:gd name="T10" fmla="*/ 116 w 598"/>
                  <a:gd name="T11" fmla="*/ 700 h 808"/>
                  <a:gd name="T12" fmla="*/ 116 w 598"/>
                  <a:gd name="T13" fmla="*/ 700 h 808"/>
                  <a:gd name="T14" fmla="*/ 138 w 598"/>
                  <a:gd name="T15" fmla="*/ 698 h 808"/>
                  <a:gd name="T16" fmla="*/ 158 w 598"/>
                  <a:gd name="T17" fmla="*/ 692 h 808"/>
                  <a:gd name="T18" fmla="*/ 168 w 598"/>
                  <a:gd name="T19" fmla="*/ 686 h 808"/>
                  <a:gd name="T20" fmla="*/ 178 w 598"/>
                  <a:gd name="T21" fmla="*/ 680 h 808"/>
                  <a:gd name="T22" fmla="*/ 188 w 598"/>
                  <a:gd name="T23" fmla="*/ 672 h 808"/>
                  <a:gd name="T24" fmla="*/ 198 w 598"/>
                  <a:gd name="T25" fmla="*/ 664 h 808"/>
                  <a:gd name="T26" fmla="*/ 216 w 598"/>
                  <a:gd name="T27" fmla="*/ 642 h 808"/>
                  <a:gd name="T28" fmla="*/ 234 w 598"/>
                  <a:gd name="T29" fmla="*/ 612 h 808"/>
                  <a:gd name="T30" fmla="*/ 250 w 598"/>
                  <a:gd name="T31" fmla="*/ 578 h 808"/>
                  <a:gd name="T32" fmla="*/ 266 w 598"/>
                  <a:gd name="T33" fmla="*/ 536 h 808"/>
                  <a:gd name="T34" fmla="*/ 24 w 598"/>
                  <a:gd name="T35" fmla="*/ 0 h 808"/>
                  <a:gd name="T36" fmla="*/ 164 w 598"/>
                  <a:gd name="T37" fmla="*/ 0 h 808"/>
                  <a:gd name="T38" fmla="*/ 328 w 598"/>
                  <a:gd name="T39" fmla="*/ 382 h 808"/>
                  <a:gd name="T40" fmla="*/ 330 w 598"/>
                  <a:gd name="T41" fmla="*/ 382 h 808"/>
                  <a:gd name="T42" fmla="*/ 460 w 598"/>
                  <a:gd name="T43" fmla="*/ 0 h 808"/>
                  <a:gd name="T44" fmla="*/ 598 w 598"/>
                  <a:gd name="T45" fmla="*/ 0 h 808"/>
                  <a:gd name="T46" fmla="*/ 392 w 598"/>
                  <a:gd name="T47" fmla="*/ 556 h 808"/>
                  <a:gd name="T48" fmla="*/ 392 w 598"/>
                  <a:gd name="T49" fmla="*/ 556 h 808"/>
                  <a:gd name="T50" fmla="*/ 376 w 598"/>
                  <a:gd name="T51" fmla="*/ 596 h 808"/>
                  <a:gd name="T52" fmla="*/ 360 w 598"/>
                  <a:gd name="T53" fmla="*/ 632 h 808"/>
                  <a:gd name="T54" fmla="*/ 344 w 598"/>
                  <a:gd name="T55" fmla="*/ 662 h 808"/>
                  <a:gd name="T56" fmla="*/ 326 w 598"/>
                  <a:gd name="T57" fmla="*/ 690 h 808"/>
                  <a:gd name="T58" fmla="*/ 308 w 598"/>
                  <a:gd name="T59" fmla="*/ 714 h 808"/>
                  <a:gd name="T60" fmla="*/ 292 w 598"/>
                  <a:gd name="T61" fmla="*/ 734 h 808"/>
                  <a:gd name="T62" fmla="*/ 274 w 598"/>
                  <a:gd name="T63" fmla="*/ 752 h 808"/>
                  <a:gd name="T64" fmla="*/ 256 w 598"/>
                  <a:gd name="T65" fmla="*/ 766 h 808"/>
                  <a:gd name="T66" fmla="*/ 238 w 598"/>
                  <a:gd name="T67" fmla="*/ 778 h 808"/>
                  <a:gd name="T68" fmla="*/ 220 w 598"/>
                  <a:gd name="T69" fmla="*/ 788 h 808"/>
                  <a:gd name="T70" fmla="*/ 200 w 598"/>
                  <a:gd name="T71" fmla="*/ 796 h 808"/>
                  <a:gd name="T72" fmla="*/ 182 w 598"/>
                  <a:gd name="T73" fmla="*/ 800 h 808"/>
                  <a:gd name="T74" fmla="*/ 164 w 598"/>
                  <a:gd name="T75" fmla="*/ 804 h 808"/>
                  <a:gd name="T76" fmla="*/ 146 w 598"/>
                  <a:gd name="T77" fmla="*/ 808 h 808"/>
                  <a:gd name="T78" fmla="*/ 108 w 598"/>
                  <a:gd name="T79" fmla="*/ 808 h 808"/>
                  <a:gd name="T80" fmla="*/ 108 w 598"/>
                  <a:gd name="T81" fmla="*/ 808 h 808"/>
                  <a:gd name="T82" fmla="*/ 78 w 598"/>
                  <a:gd name="T83" fmla="*/ 808 h 808"/>
                  <a:gd name="T84" fmla="*/ 52 w 598"/>
                  <a:gd name="T85" fmla="*/ 802 h 808"/>
                  <a:gd name="T86" fmla="*/ 26 w 598"/>
                  <a:gd name="T87" fmla="*/ 794 h 808"/>
                  <a:gd name="T88" fmla="*/ 0 w 598"/>
                  <a:gd name="T89" fmla="*/ 784 h 808"/>
                  <a:gd name="T90" fmla="*/ 34 w 598"/>
                  <a:gd name="T91" fmla="*/ 678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98" h="808">
                    <a:moveTo>
                      <a:pt x="34" y="678"/>
                    </a:moveTo>
                    <a:lnTo>
                      <a:pt x="34" y="678"/>
                    </a:lnTo>
                    <a:lnTo>
                      <a:pt x="54" y="688"/>
                    </a:lnTo>
                    <a:lnTo>
                      <a:pt x="74" y="694"/>
                    </a:lnTo>
                    <a:lnTo>
                      <a:pt x="94" y="698"/>
                    </a:lnTo>
                    <a:lnTo>
                      <a:pt x="116" y="700"/>
                    </a:lnTo>
                    <a:lnTo>
                      <a:pt x="116" y="700"/>
                    </a:lnTo>
                    <a:lnTo>
                      <a:pt x="138" y="698"/>
                    </a:lnTo>
                    <a:lnTo>
                      <a:pt x="158" y="692"/>
                    </a:lnTo>
                    <a:lnTo>
                      <a:pt x="168" y="686"/>
                    </a:lnTo>
                    <a:lnTo>
                      <a:pt x="178" y="680"/>
                    </a:lnTo>
                    <a:lnTo>
                      <a:pt x="188" y="672"/>
                    </a:lnTo>
                    <a:lnTo>
                      <a:pt x="198" y="664"/>
                    </a:lnTo>
                    <a:lnTo>
                      <a:pt x="216" y="642"/>
                    </a:lnTo>
                    <a:lnTo>
                      <a:pt x="234" y="612"/>
                    </a:lnTo>
                    <a:lnTo>
                      <a:pt x="250" y="578"/>
                    </a:lnTo>
                    <a:lnTo>
                      <a:pt x="266" y="536"/>
                    </a:lnTo>
                    <a:lnTo>
                      <a:pt x="24" y="0"/>
                    </a:lnTo>
                    <a:lnTo>
                      <a:pt x="164" y="0"/>
                    </a:lnTo>
                    <a:lnTo>
                      <a:pt x="328" y="382"/>
                    </a:lnTo>
                    <a:lnTo>
                      <a:pt x="330" y="382"/>
                    </a:lnTo>
                    <a:lnTo>
                      <a:pt x="460" y="0"/>
                    </a:lnTo>
                    <a:lnTo>
                      <a:pt x="598" y="0"/>
                    </a:lnTo>
                    <a:lnTo>
                      <a:pt x="392" y="556"/>
                    </a:lnTo>
                    <a:lnTo>
                      <a:pt x="392" y="556"/>
                    </a:lnTo>
                    <a:lnTo>
                      <a:pt x="376" y="596"/>
                    </a:lnTo>
                    <a:lnTo>
                      <a:pt x="360" y="632"/>
                    </a:lnTo>
                    <a:lnTo>
                      <a:pt x="344" y="662"/>
                    </a:lnTo>
                    <a:lnTo>
                      <a:pt x="326" y="690"/>
                    </a:lnTo>
                    <a:lnTo>
                      <a:pt x="308" y="714"/>
                    </a:lnTo>
                    <a:lnTo>
                      <a:pt x="292" y="734"/>
                    </a:lnTo>
                    <a:lnTo>
                      <a:pt x="274" y="752"/>
                    </a:lnTo>
                    <a:lnTo>
                      <a:pt x="256" y="766"/>
                    </a:lnTo>
                    <a:lnTo>
                      <a:pt x="238" y="778"/>
                    </a:lnTo>
                    <a:lnTo>
                      <a:pt x="220" y="788"/>
                    </a:lnTo>
                    <a:lnTo>
                      <a:pt x="200" y="796"/>
                    </a:lnTo>
                    <a:lnTo>
                      <a:pt x="182" y="800"/>
                    </a:lnTo>
                    <a:lnTo>
                      <a:pt x="164" y="804"/>
                    </a:lnTo>
                    <a:lnTo>
                      <a:pt x="146" y="808"/>
                    </a:lnTo>
                    <a:lnTo>
                      <a:pt x="108" y="808"/>
                    </a:lnTo>
                    <a:lnTo>
                      <a:pt x="108" y="808"/>
                    </a:lnTo>
                    <a:lnTo>
                      <a:pt x="78" y="808"/>
                    </a:lnTo>
                    <a:lnTo>
                      <a:pt x="52" y="802"/>
                    </a:lnTo>
                    <a:lnTo>
                      <a:pt x="26" y="794"/>
                    </a:lnTo>
                    <a:lnTo>
                      <a:pt x="0" y="784"/>
                    </a:lnTo>
                    <a:lnTo>
                      <a:pt x="34" y="6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 name="Freeform 24"/>
              <p:cNvSpPr>
                <a:spLocks/>
              </p:cNvSpPr>
              <p:nvPr/>
            </p:nvSpPr>
            <p:spPr bwMode="auto">
              <a:xfrm>
                <a:off x="8179056" y="4502136"/>
                <a:ext cx="45269" cy="74340"/>
              </a:xfrm>
              <a:custGeom>
                <a:avLst/>
                <a:gdLst>
                  <a:gd name="T0" fmla="*/ 124 w 436"/>
                  <a:gd name="T1" fmla="*/ 572 h 716"/>
                  <a:gd name="T2" fmla="*/ 124 w 436"/>
                  <a:gd name="T3" fmla="*/ 272 h 716"/>
                  <a:gd name="T4" fmla="*/ 0 w 436"/>
                  <a:gd name="T5" fmla="*/ 272 h 716"/>
                  <a:gd name="T6" fmla="*/ 28 w 436"/>
                  <a:gd name="T7" fmla="*/ 166 h 716"/>
                  <a:gd name="T8" fmla="*/ 124 w 436"/>
                  <a:gd name="T9" fmla="*/ 166 h 716"/>
                  <a:gd name="T10" fmla="*/ 124 w 436"/>
                  <a:gd name="T11" fmla="*/ 40 h 716"/>
                  <a:gd name="T12" fmla="*/ 260 w 436"/>
                  <a:gd name="T13" fmla="*/ 0 h 716"/>
                  <a:gd name="T14" fmla="*/ 260 w 436"/>
                  <a:gd name="T15" fmla="*/ 166 h 716"/>
                  <a:gd name="T16" fmla="*/ 424 w 436"/>
                  <a:gd name="T17" fmla="*/ 166 h 716"/>
                  <a:gd name="T18" fmla="*/ 390 w 436"/>
                  <a:gd name="T19" fmla="*/ 272 h 716"/>
                  <a:gd name="T20" fmla="*/ 260 w 436"/>
                  <a:gd name="T21" fmla="*/ 272 h 716"/>
                  <a:gd name="T22" fmla="*/ 260 w 436"/>
                  <a:gd name="T23" fmla="*/ 538 h 716"/>
                  <a:gd name="T24" fmla="*/ 260 w 436"/>
                  <a:gd name="T25" fmla="*/ 538 h 716"/>
                  <a:gd name="T26" fmla="*/ 262 w 436"/>
                  <a:gd name="T27" fmla="*/ 556 h 716"/>
                  <a:gd name="T28" fmla="*/ 264 w 436"/>
                  <a:gd name="T29" fmla="*/ 570 h 716"/>
                  <a:gd name="T30" fmla="*/ 268 w 436"/>
                  <a:gd name="T31" fmla="*/ 582 h 716"/>
                  <a:gd name="T32" fmla="*/ 274 w 436"/>
                  <a:gd name="T33" fmla="*/ 592 h 716"/>
                  <a:gd name="T34" fmla="*/ 280 w 436"/>
                  <a:gd name="T35" fmla="*/ 598 h 716"/>
                  <a:gd name="T36" fmla="*/ 290 w 436"/>
                  <a:gd name="T37" fmla="*/ 604 h 716"/>
                  <a:gd name="T38" fmla="*/ 300 w 436"/>
                  <a:gd name="T39" fmla="*/ 606 h 716"/>
                  <a:gd name="T40" fmla="*/ 312 w 436"/>
                  <a:gd name="T41" fmla="*/ 606 h 716"/>
                  <a:gd name="T42" fmla="*/ 312 w 436"/>
                  <a:gd name="T43" fmla="*/ 606 h 716"/>
                  <a:gd name="T44" fmla="*/ 336 w 436"/>
                  <a:gd name="T45" fmla="*/ 604 h 716"/>
                  <a:gd name="T46" fmla="*/ 358 w 436"/>
                  <a:gd name="T47" fmla="*/ 598 h 716"/>
                  <a:gd name="T48" fmla="*/ 378 w 436"/>
                  <a:gd name="T49" fmla="*/ 590 h 716"/>
                  <a:gd name="T50" fmla="*/ 394 w 436"/>
                  <a:gd name="T51" fmla="*/ 580 h 716"/>
                  <a:gd name="T52" fmla="*/ 436 w 436"/>
                  <a:gd name="T53" fmla="*/ 674 h 716"/>
                  <a:gd name="T54" fmla="*/ 436 w 436"/>
                  <a:gd name="T55" fmla="*/ 674 h 716"/>
                  <a:gd name="T56" fmla="*/ 420 w 436"/>
                  <a:gd name="T57" fmla="*/ 684 h 716"/>
                  <a:gd name="T58" fmla="*/ 402 w 436"/>
                  <a:gd name="T59" fmla="*/ 692 h 716"/>
                  <a:gd name="T60" fmla="*/ 384 w 436"/>
                  <a:gd name="T61" fmla="*/ 698 h 716"/>
                  <a:gd name="T62" fmla="*/ 362 w 436"/>
                  <a:gd name="T63" fmla="*/ 704 h 716"/>
                  <a:gd name="T64" fmla="*/ 342 w 436"/>
                  <a:gd name="T65" fmla="*/ 710 h 716"/>
                  <a:gd name="T66" fmla="*/ 320 w 436"/>
                  <a:gd name="T67" fmla="*/ 714 h 716"/>
                  <a:gd name="T68" fmla="*/ 300 w 436"/>
                  <a:gd name="T69" fmla="*/ 716 h 716"/>
                  <a:gd name="T70" fmla="*/ 278 w 436"/>
                  <a:gd name="T71" fmla="*/ 716 h 716"/>
                  <a:gd name="T72" fmla="*/ 278 w 436"/>
                  <a:gd name="T73" fmla="*/ 716 h 716"/>
                  <a:gd name="T74" fmla="*/ 260 w 436"/>
                  <a:gd name="T75" fmla="*/ 716 h 716"/>
                  <a:gd name="T76" fmla="*/ 244 w 436"/>
                  <a:gd name="T77" fmla="*/ 714 h 716"/>
                  <a:gd name="T78" fmla="*/ 228 w 436"/>
                  <a:gd name="T79" fmla="*/ 710 h 716"/>
                  <a:gd name="T80" fmla="*/ 214 w 436"/>
                  <a:gd name="T81" fmla="*/ 706 h 716"/>
                  <a:gd name="T82" fmla="*/ 200 w 436"/>
                  <a:gd name="T83" fmla="*/ 700 h 716"/>
                  <a:gd name="T84" fmla="*/ 188 w 436"/>
                  <a:gd name="T85" fmla="*/ 694 h 716"/>
                  <a:gd name="T86" fmla="*/ 176 w 436"/>
                  <a:gd name="T87" fmla="*/ 686 h 716"/>
                  <a:gd name="T88" fmla="*/ 166 w 436"/>
                  <a:gd name="T89" fmla="*/ 678 h 716"/>
                  <a:gd name="T90" fmla="*/ 156 w 436"/>
                  <a:gd name="T91" fmla="*/ 668 h 716"/>
                  <a:gd name="T92" fmla="*/ 148 w 436"/>
                  <a:gd name="T93" fmla="*/ 656 h 716"/>
                  <a:gd name="T94" fmla="*/ 142 w 436"/>
                  <a:gd name="T95" fmla="*/ 644 h 716"/>
                  <a:gd name="T96" fmla="*/ 136 w 436"/>
                  <a:gd name="T97" fmla="*/ 632 h 716"/>
                  <a:gd name="T98" fmla="*/ 130 w 436"/>
                  <a:gd name="T99" fmla="*/ 618 h 716"/>
                  <a:gd name="T100" fmla="*/ 128 w 436"/>
                  <a:gd name="T101" fmla="*/ 604 h 716"/>
                  <a:gd name="T102" fmla="*/ 126 w 436"/>
                  <a:gd name="T103" fmla="*/ 588 h 716"/>
                  <a:gd name="T104" fmla="*/ 124 w 436"/>
                  <a:gd name="T105" fmla="*/ 572 h 716"/>
                  <a:gd name="T106" fmla="*/ 124 w 436"/>
                  <a:gd name="T107" fmla="*/ 57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6" h="716">
                    <a:moveTo>
                      <a:pt x="124" y="572"/>
                    </a:moveTo>
                    <a:lnTo>
                      <a:pt x="124" y="272"/>
                    </a:lnTo>
                    <a:lnTo>
                      <a:pt x="0" y="272"/>
                    </a:lnTo>
                    <a:lnTo>
                      <a:pt x="28" y="166"/>
                    </a:lnTo>
                    <a:lnTo>
                      <a:pt x="124" y="166"/>
                    </a:lnTo>
                    <a:lnTo>
                      <a:pt x="124" y="40"/>
                    </a:lnTo>
                    <a:lnTo>
                      <a:pt x="260" y="0"/>
                    </a:lnTo>
                    <a:lnTo>
                      <a:pt x="260" y="166"/>
                    </a:lnTo>
                    <a:lnTo>
                      <a:pt x="424" y="166"/>
                    </a:lnTo>
                    <a:lnTo>
                      <a:pt x="390" y="272"/>
                    </a:lnTo>
                    <a:lnTo>
                      <a:pt x="260" y="272"/>
                    </a:lnTo>
                    <a:lnTo>
                      <a:pt x="260" y="538"/>
                    </a:lnTo>
                    <a:lnTo>
                      <a:pt x="260" y="538"/>
                    </a:lnTo>
                    <a:lnTo>
                      <a:pt x="262" y="556"/>
                    </a:lnTo>
                    <a:lnTo>
                      <a:pt x="264" y="570"/>
                    </a:lnTo>
                    <a:lnTo>
                      <a:pt x="268" y="582"/>
                    </a:lnTo>
                    <a:lnTo>
                      <a:pt x="274" y="592"/>
                    </a:lnTo>
                    <a:lnTo>
                      <a:pt x="280" y="598"/>
                    </a:lnTo>
                    <a:lnTo>
                      <a:pt x="290" y="604"/>
                    </a:lnTo>
                    <a:lnTo>
                      <a:pt x="300" y="606"/>
                    </a:lnTo>
                    <a:lnTo>
                      <a:pt x="312" y="606"/>
                    </a:lnTo>
                    <a:lnTo>
                      <a:pt x="312" y="606"/>
                    </a:lnTo>
                    <a:lnTo>
                      <a:pt x="336" y="604"/>
                    </a:lnTo>
                    <a:lnTo>
                      <a:pt x="358" y="598"/>
                    </a:lnTo>
                    <a:lnTo>
                      <a:pt x="378" y="590"/>
                    </a:lnTo>
                    <a:lnTo>
                      <a:pt x="394" y="580"/>
                    </a:lnTo>
                    <a:lnTo>
                      <a:pt x="436" y="674"/>
                    </a:lnTo>
                    <a:lnTo>
                      <a:pt x="436" y="674"/>
                    </a:lnTo>
                    <a:lnTo>
                      <a:pt x="420" y="684"/>
                    </a:lnTo>
                    <a:lnTo>
                      <a:pt x="402" y="692"/>
                    </a:lnTo>
                    <a:lnTo>
                      <a:pt x="384" y="698"/>
                    </a:lnTo>
                    <a:lnTo>
                      <a:pt x="362" y="704"/>
                    </a:lnTo>
                    <a:lnTo>
                      <a:pt x="342" y="710"/>
                    </a:lnTo>
                    <a:lnTo>
                      <a:pt x="320" y="714"/>
                    </a:lnTo>
                    <a:lnTo>
                      <a:pt x="300" y="716"/>
                    </a:lnTo>
                    <a:lnTo>
                      <a:pt x="278" y="716"/>
                    </a:lnTo>
                    <a:lnTo>
                      <a:pt x="278" y="716"/>
                    </a:lnTo>
                    <a:lnTo>
                      <a:pt x="260" y="716"/>
                    </a:lnTo>
                    <a:lnTo>
                      <a:pt x="244" y="714"/>
                    </a:lnTo>
                    <a:lnTo>
                      <a:pt x="228" y="710"/>
                    </a:lnTo>
                    <a:lnTo>
                      <a:pt x="214" y="706"/>
                    </a:lnTo>
                    <a:lnTo>
                      <a:pt x="200" y="700"/>
                    </a:lnTo>
                    <a:lnTo>
                      <a:pt x="188" y="694"/>
                    </a:lnTo>
                    <a:lnTo>
                      <a:pt x="176" y="686"/>
                    </a:lnTo>
                    <a:lnTo>
                      <a:pt x="166" y="678"/>
                    </a:lnTo>
                    <a:lnTo>
                      <a:pt x="156" y="668"/>
                    </a:lnTo>
                    <a:lnTo>
                      <a:pt x="148" y="656"/>
                    </a:lnTo>
                    <a:lnTo>
                      <a:pt x="142" y="644"/>
                    </a:lnTo>
                    <a:lnTo>
                      <a:pt x="136" y="632"/>
                    </a:lnTo>
                    <a:lnTo>
                      <a:pt x="130" y="618"/>
                    </a:lnTo>
                    <a:lnTo>
                      <a:pt x="128" y="604"/>
                    </a:lnTo>
                    <a:lnTo>
                      <a:pt x="126" y="588"/>
                    </a:lnTo>
                    <a:lnTo>
                      <a:pt x="124" y="572"/>
                    </a:lnTo>
                    <a:lnTo>
                      <a:pt x="124" y="5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6" name="Freeform 25"/>
              <p:cNvSpPr>
                <a:spLocks/>
              </p:cNvSpPr>
              <p:nvPr/>
            </p:nvSpPr>
            <p:spPr bwMode="auto">
              <a:xfrm>
                <a:off x="8254227" y="4517918"/>
                <a:ext cx="47345" cy="58558"/>
              </a:xfrm>
              <a:custGeom>
                <a:avLst/>
                <a:gdLst>
                  <a:gd name="T0" fmla="*/ 0 w 456"/>
                  <a:gd name="T1" fmla="*/ 288 h 564"/>
                  <a:gd name="T2" fmla="*/ 4 w 456"/>
                  <a:gd name="T3" fmla="*/ 226 h 564"/>
                  <a:gd name="T4" fmla="*/ 22 w 456"/>
                  <a:gd name="T5" fmla="*/ 172 h 564"/>
                  <a:gd name="T6" fmla="*/ 48 w 456"/>
                  <a:gd name="T7" fmla="*/ 122 h 564"/>
                  <a:gd name="T8" fmla="*/ 82 w 456"/>
                  <a:gd name="T9" fmla="*/ 80 h 564"/>
                  <a:gd name="T10" fmla="*/ 124 w 456"/>
                  <a:gd name="T11" fmla="*/ 46 h 564"/>
                  <a:gd name="T12" fmla="*/ 172 w 456"/>
                  <a:gd name="T13" fmla="*/ 22 h 564"/>
                  <a:gd name="T14" fmla="*/ 226 w 456"/>
                  <a:gd name="T15" fmla="*/ 6 h 564"/>
                  <a:gd name="T16" fmla="*/ 284 w 456"/>
                  <a:gd name="T17" fmla="*/ 0 h 564"/>
                  <a:gd name="T18" fmla="*/ 308 w 456"/>
                  <a:gd name="T19" fmla="*/ 0 h 564"/>
                  <a:gd name="T20" fmla="*/ 352 w 456"/>
                  <a:gd name="T21" fmla="*/ 6 h 564"/>
                  <a:gd name="T22" fmla="*/ 388 w 456"/>
                  <a:gd name="T23" fmla="*/ 16 h 564"/>
                  <a:gd name="T24" fmla="*/ 428 w 456"/>
                  <a:gd name="T25" fmla="*/ 36 h 564"/>
                  <a:gd name="T26" fmla="*/ 428 w 456"/>
                  <a:gd name="T27" fmla="*/ 152 h 564"/>
                  <a:gd name="T28" fmla="*/ 400 w 456"/>
                  <a:gd name="T29" fmla="*/ 134 h 564"/>
                  <a:gd name="T30" fmla="*/ 368 w 456"/>
                  <a:gd name="T31" fmla="*/ 120 h 564"/>
                  <a:gd name="T32" fmla="*/ 336 w 456"/>
                  <a:gd name="T33" fmla="*/ 112 h 564"/>
                  <a:gd name="T34" fmla="*/ 298 w 456"/>
                  <a:gd name="T35" fmla="*/ 110 h 564"/>
                  <a:gd name="T36" fmla="*/ 280 w 456"/>
                  <a:gd name="T37" fmla="*/ 110 h 564"/>
                  <a:gd name="T38" fmla="*/ 246 w 456"/>
                  <a:gd name="T39" fmla="*/ 118 h 564"/>
                  <a:gd name="T40" fmla="*/ 216 w 456"/>
                  <a:gd name="T41" fmla="*/ 130 h 564"/>
                  <a:gd name="T42" fmla="*/ 192 w 456"/>
                  <a:gd name="T43" fmla="*/ 148 h 564"/>
                  <a:gd name="T44" fmla="*/ 170 w 456"/>
                  <a:gd name="T45" fmla="*/ 172 h 564"/>
                  <a:gd name="T46" fmla="*/ 156 w 456"/>
                  <a:gd name="T47" fmla="*/ 200 h 564"/>
                  <a:gd name="T48" fmla="*/ 144 w 456"/>
                  <a:gd name="T49" fmla="*/ 230 h 564"/>
                  <a:gd name="T50" fmla="*/ 140 w 456"/>
                  <a:gd name="T51" fmla="*/ 266 h 564"/>
                  <a:gd name="T52" fmla="*/ 138 w 456"/>
                  <a:gd name="T53" fmla="*/ 284 h 564"/>
                  <a:gd name="T54" fmla="*/ 142 w 456"/>
                  <a:gd name="T55" fmla="*/ 322 h 564"/>
                  <a:gd name="T56" fmla="*/ 150 w 456"/>
                  <a:gd name="T57" fmla="*/ 358 h 564"/>
                  <a:gd name="T58" fmla="*/ 162 w 456"/>
                  <a:gd name="T59" fmla="*/ 386 h 564"/>
                  <a:gd name="T60" fmla="*/ 180 w 456"/>
                  <a:gd name="T61" fmla="*/ 410 h 564"/>
                  <a:gd name="T62" fmla="*/ 202 w 456"/>
                  <a:gd name="T63" fmla="*/ 430 h 564"/>
                  <a:gd name="T64" fmla="*/ 228 w 456"/>
                  <a:gd name="T65" fmla="*/ 444 h 564"/>
                  <a:gd name="T66" fmla="*/ 258 w 456"/>
                  <a:gd name="T67" fmla="*/ 452 h 564"/>
                  <a:gd name="T68" fmla="*/ 292 w 456"/>
                  <a:gd name="T69" fmla="*/ 454 h 564"/>
                  <a:gd name="T70" fmla="*/ 310 w 456"/>
                  <a:gd name="T71" fmla="*/ 454 h 564"/>
                  <a:gd name="T72" fmla="*/ 342 w 456"/>
                  <a:gd name="T73" fmla="*/ 448 h 564"/>
                  <a:gd name="T74" fmla="*/ 388 w 456"/>
                  <a:gd name="T75" fmla="*/ 432 h 564"/>
                  <a:gd name="T76" fmla="*/ 456 w 456"/>
                  <a:gd name="T77" fmla="*/ 512 h 564"/>
                  <a:gd name="T78" fmla="*/ 438 w 456"/>
                  <a:gd name="T79" fmla="*/ 522 h 564"/>
                  <a:gd name="T80" fmla="*/ 398 w 456"/>
                  <a:gd name="T81" fmla="*/ 542 h 564"/>
                  <a:gd name="T82" fmla="*/ 352 w 456"/>
                  <a:gd name="T83" fmla="*/ 556 h 564"/>
                  <a:gd name="T84" fmla="*/ 300 w 456"/>
                  <a:gd name="T85" fmla="*/ 564 h 564"/>
                  <a:gd name="T86" fmla="*/ 272 w 456"/>
                  <a:gd name="T87" fmla="*/ 564 h 564"/>
                  <a:gd name="T88" fmla="*/ 210 w 456"/>
                  <a:gd name="T89" fmla="*/ 558 h 564"/>
                  <a:gd name="T90" fmla="*/ 156 w 456"/>
                  <a:gd name="T91" fmla="*/ 542 h 564"/>
                  <a:gd name="T92" fmla="*/ 108 w 456"/>
                  <a:gd name="T93" fmla="*/ 518 h 564"/>
                  <a:gd name="T94" fmla="*/ 70 w 456"/>
                  <a:gd name="T95" fmla="*/ 484 h 564"/>
                  <a:gd name="T96" fmla="*/ 40 w 456"/>
                  <a:gd name="T97" fmla="*/ 444 h 564"/>
                  <a:gd name="T98" fmla="*/ 18 w 456"/>
                  <a:gd name="T99" fmla="*/ 396 h 564"/>
                  <a:gd name="T100" fmla="*/ 4 w 456"/>
                  <a:gd name="T101" fmla="*/ 344 h 564"/>
                  <a:gd name="T102" fmla="*/ 0 w 456"/>
                  <a:gd name="T103" fmla="*/ 288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56" h="564">
                    <a:moveTo>
                      <a:pt x="0" y="288"/>
                    </a:moveTo>
                    <a:lnTo>
                      <a:pt x="0" y="288"/>
                    </a:lnTo>
                    <a:lnTo>
                      <a:pt x="0" y="256"/>
                    </a:lnTo>
                    <a:lnTo>
                      <a:pt x="4" y="226"/>
                    </a:lnTo>
                    <a:lnTo>
                      <a:pt x="12" y="198"/>
                    </a:lnTo>
                    <a:lnTo>
                      <a:pt x="22" y="172"/>
                    </a:lnTo>
                    <a:lnTo>
                      <a:pt x="32" y="146"/>
                    </a:lnTo>
                    <a:lnTo>
                      <a:pt x="48" y="122"/>
                    </a:lnTo>
                    <a:lnTo>
                      <a:pt x="64" y="100"/>
                    </a:lnTo>
                    <a:lnTo>
                      <a:pt x="82" y="80"/>
                    </a:lnTo>
                    <a:lnTo>
                      <a:pt x="102" y="62"/>
                    </a:lnTo>
                    <a:lnTo>
                      <a:pt x="124" y="46"/>
                    </a:lnTo>
                    <a:lnTo>
                      <a:pt x="146" y="32"/>
                    </a:lnTo>
                    <a:lnTo>
                      <a:pt x="172" y="22"/>
                    </a:lnTo>
                    <a:lnTo>
                      <a:pt x="198" y="12"/>
                    </a:lnTo>
                    <a:lnTo>
                      <a:pt x="226" y="6"/>
                    </a:lnTo>
                    <a:lnTo>
                      <a:pt x="254" y="2"/>
                    </a:lnTo>
                    <a:lnTo>
                      <a:pt x="284" y="0"/>
                    </a:lnTo>
                    <a:lnTo>
                      <a:pt x="284" y="0"/>
                    </a:lnTo>
                    <a:lnTo>
                      <a:pt x="308" y="0"/>
                    </a:lnTo>
                    <a:lnTo>
                      <a:pt x="332" y="4"/>
                    </a:lnTo>
                    <a:lnTo>
                      <a:pt x="352" y="6"/>
                    </a:lnTo>
                    <a:lnTo>
                      <a:pt x="372" y="12"/>
                    </a:lnTo>
                    <a:lnTo>
                      <a:pt x="388" y="16"/>
                    </a:lnTo>
                    <a:lnTo>
                      <a:pt x="404" y="24"/>
                    </a:lnTo>
                    <a:lnTo>
                      <a:pt x="428" y="36"/>
                    </a:lnTo>
                    <a:lnTo>
                      <a:pt x="428" y="152"/>
                    </a:lnTo>
                    <a:lnTo>
                      <a:pt x="428" y="152"/>
                    </a:lnTo>
                    <a:lnTo>
                      <a:pt x="414" y="142"/>
                    </a:lnTo>
                    <a:lnTo>
                      <a:pt x="400" y="134"/>
                    </a:lnTo>
                    <a:lnTo>
                      <a:pt x="384" y="126"/>
                    </a:lnTo>
                    <a:lnTo>
                      <a:pt x="368" y="120"/>
                    </a:lnTo>
                    <a:lnTo>
                      <a:pt x="352" y="116"/>
                    </a:lnTo>
                    <a:lnTo>
                      <a:pt x="336" y="112"/>
                    </a:lnTo>
                    <a:lnTo>
                      <a:pt x="316" y="110"/>
                    </a:lnTo>
                    <a:lnTo>
                      <a:pt x="298" y="110"/>
                    </a:lnTo>
                    <a:lnTo>
                      <a:pt x="298" y="110"/>
                    </a:lnTo>
                    <a:lnTo>
                      <a:pt x="280" y="110"/>
                    </a:lnTo>
                    <a:lnTo>
                      <a:pt x="262" y="112"/>
                    </a:lnTo>
                    <a:lnTo>
                      <a:pt x="246" y="118"/>
                    </a:lnTo>
                    <a:lnTo>
                      <a:pt x="230" y="122"/>
                    </a:lnTo>
                    <a:lnTo>
                      <a:pt x="216" y="130"/>
                    </a:lnTo>
                    <a:lnTo>
                      <a:pt x="204" y="138"/>
                    </a:lnTo>
                    <a:lnTo>
                      <a:pt x="192" y="148"/>
                    </a:lnTo>
                    <a:lnTo>
                      <a:pt x="180" y="160"/>
                    </a:lnTo>
                    <a:lnTo>
                      <a:pt x="170" y="172"/>
                    </a:lnTo>
                    <a:lnTo>
                      <a:pt x="162" y="186"/>
                    </a:lnTo>
                    <a:lnTo>
                      <a:pt x="156" y="200"/>
                    </a:lnTo>
                    <a:lnTo>
                      <a:pt x="150" y="214"/>
                    </a:lnTo>
                    <a:lnTo>
                      <a:pt x="144" y="230"/>
                    </a:lnTo>
                    <a:lnTo>
                      <a:pt x="142" y="248"/>
                    </a:lnTo>
                    <a:lnTo>
                      <a:pt x="140" y="266"/>
                    </a:lnTo>
                    <a:lnTo>
                      <a:pt x="138" y="284"/>
                    </a:lnTo>
                    <a:lnTo>
                      <a:pt x="138" y="284"/>
                    </a:lnTo>
                    <a:lnTo>
                      <a:pt x="140" y="304"/>
                    </a:lnTo>
                    <a:lnTo>
                      <a:pt x="142" y="322"/>
                    </a:lnTo>
                    <a:lnTo>
                      <a:pt x="144" y="340"/>
                    </a:lnTo>
                    <a:lnTo>
                      <a:pt x="150" y="358"/>
                    </a:lnTo>
                    <a:lnTo>
                      <a:pt x="156" y="372"/>
                    </a:lnTo>
                    <a:lnTo>
                      <a:pt x="162" y="386"/>
                    </a:lnTo>
                    <a:lnTo>
                      <a:pt x="170" y="400"/>
                    </a:lnTo>
                    <a:lnTo>
                      <a:pt x="180" y="410"/>
                    </a:lnTo>
                    <a:lnTo>
                      <a:pt x="190" y="420"/>
                    </a:lnTo>
                    <a:lnTo>
                      <a:pt x="202" y="430"/>
                    </a:lnTo>
                    <a:lnTo>
                      <a:pt x="214" y="438"/>
                    </a:lnTo>
                    <a:lnTo>
                      <a:pt x="228" y="444"/>
                    </a:lnTo>
                    <a:lnTo>
                      <a:pt x="242" y="448"/>
                    </a:lnTo>
                    <a:lnTo>
                      <a:pt x="258" y="452"/>
                    </a:lnTo>
                    <a:lnTo>
                      <a:pt x="274" y="454"/>
                    </a:lnTo>
                    <a:lnTo>
                      <a:pt x="292" y="454"/>
                    </a:lnTo>
                    <a:lnTo>
                      <a:pt x="292" y="454"/>
                    </a:lnTo>
                    <a:lnTo>
                      <a:pt x="310" y="454"/>
                    </a:lnTo>
                    <a:lnTo>
                      <a:pt x="326" y="452"/>
                    </a:lnTo>
                    <a:lnTo>
                      <a:pt x="342" y="448"/>
                    </a:lnTo>
                    <a:lnTo>
                      <a:pt x="358" y="444"/>
                    </a:lnTo>
                    <a:lnTo>
                      <a:pt x="388" y="432"/>
                    </a:lnTo>
                    <a:lnTo>
                      <a:pt x="416" y="418"/>
                    </a:lnTo>
                    <a:lnTo>
                      <a:pt x="456" y="512"/>
                    </a:lnTo>
                    <a:lnTo>
                      <a:pt x="456" y="512"/>
                    </a:lnTo>
                    <a:lnTo>
                      <a:pt x="438" y="522"/>
                    </a:lnTo>
                    <a:lnTo>
                      <a:pt x="420" y="532"/>
                    </a:lnTo>
                    <a:lnTo>
                      <a:pt x="398" y="542"/>
                    </a:lnTo>
                    <a:lnTo>
                      <a:pt x="376" y="550"/>
                    </a:lnTo>
                    <a:lnTo>
                      <a:pt x="352" y="556"/>
                    </a:lnTo>
                    <a:lnTo>
                      <a:pt x="326" y="560"/>
                    </a:lnTo>
                    <a:lnTo>
                      <a:pt x="300" y="564"/>
                    </a:lnTo>
                    <a:lnTo>
                      <a:pt x="272" y="564"/>
                    </a:lnTo>
                    <a:lnTo>
                      <a:pt x="272" y="564"/>
                    </a:lnTo>
                    <a:lnTo>
                      <a:pt x="240" y="562"/>
                    </a:lnTo>
                    <a:lnTo>
                      <a:pt x="210" y="558"/>
                    </a:lnTo>
                    <a:lnTo>
                      <a:pt x="182" y="552"/>
                    </a:lnTo>
                    <a:lnTo>
                      <a:pt x="156" y="542"/>
                    </a:lnTo>
                    <a:lnTo>
                      <a:pt x="130" y="532"/>
                    </a:lnTo>
                    <a:lnTo>
                      <a:pt x="108" y="518"/>
                    </a:lnTo>
                    <a:lnTo>
                      <a:pt x="88" y="502"/>
                    </a:lnTo>
                    <a:lnTo>
                      <a:pt x="70" y="484"/>
                    </a:lnTo>
                    <a:lnTo>
                      <a:pt x="54" y="464"/>
                    </a:lnTo>
                    <a:lnTo>
                      <a:pt x="40" y="444"/>
                    </a:lnTo>
                    <a:lnTo>
                      <a:pt x="28" y="420"/>
                    </a:lnTo>
                    <a:lnTo>
                      <a:pt x="18" y="396"/>
                    </a:lnTo>
                    <a:lnTo>
                      <a:pt x="10" y="370"/>
                    </a:lnTo>
                    <a:lnTo>
                      <a:pt x="4" y="344"/>
                    </a:lnTo>
                    <a:lnTo>
                      <a:pt x="0" y="316"/>
                    </a:lnTo>
                    <a:lnTo>
                      <a:pt x="0" y="288"/>
                    </a:lnTo>
                    <a:lnTo>
                      <a:pt x="0"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 name="Freeform 26"/>
              <p:cNvSpPr>
                <a:spLocks/>
              </p:cNvSpPr>
              <p:nvPr/>
            </p:nvSpPr>
            <p:spPr bwMode="auto">
              <a:xfrm>
                <a:off x="8304894" y="4517918"/>
                <a:ext cx="43400" cy="58558"/>
              </a:xfrm>
              <a:custGeom>
                <a:avLst/>
                <a:gdLst>
                  <a:gd name="T0" fmla="*/ 58 w 418"/>
                  <a:gd name="T1" fmla="*/ 422 h 564"/>
                  <a:gd name="T2" fmla="*/ 112 w 418"/>
                  <a:gd name="T3" fmla="*/ 444 h 564"/>
                  <a:gd name="T4" fmla="*/ 170 w 418"/>
                  <a:gd name="T5" fmla="*/ 456 h 564"/>
                  <a:gd name="T6" fmla="*/ 210 w 418"/>
                  <a:gd name="T7" fmla="*/ 456 h 564"/>
                  <a:gd name="T8" fmla="*/ 258 w 418"/>
                  <a:gd name="T9" fmla="*/ 444 h 564"/>
                  <a:gd name="T10" fmla="*/ 282 w 418"/>
                  <a:gd name="T11" fmla="*/ 414 h 564"/>
                  <a:gd name="T12" fmla="*/ 284 w 418"/>
                  <a:gd name="T13" fmla="*/ 392 h 564"/>
                  <a:gd name="T14" fmla="*/ 274 w 418"/>
                  <a:gd name="T15" fmla="*/ 372 h 564"/>
                  <a:gd name="T16" fmla="*/ 226 w 418"/>
                  <a:gd name="T17" fmla="*/ 340 h 564"/>
                  <a:gd name="T18" fmla="*/ 134 w 418"/>
                  <a:gd name="T19" fmla="*/ 304 h 564"/>
                  <a:gd name="T20" fmla="*/ 72 w 418"/>
                  <a:gd name="T21" fmla="*/ 264 h 564"/>
                  <a:gd name="T22" fmla="*/ 48 w 418"/>
                  <a:gd name="T23" fmla="*/ 232 h 564"/>
                  <a:gd name="T24" fmla="*/ 34 w 418"/>
                  <a:gd name="T25" fmla="*/ 194 h 564"/>
                  <a:gd name="T26" fmla="*/ 32 w 418"/>
                  <a:gd name="T27" fmla="*/ 162 h 564"/>
                  <a:gd name="T28" fmla="*/ 40 w 418"/>
                  <a:gd name="T29" fmla="*/ 112 h 564"/>
                  <a:gd name="T30" fmla="*/ 62 w 418"/>
                  <a:gd name="T31" fmla="*/ 70 h 564"/>
                  <a:gd name="T32" fmla="*/ 100 w 418"/>
                  <a:gd name="T33" fmla="*/ 36 h 564"/>
                  <a:gd name="T34" fmla="*/ 150 w 418"/>
                  <a:gd name="T35" fmla="*/ 12 h 564"/>
                  <a:gd name="T36" fmla="*/ 212 w 418"/>
                  <a:gd name="T37" fmla="*/ 0 h 564"/>
                  <a:gd name="T38" fmla="*/ 280 w 418"/>
                  <a:gd name="T39" fmla="*/ 2 h 564"/>
                  <a:gd name="T40" fmla="*/ 394 w 418"/>
                  <a:gd name="T41" fmla="*/ 26 h 564"/>
                  <a:gd name="T42" fmla="*/ 358 w 418"/>
                  <a:gd name="T43" fmla="*/ 128 h 564"/>
                  <a:gd name="T44" fmla="*/ 262 w 418"/>
                  <a:gd name="T45" fmla="*/ 108 h 564"/>
                  <a:gd name="T46" fmla="*/ 224 w 418"/>
                  <a:gd name="T47" fmla="*/ 108 h 564"/>
                  <a:gd name="T48" fmla="*/ 186 w 418"/>
                  <a:gd name="T49" fmla="*/ 118 h 564"/>
                  <a:gd name="T50" fmla="*/ 166 w 418"/>
                  <a:gd name="T51" fmla="*/ 144 h 564"/>
                  <a:gd name="T52" fmla="*/ 166 w 418"/>
                  <a:gd name="T53" fmla="*/ 164 h 564"/>
                  <a:gd name="T54" fmla="*/ 176 w 418"/>
                  <a:gd name="T55" fmla="*/ 184 h 564"/>
                  <a:gd name="T56" fmla="*/ 224 w 418"/>
                  <a:gd name="T57" fmla="*/ 212 h 564"/>
                  <a:gd name="T58" fmla="*/ 314 w 418"/>
                  <a:gd name="T59" fmla="*/ 248 h 564"/>
                  <a:gd name="T60" fmla="*/ 378 w 418"/>
                  <a:gd name="T61" fmla="*/ 292 h 564"/>
                  <a:gd name="T62" fmla="*/ 402 w 418"/>
                  <a:gd name="T63" fmla="*/ 324 h 564"/>
                  <a:gd name="T64" fmla="*/ 414 w 418"/>
                  <a:gd name="T65" fmla="*/ 364 h 564"/>
                  <a:gd name="T66" fmla="*/ 418 w 418"/>
                  <a:gd name="T67" fmla="*/ 396 h 564"/>
                  <a:gd name="T68" fmla="*/ 408 w 418"/>
                  <a:gd name="T69" fmla="*/ 456 h 564"/>
                  <a:gd name="T70" fmla="*/ 380 w 418"/>
                  <a:gd name="T71" fmla="*/ 502 h 564"/>
                  <a:gd name="T72" fmla="*/ 336 w 418"/>
                  <a:gd name="T73" fmla="*/ 534 h 564"/>
                  <a:gd name="T74" fmla="*/ 282 w 418"/>
                  <a:gd name="T75" fmla="*/ 554 h 564"/>
                  <a:gd name="T76" fmla="*/ 220 w 418"/>
                  <a:gd name="T77" fmla="*/ 564 h 564"/>
                  <a:gd name="T78" fmla="*/ 168 w 418"/>
                  <a:gd name="T79" fmla="*/ 562 h 564"/>
                  <a:gd name="T80" fmla="*/ 84 w 418"/>
                  <a:gd name="T81" fmla="*/ 548 h 564"/>
                  <a:gd name="T82" fmla="*/ 18 w 418"/>
                  <a:gd name="T83" fmla="*/ 522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8" h="564">
                    <a:moveTo>
                      <a:pt x="42" y="412"/>
                    </a:moveTo>
                    <a:lnTo>
                      <a:pt x="42" y="412"/>
                    </a:lnTo>
                    <a:lnTo>
                      <a:pt x="58" y="422"/>
                    </a:lnTo>
                    <a:lnTo>
                      <a:pt x="76" y="430"/>
                    </a:lnTo>
                    <a:lnTo>
                      <a:pt x="94" y="438"/>
                    </a:lnTo>
                    <a:lnTo>
                      <a:pt x="112" y="444"/>
                    </a:lnTo>
                    <a:lnTo>
                      <a:pt x="130" y="450"/>
                    </a:lnTo>
                    <a:lnTo>
                      <a:pt x="150" y="454"/>
                    </a:lnTo>
                    <a:lnTo>
                      <a:pt x="170" y="456"/>
                    </a:lnTo>
                    <a:lnTo>
                      <a:pt x="190" y="456"/>
                    </a:lnTo>
                    <a:lnTo>
                      <a:pt x="190" y="456"/>
                    </a:lnTo>
                    <a:lnTo>
                      <a:pt x="210" y="456"/>
                    </a:lnTo>
                    <a:lnTo>
                      <a:pt x="228" y="454"/>
                    </a:lnTo>
                    <a:lnTo>
                      <a:pt x="244" y="450"/>
                    </a:lnTo>
                    <a:lnTo>
                      <a:pt x="258" y="444"/>
                    </a:lnTo>
                    <a:lnTo>
                      <a:pt x="268" y="436"/>
                    </a:lnTo>
                    <a:lnTo>
                      <a:pt x="278" y="426"/>
                    </a:lnTo>
                    <a:lnTo>
                      <a:pt x="282" y="414"/>
                    </a:lnTo>
                    <a:lnTo>
                      <a:pt x="284" y="400"/>
                    </a:lnTo>
                    <a:lnTo>
                      <a:pt x="284" y="400"/>
                    </a:lnTo>
                    <a:lnTo>
                      <a:pt x="284" y="392"/>
                    </a:lnTo>
                    <a:lnTo>
                      <a:pt x="282" y="384"/>
                    </a:lnTo>
                    <a:lnTo>
                      <a:pt x="278" y="378"/>
                    </a:lnTo>
                    <a:lnTo>
                      <a:pt x="274" y="372"/>
                    </a:lnTo>
                    <a:lnTo>
                      <a:pt x="262" y="360"/>
                    </a:lnTo>
                    <a:lnTo>
                      <a:pt x="244" y="350"/>
                    </a:lnTo>
                    <a:lnTo>
                      <a:pt x="226" y="340"/>
                    </a:lnTo>
                    <a:lnTo>
                      <a:pt x="204" y="332"/>
                    </a:lnTo>
                    <a:lnTo>
                      <a:pt x="158" y="314"/>
                    </a:lnTo>
                    <a:lnTo>
                      <a:pt x="134" y="304"/>
                    </a:lnTo>
                    <a:lnTo>
                      <a:pt x="112" y="294"/>
                    </a:lnTo>
                    <a:lnTo>
                      <a:pt x="90" y="280"/>
                    </a:lnTo>
                    <a:lnTo>
                      <a:pt x="72" y="264"/>
                    </a:lnTo>
                    <a:lnTo>
                      <a:pt x="62" y="254"/>
                    </a:lnTo>
                    <a:lnTo>
                      <a:pt x="54" y="244"/>
                    </a:lnTo>
                    <a:lnTo>
                      <a:pt x="48" y="232"/>
                    </a:lnTo>
                    <a:lnTo>
                      <a:pt x="42" y="222"/>
                    </a:lnTo>
                    <a:lnTo>
                      <a:pt x="38" y="208"/>
                    </a:lnTo>
                    <a:lnTo>
                      <a:pt x="34" y="194"/>
                    </a:lnTo>
                    <a:lnTo>
                      <a:pt x="32" y="180"/>
                    </a:lnTo>
                    <a:lnTo>
                      <a:pt x="32" y="162"/>
                    </a:lnTo>
                    <a:lnTo>
                      <a:pt x="32" y="162"/>
                    </a:lnTo>
                    <a:lnTo>
                      <a:pt x="32" y="146"/>
                    </a:lnTo>
                    <a:lnTo>
                      <a:pt x="36" y="128"/>
                    </a:lnTo>
                    <a:lnTo>
                      <a:pt x="40" y="112"/>
                    </a:lnTo>
                    <a:lnTo>
                      <a:pt x="46" y="98"/>
                    </a:lnTo>
                    <a:lnTo>
                      <a:pt x="54" y="82"/>
                    </a:lnTo>
                    <a:lnTo>
                      <a:pt x="62" y="70"/>
                    </a:lnTo>
                    <a:lnTo>
                      <a:pt x="74" y="56"/>
                    </a:lnTo>
                    <a:lnTo>
                      <a:pt x="86" y="46"/>
                    </a:lnTo>
                    <a:lnTo>
                      <a:pt x="100" y="36"/>
                    </a:lnTo>
                    <a:lnTo>
                      <a:pt x="116" y="26"/>
                    </a:lnTo>
                    <a:lnTo>
                      <a:pt x="132" y="18"/>
                    </a:lnTo>
                    <a:lnTo>
                      <a:pt x="150" y="12"/>
                    </a:lnTo>
                    <a:lnTo>
                      <a:pt x="170" y="6"/>
                    </a:lnTo>
                    <a:lnTo>
                      <a:pt x="190" y="4"/>
                    </a:lnTo>
                    <a:lnTo>
                      <a:pt x="212" y="0"/>
                    </a:lnTo>
                    <a:lnTo>
                      <a:pt x="236" y="0"/>
                    </a:lnTo>
                    <a:lnTo>
                      <a:pt x="236" y="0"/>
                    </a:lnTo>
                    <a:lnTo>
                      <a:pt x="280" y="2"/>
                    </a:lnTo>
                    <a:lnTo>
                      <a:pt x="320" y="8"/>
                    </a:lnTo>
                    <a:lnTo>
                      <a:pt x="358" y="16"/>
                    </a:lnTo>
                    <a:lnTo>
                      <a:pt x="394" y="26"/>
                    </a:lnTo>
                    <a:lnTo>
                      <a:pt x="394" y="142"/>
                    </a:lnTo>
                    <a:lnTo>
                      <a:pt x="394" y="142"/>
                    </a:lnTo>
                    <a:lnTo>
                      <a:pt x="358" y="128"/>
                    </a:lnTo>
                    <a:lnTo>
                      <a:pt x="322" y="116"/>
                    </a:lnTo>
                    <a:lnTo>
                      <a:pt x="282" y="110"/>
                    </a:lnTo>
                    <a:lnTo>
                      <a:pt x="262" y="108"/>
                    </a:lnTo>
                    <a:lnTo>
                      <a:pt x="242" y="108"/>
                    </a:lnTo>
                    <a:lnTo>
                      <a:pt x="242" y="108"/>
                    </a:lnTo>
                    <a:lnTo>
                      <a:pt x="224" y="108"/>
                    </a:lnTo>
                    <a:lnTo>
                      <a:pt x="210" y="110"/>
                    </a:lnTo>
                    <a:lnTo>
                      <a:pt x="198" y="114"/>
                    </a:lnTo>
                    <a:lnTo>
                      <a:pt x="186" y="118"/>
                    </a:lnTo>
                    <a:lnTo>
                      <a:pt x="176" y="126"/>
                    </a:lnTo>
                    <a:lnTo>
                      <a:pt x="170" y="134"/>
                    </a:lnTo>
                    <a:lnTo>
                      <a:pt x="166" y="144"/>
                    </a:lnTo>
                    <a:lnTo>
                      <a:pt x="164" y="156"/>
                    </a:lnTo>
                    <a:lnTo>
                      <a:pt x="164" y="156"/>
                    </a:lnTo>
                    <a:lnTo>
                      <a:pt x="166" y="164"/>
                    </a:lnTo>
                    <a:lnTo>
                      <a:pt x="168" y="170"/>
                    </a:lnTo>
                    <a:lnTo>
                      <a:pt x="172" y="178"/>
                    </a:lnTo>
                    <a:lnTo>
                      <a:pt x="176" y="184"/>
                    </a:lnTo>
                    <a:lnTo>
                      <a:pt x="188" y="194"/>
                    </a:lnTo>
                    <a:lnTo>
                      <a:pt x="204" y="204"/>
                    </a:lnTo>
                    <a:lnTo>
                      <a:pt x="224" y="212"/>
                    </a:lnTo>
                    <a:lnTo>
                      <a:pt x="244" y="220"/>
                    </a:lnTo>
                    <a:lnTo>
                      <a:pt x="292" y="238"/>
                    </a:lnTo>
                    <a:lnTo>
                      <a:pt x="314" y="248"/>
                    </a:lnTo>
                    <a:lnTo>
                      <a:pt x="338" y="260"/>
                    </a:lnTo>
                    <a:lnTo>
                      <a:pt x="360" y="274"/>
                    </a:lnTo>
                    <a:lnTo>
                      <a:pt x="378" y="292"/>
                    </a:lnTo>
                    <a:lnTo>
                      <a:pt x="386" y="302"/>
                    </a:lnTo>
                    <a:lnTo>
                      <a:pt x="394" y="312"/>
                    </a:lnTo>
                    <a:lnTo>
                      <a:pt x="402" y="324"/>
                    </a:lnTo>
                    <a:lnTo>
                      <a:pt x="406" y="336"/>
                    </a:lnTo>
                    <a:lnTo>
                      <a:pt x="412" y="350"/>
                    </a:lnTo>
                    <a:lnTo>
                      <a:pt x="414" y="364"/>
                    </a:lnTo>
                    <a:lnTo>
                      <a:pt x="418" y="380"/>
                    </a:lnTo>
                    <a:lnTo>
                      <a:pt x="418" y="396"/>
                    </a:lnTo>
                    <a:lnTo>
                      <a:pt x="418" y="396"/>
                    </a:lnTo>
                    <a:lnTo>
                      <a:pt x="416" y="418"/>
                    </a:lnTo>
                    <a:lnTo>
                      <a:pt x="414" y="438"/>
                    </a:lnTo>
                    <a:lnTo>
                      <a:pt x="408" y="456"/>
                    </a:lnTo>
                    <a:lnTo>
                      <a:pt x="400" y="472"/>
                    </a:lnTo>
                    <a:lnTo>
                      <a:pt x="390" y="488"/>
                    </a:lnTo>
                    <a:lnTo>
                      <a:pt x="380" y="502"/>
                    </a:lnTo>
                    <a:lnTo>
                      <a:pt x="366" y="514"/>
                    </a:lnTo>
                    <a:lnTo>
                      <a:pt x="352" y="524"/>
                    </a:lnTo>
                    <a:lnTo>
                      <a:pt x="336" y="534"/>
                    </a:lnTo>
                    <a:lnTo>
                      <a:pt x="320" y="542"/>
                    </a:lnTo>
                    <a:lnTo>
                      <a:pt x="302" y="550"/>
                    </a:lnTo>
                    <a:lnTo>
                      <a:pt x="282" y="554"/>
                    </a:lnTo>
                    <a:lnTo>
                      <a:pt x="262" y="558"/>
                    </a:lnTo>
                    <a:lnTo>
                      <a:pt x="242" y="562"/>
                    </a:lnTo>
                    <a:lnTo>
                      <a:pt x="220" y="564"/>
                    </a:lnTo>
                    <a:lnTo>
                      <a:pt x="200" y="564"/>
                    </a:lnTo>
                    <a:lnTo>
                      <a:pt x="200" y="564"/>
                    </a:lnTo>
                    <a:lnTo>
                      <a:pt x="168" y="562"/>
                    </a:lnTo>
                    <a:lnTo>
                      <a:pt x="138" y="560"/>
                    </a:lnTo>
                    <a:lnTo>
                      <a:pt x="110" y="554"/>
                    </a:lnTo>
                    <a:lnTo>
                      <a:pt x="84" y="548"/>
                    </a:lnTo>
                    <a:lnTo>
                      <a:pt x="60" y="540"/>
                    </a:lnTo>
                    <a:lnTo>
                      <a:pt x="38" y="532"/>
                    </a:lnTo>
                    <a:lnTo>
                      <a:pt x="18" y="522"/>
                    </a:lnTo>
                    <a:lnTo>
                      <a:pt x="0" y="512"/>
                    </a:lnTo>
                    <a:lnTo>
                      <a:pt x="42" y="4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2" name="Freeform 27"/>
              <p:cNvSpPr>
                <a:spLocks noEditPoints="1"/>
              </p:cNvSpPr>
              <p:nvPr/>
            </p:nvSpPr>
            <p:spPr bwMode="auto">
              <a:xfrm>
                <a:off x="8230347" y="4493623"/>
                <a:ext cx="17443" cy="81608"/>
              </a:xfrm>
              <a:custGeom>
                <a:avLst/>
                <a:gdLst>
                  <a:gd name="T0" fmla="*/ 84 w 168"/>
                  <a:gd name="T1" fmla="*/ 162 h 786"/>
                  <a:gd name="T2" fmla="*/ 84 w 168"/>
                  <a:gd name="T3" fmla="*/ 162 h 786"/>
                  <a:gd name="T4" fmla="*/ 68 w 168"/>
                  <a:gd name="T5" fmla="*/ 160 h 786"/>
                  <a:gd name="T6" fmla="*/ 52 w 168"/>
                  <a:gd name="T7" fmla="*/ 156 h 786"/>
                  <a:gd name="T8" fmla="*/ 38 w 168"/>
                  <a:gd name="T9" fmla="*/ 148 h 786"/>
                  <a:gd name="T10" fmla="*/ 26 w 168"/>
                  <a:gd name="T11" fmla="*/ 138 h 786"/>
                  <a:gd name="T12" fmla="*/ 14 w 168"/>
                  <a:gd name="T13" fmla="*/ 126 h 786"/>
                  <a:gd name="T14" fmla="*/ 8 w 168"/>
                  <a:gd name="T15" fmla="*/ 112 h 786"/>
                  <a:gd name="T16" fmla="*/ 2 w 168"/>
                  <a:gd name="T17" fmla="*/ 98 h 786"/>
                  <a:gd name="T18" fmla="*/ 0 w 168"/>
                  <a:gd name="T19" fmla="*/ 80 h 786"/>
                  <a:gd name="T20" fmla="*/ 0 w 168"/>
                  <a:gd name="T21" fmla="*/ 80 h 786"/>
                  <a:gd name="T22" fmla="*/ 2 w 168"/>
                  <a:gd name="T23" fmla="*/ 64 h 786"/>
                  <a:gd name="T24" fmla="*/ 8 w 168"/>
                  <a:gd name="T25" fmla="*/ 50 h 786"/>
                  <a:gd name="T26" fmla="*/ 14 w 168"/>
                  <a:gd name="T27" fmla="*/ 36 h 786"/>
                  <a:gd name="T28" fmla="*/ 26 w 168"/>
                  <a:gd name="T29" fmla="*/ 24 h 786"/>
                  <a:gd name="T30" fmla="*/ 38 w 168"/>
                  <a:gd name="T31" fmla="*/ 14 h 786"/>
                  <a:gd name="T32" fmla="*/ 52 w 168"/>
                  <a:gd name="T33" fmla="*/ 6 h 786"/>
                  <a:gd name="T34" fmla="*/ 68 w 168"/>
                  <a:gd name="T35" fmla="*/ 2 h 786"/>
                  <a:gd name="T36" fmla="*/ 84 w 168"/>
                  <a:gd name="T37" fmla="*/ 0 h 786"/>
                  <a:gd name="T38" fmla="*/ 84 w 168"/>
                  <a:gd name="T39" fmla="*/ 0 h 786"/>
                  <a:gd name="T40" fmla="*/ 102 w 168"/>
                  <a:gd name="T41" fmla="*/ 2 h 786"/>
                  <a:gd name="T42" fmla="*/ 118 w 168"/>
                  <a:gd name="T43" fmla="*/ 6 h 786"/>
                  <a:gd name="T44" fmla="*/ 132 w 168"/>
                  <a:gd name="T45" fmla="*/ 14 h 786"/>
                  <a:gd name="T46" fmla="*/ 144 w 168"/>
                  <a:gd name="T47" fmla="*/ 24 h 786"/>
                  <a:gd name="T48" fmla="*/ 154 w 168"/>
                  <a:gd name="T49" fmla="*/ 36 h 786"/>
                  <a:gd name="T50" fmla="*/ 162 w 168"/>
                  <a:gd name="T51" fmla="*/ 48 h 786"/>
                  <a:gd name="T52" fmla="*/ 166 w 168"/>
                  <a:gd name="T53" fmla="*/ 64 h 786"/>
                  <a:gd name="T54" fmla="*/ 168 w 168"/>
                  <a:gd name="T55" fmla="*/ 80 h 786"/>
                  <a:gd name="T56" fmla="*/ 168 w 168"/>
                  <a:gd name="T57" fmla="*/ 80 h 786"/>
                  <a:gd name="T58" fmla="*/ 166 w 168"/>
                  <a:gd name="T59" fmla="*/ 96 h 786"/>
                  <a:gd name="T60" fmla="*/ 162 w 168"/>
                  <a:gd name="T61" fmla="*/ 112 h 786"/>
                  <a:gd name="T62" fmla="*/ 154 w 168"/>
                  <a:gd name="T63" fmla="*/ 126 h 786"/>
                  <a:gd name="T64" fmla="*/ 144 w 168"/>
                  <a:gd name="T65" fmla="*/ 138 h 786"/>
                  <a:gd name="T66" fmla="*/ 132 w 168"/>
                  <a:gd name="T67" fmla="*/ 148 h 786"/>
                  <a:gd name="T68" fmla="*/ 118 w 168"/>
                  <a:gd name="T69" fmla="*/ 156 h 786"/>
                  <a:gd name="T70" fmla="*/ 102 w 168"/>
                  <a:gd name="T71" fmla="*/ 160 h 786"/>
                  <a:gd name="T72" fmla="*/ 84 w 168"/>
                  <a:gd name="T73" fmla="*/ 162 h 786"/>
                  <a:gd name="T74" fmla="*/ 84 w 168"/>
                  <a:gd name="T75" fmla="*/ 162 h 786"/>
                  <a:gd name="T76" fmla="*/ 16 w 168"/>
                  <a:gd name="T77" fmla="*/ 786 h 786"/>
                  <a:gd name="T78" fmla="*/ 16 w 168"/>
                  <a:gd name="T79" fmla="*/ 244 h 786"/>
                  <a:gd name="T80" fmla="*/ 152 w 168"/>
                  <a:gd name="T81" fmla="*/ 244 h 786"/>
                  <a:gd name="T82" fmla="*/ 152 w 168"/>
                  <a:gd name="T83" fmla="*/ 244 h 786"/>
                  <a:gd name="T84" fmla="*/ 152 w 168"/>
                  <a:gd name="T85" fmla="*/ 686 h 786"/>
                  <a:gd name="T86" fmla="*/ 152 w 168"/>
                  <a:gd name="T87" fmla="*/ 686 h 786"/>
                  <a:gd name="T88" fmla="*/ 150 w 168"/>
                  <a:gd name="T89" fmla="*/ 704 h 786"/>
                  <a:gd name="T90" fmla="*/ 146 w 168"/>
                  <a:gd name="T91" fmla="*/ 720 h 786"/>
                  <a:gd name="T92" fmla="*/ 138 w 168"/>
                  <a:gd name="T93" fmla="*/ 732 h 786"/>
                  <a:gd name="T94" fmla="*/ 130 w 168"/>
                  <a:gd name="T95" fmla="*/ 744 h 786"/>
                  <a:gd name="T96" fmla="*/ 120 w 168"/>
                  <a:gd name="T97" fmla="*/ 754 h 786"/>
                  <a:gd name="T98" fmla="*/ 108 w 168"/>
                  <a:gd name="T99" fmla="*/ 762 h 786"/>
                  <a:gd name="T100" fmla="*/ 96 w 168"/>
                  <a:gd name="T101" fmla="*/ 768 h 786"/>
                  <a:gd name="T102" fmla="*/ 84 w 168"/>
                  <a:gd name="T103" fmla="*/ 774 h 786"/>
                  <a:gd name="T104" fmla="*/ 60 w 168"/>
                  <a:gd name="T105" fmla="*/ 782 h 786"/>
                  <a:gd name="T106" fmla="*/ 38 w 168"/>
                  <a:gd name="T107" fmla="*/ 784 h 786"/>
                  <a:gd name="T108" fmla="*/ 16 w 168"/>
                  <a:gd name="T109" fmla="*/ 786 h 786"/>
                  <a:gd name="T110" fmla="*/ 16 w 168"/>
                  <a:gd name="T111" fmla="*/ 786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8" h="786">
                    <a:moveTo>
                      <a:pt x="84" y="162"/>
                    </a:moveTo>
                    <a:lnTo>
                      <a:pt x="84" y="162"/>
                    </a:lnTo>
                    <a:lnTo>
                      <a:pt x="68" y="160"/>
                    </a:lnTo>
                    <a:lnTo>
                      <a:pt x="52" y="156"/>
                    </a:lnTo>
                    <a:lnTo>
                      <a:pt x="38" y="148"/>
                    </a:lnTo>
                    <a:lnTo>
                      <a:pt x="26" y="138"/>
                    </a:lnTo>
                    <a:lnTo>
                      <a:pt x="14" y="126"/>
                    </a:lnTo>
                    <a:lnTo>
                      <a:pt x="8" y="112"/>
                    </a:lnTo>
                    <a:lnTo>
                      <a:pt x="2" y="98"/>
                    </a:lnTo>
                    <a:lnTo>
                      <a:pt x="0" y="80"/>
                    </a:lnTo>
                    <a:lnTo>
                      <a:pt x="0" y="80"/>
                    </a:lnTo>
                    <a:lnTo>
                      <a:pt x="2" y="64"/>
                    </a:lnTo>
                    <a:lnTo>
                      <a:pt x="8" y="50"/>
                    </a:lnTo>
                    <a:lnTo>
                      <a:pt x="14" y="36"/>
                    </a:lnTo>
                    <a:lnTo>
                      <a:pt x="26" y="24"/>
                    </a:lnTo>
                    <a:lnTo>
                      <a:pt x="38" y="14"/>
                    </a:lnTo>
                    <a:lnTo>
                      <a:pt x="52" y="6"/>
                    </a:lnTo>
                    <a:lnTo>
                      <a:pt x="68" y="2"/>
                    </a:lnTo>
                    <a:lnTo>
                      <a:pt x="84" y="0"/>
                    </a:lnTo>
                    <a:lnTo>
                      <a:pt x="84" y="0"/>
                    </a:lnTo>
                    <a:lnTo>
                      <a:pt x="102" y="2"/>
                    </a:lnTo>
                    <a:lnTo>
                      <a:pt x="118" y="6"/>
                    </a:lnTo>
                    <a:lnTo>
                      <a:pt x="132" y="14"/>
                    </a:lnTo>
                    <a:lnTo>
                      <a:pt x="144" y="24"/>
                    </a:lnTo>
                    <a:lnTo>
                      <a:pt x="154" y="36"/>
                    </a:lnTo>
                    <a:lnTo>
                      <a:pt x="162" y="48"/>
                    </a:lnTo>
                    <a:lnTo>
                      <a:pt x="166" y="64"/>
                    </a:lnTo>
                    <a:lnTo>
                      <a:pt x="168" y="80"/>
                    </a:lnTo>
                    <a:lnTo>
                      <a:pt x="168" y="80"/>
                    </a:lnTo>
                    <a:lnTo>
                      <a:pt x="166" y="96"/>
                    </a:lnTo>
                    <a:lnTo>
                      <a:pt x="162" y="112"/>
                    </a:lnTo>
                    <a:lnTo>
                      <a:pt x="154" y="126"/>
                    </a:lnTo>
                    <a:lnTo>
                      <a:pt x="144" y="138"/>
                    </a:lnTo>
                    <a:lnTo>
                      <a:pt x="132" y="148"/>
                    </a:lnTo>
                    <a:lnTo>
                      <a:pt x="118" y="156"/>
                    </a:lnTo>
                    <a:lnTo>
                      <a:pt x="102" y="160"/>
                    </a:lnTo>
                    <a:lnTo>
                      <a:pt x="84" y="162"/>
                    </a:lnTo>
                    <a:lnTo>
                      <a:pt x="84" y="162"/>
                    </a:lnTo>
                    <a:close/>
                    <a:moveTo>
                      <a:pt x="16" y="786"/>
                    </a:moveTo>
                    <a:lnTo>
                      <a:pt x="16" y="244"/>
                    </a:lnTo>
                    <a:lnTo>
                      <a:pt x="152" y="244"/>
                    </a:lnTo>
                    <a:lnTo>
                      <a:pt x="152" y="244"/>
                    </a:lnTo>
                    <a:lnTo>
                      <a:pt x="152" y="686"/>
                    </a:lnTo>
                    <a:lnTo>
                      <a:pt x="152" y="686"/>
                    </a:lnTo>
                    <a:lnTo>
                      <a:pt x="150" y="704"/>
                    </a:lnTo>
                    <a:lnTo>
                      <a:pt x="146" y="720"/>
                    </a:lnTo>
                    <a:lnTo>
                      <a:pt x="138" y="732"/>
                    </a:lnTo>
                    <a:lnTo>
                      <a:pt x="130" y="744"/>
                    </a:lnTo>
                    <a:lnTo>
                      <a:pt x="120" y="754"/>
                    </a:lnTo>
                    <a:lnTo>
                      <a:pt x="108" y="762"/>
                    </a:lnTo>
                    <a:lnTo>
                      <a:pt x="96" y="768"/>
                    </a:lnTo>
                    <a:lnTo>
                      <a:pt x="84" y="774"/>
                    </a:lnTo>
                    <a:lnTo>
                      <a:pt x="60" y="782"/>
                    </a:lnTo>
                    <a:lnTo>
                      <a:pt x="38" y="784"/>
                    </a:lnTo>
                    <a:lnTo>
                      <a:pt x="16" y="786"/>
                    </a:lnTo>
                    <a:lnTo>
                      <a:pt x="16" y="7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 name="Freeform 28"/>
              <p:cNvSpPr>
                <a:spLocks/>
              </p:cNvSpPr>
              <p:nvPr/>
            </p:nvSpPr>
            <p:spPr bwMode="auto">
              <a:xfrm>
                <a:off x="7989468" y="4518126"/>
                <a:ext cx="49837" cy="57313"/>
              </a:xfrm>
              <a:custGeom>
                <a:avLst/>
                <a:gdLst>
                  <a:gd name="T0" fmla="*/ 346 w 480"/>
                  <a:gd name="T1" fmla="*/ 230 h 552"/>
                  <a:gd name="T2" fmla="*/ 344 w 480"/>
                  <a:gd name="T3" fmla="*/ 210 h 552"/>
                  <a:gd name="T4" fmla="*/ 338 w 480"/>
                  <a:gd name="T5" fmla="*/ 170 h 552"/>
                  <a:gd name="T6" fmla="*/ 322 w 480"/>
                  <a:gd name="T7" fmla="*/ 138 h 552"/>
                  <a:gd name="T8" fmla="*/ 308 w 480"/>
                  <a:gd name="T9" fmla="*/ 126 h 552"/>
                  <a:gd name="T10" fmla="*/ 290 w 480"/>
                  <a:gd name="T11" fmla="*/ 118 h 552"/>
                  <a:gd name="T12" fmla="*/ 268 w 480"/>
                  <a:gd name="T13" fmla="*/ 116 h 552"/>
                  <a:gd name="T14" fmla="*/ 250 w 480"/>
                  <a:gd name="T15" fmla="*/ 116 h 552"/>
                  <a:gd name="T16" fmla="*/ 216 w 480"/>
                  <a:gd name="T17" fmla="*/ 126 h 552"/>
                  <a:gd name="T18" fmla="*/ 182 w 480"/>
                  <a:gd name="T19" fmla="*/ 140 h 552"/>
                  <a:gd name="T20" fmla="*/ 134 w 480"/>
                  <a:gd name="T21" fmla="*/ 172 h 552"/>
                  <a:gd name="T22" fmla="*/ 134 w 480"/>
                  <a:gd name="T23" fmla="*/ 452 h 552"/>
                  <a:gd name="T24" fmla="*/ 132 w 480"/>
                  <a:gd name="T25" fmla="*/ 470 h 552"/>
                  <a:gd name="T26" fmla="*/ 120 w 480"/>
                  <a:gd name="T27" fmla="*/ 498 h 552"/>
                  <a:gd name="T28" fmla="*/ 102 w 480"/>
                  <a:gd name="T29" fmla="*/ 518 h 552"/>
                  <a:gd name="T30" fmla="*/ 78 w 480"/>
                  <a:gd name="T31" fmla="*/ 534 h 552"/>
                  <a:gd name="T32" fmla="*/ 42 w 480"/>
                  <a:gd name="T33" fmla="*/ 546 h 552"/>
                  <a:gd name="T34" fmla="*/ 0 w 480"/>
                  <a:gd name="T35" fmla="*/ 552 h 552"/>
                  <a:gd name="T36" fmla="*/ 114 w 480"/>
                  <a:gd name="T37" fmla="*/ 14 h 552"/>
                  <a:gd name="T38" fmla="*/ 128 w 480"/>
                  <a:gd name="T39" fmla="*/ 70 h 552"/>
                  <a:gd name="T40" fmla="*/ 170 w 480"/>
                  <a:gd name="T41" fmla="*/ 42 h 552"/>
                  <a:gd name="T42" fmla="*/ 214 w 480"/>
                  <a:gd name="T43" fmla="*/ 20 h 552"/>
                  <a:gd name="T44" fmla="*/ 262 w 480"/>
                  <a:gd name="T45" fmla="*/ 6 h 552"/>
                  <a:gd name="T46" fmla="*/ 314 w 480"/>
                  <a:gd name="T47" fmla="*/ 0 h 552"/>
                  <a:gd name="T48" fmla="*/ 328 w 480"/>
                  <a:gd name="T49" fmla="*/ 2 h 552"/>
                  <a:gd name="T50" fmla="*/ 358 w 480"/>
                  <a:gd name="T51" fmla="*/ 6 h 552"/>
                  <a:gd name="T52" fmla="*/ 388 w 480"/>
                  <a:gd name="T53" fmla="*/ 16 h 552"/>
                  <a:gd name="T54" fmla="*/ 414 w 480"/>
                  <a:gd name="T55" fmla="*/ 32 h 552"/>
                  <a:gd name="T56" fmla="*/ 438 w 480"/>
                  <a:gd name="T57" fmla="*/ 54 h 552"/>
                  <a:gd name="T58" fmla="*/ 458 w 480"/>
                  <a:gd name="T59" fmla="*/ 84 h 552"/>
                  <a:gd name="T60" fmla="*/ 472 w 480"/>
                  <a:gd name="T61" fmla="*/ 120 h 552"/>
                  <a:gd name="T62" fmla="*/ 478 w 480"/>
                  <a:gd name="T63" fmla="*/ 166 h 552"/>
                  <a:gd name="T64" fmla="*/ 480 w 480"/>
                  <a:gd name="T65" fmla="*/ 190 h 552"/>
                  <a:gd name="T66" fmla="*/ 480 w 480"/>
                  <a:gd name="T67" fmla="*/ 452 h 552"/>
                  <a:gd name="T68" fmla="*/ 474 w 480"/>
                  <a:gd name="T69" fmla="*/ 484 h 552"/>
                  <a:gd name="T70" fmla="*/ 458 w 480"/>
                  <a:gd name="T71" fmla="*/ 510 h 552"/>
                  <a:gd name="T72" fmla="*/ 438 w 480"/>
                  <a:gd name="T73" fmla="*/ 528 h 552"/>
                  <a:gd name="T74" fmla="*/ 412 w 480"/>
                  <a:gd name="T75" fmla="*/ 540 h 552"/>
                  <a:gd name="T76" fmla="*/ 366 w 480"/>
                  <a:gd name="T77" fmla="*/ 550 h 552"/>
                  <a:gd name="T78" fmla="*/ 346 w 480"/>
                  <a:gd name="T79" fmla="*/ 552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80" h="552">
                    <a:moveTo>
                      <a:pt x="346" y="552"/>
                    </a:moveTo>
                    <a:lnTo>
                      <a:pt x="346" y="230"/>
                    </a:lnTo>
                    <a:lnTo>
                      <a:pt x="346" y="230"/>
                    </a:lnTo>
                    <a:lnTo>
                      <a:pt x="344" y="210"/>
                    </a:lnTo>
                    <a:lnTo>
                      <a:pt x="342" y="190"/>
                    </a:lnTo>
                    <a:lnTo>
                      <a:pt x="338" y="170"/>
                    </a:lnTo>
                    <a:lnTo>
                      <a:pt x="332" y="152"/>
                    </a:lnTo>
                    <a:lnTo>
                      <a:pt x="322" y="138"/>
                    </a:lnTo>
                    <a:lnTo>
                      <a:pt x="316" y="132"/>
                    </a:lnTo>
                    <a:lnTo>
                      <a:pt x="308" y="126"/>
                    </a:lnTo>
                    <a:lnTo>
                      <a:pt x="300" y="122"/>
                    </a:lnTo>
                    <a:lnTo>
                      <a:pt x="290" y="118"/>
                    </a:lnTo>
                    <a:lnTo>
                      <a:pt x="280" y="116"/>
                    </a:lnTo>
                    <a:lnTo>
                      <a:pt x="268" y="116"/>
                    </a:lnTo>
                    <a:lnTo>
                      <a:pt x="268" y="116"/>
                    </a:lnTo>
                    <a:lnTo>
                      <a:pt x="250" y="116"/>
                    </a:lnTo>
                    <a:lnTo>
                      <a:pt x="232" y="120"/>
                    </a:lnTo>
                    <a:lnTo>
                      <a:pt x="216" y="126"/>
                    </a:lnTo>
                    <a:lnTo>
                      <a:pt x="198" y="132"/>
                    </a:lnTo>
                    <a:lnTo>
                      <a:pt x="182" y="140"/>
                    </a:lnTo>
                    <a:lnTo>
                      <a:pt x="166" y="150"/>
                    </a:lnTo>
                    <a:lnTo>
                      <a:pt x="134" y="172"/>
                    </a:lnTo>
                    <a:lnTo>
                      <a:pt x="134" y="172"/>
                    </a:lnTo>
                    <a:lnTo>
                      <a:pt x="134" y="452"/>
                    </a:lnTo>
                    <a:lnTo>
                      <a:pt x="134" y="452"/>
                    </a:lnTo>
                    <a:lnTo>
                      <a:pt x="132" y="470"/>
                    </a:lnTo>
                    <a:lnTo>
                      <a:pt x="128" y="484"/>
                    </a:lnTo>
                    <a:lnTo>
                      <a:pt x="120" y="498"/>
                    </a:lnTo>
                    <a:lnTo>
                      <a:pt x="112" y="510"/>
                    </a:lnTo>
                    <a:lnTo>
                      <a:pt x="102" y="518"/>
                    </a:lnTo>
                    <a:lnTo>
                      <a:pt x="90" y="528"/>
                    </a:lnTo>
                    <a:lnTo>
                      <a:pt x="78" y="534"/>
                    </a:lnTo>
                    <a:lnTo>
                      <a:pt x="66" y="540"/>
                    </a:lnTo>
                    <a:lnTo>
                      <a:pt x="42" y="546"/>
                    </a:lnTo>
                    <a:lnTo>
                      <a:pt x="20" y="550"/>
                    </a:lnTo>
                    <a:lnTo>
                      <a:pt x="0" y="552"/>
                    </a:lnTo>
                    <a:lnTo>
                      <a:pt x="0" y="14"/>
                    </a:lnTo>
                    <a:lnTo>
                      <a:pt x="114" y="14"/>
                    </a:lnTo>
                    <a:lnTo>
                      <a:pt x="128" y="70"/>
                    </a:lnTo>
                    <a:lnTo>
                      <a:pt x="128" y="70"/>
                    </a:lnTo>
                    <a:lnTo>
                      <a:pt x="150" y="54"/>
                    </a:lnTo>
                    <a:lnTo>
                      <a:pt x="170" y="42"/>
                    </a:lnTo>
                    <a:lnTo>
                      <a:pt x="192" y="30"/>
                    </a:lnTo>
                    <a:lnTo>
                      <a:pt x="214" y="20"/>
                    </a:lnTo>
                    <a:lnTo>
                      <a:pt x="238" y="12"/>
                    </a:lnTo>
                    <a:lnTo>
                      <a:pt x="262" y="6"/>
                    </a:lnTo>
                    <a:lnTo>
                      <a:pt x="286" y="2"/>
                    </a:lnTo>
                    <a:lnTo>
                      <a:pt x="314" y="0"/>
                    </a:lnTo>
                    <a:lnTo>
                      <a:pt x="314" y="0"/>
                    </a:lnTo>
                    <a:lnTo>
                      <a:pt x="328" y="2"/>
                    </a:lnTo>
                    <a:lnTo>
                      <a:pt x="344" y="2"/>
                    </a:lnTo>
                    <a:lnTo>
                      <a:pt x="358" y="6"/>
                    </a:lnTo>
                    <a:lnTo>
                      <a:pt x="374" y="10"/>
                    </a:lnTo>
                    <a:lnTo>
                      <a:pt x="388" y="16"/>
                    </a:lnTo>
                    <a:lnTo>
                      <a:pt x="402" y="24"/>
                    </a:lnTo>
                    <a:lnTo>
                      <a:pt x="414" y="32"/>
                    </a:lnTo>
                    <a:lnTo>
                      <a:pt x="426" y="42"/>
                    </a:lnTo>
                    <a:lnTo>
                      <a:pt x="438" y="54"/>
                    </a:lnTo>
                    <a:lnTo>
                      <a:pt x="448" y="68"/>
                    </a:lnTo>
                    <a:lnTo>
                      <a:pt x="458" y="84"/>
                    </a:lnTo>
                    <a:lnTo>
                      <a:pt x="464" y="102"/>
                    </a:lnTo>
                    <a:lnTo>
                      <a:pt x="472" y="120"/>
                    </a:lnTo>
                    <a:lnTo>
                      <a:pt x="476" y="142"/>
                    </a:lnTo>
                    <a:lnTo>
                      <a:pt x="478" y="166"/>
                    </a:lnTo>
                    <a:lnTo>
                      <a:pt x="480" y="190"/>
                    </a:lnTo>
                    <a:lnTo>
                      <a:pt x="480" y="190"/>
                    </a:lnTo>
                    <a:lnTo>
                      <a:pt x="480" y="452"/>
                    </a:lnTo>
                    <a:lnTo>
                      <a:pt x="480" y="452"/>
                    </a:lnTo>
                    <a:lnTo>
                      <a:pt x="478" y="470"/>
                    </a:lnTo>
                    <a:lnTo>
                      <a:pt x="474" y="484"/>
                    </a:lnTo>
                    <a:lnTo>
                      <a:pt x="468" y="498"/>
                    </a:lnTo>
                    <a:lnTo>
                      <a:pt x="458" y="510"/>
                    </a:lnTo>
                    <a:lnTo>
                      <a:pt x="448" y="520"/>
                    </a:lnTo>
                    <a:lnTo>
                      <a:pt x="438" y="528"/>
                    </a:lnTo>
                    <a:lnTo>
                      <a:pt x="424" y="534"/>
                    </a:lnTo>
                    <a:lnTo>
                      <a:pt x="412" y="540"/>
                    </a:lnTo>
                    <a:lnTo>
                      <a:pt x="388" y="546"/>
                    </a:lnTo>
                    <a:lnTo>
                      <a:pt x="366" y="550"/>
                    </a:lnTo>
                    <a:lnTo>
                      <a:pt x="346" y="552"/>
                    </a:lnTo>
                    <a:lnTo>
                      <a:pt x="346" y="5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 name="Freeform 29"/>
              <p:cNvSpPr>
                <a:spLocks/>
              </p:cNvSpPr>
              <p:nvPr/>
            </p:nvSpPr>
            <p:spPr bwMode="auto">
              <a:xfrm>
                <a:off x="8106170" y="4491754"/>
                <a:ext cx="14120" cy="83477"/>
              </a:xfrm>
              <a:custGeom>
                <a:avLst/>
                <a:gdLst>
                  <a:gd name="T0" fmla="*/ 136 w 136"/>
                  <a:gd name="T1" fmla="*/ 704 h 804"/>
                  <a:gd name="T2" fmla="*/ 136 w 136"/>
                  <a:gd name="T3" fmla="*/ 704 h 804"/>
                  <a:gd name="T4" fmla="*/ 134 w 136"/>
                  <a:gd name="T5" fmla="*/ 722 h 804"/>
                  <a:gd name="T6" fmla="*/ 130 w 136"/>
                  <a:gd name="T7" fmla="*/ 738 h 804"/>
                  <a:gd name="T8" fmla="*/ 122 w 136"/>
                  <a:gd name="T9" fmla="*/ 750 h 804"/>
                  <a:gd name="T10" fmla="*/ 114 w 136"/>
                  <a:gd name="T11" fmla="*/ 762 h 804"/>
                  <a:gd name="T12" fmla="*/ 104 w 136"/>
                  <a:gd name="T13" fmla="*/ 772 h 804"/>
                  <a:gd name="T14" fmla="*/ 92 w 136"/>
                  <a:gd name="T15" fmla="*/ 780 h 804"/>
                  <a:gd name="T16" fmla="*/ 80 w 136"/>
                  <a:gd name="T17" fmla="*/ 786 h 804"/>
                  <a:gd name="T18" fmla="*/ 68 w 136"/>
                  <a:gd name="T19" fmla="*/ 792 h 804"/>
                  <a:gd name="T20" fmla="*/ 44 w 136"/>
                  <a:gd name="T21" fmla="*/ 800 h 804"/>
                  <a:gd name="T22" fmla="*/ 22 w 136"/>
                  <a:gd name="T23" fmla="*/ 802 h 804"/>
                  <a:gd name="T24" fmla="*/ 0 w 136"/>
                  <a:gd name="T25" fmla="*/ 804 h 804"/>
                  <a:gd name="T26" fmla="*/ 0 w 136"/>
                  <a:gd name="T27" fmla="*/ 0 h 804"/>
                  <a:gd name="T28" fmla="*/ 136 w 136"/>
                  <a:gd name="T29" fmla="*/ 0 h 804"/>
                  <a:gd name="T30" fmla="*/ 136 w 136"/>
                  <a:gd name="T31" fmla="*/ 0 h 804"/>
                  <a:gd name="T32" fmla="*/ 136 w 136"/>
                  <a:gd name="T33" fmla="*/ 704 h 804"/>
                  <a:gd name="T34" fmla="*/ 136 w 136"/>
                  <a:gd name="T35" fmla="*/ 70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04">
                    <a:moveTo>
                      <a:pt x="136" y="704"/>
                    </a:moveTo>
                    <a:lnTo>
                      <a:pt x="136" y="704"/>
                    </a:lnTo>
                    <a:lnTo>
                      <a:pt x="134" y="722"/>
                    </a:lnTo>
                    <a:lnTo>
                      <a:pt x="130" y="738"/>
                    </a:lnTo>
                    <a:lnTo>
                      <a:pt x="122" y="750"/>
                    </a:lnTo>
                    <a:lnTo>
                      <a:pt x="114" y="762"/>
                    </a:lnTo>
                    <a:lnTo>
                      <a:pt x="104" y="772"/>
                    </a:lnTo>
                    <a:lnTo>
                      <a:pt x="92" y="780"/>
                    </a:lnTo>
                    <a:lnTo>
                      <a:pt x="80" y="786"/>
                    </a:lnTo>
                    <a:lnTo>
                      <a:pt x="68" y="792"/>
                    </a:lnTo>
                    <a:lnTo>
                      <a:pt x="44" y="800"/>
                    </a:lnTo>
                    <a:lnTo>
                      <a:pt x="22" y="802"/>
                    </a:lnTo>
                    <a:lnTo>
                      <a:pt x="0" y="804"/>
                    </a:lnTo>
                    <a:lnTo>
                      <a:pt x="0" y="0"/>
                    </a:lnTo>
                    <a:lnTo>
                      <a:pt x="136" y="0"/>
                    </a:lnTo>
                    <a:lnTo>
                      <a:pt x="136" y="0"/>
                    </a:lnTo>
                    <a:lnTo>
                      <a:pt x="136" y="704"/>
                    </a:lnTo>
                    <a:lnTo>
                      <a:pt x="136" y="7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6" name="Group 75"/>
            <p:cNvGrpSpPr/>
            <p:nvPr userDrawn="1"/>
          </p:nvGrpSpPr>
          <p:grpSpPr>
            <a:xfrm>
              <a:off x="7673274" y="4343117"/>
              <a:ext cx="1123200" cy="148389"/>
              <a:chOff x="7665803" y="4864376"/>
              <a:chExt cx="1123200" cy="148389"/>
            </a:xfrm>
            <a:grpFill/>
          </p:grpSpPr>
          <p:sp>
            <p:nvSpPr>
              <p:cNvPr id="77" name="Freeform 6"/>
              <p:cNvSpPr>
                <a:spLocks/>
              </p:cNvSpPr>
              <p:nvPr userDrawn="1"/>
            </p:nvSpPr>
            <p:spPr bwMode="auto">
              <a:xfrm>
                <a:off x="8119644" y="4924717"/>
                <a:ext cx="103102" cy="66806"/>
              </a:xfrm>
              <a:custGeom>
                <a:avLst/>
                <a:gdLst>
                  <a:gd name="T0" fmla="*/ 111 w 136"/>
                  <a:gd name="T1" fmla="*/ 72 h 92"/>
                  <a:gd name="T2" fmla="*/ 87 w 136"/>
                  <a:gd name="T3" fmla="*/ 88 h 92"/>
                  <a:gd name="T4" fmla="*/ 68 w 136"/>
                  <a:gd name="T5" fmla="*/ 28 h 92"/>
                  <a:gd name="T6" fmla="*/ 67 w 136"/>
                  <a:gd name="T7" fmla="*/ 28 h 92"/>
                  <a:gd name="T8" fmla="*/ 53 w 136"/>
                  <a:gd name="T9" fmla="*/ 72 h 92"/>
                  <a:gd name="T10" fmla="*/ 31 w 136"/>
                  <a:gd name="T11" fmla="*/ 88 h 92"/>
                  <a:gd name="T12" fmla="*/ 0 w 136"/>
                  <a:gd name="T13" fmla="*/ 0 h 92"/>
                  <a:gd name="T14" fmla="*/ 22 w 136"/>
                  <a:gd name="T15" fmla="*/ 0 h 92"/>
                  <a:gd name="T16" fmla="*/ 41 w 136"/>
                  <a:gd name="T17" fmla="*/ 60 h 92"/>
                  <a:gd name="T18" fmla="*/ 41 w 136"/>
                  <a:gd name="T19" fmla="*/ 60 h 92"/>
                  <a:gd name="T20" fmla="*/ 60 w 136"/>
                  <a:gd name="T21" fmla="*/ 0 h 92"/>
                  <a:gd name="T22" fmla="*/ 77 w 136"/>
                  <a:gd name="T23" fmla="*/ 0 h 92"/>
                  <a:gd name="T24" fmla="*/ 96 w 136"/>
                  <a:gd name="T25" fmla="*/ 60 h 92"/>
                  <a:gd name="T26" fmla="*/ 97 w 136"/>
                  <a:gd name="T27" fmla="*/ 60 h 92"/>
                  <a:gd name="T28" fmla="*/ 115 w 136"/>
                  <a:gd name="T29" fmla="*/ 0 h 92"/>
                  <a:gd name="T30" fmla="*/ 136 w 136"/>
                  <a:gd name="T31" fmla="*/ 0 h 92"/>
                  <a:gd name="T32" fmla="*/ 111 w 136"/>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 h="92">
                    <a:moveTo>
                      <a:pt x="111" y="72"/>
                    </a:moveTo>
                    <a:cubicBezTo>
                      <a:pt x="103" y="92"/>
                      <a:pt x="87" y="88"/>
                      <a:pt x="87" y="88"/>
                    </a:cubicBezTo>
                    <a:cubicBezTo>
                      <a:pt x="68" y="28"/>
                      <a:pt x="68" y="28"/>
                      <a:pt x="68" y="28"/>
                    </a:cubicBezTo>
                    <a:cubicBezTo>
                      <a:pt x="67" y="28"/>
                      <a:pt x="67" y="28"/>
                      <a:pt x="67" y="28"/>
                    </a:cubicBezTo>
                    <a:cubicBezTo>
                      <a:pt x="67" y="28"/>
                      <a:pt x="58"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6" y="60"/>
                      <a:pt x="96" y="60"/>
                      <a:pt x="96" y="60"/>
                    </a:cubicBezTo>
                    <a:cubicBezTo>
                      <a:pt x="97" y="60"/>
                      <a:pt x="97" y="60"/>
                      <a:pt x="97" y="60"/>
                    </a:cubicBezTo>
                    <a:cubicBezTo>
                      <a:pt x="115" y="0"/>
                      <a:pt x="115" y="0"/>
                      <a:pt x="115" y="0"/>
                    </a:cubicBezTo>
                    <a:cubicBezTo>
                      <a:pt x="136" y="0"/>
                      <a:pt x="136" y="0"/>
                      <a:pt x="136" y="0"/>
                    </a:cubicBezTo>
                    <a:cubicBezTo>
                      <a:pt x="136"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8" name="Freeform 7"/>
              <p:cNvSpPr>
                <a:spLocks noEditPoints="1"/>
              </p:cNvSpPr>
              <p:nvPr userDrawn="1"/>
            </p:nvSpPr>
            <p:spPr bwMode="auto">
              <a:xfrm>
                <a:off x="8225958" y="4923177"/>
                <a:ext cx="57493" cy="66190"/>
              </a:xfrm>
              <a:custGeom>
                <a:avLst/>
                <a:gdLst>
                  <a:gd name="T0" fmla="*/ 57 w 76"/>
                  <a:gd name="T1" fmla="*/ 90 h 91"/>
                  <a:gd name="T2" fmla="*/ 53 w 76"/>
                  <a:gd name="T3" fmla="*/ 81 h 91"/>
                  <a:gd name="T4" fmla="*/ 28 w 76"/>
                  <a:gd name="T5" fmla="*/ 91 h 91"/>
                  <a:gd name="T6" fmla="*/ 0 w 76"/>
                  <a:gd name="T7" fmla="*/ 63 h 91"/>
                  <a:gd name="T8" fmla="*/ 36 w 76"/>
                  <a:gd name="T9" fmla="*/ 34 h 91"/>
                  <a:gd name="T10" fmla="*/ 51 w 76"/>
                  <a:gd name="T11" fmla="*/ 34 h 91"/>
                  <a:gd name="T12" fmla="*/ 51 w 76"/>
                  <a:gd name="T13" fmla="*/ 31 h 91"/>
                  <a:gd name="T14" fmla="*/ 35 w 76"/>
                  <a:gd name="T15" fmla="*/ 17 h 91"/>
                  <a:gd name="T16" fmla="*/ 12 w 76"/>
                  <a:gd name="T17" fmla="*/ 23 h 91"/>
                  <a:gd name="T18" fmla="*/ 5 w 76"/>
                  <a:gd name="T19" fmla="*/ 9 h 91"/>
                  <a:gd name="T20" fmla="*/ 39 w 76"/>
                  <a:gd name="T21" fmla="*/ 0 h 91"/>
                  <a:gd name="T22" fmla="*/ 74 w 76"/>
                  <a:gd name="T23" fmla="*/ 31 h 91"/>
                  <a:gd name="T24" fmla="*/ 74 w 76"/>
                  <a:gd name="T25" fmla="*/ 66 h 91"/>
                  <a:gd name="T26" fmla="*/ 76 w 76"/>
                  <a:gd name="T27" fmla="*/ 90 h 91"/>
                  <a:gd name="T28" fmla="*/ 57 w 76"/>
                  <a:gd name="T29" fmla="*/ 90 h 91"/>
                  <a:gd name="T30" fmla="*/ 51 w 76"/>
                  <a:gd name="T31" fmla="*/ 49 h 91"/>
                  <a:gd name="T32" fmla="*/ 39 w 76"/>
                  <a:gd name="T33" fmla="*/ 49 h 91"/>
                  <a:gd name="T34" fmla="*/ 22 w 76"/>
                  <a:gd name="T35" fmla="*/ 61 h 91"/>
                  <a:gd name="T36" fmla="*/ 36 w 76"/>
                  <a:gd name="T37" fmla="*/ 73 h 91"/>
                  <a:gd name="T38" fmla="*/ 51 w 76"/>
                  <a:gd name="T39" fmla="*/ 68 h 91"/>
                  <a:gd name="T40" fmla="*/ 51 w 76"/>
                  <a:gd name="T41" fmla="*/ 4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91">
                    <a:moveTo>
                      <a:pt x="57" y="90"/>
                    </a:moveTo>
                    <a:cubicBezTo>
                      <a:pt x="53" y="81"/>
                      <a:pt x="53" y="81"/>
                      <a:pt x="53" y="81"/>
                    </a:cubicBezTo>
                    <a:cubicBezTo>
                      <a:pt x="48" y="86"/>
                      <a:pt x="40" y="91"/>
                      <a:pt x="28" y="91"/>
                    </a:cubicBezTo>
                    <a:cubicBezTo>
                      <a:pt x="12" y="91"/>
                      <a:pt x="0" y="80"/>
                      <a:pt x="0" y="63"/>
                    </a:cubicBezTo>
                    <a:cubicBezTo>
                      <a:pt x="0" y="45"/>
                      <a:pt x="14" y="35"/>
                      <a:pt x="36" y="34"/>
                    </a:cubicBezTo>
                    <a:cubicBezTo>
                      <a:pt x="51" y="34"/>
                      <a:pt x="51" y="34"/>
                      <a:pt x="51" y="34"/>
                    </a:cubicBezTo>
                    <a:cubicBezTo>
                      <a:pt x="51" y="33"/>
                      <a:pt x="51" y="32"/>
                      <a:pt x="51" y="31"/>
                    </a:cubicBezTo>
                    <a:cubicBezTo>
                      <a:pt x="51" y="21"/>
                      <a:pt x="44" y="17"/>
                      <a:pt x="35" y="17"/>
                    </a:cubicBezTo>
                    <a:cubicBezTo>
                      <a:pt x="25" y="17"/>
                      <a:pt x="18" y="20"/>
                      <a:pt x="12" y="23"/>
                    </a:cubicBezTo>
                    <a:cubicBezTo>
                      <a:pt x="5" y="9"/>
                      <a:pt x="5" y="9"/>
                      <a:pt x="5" y="9"/>
                    </a:cubicBezTo>
                    <a:cubicBezTo>
                      <a:pt x="17" y="2"/>
                      <a:pt x="28" y="0"/>
                      <a:pt x="39" y="0"/>
                    </a:cubicBezTo>
                    <a:cubicBezTo>
                      <a:pt x="61" y="0"/>
                      <a:pt x="74" y="9"/>
                      <a:pt x="74" y="31"/>
                    </a:cubicBezTo>
                    <a:cubicBezTo>
                      <a:pt x="74" y="66"/>
                      <a:pt x="74" y="66"/>
                      <a:pt x="74" y="66"/>
                    </a:cubicBezTo>
                    <a:cubicBezTo>
                      <a:pt x="74" y="78"/>
                      <a:pt x="75" y="86"/>
                      <a:pt x="76" y="90"/>
                    </a:cubicBezTo>
                    <a:lnTo>
                      <a:pt x="57" y="90"/>
                    </a:lnTo>
                    <a:close/>
                    <a:moveTo>
                      <a:pt x="51" y="49"/>
                    </a:moveTo>
                    <a:cubicBezTo>
                      <a:pt x="39" y="49"/>
                      <a:pt x="39" y="49"/>
                      <a:pt x="39" y="49"/>
                    </a:cubicBezTo>
                    <a:cubicBezTo>
                      <a:pt x="27" y="50"/>
                      <a:pt x="22" y="54"/>
                      <a:pt x="22" y="61"/>
                    </a:cubicBezTo>
                    <a:cubicBezTo>
                      <a:pt x="22" y="68"/>
                      <a:pt x="27" y="73"/>
                      <a:pt x="36" y="73"/>
                    </a:cubicBezTo>
                    <a:cubicBezTo>
                      <a:pt x="44" y="73"/>
                      <a:pt x="49" y="70"/>
                      <a:pt x="51" y="68"/>
                    </a:cubicBezTo>
                    <a:lnTo>
                      <a:pt x="51" y="4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9" name="Freeform 8"/>
              <p:cNvSpPr>
                <a:spLocks noEditPoints="1"/>
              </p:cNvSpPr>
              <p:nvPr userDrawn="1"/>
            </p:nvSpPr>
            <p:spPr bwMode="auto">
              <a:xfrm>
                <a:off x="8342550" y="4892699"/>
                <a:ext cx="62311" cy="96668"/>
              </a:xfrm>
              <a:custGeom>
                <a:avLst/>
                <a:gdLst>
                  <a:gd name="T0" fmla="*/ 47 w 82"/>
                  <a:gd name="T1" fmla="*/ 133 h 133"/>
                  <a:gd name="T2" fmla="*/ 0 w 82"/>
                  <a:gd name="T3" fmla="*/ 88 h 133"/>
                  <a:gd name="T4" fmla="*/ 48 w 82"/>
                  <a:gd name="T5" fmla="*/ 42 h 133"/>
                  <a:gd name="T6" fmla="*/ 59 w 82"/>
                  <a:gd name="T7" fmla="*/ 42 h 133"/>
                  <a:gd name="T8" fmla="*/ 60 w 82"/>
                  <a:gd name="T9" fmla="*/ 0 h 133"/>
                  <a:gd name="T10" fmla="*/ 82 w 82"/>
                  <a:gd name="T11" fmla="*/ 0 h 133"/>
                  <a:gd name="T12" fmla="*/ 81 w 82"/>
                  <a:gd name="T13" fmla="*/ 126 h 133"/>
                  <a:gd name="T14" fmla="*/ 47 w 82"/>
                  <a:gd name="T15" fmla="*/ 133 h 133"/>
                  <a:gd name="T16" fmla="*/ 59 w 82"/>
                  <a:gd name="T17" fmla="*/ 60 h 133"/>
                  <a:gd name="T18" fmla="*/ 49 w 82"/>
                  <a:gd name="T19" fmla="*/ 59 h 133"/>
                  <a:gd name="T20" fmla="*/ 22 w 82"/>
                  <a:gd name="T21" fmla="*/ 87 h 133"/>
                  <a:gd name="T22" fmla="*/ 49 w 82"/>
                  <a:gd name="T23" fmla="*/ 114 h 133"/>
                  <a:gd name="T24" fmla="*/ 59 w 82"/>
                  <a:gd name="T25" fmla="*/ 113 h 133"/>
                  <a:gd name="T26" fmla="*/ 59 w 82"/>
                  <a:gd name="T27" fmla="*/ 6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3">
                    <a:moveTo>
                      <a:pt x="47" y="133"/>
                    </a:moveTo>
                    <a:cubicBezTo>
                      <a:pt x="21" y="133"/>
                      <a:pt x="0" y="117"/>
                      <a:pt x="0" y="88"/>
                    </a:cubicBezTo>
                    <a:cubicBezTo>
                      <a:pt x="0" y="61"/>
                      <a:pt x="20" y="42"/>
                      <a:pt x="48" y="42"/>
                    </a:cubicBezTo>
                    <a:cubicBezTo>
                      <a:pt x="52" y="42"/>
                      <a:pt x="56" y="42"/>
                      <a:pt x="59" y="42"/>
                    </a:cubicBezTo>
                    <a:cubicBezTo>
                      <a:pt x="60" y="0"/>
                      <a:pt x="60" y="0"/>
                      <a:pt x="60" y="0"/>
                    </a:cubicBezTo>
                    <a:cubicBezTo>
                      <a:pt x="82" y="0"/>
                      <a:pt x="82" y="0"/>
                      <a:pt x="82" y="0"/>
                    </a:cubicBezTo>
                    <a:cubicBezTo>
                      <a:pt x="81" y="126"/>
                      <a:pt x="81" y="126"/>
                      <a:pt x="81" y="126"/>
                    </a:cubicBezTo>
                    <a:cubicBezTo>
                      <a:pt x="73" y="130"/>
                      <a:pt x="62" y="133"/>
                      <a:pt x="47" y="133"/>
                    </a:cubicBezTo>
                    <a:close/>
                    <a:moveTo>
                      <a:pt x="59" y="60"/>
                    </a:moveTo>
                    <a:cubicBezTo>
                      <a:pt x="56" y="60"/>
                      <a:pt x="54" y="59"/>
                      <a:pt x="49" y="59"/>
                    </a:cubicBezTo>
                    <a:cubicBezTo>
                      <a:pt x="33" y="59"/>
                      <a:pt x="22" y="70"/>
                      <a:pt x="22" y="87"/>
                    </a:cubicBezTo>
                    <a:cubicBezTo>
                      <a:pt x="22" y="103"/>
                      <a:pt x="32" y="114"/>
                      <a:pt x="49" y="114"/>
                    </a:cubicBezTo>
                    <a:cubicBezTo>
                      <a:pt x="53" y="114"/>
                      <a:pt x="57" y="114"/>
                      <a:pt x="59" y="113"/>
                    </a:cubicBezTo>
                    <a:lnTo>
                      <a:pt x="59" y="60"/>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0" name="Freeform 9"/>
              <p:cNvSpPr>
                <a:spLocks/>
              </p:cNvSpPr>
              <p:nvPr userDrawn="1"/>
            </p:nvSpPr>
            <p:spPr bwMode="auto">
              <a:xfrm>
                <a:off x="8093949"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1" name="Freeform 10"/>
              <p:cNvSpPr>
                <a:spLocks/>
              </p:cNvSpPr>
              <p:nvPr userDrawn="1"/>
            </p:nvSpPr>
            <p:spPr bwMode="auto">
              <a:xfrm>
                <a:off x="8060545"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2" name="Freeform 11"/>
              <p:cNvSpPr>
                <a:spLocks/>
              </p:cNvSpPr>
              <p:nvPr userDrawn="1"/>
            </p:nvSpPr>
            <p:spPr bwMode="auto">
              <a:xfrm>
                <a:off x="8297262" y="4923177"/>
                <a:ext cx="43039" cy="66190"/>
              </a:xfrm>
              <a:custGeom>
                <a:avLst/>
                <a:gdLst>
                  <a:gd name="T0" fmla="*/ 49 w 57"/>
                  <a:gd name="T1" fmla="*/ 22 h 91"/>
                  <a:gd name="T2" fmla="*/ 39 w 57"/>
                  <a:gd name="T3" fmla="*/ 20 h 91"/>
                  <a:gd name="T4" fmla="*/ 22 w 57"/>
                  <a:gd name="T5" fmla="*/ 27 h 91"/>
                  <a:gd name="T6" fmla="*/ 22 w 57"/>
                  <a:gd name="T7" fmla="*/ 74 h 91"/>
                  <a:gd name="T8" fmla="*/ 0 w 57"/>
                  <a:gd name="T9" fmla="*/ 90 h 91"/>
                  <a:gd name="T10" fmla="*/ 0 w 57"/>
                  <a:gd name="T11" fmla="*/ 2 h 91"/>
                  <a:gd name="T12" fmla="*/ 18 w 57"/>
                  <a:gd name="T13" fmla="*/ 2 h 91"/>
                  <a:gd name="T14" fmla="*/ 21 w 57"/>
                  <a:gd name="T15" fmla="*/ 11 h 91"/>
                  <a:gd name="T16" fmla="*/ 45 w 57"/>
                  <a:gd name="T17" fmla="*/ 0 h 91"/>
                  <a:gd name="T18" fmla="*/ 57 w 57"/>
                  <a:gd name="T19" fmla="*/ 4 h 91"/>
                  <a:gd name="T20" fmla="*/ 49 w 57"/>
                  <a:gd name="T21" fmla="*/ 2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1">
                    <a:moveTo>
                      <a:pt x="49" y="22"/>
                    </a:moveTo>
                    <a:cubicBezTo>
                      <a:pt x="45" y="20"/>
                      <a:pt x="41" y="20"/>
                      <a:pt x="39" y="20"/>
                    </a:cubicBezTo>
                    <a:cubicBezTo>
                      <a:pt x="34" y="20"/>
                      <a:pt x="28" y="22"/>
                      <a:pt x="22" y="27"/>
                    </a:cubicBezTo>
                    <a:cubicBezTo>
                      <a:pt x="22" y="27"/>
                      <a:pt x="22" y="57"/>
                      <a:pt x="22" y="74"/>
                    </a:cubicBezTo>
                    <a:cubicBezTo>
                      <a:pt x="22" y="91"/>
                      <a:pt x="0" y="90"/>
                      <a:pt x="0" y="90"/>
                    </a:cubicBezTo>
                    <a:cubicBezTo>
                      <a:pt x="0" y="2"/>
                      <a:pt x="0" y="2"/>
                      <a:pt x="0" y="2"/>
                    </a:cubicBezTo>
                    <a:cubicBezTo>
                      <a:pt x="18" y="2"/>
                      <a:pt x="18" y="2"/>
                      <a:pt x="18"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3" name="Freeform 12"/>
              <p:cNvSpPr>
                <a:spLocks/>
              </p:cNvSpPr>
              <p:nvPr userDrawn="1"/>
            </p:nvSpPr>
            <p:spPr bwMode="auto">
              <a:xfrm>
                <a:off x="7907980" y="4892699"/>
                <a:ext cx="98605" cy="95129"/>
              </a:xfrm>
              <a:custGeom>
                <a:avLst/>
                <a:gdLst>
                  <a:gd name="T0" fmla="*/ 106 w 130"/>
                  <a:gd name="T1" fmla="*/ 131 h 131"/>
                  <a:gd name="T2" fmla="*/ 106 w 130"/>
                  <a:gd name="T3" fmla="*/ 53 h 131"/>
                  <a:gd name="T4" fmla="*/ 107 w 130"/>
                  <a:gd name="T5" fmla="*/ 39 h 131"/>
                  <a:gd name="T6" fmla="*/ 106 w 130"/>
                  <a:gd name="T7" fmla="*/ 39 h 131"/>
                  <a:gd name="T8" fmla="*/ 99 w 130"/>
                  <a:gd name="T9" fmla="*/ 52 h 131"/>
                  <a:gd name="T10" fmla="*/ 72 w 130"/>
                  <a:gd name="T11" fmla="*/ 93 h 131"/>
                  <a:gd name="T12" fmla="*/ 60 w 130"/>
                  <a:gd name="T13" fmla="*/ 93 h 131"/>
                  <a:gd name="T14" fmla="*/ 32 w 130"/>
                  <a:gd name="T15" fmla="*/ 51 h 131"/>
                  <a:gd name="T16" fmla="*/ 24 w 130"/>
                  <a:gd name="T17" fmla="*/ 39 h 131"/>
                  <a:gd name="T18" fmla="*/ 23 w 130"/>
                  <a:gd name="T19" fmla="*/ 39 h 131"/>
                  <a:gd name="T20" fmla="*/ 24 w 130"/>
                  <a:gd name="T21" fmla="*/ 52 h 131"/>
                  <a:gd name="T22" fmla="*/ 24 w 130"/>
                  <a:gd name="T23" fmla="*/ 131 h 131"/>
                  <a:gd name="T24" fmla="*/ 0 w 130"/>
                  <a:gd name="T25" fmla="*/ 131 h 131"/>
                  <a:gd name="T26" fmla="*/ 0 w 130"/>
                  <a:gd name="T27" fmla="*/ 0 h 131"/>
                  <a:gd name="T28" fmla="*/ 22 w 130"/>
                  <a:gd name="T29" fmla="*/ 0 h 131"/>
                  <a:gd name="T30" fmla="*/ 58 w 130"/>
                  <a:gd name="T31" fmla="*/ 52 h 131"/>
                  <a:gd name="T32" fmla="*/ 66 w 130"/>
                  <a:gd name="T33" fmla="*/ 66 h 131"/>
                  <a:gd name="T34" fmla="*/ 67 w 130"/>
                  <a:gd name="T35" fmla="*/ 66 h 131"/>
                  <a:gd name="T36" fmla="*/ 75 w 130"/>
                  <a:gd name="T37" fmla="*/ 52 h 131"/>
                  <a:gd name="T38" fmla="*/ 108 w 130"/>
                  <a:gd name="T39" fmla="*/ 0 h 131"/>
                  <a:gd name="T40" fmla="*/ 130 w 130"/>
                  <a:gd name="T41" fmla="*/ 0 h 131"/>
                  <a:gd name="T42" fmla="*/ 130 w 130"/>
                  <a:gd name="T43" fmla="*/ 131 h 131"/>
                  <a:gd name="T44" fmla="*/ 106 w 130"/>
                  <a:gd name="T45"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0" h="131">
                    <a:moveTo>
                      <a:pt x="106" y="131"/>
                    </a:moveTo>
                    <a:cubicBezTo>
                      <a:pt x="106" y="53"/>
                      <a:pt x="106" y="53"/>
                      <a:pt x="106" y="53"/>
                    </a:cubicBezTo>
                    <a:cubicBezTo>
                      <a:pt x="106" y="48"/>
                      <a:pt x="106" y="44"/>
                      <a:pt x="107" y="39"/>
                    </a:cubicBezTo>
                    <a:cubicBezTo>
                      <a:pt x="106" y="39"/>
                      <a:pt x="106" y="39"/>
                      <a:pt x="106" y="39"/>
                    </a:cubicBezTo>
                    <a:cubicBezTo>
                      <a:pt x="105" y="43"/>
                      <a:pt x="101" y="49"/>
                      <a:pt x="99" y="52"/>
                    </a:cubicBezTo>
                    <a:cubicBezTo>
                      <a:pt x="72" y="93"/>
                      <a:pt x="72" y="93"/>
                      <a:pt x="72" y="93"/>
                    </a:cubicBezTo>
                    <a:cubicBezTo>
                      <a:pt x="60" y="93"/>
                      <a:pt x="60" y="93"/>
                      <a:pt x="60" y="93"/>
                    </a:cubicBezTo>
                    <a:cubicBezTo>
                      <a:pt x="32" y="51"/>
                      <a:pt x="32" y="51"/>
                      <a:pt x="32" y="51"/>
                    </a:cubicBezTo>
                    <a:cubicBezTo>
                      <a:pt x="29" y="48"/>
                      <a:pt x="26" y="44"/>
                      <a:pt x="24" y="39"/>
                    </a:cubicBezTo>
                    <a:cubicBezTo>
                      <a:pt x="23" y="39"/>
                      <a:pt x="23" y="39"/>
                      <a:pt x="23" y="39"/>
                    </a:cubicBezTo>
                    <a:cubicBezTo>
                      <a:pt x="24" y="44"/>
                      <a:pt x="24" y="48"/>
                      <a:pt x="24" y="52"/>
                    </a:cubicBezTo>
                    <a:cubicBezTo>
                      <a:pt x="24" y="131"/>
                      <a:pt x="24" y="131"/>
                      <a:pt x="24" y="131"/>
                    </a:cubicBezTo>
                    <a:cubicBezTo>
                      <a:pt x="0" y="131"/>
                      <a:pt x="0" y="131"/>
                      <a:pt x="0" y="131"/>
                    </a:cubicBezTo>
                    <a:cubicBezTo>
                      <a:pt x="0" y="0"/>
                      <a:pt x="0" y="0"/>
                      <a:pt x="0" y="0"/>
                    </a:cubicBezTo>
                    <a:cubicBezTo>
                      <a:pt x="22" y="0"/>
                      <a:pt x="22" y="0"/>
                      <a:pt x="22" y="0"/>
                    </a:cubicBezTo>
                    <a:cubicBezTo>
                      <a:pt x="58" y="52"/>
                      <a:pt x="58" y="52"/>
                      <a:pt x="58" y="52"/>
                    </a:cubicBezTo>
                    <a:cubicBezTo>
                      <a:pt x="61" y="57"/>
                      <a:pt x="64" y="61"/>
                      <a:pt x="66" y="66"/>
                    </a:cubicBezTo>
                    <a:cubicBezTo>
                      <a:pt x="67" y="66"/>
                      <a:pt x="67" y="66"/>
                      <a:pt x="67" y="66"/>
                    </a:cubicBezTo>
                    <a:cubicBezTo>
                      <a:pt x="69" y="61"/>
                      <a:pt x="71" y="57"/>
                      <a:pt x="75" y="52"/>
                    </a:cubicBezTo>
                    <a:cubicBezTo>
                      <a:pt x="108" y="0"/>
                      <a:pt x="108" y="0"/>
                      <a:pt x="108" y="0"/>
                    </a:cubicBezTo>
                    <a:cubicBezTo>
                      <a:pt x="130" y="0"/>
                      <a:pt x="130" y="0"/>
                      <a:pt x="130" y="0"/>
                    </a:cubicBezTo>
                    <a:cubicBezTo>
                      <a:pt x="130" y="131"/>
                      <a:pt x="130" y="131"/>
                      <a:pt x="130" y="131"/>
                    </a:cubicBezTo>
                    <a:lnTo>
                      <a:pt x="106" y="131"/>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4" name="Freeform 13"/>
              <p:cNvSpPr>
                <a:spLocks/>
              </p:cNvSpPr>
              <p:nvPr userDrawn="1"/>
            </p:nvSpPr>
            <p:spPr bwMode="auto">
              <a:xfrm>
                <a:off x="7665803" y="4864376"/>
                <a:ext cx="100854" cy="148389"/>
              </a:xfrm>
              <a:custGeom>
                <a:avLst/>
                <a:gdLst>
                  <a:gd name="T0" fmla="*/ 133 w 133"/>
                  <a:gd name="T1" fmla="*/ 23 h 204"/>
                  <a:gd name="T2" fmla="*/ 132 w 133"/>
                  <a:gd name="T3" fmla="*/ 22 h 204"/>
                  <a:gd name="T4" fmla="*/ 65 w 133"/>
                  <a:gd name="T5" fmla="*/ 20 h 204"/>
                  <a:gd name="T6" fmla="*/ 52 w 133"/>
                  <a:gd name="T7" fmla="*/ 52 h 204"/>
                  <a:gd name="T8" fmla="*/ 20 w 133"/>
                  <a:gd name="T9" fmla="*/ 65 h 204"/>
                  <a:gd name="T10" fmla="*/ 22 w 133"/>
                  <a:gd name="T11" fmla="*/ 132 h 204"/>
                  <a:gd name="T12" fmla="*/ 95 w 133"/>
                  <a:gd name="T13" fmla="*/ 204 h 204"/>
                  <a:gd name="T14" fmla="*/ 117 w 133"/>
                  <a:gd name="T15" fmla="*/ 182 h 204"/>
                  <a:gd name="T16" fmla="*/ 44 w 133"/>
                  <a:gd name="T17" fmla="*/ 110 h 204"/>
                  <a:gd name="T18" fmla="*/ 42 w 133"/>
                  <a:gd name="T19" fmla="*/ 86 h 204"/>
                  <a:gd name="T20" fmla="*/ 66 w 133"/>
                  <a:gd name="T21" fmla="*/ 88 h 204"/>
                  <a:gd name="T22" fmla="*/ 133 w 133"/>
                  <a:gd name="T23" fmla="*/ 155 h 204"/>
                  <a:gd name="T24" fmla="*/ 133 w 133"/>
                  <a:gd name="T25" fmla="*/ 111 h 204"/>
                  <a:gd name="T26" fmla="*/ 88 w 133"/>
                  <a:gd name="T27" fmla="*/ 66 h 204"/>
                  <a:gd name="T28" fmla="*/ 86 w 133"/>
                  <a:gd name="T29" fmla="*/ 42 h 204"/>
                  <a:gd name="T30" fmla="*/ 110 w 133"/>
                  <a:gd name="T31" fmla="*/ 44 h 204"/>
                  <a:gd name="T32" fmla="*/ 133 w 133"/>
                  <a:gd name="T33" fmla="*/ 66 h 204"/>
                  <a:gd name="T34" fmla="*/ 133 w 133"/>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204">
                    <a:moveTo>
                      <a:pt x="133" y="23"/>
                    </a:moveTo>
                    <a:cubicBezTo>
                      <a:pt x="132" y="22"/>
                      <a:pt x="132" y="22"/>
                      <a:pt x="132" y="22"/>
                    </a:cubicBezTo>
                    <a:cubicBezTo>
                      <a:pt x="110" y="0"/>
                      <a:pt x="82" y="2"/>
                      <a:pt x="65" y="20"/>
                    </a:cubicBezTo>
                    <a:cubicBezTo>
                      <a:pt x="53" y="32"/>
                      <a:pt x="51" y="46"/>
                      <a:pt x="52" y="52"/>
                    </a:cubicBezTo>
                    <a:cubicBezTo>
                      <a:pt x="47" y="51"/>
                      <a:pt x="32" y="52"/>
                      <a:pt x="20" y="65"/>
                    </a:cubicBezTo>
                    <a:cubicBezTo>
                      <a:pt x="3" y="82"/>
                      <a:pt x="0" y="110"/>
                      <a:pt x="22" y="132"/>
                    </a:cubicBezTo>
                    <a:cubicBezTo>
                      <a:pt x="95" y="204"/>
                      <a:pt x="95" y="204"/>
                      <a:pt x="95" y="204"/>
                    </a:cubicBezTo>
                    <a:cubicBezTo>
                      <a:pt x="117" y="182"/>
                      <a:pt x="117" y="182"/>
                      <a:pt x="117" y="182"/>
                    </a:cubicBezTo>
                    <a:cubicBezTo>
                      <a:pt x="44" y="110"/>
                      <a:pt x="44" y="110"/>
                      <a:pt x="44" y="110"/>
                    </a:cubicBezTo>
                    <a:cubicBezTo>
                      <a:pt x="35" y="101"/>
                      <a:pt x="36" y="91"/>
                      <a:pt x="42" y="86"/>
                    </a:cubicBezTo>
                    <a:cubicBezTo>
                      <a:pt x="47" y="80"/>
                      <a:pt x="58" y="79"/>
                      <a:pt x="66" y="88"/>
                    </a:cubicBezTo>
                    <a:cubicBezTo>
                      <a:pt x="133" y="155"/>
                      <a:pt x="133" y="155"/>
                      <a:pt x="133" y="155"/>
                    </a:cubicBezTo>
                    <a:cubicBezTo>
                      <a:pt x="133" y="111"/>
                      <a:pt x="133" y="111"/>
                      <a:pt x="133" y="111"/>
                    </a:cubicBezTo>
                    <a:cubicBezTo>
                      <a:pt x="88" y="66"/>
                      <a:pt x="88" y="66"/>
                      <a:pt x="88" y="66"/>
                    </a:cubicBezTo>
                    <a:cubicBezTo>
                      <a:pt x="80" y="57"/>
                      <a:pt x="80" y="47"/>
                      <a:pt x="86" y="42"/>
                    </a:cubicBezTo>
                    <a:cubicBezTo>
                      <a:pt x="92" y="36"/>
                      <a:pt x="102" y="35"/>
                      <a:pt x="110" y="44"/>
                    </a:cubicBezTo>
                    <a:cubicBezTo>
                      <a:pt x="133" y="66"/>
                      <a:pt x="133" y="66"/>
                      <a:pt x="133" y="66"/>
                    </a:cubicBezTo>
                    <a:lnTo>
                      <a:pt x="133"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5" name="Freeform 14"/>
              <p:cNvSpPr>
                <a:spLocks noEditPoints="1"/>
              </p:cNvSpPr>
              <p:nvPr userDrawn="1"/>
            </p:nvSpPr>
            <p:spPr bwMode="auto">
              <a:xfrm>
                <a:off x="8023287" y="4895470"/>
                <a:ext cx="20556" cy="93282"/>
              </a:xfrm>
              <a:custGeom>
                <a:avLst/>
                <a:gdLst>
                  <a:gd name="T0" fmla="*/ 14 w 27"/>
                  <a:gd name="T1" fmla="*/ 26 h 128"/>
                  <a:gd name="T2" fmla="*/ 0 w 27"/>
                  <a:gd name="T3" fmla="*/ 13 h 128"/>
                  <a:gd name="T4" fmla="*/ 14 w 27"/>
                  <a:gd name="T5" fmla="*/ 0 h 128"/>
                  <a:gd name="T6" fmla="*/ 27 w 27"/>
                  <a:gd name="T7" fmla="*/ 13 h 128"/>
                  <a:gd name="T8" fmla="*/ 14 w 27"/>
                  <a:gd name="T9" fmla="*/ 26 h 128"/>
                  <a:gd name="T10" fmla="*/ 3 w 27"/>
                  <a:gd name="T11" fmla="*/ 128 h 128"/>
                  <a:gd name="T12" fmla="*/ 3 w 27"/>
                  <a:gd name="T13" fmla="*/ 40 h 128"/>
                  <a:gd name="T14" fmla="*/ 25 w 27"/>
                  <a:gd name="T15" fmla="*/ 40 h 128"/>
                  <a:gd name="T16" fmla="*/ 25 w 27"/>
                  <a:gd name="T17" fmla="*/ 112 h 128"/>
                  <a:gd name="T18" fmla="*/ 3 w 27"/>
                  <a:gd name="T1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128">
                    <a:moveTo>
                      <a:pt x="14" y="26"/>
                    </a:moveTo>
                    <a:cubicBezTo>
                      <a:pt x="6" y="26"/>
                      <a:pt x="0" y="20"/>
                      <a:pt x="0" y="13"/>
                    </a:cubicBezTo>
                    <a:cubicBezTo>
                      <a:pt x="0" y="6"/>
                      <a:pt x="6" y="0"/>
                      <a:pt x="14" y="0"/>
                    </a:cubicBezTo>
                    <a:cubicBezTo>
                      <a:pt x="21" y="0"/>
                      <a:pt x="27" y="5"/>
                      <a:pt x="27" y="13"/>
                    </a:cubicBezTo>
                    <a:cubicBezTo>
                      <a:pt x="27" y="20"/>
                      <a:pt x="21" y="26"/>
                      <a:pt x="14" y="26"/>
                    </a:cubicBezTo>
                    <a:close/>
                    <a:moveTo>
                      <a:pt x="3" y="128"/>
                    </a:moveTo>
                    <a:cubicBezTo>
                      <a:pt x="3" y="40"/>
                      <a:pt x="3" y="40"/>
                      <a:pt x="3" y="40"/>
                    </a:cubicBezTo>
                    <a:cubicBezTo>
                      <a:pt x="25" y="40"/>
                      <a:pt x="25" y="40"/>
                      <a:pt x="25" y="40"/>
                    </a:cubicBezTo>
                    <a:cubicBezTo>
                      <a:pt x="25" y="40"/>
                      <a:pt x="25" y="95"/>
                      <a:pt x="25" y="112"/>
                    </a:cubicBezTo>
                    <a:cubicBezTo>
                      <a:pt x="25" y="128"/>
                      <a:pt x="3" y="128"/>
                      <a:pt x="3" y="1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6" name="Freeform 15"/>
              <p:cNvSpPr>
                <a:spLocks/>
              </p:cNvSpPr>
              <p:nvPr userDrawn="1"/>
            </p:nvSpPr>
            <p:spPr bwMode="auto">
              <a:xfrm>
                <a:off x="8615239" y="4924717"/>
                <a:ext cx="103744" cy="66806"/>
              </a:xfrm>
              <a:custGeom>
                <a:avLst/>
                <a:gdLst>
                  <a:gd name="T0" fmla="*/ 111 w 137"/>
                  <a:gd name="T1" fmla="*/ 72 h 92"/>
                  <a:gd name="T2" fmla="*/ 88 w 137"/>
                  <a:gd name="T3" fmla="*/ 88 h 92"/>
                  <a:gd name="T4" fmla="*/ 68 w 137"/>
                  <a:gd name="T5" fmla="*/ 28 h 92"/>
                  <a:gd name="T6" fmla="*/ 68 w 137"/>
                  <a:gd name="T7" fmla="*/ 28 h 92"/>
                  <a:gd name="T8" fmla="*/ 53 w 137"/>
                  <a:gd name="T9" fmla="*/ 72 h 92"/>
                  <a:gd name="T10" fmla="*/ 31 w 137"/>
                  <a:gd name="T11" fmla="*/ 88 h 92"/>
                  <a:gd name="T12" fmla="*/ 0 w 137"/>
                  <a:gd name="T13" fmla="*/ 0 h 92"/>
                  <a:gd name="T14" fmla="*/ 22 w 137"/>
                  <a:gd name="T15" fmla="*/ 0 h 92"/>
                  <a:gd name="T16" fmla="*/ 41 w 137"/>
                  <a:gd name="T17" fmla="*/ 60 h 92"/>
                  <a:gd name="T18" fmla="*/ 41 w 137"/>
                  <a:gd name="T19" fmla="*/ 60 h 92"/>
                  <a:gd name="T20" fmla="*/ 60 w 137"/>
                  <a:gd name="T21" fmla="*/ 0 h 92"/>
                  <a:gd name="T22" fmla="*/ 77 w 137"/>
                  <a:gd name="T23" fmla="*/ 0 h 92"/>
                  <a:gd name="T24" fmla="*/ 97 w 137"/>
                  <a:gd name="T25" fmla="*/ 60 h 92"/>
                  <a:gd name="T26" fmla="*/ 97 w 137"/>
                  <a:gd name="T27" fmla="*/ 60 h 92"/>
                  <a:gd name="T28" fmla="*/ 115 w 137"/>
                  <a:gd name="T29" fmla="*/ 0 h 92"/>
                  <a:gd name="T30" fmla="*/ 137 w 137"/>
                  <a:gd name="T31" fmla="*/ 0 h 92"/>
                  <a:gd name="T32" fmla="*/ 111 w 137"/>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 h="92">
                    <a:moveTo>
                      <a:pt x="111" y="72"/>
                    </a:moveTo>
                    <a:cubicBezTo>
                      <a:pt x="104" y="92"/>
                      <a:pt x="88" y="88"/>
                      <a:pt x="88" y="88"/>
                    </a:cubicBezTo>
                    <a:cubicBezTo>
                      <a:pt x="68" y="28"/>
                      <a:pt x="68" y="28"/>
                      <a:pt x="68" y="28"/>
                    </a:cubicBezTo>
                    <a:cubicBezTo>
                      <a:pt x="68" y="28"/>
                      <a:pt x="68" y="28"/>
                      <a:pt x="68" y="28"/>
                    </a:cubicBezTo>
                    <a:cubicBezTo>
                      <a:pt x="68" y="28"/>
                      <a:pt x="59"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7" y="60"/>
                      <a:pt x="97" y="60"/>
                      <a:pt x="97" y="60"/>
                    </a:cubicBezTo>
                    <a:cubicBezTo>
                      <a:pt x="97" y="60"/>
                      <a:pt x="97" y="60"/>
                      <a:pt x="97" y="60"/>
                    </a:cubicBezTo>
                    <a:cubicBezTo>
                      <a:pt x="115" y="0"/>
                      <a:pt x="115" y="0"/>
                      <a:pt x="115" y="0"/>
                    </a:cubicBezTo>
                    <a:cubicBezTo>
                      <a:pt x="137" y="0"/>
                      <a:pt x="137" y="0"/>
                      <a:pt x="137" y="0"/>
                    </a:cubicBezTo>
                    <a:cubicBezTo>
                      <a:pt x="137"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7" name="Freeform 16"/>
              <p:cNvSpPr>
                <a:spLocks noEditPoints="1"/>
              </p:cNvSpPr>
              <p:nvPr userDrawn="1"/>
            </p:nvSpPr>
            <p:spPr bwMode="auto">
              <a:xfrm>
                <a:off x="8423168" y="4892699"/>
                <a:ext cx="65844" cy="95129"/>
              </a:xfrm>
              <a:custGeom>
                <a:avLst/>
                <a:gdLst>
                  <a:gd name="T0" fmla="*/ 1 w 87"/>
                  <a:gd name="T1" fmla="*/ 0 h 131"/>
                  <a:gd name="T2" fmla="*/ 0 w 87"/>
                  <a:gd name="T3" fmla="*/ 131 h 131"/>
                  <a:gd name="T4" fmla="*/ 41 w 87"/>
                  <a:gd name="T5" fmla="*/ 131 h 131"/>
                  <a:gd name="T6" fmla="*/ 87 w 87"/>
                  <a:gd name="T7" fmla="*/ 92 h 131"/>
                  <a:gd name="T8" fmla="*/ 65 w 87"/>
                  <a:gd name="T9" fmla="*/ 61 h 131"/>
                  <a:gd name="T10" fmla="*/ 62 w 87"/>
                  <a:gd name="T11" fmla="*/ 60 h 131"/>
                  <a:gd name="T12" fmla="*/ 64 w 87"/>
                  <a:gd name="T13" fmla="*/ 59 h 131"/>
                  <a:gd name="T14" fmla="*/ 79 w 87"/>
                  <a:gd name="T15" fmla="*/ 32 h 131"/>
                  <a:gd name="T16" fmla="*/ 42 w 87"/>
                  <a:gd name="T17" fmla="*/ 0 h 131"/>
                  <a:gd name="T18" fmla="*/ 1 w 87"/>
                  <a:gd name="T19" fmla="*/ 0 h 131"/>
                  <a:gd name="T20" fmla="*/ 23 w 87"/>
                  <a:gd name="T21" fmla="*/ 17 h 131"/>
                  <a:gd name="T22" fmla="*/ 36 w 87"/>
                  <a:gd name="T23" fmla="*/ 17 h 131"/>
                  <a:gd name="T24" fmla="*/ 56 w 87"/>
                  <a:gd name="T25" fmla="*/ 35 h 131"/>
                  <a:gd name="T26" fmla="*/ 38 w 87"/>
                  <a:gd name="T27" fmla="*/ 55 h 131"/>
                  <a:gd name="T28" fmla="*/ 22 w 87"/>
                  <a:gd name="T29" fmla="*/ 55 h 131"/>
                  <a:gd name="T30" fmla="*/ 23 w 87"/>
                  <a:gd name="T31" fmla="*/ 17 h 131"/>
                  <a:gd name="T32" fmla="*/ 22 w 87"/>
                  <a:gd name="T33" fmla="*/ 74 h 131"/>
                  <a:gd name="T34" fmla="*/ 40 w 87"/>
                  <a:gd name="T35" fmla="*/ 74 h 131"/>
                  <a:gd name="T36" fmla="*/ 64 w 87"/>
                  <a:gd name="T37" fmla="*/ 92 h 131"/>
                  <a:gd name="T38" fmla="*/ 39 w 87"/>
                  <a:gd name="T39" fmla="*/ 113 h 131"/>
                  <a:gd name="T40" fmla="*/ 22 w 87"/>
                  <a:gd name="T41" fmla="*/ 113 h 131"/>
                  <a:gd name="T42" fmla="*/ 22 w 87"/>
                  <a:gd name="T43" fmla="*/ 7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131">
                    <a:moveTo>
                      <a:pt x="1" y="0"/>
                    </a:moveTo>
                    <a:cubicBezTo>
                      <a:pt x="1" y="3"/>
                      <a:pt x="0" y="129"/>
                      <a:pt x="0" y="131"/>
                    </a:cubicBezTo>
                    <a:cubicBezTo>
                      <a:pt x="2" y="131"/>
                      <a:pt x="41" y="131"/>
                      <a:pt x="41" y="131"/>
                    </a:cubicBezTo>
                    <a:cubicBezTo>
                      <a:pt x="73" y="131"/>
                      <a:pt x="87" y="111"/>
                      <a:pt x="87" y="92"/>
                    </a:cubicBezTo>
                    <a:cubicBezTo>
                      <a:pt x="87" y="77"/>
                      <a:pt x="79" y="65"/>
                      <a:pt x="65" y="61"/>
                    </a:cubicBezTo>
                    <a:cubicBezTo>
                      <a:pt x="62" y="60"/>
                      <a:pt x="62" y="60"/>
                      <a:pt x="62" y="60"/>
                    </a:cubicBezTo>
                    <a:cubicBezTo>
                      <a:pt x="64" y="59"/>
                      <a:pt x="64" y="59"/>
                      <a:pt x="64" y="59"/>
                    </a:cubicBezTo>
                    <a:cubicBezTo>
                      <a:pt x="74" y="54"/>
                      <a:pt x="79" y="44"/>
                      <a:pt x="79" y="32"/>
                    </a:cubicBezTo>
                    <a:cubicBezTo>
                      <a:pt x="79" y="17"/>
                      <a:pt x="68" y="0"/>
                      <a:pt x="42" y="0"/>
                    </a:cubicBezTo>
                    <a:cubicBezTo>
                      <a:pt x="42" y="0"/>
                      <a:pt x="3" y="0"/>
                      <a:pt x="1" y="0"/>
                    </a:cubicBezTo>
                    <a:close/>
                    <a:moveTo>
                      <a:pt x="23" y="17"/>
                    </a:moveTo>
                    <a:cubicBezTo>
                      <a:pt x="36" y="17"/>
                      <a:pt x="36" y="17"/>
                      <a:pt x="36" y="17"/>
                    </a:cubicBezTo>
                    <a:cubicBezTo>
                      <a:pt x="49" y="17"/>
                      <a:pt x="56" y="24"/>
                      <a:pt x="56" y="35"/>
                    </a:cubicBezTo>
                    <a:cubicBezTo>
                      <a:pt x="56" y="47"/>
                      <a:pt x="47" y="55"/>
                      <a:pt x="38" y="55"/>
                    </a:cubicBezTo>
                    <a:cubicBezTo>
                      <a:pt x="22" y="55"/>
                      <a:pt x="22" y="55"/>
                      <a:pt x="22" y="55"/>
                    </a:cubicBezTo>
                    <a:lnTo>
                      <a:pt x="23" y="17"/>
                    </a:lnTo>
                    <a:close/>
                    <a:moveTo>
                      <a:pt x="22" y="74"/>
                    </a:moveTo>
                    <a:cubicBezTo>
                      <a:pt x="40" y="74"/>
                      <a:pt x="40" y="74"/>
                      <a:pt x="40" y="74"/>
                    </a:cubicBezTo>
                    <a:cubicBezTo>
                      <a:pt x="55" y="74"/>
                      <a:pt x="64" y="81"/>
                      <a:pt x="64" y="92"/>
                    </a:cubicBezTo>
                    <a:cubicBezTo>
                      <a:pt x="64" y="105"/>
                      <a:pt x="55" y="113"/>
                      <a:pt x="39" y="113"/>
                    </a:cubicBezTo>
                    <a:cubicBezTo>
                      <a:pt x="22" y="113"/>
                      <a:pt x="22" y="113"/>
                      <a:pt x="22" y="113"/>
                    </a:cubicBezTo>
                    <a:lnTo>
                      <a:pt x="22" y="74"/>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8" name="Freeform 17"/>
              <p:cNvSpPr>
                <a:spLocks noEditPoints="1"/>
              </p:cNvSpPr>
              <p:nvPr userDrawn="1"/>
            </p:nvSpPr>
            <p:spPr bwMode="auto">
              <a:xfrm>
                <a:off x="8546184" y="4923177"/>
                <a:ext cx="66486" cy="66190"/>
              </a:xfrm>
              <a:custGeom>
                <a:avLst/>
                <a:gdLst>
                  <a:gd name="T0" fmla="*/ 75 w 88"/>
                  <a:gd name="T1" fmla="*/ 78 h 91"/>
                  <a:gd name="T2" fmla="*/ 44 w 88"/>
                  <a:gd name="T3" fmla="*/ 91 h 91"/>
                  <a:gd name="T4" fmla="*/ 14 w 88"/>
                  <a:gd name="T5" fmla="*/ 80 h 91"/>
                  <a:gd name="T6" fmla="*/ 0 w 88"/>
                  <a:gd name="T7" fmla="*/ 46 h 91"/>
                  <a:gd name="T8" fmla="*/ 13 w 88"/>
                  <a:gd name="T9" fmla="*/ 12 h 91"/>
                  <a:gd name="T10" fmla="*/ 44 w 88"/>
                  <a:gd name="T11" fmla="*/ 0 h 91"/>
                  <a:gd name="T12" fmla="*/ 76 w 88"/>
                  <a:gd name="T13" fmla="*/ 12 h 91"/>
                  <a:gd name="T14" fmla="*/ 88 w 88"/>
                  <a:gd name="T15" fmla="*/ 45 h 91"/>
                  <a:gd name="T16" fmla="*/ 75 w 88"/>
                  <a:gd name="T17" fmla="*/ 78 h 91"/>
                  <a:gd name="T18" fmla="*/ 44 w 88"/>
                  <a:gd name="T19" fmla="*/ 17 h 91"/>
                  <a:gd name="T20" fmla="*/ 23 w 88"/>
                  <a:gd name="T21" fmla="*/ 45 h 91"/>
                  <a:gd name="T22" fmla="*/ 44 w 88"/>
                  <a:gd name="T23" fmla="*/ 73 h 91"/>
                  <a:gd name="T24" fmla="*/ 65 w 88"/>
                  <a:gd name="T25" fmla="*/ 45 h 91"/>
                  <a:gd name="T26" fmla="*/ 44 w 88"/>
                  <a:gd name="T27"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91">
                    <a:moveTo>
                      <a:pt x="75" y="78"/>
                    </a:moveTo>
                    <a:cubicBezTo>
                      <a:pt x="68" y="86"/>
                      <a:pt x="57" y="91"/>
                      <a:pt x="44" y="91"/>
                    </a:cubicBezTo>
                    <a:cubicBezTo>
                      <a:pt x="32" y="91"/>
                      <a:pt x="21" y="87"/>
                      <a:pt x="14" y="80"/>
                    </a:cubicBezTo>
                    <a:cubicBezTo>
                      <a:pt x="5" y="72"/>
                      <a:pt x="0" y="60"/>
                      <a:pt x="0" y="46"/>
                    </a:cubicBezTo>
                    <a:cubicBezTo>
                      <a:pt x="0" y="32"/>
                      <a:pt x="5" y="20"/>
                      <a:pt x="13" y="12"/>
                    </a:cubicBezTo>
                    <a:cubicBezTo>
                      <a:pt x="21" y="4"/>
                      <a:pt x="31" y="0"/>
                      <a:pt x="44" y="0"/>
                    </a:cubicBezTo>
                    <a:cubicBezTo>
                      <a:pt x="57" y="0"/>
                      <a:pt x="68" y="4"/>
                      <a:pt x="76" y="12"/>
                    </a:cubicBezTo>
                    <a:cubicBezTo>
                      <a:pt x="84" y="20"/>
                      <a:pt x="88" y="32"/>
                      <a:pt x="88" y="45"/>
                    </a:cubicBezTo>
                    <a:cubicBezTo>
                      <a:pt x="88" y="58"/>
                      <a:pt x="83" y="70"/>
                      <a:pt x="75" y="78"/>
                    </a:cubicBezTo>
                    <a:close/>
                    <a:moveTo>
                      <a:pt x="44" y="17"/>
                    </a:moveTo>
                    <a:cubicBezTo>
                      <a:pt x="30" y="17"/>
                      <a:pt x="23" y="29"/>
                      <a:pt x="23" y="45"/>
                    </a:cubicBezTo>
                    <a:cubicBezTo>
                      <a:pt x="23" y="62"/>
                      <a:pt x="31" y="73"/>
                      <a:pt x="44" y="73"/>
                    </a:cubicBezTo>
                    <a:cubicBezTo>
                      <a:pt x="58" y="73"/>
                      <a:pt x="65" y="61"/>
                      <a:pt x="65" y="45"/>
                    </a:cubicBezTo>
                    <a:cubicBezTo>
                      <a:pt x="65" y="28"/>
                      <a:pt x="57" y="17"/>
                      <a:pt x="44" y="1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9" name="Freeform 18"/>
              <p:cNvSpPr>
                <a:spLocks/>
              </p:cNvSpPr>
              <p:nvPr userDrawn="1"/>
            </p:nvSpPr>
            <p:spPr bwMode="auto">
              <a:xfrm>
                <a:off x="8728298" y="4923177"/>
                <a:ext cx="60705" cy="65574"/>
              </a:xfrm>
              <a:custGeom>
                <a:avLst/>
                <a:gdLst>
                  <a:gd name="T0" fmla="*/ 58 w 80"/>
                  <a:gd name="T1" fmla="*/ 90 h 90"/>
                  <a:gd name="T2" fmla="*/ 58 w 80"/>
                  <a:gd name="T3" fmla="*/ 38 h 90"/>
                  <a:gd name="T4" fmla="*/ 45 w 80"/>
                  <a:gd name="T5" fmla="*/ 19 h 90"/>
                  <a:gd name="T6" fmla="*/ 23 w 80"/>
                  <a:gd name="T7" fmla="*/ 28 h 90"/>
                  <a:gd name="T8" fmla="*/ 23 w 80"/>
                  <a:gd name="T9" fmla="*/ 74 h 90"/>
                  <a:gd name="T10" fmla="*/ 0 w 80"/>
                  <a:gd name="T11" fmla="*/ 90 h 90"/>
                  <a:gd name="T12" fmla="*/ 0 w 80"/>
                  <a:gd name="T13" fmla="*/ 2 h 90"/>
                  <a:gd name="T14" fmla="*/ 19 w 80"/>
                  <a:gd name="T15" fmla="*/ 2 h 90"/>
                  <a:gd name="T16" fmla="*/ 22 w 80"/>
                  <a:gd name="T17" fmla="*/ 11 h 90"/>
                  <a:gd name="T18" fmla="*/ 52 w 80"/>
                  <a:gd name="T19" fmla="*/ 0 h 90"/>
                  <a:gd name="T20" fmla="*/ 80 w 80"/>
                  <a:gd name="T21" fmla="*/ 31 h 90"/>
                  <a:gd name="T22" fmla="*/ 80 w 80"/>
                  <a:gd name="T23" fmla="*/ 74 h 90"/>
                  <a:gd name="T24" fmla="*/ 58 w 80"/>
                  <a:gd name="T2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90">
                    <a:moveTo>
                      <a:pt x="58" y="90"/>
                    </a:moveTo>
                    <a:cubicBezTo>
                      <a:pt x="58" y="38"/>
                      <a:pt x="58" y="38"/>
                      <a:pt x="58" y="38"/>
                    </a:cubicBezTo>
                    <a:cubicBezTo>
                      <a:pt x="58" y="29"/>
                      <a:pt x="56" y="19"/>
                      <a:pt x="45" y="19"/>
                    </a:cubicBezTo>
                    <a:cubicBezTo>
                      <a:pt x="37" y="19"/>
                      <a:pt x="29" y="23"/>
                      <a:pt x="23" y="28"/>
                    </a:cubicBezTo>
                    <a:cubicBezTo>
                      <a:pt x="23" y="28"/>
                      <a:pt x="23" y="57"/>
                      <a:pt x="23" y="74"/>
                    </a:cubicBezTo>
                    <a:cubicBezTo>
                      <a:pt x="23" y="90"/>
                      <a:pt x="0" y="90"/>
                      <a:pt x="0" y="90"/>
                    </a:cubicBezTo>
                    <a:cubicBezTo>
                      <a:pt x="0" y="2"/>
                      <a:pt x="0" y="2"/>
                      <a:pt x="0" y="2"/>
                    </a:cubicBezTo>
                    <a:cubicBezTo>
                      <a:pt x="19" y="2"/>
                      <a:pt x="19" y="2"/>
                      <a:pt x="19" y="2"/>
                    </a:cubicBezTo>
                    <a:cubicBezTo>
                      <a:pt x="22" y="11"/>
                      <a:pt x="22" y="11"/>
                      <a:pt x="22" y="11"/>
                    </a:cubicBezTo>
                    <a:cubicBezTo>
                      <a:pt x="31" y="4"/>
                      <a:pt x="40" y="0"/>
                      <a:pt x="52" y="0"/>
                    </a:cubicBezTo>
                    <a:cubicBezTo>
                      <a:pt x="65" y="0"/>
                      <a:pt x="80" y="8"/>
                      <a:pt x="80" y="31"/>
                    </a:cubicBezTo>
                    <a:cubicBezTo>
                      <a:pt x="80" y="31"/>
                      <a:pt x="80" y="57"/>
                      <a:pt x="80" y="74"/>
                    </a:cubicBezTo>
                    <a:cubicBezTo>
                      <a:pt x="80" y="90"/>
                      <a:pt x="58" y="90"/>
                      <a:pt x="58" y="9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0" name="Freeform 19"/>
              <p:cNvSpPr>
                <a:spLocks/>
              </p:cNvSpPr>
              <p:nvPr userDrawn="1"/>
            </p:nvSpPr>
            <p:spPr bwMode="auto">
              <a:xfrm>
                <a:off x="8501217" y="4923177"/>
                <a:ext cx="43361" cy="65574"/>
              </a:xfrm>
              <a:custGeom>
                <a:avLst/>
                <a:gdLst>
                  <a:gd name="T0" fmla="*/ 49 w 57"/>
                  <a:gd name="T1" fmla="*/ 22 h 90"/>
                  <a:gd name="T2" fmla="*/ 39 w 57"/>
                  <a:gd name="T3" fmla="*/ 20 h 90"/>
                  <a:gd name="T4" fmla="*/ 22 w 57"/>
                  <a:gd name="T5" fmla="*/ 27 h 90"/>
                  <a:gd name="T6" fmla="*/ 22 w 57"/>
                  <a:gd name="T7" fmla="*/ 74 h 90"/>
                  <a:gd name="T8" fmla="*/ 0 w 57"/>
                  <a:gd name="T9" fmla="*/ 90 h 90"/>
                  <a:gd name="T10" fmla="*/ 0 w 57"/>
                  <a:gd name="T11" fmla="*/ 2 h 90"/>
                  <a:gd name="T12" fmla="*/ 19 w 57"/>
                  <a:gd name="T13" fmla="*/ 2 h 90"/>
                  <a:gd name="T14" fmla="*/ 21 w 57"/>
                  <a:gd name="T15" fmla="*/ 11 h 90"/>
                  <a:gd name="T16" fmla="*/ 45 w 57"/>
                  <a:gd name="T17" fmla="*/ 0 h 90"/>
                  <a:gd name="T18" fmla="*/ 57 w 57"/>
                  <a:gd name="T19" fmla="*/ 4 h 90"/>
                  <a:gd name="T20" fmla="*/ 49 w 57"/>
                  <a:gd name="T21" fmla="*/ 2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0">
                    <a:moveTo>
                      <a:pt x="49" y="22"/>
                    </a:moveTo>
                    <a:cubicBezTo>
                      <a:pt x="46" y="20"/>
                      <a:pt x="42" y="20"/>
                      <a:pt x="39" y="20"/>
                    </a:cubicBezTo>
                    <a:cubicBezTo>
                      <a:pt x="34" y="20"/>
                      <a:pt x="28" y="22"/>
                      <a:pt x="22" y="27"/>
                    </a:cubicBezTo>
                    <a:cubicBezTo>
                      <a:pt x="22" y="27"/>
                      <a:pt x="22" y="57"/>
                      <a:pt x="22" y="74"/>
                    </a:cubicBezTo>
                    <a:cubicBezTo>
                      <a:pt x="22" y="90"/>
                      <a:pt x="0" y="90"/>
                      <a:pt x="0" y="90"/>
                    </a:cubicBezTo>
                    <a:cubicBezTo>
                      <a:pt x="0" y="2"/>
                      <a:pt x="0" y="2"/>
                      <a:pt x="0" y="2"/>
                    </a:cubicBezTo>
                    <a:cubicBezTo>
                      <a:pt x="19" y="2"/>
                      <a:pt x="19" y="2"/>
                      <a:pt x="19"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1" name="Freeform 20"/>
              <p:cNvSpPr>
                <a:spLocks/>
              </p:cNvSpPr>
              <p:nvPr userDrawn="1"/>
            </p:nvSpPr>
            <p:spPr bwMode="auto">
              <a:xfrm>
                <a:off x="7766657" y="4864376"/>
                <a:ext cx="100211" cy="148389"/>
              </a:xfrm>
              <a:custGeom>
                <a:avLst/>
                <a:gdLst>
                  <a:gd name="T0" fmla="*/ 0 w 132"/>
                  <a:gd name="T1" fmla="*/ 23 h 204"/>
                  <a:gd name="T2" fmla="*/ 1 w 132"/>
                  <a:gd name="T3" fmla="*/ 22 h 204"/>
                  <a:gd name="T4" fmla="*/ 67 w 132"/>
                  <a:gd name="T5" fmla="*/ 20 h 204"/>
                  <a:gd name="T6" fmla="*/ 80 w 132"/>
                  <a:gd name="T7" fmla="*/ 52 h 204"/>
                  <a:gd name="T8" fmla="*/ 113 w 132"/>
                  <a:gd name="T9" fmla="*/ 65 h 204"/>
                  <a:gd name="T10" fmla="*/ 111 w 132"/>
                  <a:gd name="T11" fmla="*/ 132 h 204"/>
                  <a:gd name="T12" fmla="*/ 38 w 132"/>
                  <a:gd name="T13" fmla="*/ 204 h 204"/>
                  <a:gd name="T14" fmla="*/ 16 w 132"/>
                  <a:gd name="T15" fmla="*/ 182 h 204"/>
                  <a:gd name="T16" fmla="*/ 88 w 132"/>
                  <a:gd name="T17" fmla="*/ 110 h 204"/>
                  <a:gd name="T18" fmla="*/ 91 w 132"/>
                  <a:gd name="T19" fmla="*/ 86 h 204"/>
                  <a:gd name="T20" fmla="*/ 67 w 132"/>
                  <a:gd name="T21" fmla="*/ 88 h 204"/>
                  <a:gd name="T22" fmla="*/ 0 w 132"/>
                  <a:gd name="T23" fmla="*/ 155 h 204"/>
                  <a:gd name="T24" fmla="*/ 0 w 132"/>
                  <a:gd name="T25" fmla="*/ 111 h 204"/>
                  <a:gd name="T26" fmla="*/ 45 w 132"/>
                  <a:gd name="T27" fmla="*/ 66 h 204"/>
                  <a:gd name="T28" fmla="*/ 46 w 132"/>
                  <a:gd name="T29" fmla="*/ 42 h 204"/>
                  <a:gd name="T30" fmla="*/ 22 w 132"/>
                  <a:gd name="T31" fmla="*/ 44 h 204"/>
                  <a:gd name="T32" fmla="*/ 0 w 132"/>
                  <a:gd name="T33" fmla="*/ 66 h 204"/>
                  <a:gd name="T34" fmla="*/ 0 w 132"/>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204">
                    <a:moveTo>
                      <a:pt x="0" y="23"/>
                    </a:moveTo>
                    <a:cubicBezTo>
                      <a:pt x="1" y="22"/>
                      <a:pt x="1" y="22"/>
                      <a:pt x="1" y="22"/>
                    </a:cubicBezTo>
                    <a:cubicBezTo>
                      <a:pt x="23" y="0"/>
                      <a:pt x="50" y="2"/>
                      <a:pt x="67" y="20"/>
                    </a:cubicBezTo>
                    <a:cubicBezTo>
                      <a:pt x="80" y="32"/>
                      <a:pt x="81" y="46"/>
                      <a:pt x="80" y="52"/>
                    </a:cubicBezTo>
                    <a:cubicBezTo>
                      <a:pt x="86" y="51"/>
                      <a:pt x="100" y="52"/>
                      <a:pt x="113" y="65"/>
                    </a:cubicBezTo>
                    <a:cubicBezTo>
                      <a:pt x="130" y="82"/>
                      <a:pt x="132" y="110"/>
                      <a:pt x="111" y="132"/>
                    </a:cubicBezTo>
                    <a:cubicBezTo>
                      <a:pt x="38" y="204"/>
                      <a:pt x="38" y="204"/>
                      <a:pt x="38" y="204"/>
                    </a:cubicBezTo>
                    <a:cubicBezTo>
                      <a:pt x="16" y="182"/>
                      <a:pt x="16" y="182"/>
                      <a:pt x="16" y="182"/>
                    </a:cubicBezTo>
                    <a:cubicBezTo>
                      <a:pt x="88" y="110"/>
                      <a:pt x="88" y="110"/>
                      <a:pt x="88" y="110"/>
                    </a:cubicBezTo>
                    <a:cubicBezTo>
                      <a:pt x="97" y="101"/>
                      <a:pt x="96" y="91"/>
                      <a:pt x="91" y="86"/>
                    </a:cubicBezTo>
                    <a:cubicBezTo>
                      <a:pt x="85" y="80"/>
                      <a:pt x="75" y="79"/>
                      <a:pt x="67" y="88"/>
                    </a:cubicBezTo>
                    <a:cubicBezTo>
                      <a:pt x="0" y="155"/>
                      <a:pt x="0" y="155"/>
                      <a:pt x="0" y="155"/>
                    </a:cubicBezTo>
                    <a:cubicBezTo>
                      <a:pt x="0" y="111"/>
                      <a:pt x="0" y="111"/>
                      <a:pt x="0" y="111"/>
                    </a:cubicBezTo>
                    <a:cubicBezTo>
                      <a:pt x="45" y="66"/>
                      <a:pt x="45" y="66"/>
                      <a:pt x="45" y="66"/>
                    </a:cubicBezTo>
                    <a:cubicBezTo>
                      <a:pt x="53" y="57"/>
                      <a:pt x="52" y="47"/>
                      <a:pt x="46" y="42"/>
                    </a:cubicBezTo>
                    <a:cubicBezTo>
                      <a:pt x="41" y="36"/>
                      <a:pt x="31" y="35"/>
                      <a:pt x="22" y="44"/>
                    </a:cubicBezTo>
                    <a:cubicBezTo>
                      <a:pt x="0" y="66"/>
                      <a:pt x="0" y="66"/>
                      <a:pt x="0" y="66"/>
                    </a:cubicBezTo>
                    <a:lnTo>
                      <a:pt x="0"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grpSp>
      <p:sp>
        <p:nvSpPr>
          <p:cNvPr id="120"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solidFill>
                  <a:schemeClr val="accent4">
                    <a:lumMod val="50000"/>
                  </a:schemeClr>
                </a:solidFill>
                <a:latin typeface="+mn-lt"/>
              </a:rPr>
              <a:t>Private and Confidental</a:t>
            </a:r>
            <a:endParaRPr lang="pt-BR" sz="500" dirty="0">
              <a:solidFill>
                <a:schemeClr val="accent4">
                  <a:lumMod val="50000"/>
                </a:schemeClr>
              </a:solidFill>
              <a:latin typeface="+mn-lt"/>
            </a:endParaRPr>
          </a:p>
        </p:txBody>
      </p:sp>
    </p:spTree>
    <p:extLst>
      <p:ext uri="{BB962C8B-B14F-4D97-AF65-F5344CB8AC3E}">
        <p14:creationId xmlns:p14="http://schemas.microsoft.com/office/powerpoint/2010/main" val="1621546300"/>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V_A_MB_Slate3">
    <p:bg>
      <p:bgPr>
        <a:solidFill>
          <a:schemeClr val="bg1"/>
        </a:solidFill>
        <a:effectLst/>
      </p:bgPr>
    </p:bg>
    <p:spTree>
      <p:nvGrpSpPr>
        <p:cNvPr id="1" name=""/>
        <p:cNvGrpSpPr/>
        <p:nvPr/>
      </p:nvGrpSpPr>
      <p:grpSpPr>
        <a:xfrm>
          <a:off x="0" y="0"/>
          <a:ext cx="0" cy="0"/>
          <a:chOff x="0" y="0"/>
          <a:chExt cx="0" cy="0"/>
        </a:xfrm>
      </p:grpSpPr>
      <p:sp>
        <p:nvSpPr>
          <p:cNvPr id="31" name="Rectangle 30"/>
          <p:cNvSpPr/>
          <p:nvPr userDrawn="1"/>
        </p:nvSpPr>
        <p:spPr>
          <a:xfrm>
            <a:off x="0" y="0"/>
            <a:ext cx="9144000" cy="5148263"/>
          </a:xfrm>
          <a:prstGeom prst="rect">
            <a:avLst/>
          </a:prstGeom>
          <a:solidFill>
            <a:srgbClr val="4B4E53"/>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en-GB" sz="1050" smtClean="0">
              <a:solidFill>
                <a:schemeClr val="bg1"/>
              </a:solidFill>
              <a:latin typeface="Arial" panose="020B0604020202020204" pitchFamily="34" charset="0"/>
              <a:cs typeface="Arial" panose="020B0604020202020204" pitchFamily="34" charset="0"/>
            </a:endParaRPr>
          </a:p>
        </p:txBody>
      </p:sp>
      <p:pic>
        <p:nvPicPr>
          <p:cNvPr id="33" name="Picture 32" descr="cookie_white.png"/>
          <p:cNvPicPr>
            <a:picLocks noChangeAspect="1"/>
          </p:cNvPicPr>
          <p:nvPr userDrawn="1"/>
        </p:nvPicPr>
        <p:blipFill rotWithShape="1">
          <a:blip r:embed="rId2" cstate="screen">
            <a:alphaModFix amt="16000"/>
            <a:extLst>
              <a:ext uri="{28A0092B-C50C-407E-A947-70E740481C1C}">
                <a14:useLocalDpi xmlns:a14="http://schemas.microsoft.com/office/drawing/2010/main"/>
              </a:ext>
            </a:extLst>
          </a:blip>
          <a:srcRect/>
          <a:stretch/>
        </p:blipFill>
        <p:spPr>
          <a:xfrm flipH="1">
            <a:off x="5149029" y="2289839"/>
            <a:ext cx="4020091" cy="2880000"/>
          </a:xfrm>
          <a:prstGeom prst="rect">
            <a:avLst/>
          </a:prstGeom>
        </p:spPr>
      </p:pic>
      <p:cxnSp>
        <p:nvCxnSpPr>
          <p:cNvPr id="32" name="Straight Connector 31"/>
          <p:cNvCxnSpPr/>
          <p:nvPr userDrawn="1"/>
        </p:nvCxnSpPr>
        <p:spPr>
          <a:xfrm>
            <a:off x="343365" y="470176"/>
            <a:ext cx="8460000" cy="0"/>
          </a:xfrm>
          <a:prstGeom prst="line">
            <a:avLst/>
          </a:prstGeom>
          <a:ln w="6350" cmpd="sng">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343365" y="4801146"/>
            <a:ext cx="8460000" cy="0"/>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sp>
        <p:nvSpPr>
          <p:cNvPr id="67"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rgbClr val="FFFFFF"/>
                </a:solidFill>
                <a:latin typeface="+mn-lt"/>
              </a:defRPr>
            </a:lvl1pPr>
          </a:lstStyle>
          <a:p>
            <a:fld id="{19AB4E72-7858-48F1-A40D-12FF09E4BFB8}" type="slidenum">
              <a:rPr lang="en-GB" smtClean="0"/>
              <a:pPr/>
              <a:t>‹Nº›</a:t>
            </a:fld>
            <a:endParaRPr lang="en-GB"/>
          </a:p>
        </p:txBody>
      </p:sp>
      <p:sp>
        <p:nvSpPr>
          <p:cNvPr id="36" name="Title 1"/>
          <p:cNvSpPr>
            <a:spLocks noGrp="1"/>
          </p:cNvSpPr>
          <p:nvPr>
            <p:ph type="ctrTitle" hasCustomPrompt="1"/>
          </p:nvPr>
        </p:nvSpPr>
        <p:spPr>
          <a:xfrm>
            <a:off x="343365" y="2867487"/>
            <a:ext cx="8460000" cy="443198"/>
          </a:xfrm>
          <a:prstGeom prst="rect">
            <a:avLst/>
          </a:prstGeom>
        </p:spPr>
        <p:txBody>
          <a:bodyPr lIns="0" tIns="0" rIns="0" bIns="0" anchor="b"/>
          <a:lstStyle>
            <a:lvl1pPr>
              <a:lnSpc>
                <a:spcPct val="90000"/>
              </a:lnSpc>
              <a:defRPr sz="3200" b="0">
                <a:solidFill>
                  <a:schemeClr val="bg1"/>
                </a:solidFill>
              </a:defRPr>
            </a:lvl1pPr>
          </a:lstStyle>
          <a:p>
            <a:r>
              <a:rPr lang="en-US" dirty="0" smtClean="0"/>
              <a:t>Click to edit Master title Style</a:t>
            </a:r>
            <a:endParaRPr lang="en-US" dirty="0"/>
          </a:p>
        </p:txBody>
      </p:sp>
      <p:sp>
        <p:nvSpPr>
          <p:cNvPr id="37" name="Subtitle 2"/>
          <p:cNvSpPr>
            <a:spLocks noGrp="1"/>
          </p:cNvSpPr>
          <p:nvPr>
            <p:ph type="subTitle" idx="1" hasCustomPrompt="1"/>
          </p:nvPr>
        </p:nvSpPr>
        <p:spPr>
          <a:xfrm>
            <a:off x="343364" y="3474100"/>
            <a:ext cx="8460000" cy="202165"/>
          </a:xfrm>
          <a:prstGeom prst="rect">
            <a:avLst/>
          </a:prstGeom>
        </p:spPr>
        <p:txBody>
          <a:bodyPr lIns="0" tIns="0" rIns="0" bIns="0">
            <a:noAutofit/>
          </a:bodyPr>
          <a:lstStyle>
            <a:lvl1pPr marL="0" indent="0" algn="l">
              <a:buNone/>
              <a:defRPr sz="1400">
                <a:solidFill>
                  <a:schemeClr val="tx2"/>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cxnSp>
        <p:nvCxnSpPr>
          <p:cNvPr id="38" name="Straight Connector 37"/>
          <p:cNvCxnSpPr/>
          <p:nvPr userDrawn="1"/>
        </p:nvCxnSpPr>
        <p:spPr>
          <a:xfrm>
            <a:off x="346086" y="3395058"/>
            <a:ext cx="8460000" cy="0"/>
          </a:xfrm>
          <a:prstGeom prst="line">
            <a:avLst/>
          </a:prstGeom>
          <a:ln w="12700"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86" name="Text Placeholder 2"/>
          <p:cNvSpPr>
            <a:spLocks noGrp="1"/>
          </p:cNvSpPr>
          <p:nvPr>
            <p:ph type="body" sz="quarter" idx="25" hasCustomPrompt="1"/>
          </p:nvPr>
        </p:nvSpPr>
        <p:spPr>
          <a:xfrm>
            <a:off x="3342796" y="4807465"/>
            <a:ext cx="1160462" cy="341313"/>
          </a:xfrm>
          <a:prstGeom prst="rect">
            <a:avLst/>
          </a:prstGeom>
        </p:spPr>
        <p:txBody>
          <a:bodyPr anchor="ctr"/>
          <a:lstStyle>
            <a:lvl1pPr marL="0" indent="0" algn="ctr">
              <a:buNone/>
              <a:defRPr sz="800">
                <a:solidFill>
                  <a:schemeClr val="bg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grpSp>
        <p:nvGrpSpPr>
          <p:cNvPr id="110" name="Group 109"/>
          <p:cNvGrpSpPr/>
          <p:nvPr userDrawn="1"/>
        </p:nvGrpSpPr>
        <p:grpSpPr>
          <a:xfrm>
            <a:off x="4750866" y="4840100"/>
            <a:ext cx="1123200" cy="233974"/>
            <a:chOff x="7665803" y="4864376"/>
            <a:chExt cx="1123200" cy="233974"/>
          </a:xfrm>
          <a:solidFill>
            <a:schemeClr val="bg1"/>
          </a:solidFill>
        </p:grpSpPr>
        <p:sp>
          <p:nvSpPr>
            <p:cNvPr id="111" name="Freeform 6"/>
            <p:cNvSpPr>
              <a:spLocks/>
            </p:cNvSpPr>
            <p:nvPr userDrawn="1"/>
          </p:nvSpPr>
          <p:spPr bwMode="auto">
            <a:xfrm>
              <a:off x="8119644" y="4924717"/>
              <a:ext cx="103102" cy="66806"/>
            </a:xfrm>
            <a:custGeom>
              <a:avLst/>
              <a:gdLst>
                <a:gd name="T0" fmla="*/ 111 w 136"/>
                <a:gd name="T1" fmla="*/ 72 h 92"/>
                <a:gd name="T2" fmla="*/ 87 w 136"/>
                <a:gd name="T3" fmla="*/ 88 h 92"/>
                <a:gd name="T4" fmla="*/ 68 w 136"/>
                <a:gd name="T5" fmla="*/ 28 h 92"/>
                <a:gd name="T6" fmla="*/ 67 w 136"/>
                <a:gd name="T7" fmla="*/ 28 h 92"/>
                <a:gd name="T8" fmla="*/ 53 w 136"/>
                <a:gd name="T9" fmla="*/ 72 h 92"/>
                <a:gd name="T10" fmla="*/ 31 w 136"/>
                <a:gd name="T11" fmla="*/ 88 h 92"/>
                <a:gd name="T12" fmla="*/ 0 w 136"/>
                <a:gd name="T13" fmla="*/ 0 h 92"/>
                <a:gd name="T14" fmla="*/ 22 w 136"/>
                <a:gd name="T15" fmla="*/ 0 h 92"/>
                <a:gd name="T16" fmla="*/ 41 w 136"/>
                <a:gd name="T17" fmla="*/ 60 h 92"/>
                <a:gd name="T18" fmla="*/ 41 w 136"/>
                <a:gd name="T19" fmla="*/ 60 h 92"/>
                <a:gd name="T20" fmla="*/ 60 w 136"/>
                <a:gd name="T21" fmla="*/ 0 h 92"/>
                <a:gd name="T22" fmla="*/ 77 w 136"/>
                <a:gd name="T23" fmla="*/ 0 h 92"/>
                <a:gd name="T24" fmla="*/ 96 w 136"/>
                <a:gd name="T25" fmla="*/ 60 h 92"/>
                <a:gd name="T26" fmla="*/ 97 w 136"/>
                <a:gd name="T27" fmla="*/ 60 h 92"/>
                <a:gd name="T28" fmla="*/ 115 w 136"/>
                <a:gd name="T29" fmla="*/ 0 h 92"/>
                <a:gd name="T30" fmla="*/ 136 w 136"/>
                <a:gd name="T31" fmla="*/ 0 h 92"/>
                <a:gd name="T32" fmla="*/ 111 w 136"/>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 h="92">
                  <a:moveTo>
                    <a:pt x="111" y="72"/>
                  </a:moveTo>
                  <a:cubicBezTo>
                    <a:pt x="103" y="92"/>
                    <a:pt x="87" y="88"/>
                    <a:pt x="87" y="88"/>
                  </a:cubicBezTo>
                  <a:cubicBezTo>
                    <a:pt x="68" y="28"/>
                    <a:pt x="68" y="28"/>
                    <a:pt x="68" y="28"/>
                  </a:cubicBezTo>
                  <a:cubicBezTo>
                    <a:pt x="67" y="28"/>
                    <a:pt x="67" y="28"/>
                    <a:pt x="67" y="28"/>
                  </a:cubicBezTo>
                  <a:cubicBezTo>
                    <a:pt x="67" y="28"/>
                    <a:pt x="58"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6" y="60"/>
                    <a:pt x="96" y="60"/>
                    <a:pt x="96" y="60"/>
                  </a:cubicBezTo>
                  <a:cubicBezTo>
                    <a:pt x="97" y="60"/>
                    <a:pt x="97" y="60"/>
                    <a:pt x="97" y="60"/>
                  </a:cubicBezTo>
                  <a:cubicBezTo>
                    <a:pt x="115" y="0"/>
                    <a:pt x="115" y="0"/>
                    <a:pt x="115" y="0"/>
                  </a:cubicBezTo>
                  <a:cubicBezTo>
                    <a:pt x="136" y="0"/>
                    <a:pt x="136" y="0"/>
                    <a:pt x="136" y="0"/>
                  </a:cubicBezTo>
                  <a:cubicBezTo>
                    <a:pt x="136"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2" name="Freeform 7"/>
            <p:cNvSpPr>
              <a:spLocks noEditPoints="1"/>
            </p:cNvSpPr>
            <p:nvPr userDrawn="1"/>
          </p:nvSpPr>
          <p:spPr bwMode="auto">
            <a:xfrm>
              <a:off x="8225958" y="4923177"/>
              <a:ext cx="57493" cy="66190"/>
            </a:xfrm>
            <a:custGeom>
              <a:avLst/>
              <a:gdLst>
                <a:gd name="T0" fmla="*/ 57 w 76"/>
                <a:gd name="T1" fmla="*/ 90 h 91"/>
                <a:gd name="T2" fmla="*/ 53 w 76"/>
                <a:gd name="T3" fmla="*/ 81 h 91"/>
                <a:gd name="T4" fmla="*/ 28 w 76"/>
                <a:gd name="T5" fmla="*/ 91 h 91"/>
                <a:gd name="T6" fmla="*/ 0 w 76"/>
                <a:gd name="T7" fmla="*/ 63 h 91"/>
                <a:gd name="T8" fmla="*/ 36 w 76"/>
                <a:gd name="T9" fmla="*/ 34 h 91"/>
                <a:gd name="T10" fmla="*/ 51 w 76"/>
                <a:gd name="T11" fmla="*/ 34 h 91"/>
                <a:gd name="T12" fmla="*/ 51 w 76"/>
                <a:gd name="T13" fmla="*/ 31 h 91"/>
                <a:gd name="T14" fmla="*/ 35 w 76"/>
                <a:gd name="T15" fmla="*/ 17 h 91"/>
                <a:gd name="T16" fmla="*/ 12 w 76"/>
                <a:gd name="T17" fmla="*/ 23 h 91"/>
                <a:gd name="T18" fmla="*/ 5 w 76"/>
                <a:gd name="T19" fmla="*/ 9 h 91"/>
                <a:gd name="T20" fmla="*/ 39 w 76"/>
                <a:gd name="T21" fmla="*/ 0 h 91"/>
                <a:gd name="T22" fmla="*/ 74 w 76"/>
                <a:gd name="T23" fmla="*/ 31 h 91"/>
                <a:gd name="T24" fmla="*/ 74 w 76"/>
                <a:gd name="T25" fmla="*/ 66 h 91"/>
                <a:gd name="T26" fmla="*/ 76 w 76"/>
                <a:gd name="T27" fmla="*/ 90 h 91"/>
                <a:gd name="T28" fmla="*/ 57 w 76"/>
                <a:gd name="T29" fmla="*/ 90 h 91"/>
                <a:gd name="T30" fmla="*/ 51 w 76"/>
                <a:gd name="T31" fmla="*/ 49 h 91"/>
                <a:gd name="T32" fmla="*/ 39 w 76"/>
                <a:gd name="T33" fmla="*/ 49 h 91"/>
                <a:gd name="T34" fmla="*/ 22 w 76"/>
                <a:gd name="T35" fmla="*/ 61 h 91"/>
                <a:gd name="T36" fmla="*/ 36 w 76"/>
                <a:gd name="T37" fmla="*/ 73 h 91"/>
                <a:gd name="T38" fmla="*/ 51 w 76"/>
                <a:gd name="T39" fmla="*/ 68 h 91"/>
                <a:gd name="T40" fmla="*/ 51 w 76"/>
                <a:gd name="T41" fmla="*/ 4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91">
                  <a:moveTo>
                    <a:pt x="57" y="90"/>
                  </a:moveTo>
                  <a:cubicBezTo>
                    <a:pt x="53" y="81"/>
                    <a:pt x="53" y="81"/>
                    <a:pt x="53" y="81"/>
                  </a:cubicBezTo>
                  <a:cubicBezTo>
                    <a:pt x="48" y="86"/>
                    <a:pt x="40" y="91"/>
                    <a:pt x="28" y="91"/>
                  </a:cubicBezTo>
                  <a:cubicBezTo>
                    <a:pt x="12" y="91"/>
                    <a:pt x="0" y="80"/>
                    <a:pt x="0" y="63"/>
                  </a:cubicBezTo>
                  <a:cubicBezTo>
                    <a:pt x="0" y="45"/>
                    <a:pt x="14" y="35"/>
                    <a:pt x="36" y="34"/>
                  </a:cubicBezTo>
                  <a:cubicBezTo>
                    <a:pt x="51" y="34"/>
                    <a:pt x="51" y="34"/>
                    <a:pt x="51" y="34"/>
                  </a:cubicBezTo>
                  <a:cubicBezTo>
                    <a:pt x="51" y="33"/>
                    <a:pt x="51" y="32"/>
                    <a:pt x="51" y="31"/>
                  </a:cubicBezTo>
                  <a:cubicBezTo>
                    <a:pt x="51" y="21"/>
                    <a:pt x="44" y="17"/>
                    <a:pt x="35" y="17"/>
                  </a:cubicBezTo>
                  <a:cubicBezTo>
                    <a:pt x="25" y="17"/>
                    <a:pt x="18" y="20"/>
                    <a:pt x="12" y="23"/>
                  </a:cubicBezTo>
                  <a:cubicBezTo>
                    <a:pt x="5" y="9"/>
                    <a:pt x="5" y="9"/>
                    <a:pt x="5" y="9"/>
                  </a:cubicBezTo>
                  <a:cubicBezTo>
                    <a:pt x="17" y="2"/>
                    <a:pt x="28" y="0"/>
                    <a:pt x="39" y="0"/>
                  </a:cubicBezTo>
                  <a:cubicBezTo>
                    <a:pt x="61" y="0"/>
                    <a:pt x="74" y="9"/>
                    <a:pt x="74" y="31"/>
                  </a:cubicBezTo>
                  <a:cubicBezTo>
                    <a:pt x="74" y="66"/>
                    <a:pt x="74" y="66"/>
                    <a:pt x="74" y="66"/>
                  </a:cubicBezTo>
                  <a:cubicBezTo>
                    <a:pt x="74" y="78"/>
                    <a:pt x="75" y="86"/>
                    <a:pt x="76" y="90"/>
                  </a:cubicBezTo>
                  <a:lnTo>
                    <a:pt x="57" y="90"/>
                  </a:lnTo>
                  <a:close/>
                  <a:moveTo>
                    <a:pt x="51" y="49"/>
                  </a:moveTo>
                  <a:cubicBezTo>
                    <a:pt x="39" y="49"/>
                    <a:pt x="39" y="49"/>
                    <a:pt x="39" y="49"/>
                  </a:cubicBezTo>
                  <a:cubicBezTo>
                    <a:pt x="27" y="50"/>
                    <a:pt x="22" y="54"/>
                    <a:pt x="22" y="61"/>
                  </a:cubicBezTo>
                  <a:cubicBezTo>
                    <a:pt x="22" y="68"/>
                    <a:pt x="27" y="73"/>
                    <a:pt x="36" y="73"/>
                  </a:cubicBezTo>
                  <a:cubicBezTo>
                    <a:pt x="44" y="73"/>
                    <a:pt x="49" y="70"/>
                    <a:pt x="51" y="68"/>
                  </a:cubicBezTo>
                  <a:lnTo>
                    <a:pt x="51" y="4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3" name="Freeform 8"/>
            <p:cNvSpPr>
              <a:spLocks noEditPoints="1"/>
            </p:cNvSpPr>
            <p:nvPr userDrawn="1"/>
          </p:nvSpPr>
          <p:spPr bwMode="auto">
            <a:xfrm>
              <a:off x="8342550" y="4892699"/>
              <a:ext cx="62311" cy="96668"/>
            </a:xfrm>
            <a:custGeom>
              <a:avLst/>
              <a:gdLst>
                <a:gd name="T0" fmla="*/ 47 w 82"/>
                <a:gd name="T1" fmla="*/ 133 h 133"/>
                <a:gd name="T2" fmla="*/ 0 w 82"/>
                <a:gd name="T3" fmla="*/ 88 h 133"/>
                <a:gd name="T4" fmla="*/ 48 w 82"/>
                <a:gd name="T5" fmla="*/ 42 h 133"/>
                <a:gd name="T6" fmla="*/ 59 w 82"/>
                <a:gd name="T7" fmla="*/ 42 h 133"/>
                <a:gd name="T8" fmla="*/ 60 w 82"/>
                <a:gd name="T9" fmla="*/ 0 h 133"/>
                <a:gd name="T10" fmla="*/ 82 w 82"/>
                <a:gd name="T11" fmla="*/ 0 h 133"/>
                <a:gd name="T12" fmla="*/ 81 w 82"/>
                <a:gd name="T13" fmla="*/ 126 h 133"/>
                <a:gd name="T14" fmla="*/ 47 w 82"/>
                <a:gd name="T15" fmla="*/ 133 h 133"/>
                <a:gd name="T16" fmla="*/ 59 w 82"/>
                <a:gd name="T17" fmla="*/ 60 h 133"/>
                <a:gd name="T18" fmla="*/ 49 w 82"/>
                <a:gd name="T19" fmla="*/ 59 h 133"/>
                <a:gd name="T20" fmla="*/ 22 w 82"/>
                <a:gd name="T21" fmla="*/ 87 h 133"/>
                <a:gd name="T22" fmla="*/ 49 w 82"/>
                <a:gd name="T23" fmla="*/ 114 h 133"/>
                <a:gd name="T24" fmla="*/ 59 w 82"/>
                <a:gd name="T25" fmla="*/ 113 h 133"/>
                <a:gd name="T26" fmla="*/ 59 w 82"/>
                <a:gd name="T27" fmla="*/ 6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3">
                  <a:moveTo>
                    <a:pt x="47" y="133"/>
                  </a:moveTo>
                  <a:cubicBezTo>
                    <a:pt x="21" y="133"/>
                    <a:pt x="0" y="117"/>
                    <a:pt x="0" y="88"/>
                  </a:cubicBezTo>
                  <a:cubicBezTo>
                    <a:pt x="0" y="61"/>
                    <a:pt x="20" y="42"/>
                    <a:pt x="48" y="42"/>
                  </a:cubicBezTo>
                  <a:cubicBezTo>
                    <a:pt x="52" y="42"/>
                    <a:pt x="56" y="42"/>
                    <a:pt x="59" y="42"/>
                  </a:cubicBezTo>
                  <a:cubicBezTo>
                    <a:pt x="60" y="0"/>
                    <a:pt x="60" y="0"/>
                    <a:pt x="60" y="0"/>
                  </a:cubicBezTo>
                  <a:cubicBezTo>
                    <a:pt x="82" y="0"/>
                    <a:pt x="82" y="0"/>
                    <a:pt x="82" y="0"/>
                  </a:cubicBezTo>
                  <a:cubicBezTo>
                    <a:pt x="81" y="126"/>
                    <a:pt x="81" y="126"/>
                    <a:pt x="81" y="126"/>
                  </a:cubicBezTo>
                  <a:cubicBezTo>
                    <a:pt x="73" y="130"/>
                    <a:pt x="62" y="133"/>
                    <a:pt x="47" y="133"/>
                  </a:cubicBezTo>
                  <a:close/>
                  <a:moveTo>
                    <a:pt x="59" y="60"/>
                  </a:moveTo>
                  <a:cubicBezTo>
                    <a:pt x="56" y="60"/>
                    <a:pt x="54" y="59"/>
                    <a:pt x="49" y="59"/>
                  </a:cubicBezTo>
                  <a:cubicBezTo>
                    <a:pt x="33" y="59"/>
                    <a:pt x="22" y="70"/>
                    <a:pt x="22" y="87"/>
                  </a:cubicBezTo>
                  <a:cubicBezTo>
                    <a:pt x="22" y="103"/>
                    <a:pt x="32" y="114"/>
                    <a:pt x="49" y="114"/>
                  </a:cubicBezTo>
                  <a:cubicBezTo>
                    <a:pt x="53" y="114"/>
                    <a:pt x="57" y="114"/>
                    <a:pt x="59" y="113"/>
                  </a:cubicBezTo>
                  <a:lnTo>
                    <a:pt x="59" y="60"/>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4" name="Freeform 9"/>
            <p:cNvSpPr>
              <a:spLocks/>
            </p:cNvSpPr>
            <p:nvPr userDrawn="1"/>
          </p:nvSpPr>
          <p:spPr bwMode="auto">
            <a:xfrm>
              <a:off x="8093949"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5" name="Freeform 10"/>
            <p:cNvSpPr>
              <a:spLocks/>
            </p:cNvSpPr>
            <p:nvPr userDrawn="1"/>
          </p:nvSpPr>
          <p:spPr bwMode="auto">
            <a:xfrm>
              <a:off x="8060545"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56" name="Freeform 11"/>
            <p:cNvSpPr>
              <a:spLocks/>
            </p:cNvSpPr>
            <p:nvPr userDrawn="1"/>
          </p:nvSpPr>
          <p:spPr bwMode="auto">
            <a:xfrm>
              <a:off x="8297262" y="4923177"/>
              <a:ext cx="43039" cy="66190"/>
            </a:xfrm>
            <a:custGeom>
              <a:avLst/>
              <a:gdLst>
                <a:gd name="T0" fmla="*/ 49 w 57"/>
                <a:gd name="T1" fmla="*/ 22 h 91"/>
                <a:gd name="T2" fmla="*/ 39 w 57"/>
                <a:gd name="T3" fmla="*/ 20 h 91"/>
                <a:gd name="T4" fmla="*/ 22 w 57"/>
                <a:gd name="T5" fmla="*/ 27 h 91"/>
                <a:gd name="T6" fmla="*/ 22 w 57"/>
                <a:gd name="T7" fmla="*/ 74 h 91"/>
                <a:gd name="T8" fmla="*/ 0 w 57"/>
                <a:gd name="T9" fmla="*/ 90 h 91"/>
                <a:gd name="T10" fmla="*/ 0 w 57"/>
                <a:gd name="T11" fmla="*/ 2 h 91"/>
                <a:gd name="T12" fmla="*/ 18 w 57"/>
                <a:gd name="T13" fmla="*/ 2 h 91"/>
                <a:gd name="T14" fmla="*/ 21 w 57"/>
                <a:gd name="T15" fmla="*/ 11 h 91"/>
                <a:gd name="T16" fmla="*/ 45 w 57"/>
                <a:gd name="T17" fmla="*/ 0 h 91"/>
                <a:gd name="T18" fmla="*/ 57 w 57"/>
                <a:gd name="T19" fmla="*/ 4 h 91"/>
                <a:gd name="T20" fmla="*/ 49 w 57"/>
                <a:gd name="T21" fmla="*/ 2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1">
                  <a:moveTo>
                    <a:pt x="49" y="22"/>
                  </a:moveTo>
                  <a:cubicBezTo>
                    <a:pt x="45" y="20"/>
                    <a:pt x="41" y="20"/>
                    <a:pt x="39" y="20"/>
                  </a:cubicBezTo>
                  <a:cubicBezTo>
                    <a:pt x="34" y="20"/>
                    <a:pt x="28" y="22"/>
                    <a:pt x="22" y="27"/>
                  </a:cubicBezTo>
                  <a:cubicBezTo>
                    <a:pt x="22" y="27"/>
                    <a:pt x="22" y="57"/>
                    <a:pt x="22" y="74"/>
                  </a:cubicBezTo>
                  <a:cubicBezTo>
                    <a:pt x="22" y="91"/>
                    <a:pt x="0" y="90"/>
                    <a:pt x="0" y="90"/>
                  </a:cubicBezTo>
                  <a:cubicBezTo>
                    <a:pt x="0" y="2"/>
                    <a:pt x="0" y="2"/>
                    <a:pt x="0" y="2"/>
                  </a:cubicBezTo>
                  <a:cubicBezTo>
                    <a:pt x="18" y="2"/>
                    <a:pt x="18" y="2"/>
                    <a:pt x="18"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57" name="Freeform 12"/>
            <p:cNvSpPr>
              <a:spLocks/>
            </p:cNvSpPr>
            <p:nvPr userDrawn="1"/>
          </p:nvSpPr>
          <p:spPr bwMode="auto">
            <a:xfrm>
              <a:off x="7907980" y="4892699"/>
              <a:ext cx="98605" cy="95129"/>
            </a:xfrm>
            <a:custGeom>
              <a:avLst/>
              <a:gdLst>
                <a:gd name="T0" fmla="*/ 106 w 130"/>
                <a:gd name="T1" fmla="*/ 131 h 131"/>
                <a:gd name="T2" fmla="*/ 106 w 130"/>
                <a:gd name="T3" fmla="*/ 53 h 131"/>
                <a:gd name="T4" fmla="*/ 107 w 130"/>
                <a:gd name="T5" fmla="*/ 39 h 131"/>
                <a:gd name="T6" fmla="*/ 106 w 130"/>
                <a:gd name="T7" fmla="*/ 39 h 131"/>
                <a:gd name="T8" fmla="*/ 99 w 130"/>
                <a:gd name="T9" fmla="*/ 52 h 131"/>
                <a:gd name="T10" fmla="*/ 72 w 130"/>
                <a:gd name="T11" fmla="*/ 93 h 131"/>
                <a:gd name="T12" fmla="*/ 60 w 130"/>
                <a:gd name="T13" fmla="*/ 93 h 131"/>
                <a:gd name="T14" fmla="*/ 32 w 130"/>
                <a:gd name="T15" fmla="*/ 51 h 131"/>
                <a:gd name="T16" fmla="*/ 24 w 130"/>
                <a:gd name="T17" fmla="*/ 39 h 131"/>
                <a:gd name="T18" fmla="*/ 23 w 130"/>
                <a:gd name="T19" fmla="*/ 39 h 131"/>
                <a:gd name="T20" fmla="*/ 24 w 130"/>
                <a:gd name="T21" fmla="*/ 52 h 131"/>
                <a:gd name="T22" fmla="*/ 24 w 130"/>
                <a:gd name="T23" fmla="*/ 131 h 131"/>
                <a:gd name="T24" fmla="*/ 0 w 130"/>
                <a:gd name="T25" fmla="*/ 131 h 131"/>
                <a:gd name="T26" fmla="*/ 0 w 130"/>
                <a:gd name="T27" fmla="*/ 0 h 131"/>
                <a:gd name="T28" fmla="*/ 22 w 130"/>
                <a:gd name="T29" fmla="*/ 0 h 131"/>
                <a:gd name="T30" fmla="*/ 58 w 130"/>
                <a:gd name="T31" fmla="*/ 52 h 131"/>
                <a:gd name="T32" fmla="*/ 66 w 130"/>
                <a:gd name="T33" fmla="*/ 66 h 131"/>
                <a:gd name="T34" fmla="*/ 67 w 130"/>
                <a:gd name="T35" fmla="*/ 66 h 131"/>
                <a:gd name="T36" fmla="*/ 75 w 130"/>
                <a:gd name="T37" fmla="*/ 52 h 131"/>
                <a:gd name="T38" fmla="*/ 108 w 130"/>
                <a:gd name="T39" fmla="*/ 0 h 131"/>
                <a:gd name="T40" fmla="*/ 130 w 130"/>
                <a:gd name="T41" fmla="*/ 0 h 131"/>
                <a:gd name="T42" fmla="*/ 130 w 130"/>
                <a:gd name="T43" fmla="*/ 131 h 131"/>
                <a:gd name="T44" fmla="*/ 106 w 130"/>
                <a:gd name="T45"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0" h="131">
                  <a:moveTo>
                    <a:pt x="106" y="131"/>
                  </a:moveTo>
                  <a:cubicBezTo>
                    <a:pt x="106" y="53"/>
                    <a:pt x="106" y="53"/>
                    <a:pt x="106" y="53"/>
                  </a:cubicBezTo>
                  <a:cubicBezTo>
                    <a:pt x="106" y="48"/>
                    <a:pt x="106" y="44"/>
                    <a:pt x="107" y="39"/>
                  </a:cubicBezTo>
                  <a:cubicBezTo>
                    <a:pt x="106" y="39"/>
                    <a:pt x="106" y="39"/>
                    <a:pt x="106" y="39"/>
                  </a:cubicBezTo>
                  <a:cubicBezTo>
                    <a:pt x="105" y="43"/>
                    <a:pt x="101" y="49"/>
                    <a:pt x="99" y="52"/>
                  </a:cubicBezTo>
                  <a:cubicBezTo>
                    <a:pt x="72" y="93"/>
                    <a:pt x="72" y="93"/>
                    <a:pt x="72" y="93"/>
                  </a:cubicBezTo>
                  <a:cubicBezTo>
                    <a:pt x="60" y="93"/>
                    <a:pt x="60" y="93"/>
                    <a:pt x="60" y="93"/>
                  </a:cubicBezTo>
                  <a:cubicBezTo>
                    <a:pt x="32" y="51"/>
                    <a:pt x="32" y="51"/>
                    <a:pt x="32" y="51"/>
                  </a:cubicBezTo>
                  <a:cubicBezTo>
                    <a:pt x="29" y="48"/>
                    <a:pt x="26" y="44"/>
                    <a:pt x="24" y="39"/>
                  </a:cubicBezTo>
                  <a:cubicBezTo>
                    <a:pt x="23" y="39"/>
                    <a:pt x="23" y="39"/>
                    <a:pt x="23" y="39"/>
                  </a:cubicBezTo>
                  <a:cubicBezTo>
                    <a:pt x="24" y="44"/>
                    <a:pt x="24" y="48"/>
                    <a:pt x="24" y="52"/>
                  </a:cubicBezTo>
                  <a:cubicBezTo>
                    <a:pt x="24" y="131"/>
                    <a:pt x="24" y="131"/>
                    <a:pt x="24" y="131"/>
                  </a:cubicBezTo>
                  <a:cubicBezTo>
                    <a:pt x="0" y="131"/>
                    <a:pt x="0" y="131"/>
                    <a:pt x="0" y="131"/>
                  </a:cubicBezTo>
                  <a:cubicBezTo>
                    <a:pt x="0" y="0"/>
                    <a:pt x="0" y="0"/>
                    <a:pt x="0" y="0"/>
                  </a:cubicBezTo>
                  <a:cubicBezTo>
                    <a:pt x="22" y="0"/>
                    <a:pt x="22" y="0"/>
                    <a:pt x="22" y="0"/>
                  </a:cubicBezTo>
                  <a:cubicBezTo>
                    <a:pt x="58" y="52"/>
                    <a:pt x="58" y="52"/>
                    <a:pt x="58" y="52"/>
                  </a:cubicBezTo>
                  <a:cubicBezTo>
                    <a:pt x="61" y="57"/>
                    <a:pt x="64" y="61"/>
                    <a:pt x="66" y="66"/>
                  </a:cubicBezTo>
                  <a:cubicBezTo>
                    <a:pt x="67" y="66"/>
                    <a:pt x="67" y="66"/>
                    <a:pt x="67" y="66"/>
                  </a:cubicBezTo>
                  <a:cubicBezTo>
                    <a:pt x="69" y="61"/>
                    <a:pt x="71" y="57"/>
                    <a:pt x="75" y="52"/>
                  </a:cubicBezTo>
                  <a:cubicBezTo>
                    <a:pt x="108" y="0"/>
                    <a:pt x="108" y="0"/>
                    <a:pt x="108" y="0"/>
                  </a:cubicBezTo>
                  <a:cubicBezTo>
                    <a:pt x="130" y="0"/>
                    <a:pt x="130" y="0"/>
                    <a:pt x="130" y="0"/>
                  </a:cubicBezTo>
                  <a:cubicBezTo>
                    <a:pt x="130" y="131"/>
                    <a:pt x="130" y="131"/>
                    <a:pt x="130" y="131"/>
                  </a:cubicBezTo>
                  <a:lnTo>
                    <a:pt x="106" y="131"/>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58" name="Freeform 13"/>
            <p:cNvSpPr>
              <a:spLocks/>
            </p:cNvSpPr>
            <p:nvPr userDrawn="1"/>
          </p:nvSpPr>
          <p:spPr bwMode="auto">
            <a:xfrm>
              <a:off x="7665803" y="4864376"/>
              <a:ext cx="100854" cy="148389"/>
            </a:xfrm>
            <a:custGeom>
              <a:avLst/>
              <a:gdLst>
                <a:gd name="T0" fmla="*/ 133 w 133"/>
                <a:gd name="T1" fmla="*/ 23 h 204"/>
                <a:gd name="T2" fmla="*/ 132 w 133"/>
                <a:gd name="T3" fmla="*/ 22 h 204"/>
                <a:gd name="T4" fmla="*/ 65 w 133"/>
                <a:gd name="T5" fmla="*/ 20 h 204"/>
                <a:gd name="T6" fmla="*/ 52 w 133"/>
                <a:gd name="T7" fmla="*/ 52 h 204"/>
                <a:gd name="T8" fmla="*/ 20 w 133"/>
                <a:gd name="T9" fmla="*/ 65 h 204"/>
                <a:gd name="T10" fmla="*/ 22 w 133"/>
                <a:gd name="T11" fmla="*/ 132 h 204"/>
                <a:gd name="T12" fmla="*/ 95 w 133"/>
                <a:gd name="T13" fmla="*/ 204 h 204"/>
                <a:gd name="T14" fmla="*/ 117 w 133"/>
                <a:gd name="T15" fmla="*/ 182 h 204"/>
                <a:gd name="T16" fmla="*/ 44 w 133"/>
                <a:gd name="T17" fmla="*/ 110 h 204"/>
                <a:gd name="T18" fmla="*/ 42 w 133"/>
                <a:gd name="T19" fmla="*/ 86 h 204"/>
                <a:gd name="T20" fmla="*/ 66 w 133"/>
                <a:gd name="T21" fmla="*/ 88 h 204"/>
                <a:gd name="T22" fmla="*/ 133 w 133"/>
                <a:gd name="T23" fmla="*/ 155 h 204"/>
                <a:gd name="T24" fmla="*/ 133 w 133"/>
                <a:gd name="T25" fmla="*/ 111 h 204"/>
                <a:gd name="T26" fmla="*/ 88 w 133"/>
                <a:gd name="T27" fmla="*/ 66 h 204"/>
                <a:gd name="T28" fmla="*/ 86 w 133"/>
                <a:gd name="T29" fmla="*/ 42 h 204"/>
                <a:gd name="T30" fmla="*/ 110 w 133"/>
                <a:gd name="T31" fmla="*/ 44 h 204"/>
                <a:gd name="T32" fmla="*/ 133 w 133"/>
                <a:gd name="T33" fmla="*/ 66 h 204"/>
                <a:gd name="T34" fmla="*/ 133 w 133"/>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204">
                  <a:moveTo>
                    <a:pt x="133" y="23"/>
                  </a:moveTo>
                  <a:cubicBezTo>
                    <a:pt x="132" y="22"/>
                    <a:pt x="132" y="22"/>
                    <a:pt x="132" y="22"/>
                  </a:cubicBezTo>
                  <a:cubicBezTo>
                    <a:pt x="110" y="0"/>
                    <a:pt x="82" y="2"/>
                    <a:pt x="65" y="20"/>
                  </a:cubicBezTo>
                  <a:cubicBezTo>
                    <a:pt x="53" y="32"/>
                    <a:pt x="51" y="46"/>
                    <a:pt x="52" y="52"/>
                  </a:cubicBezTo>
                  <a:cubicBezTo>
                    <a:pt x="47" y="51"/>
                    <a:pt x="32" y="52"/>
                    <a:pt x="20" y="65"/>
                  </a:cubicBezTo>
                  <a:cubicBezTo>
                    <a:pt x="3" y="82"/>
                    <a:pt x="0" y="110"/>
                    <a:pt x="22" y="132"/>
                  </a:cubicBezTo>
                  <a:cubicBezTo>
                    <a:pt x="95" y="204"/>
                    <a:pt x="95" y="204"/>
                    <a:pt x="95" y="204"/>
                  </a:cubicBezTo>
                  <a:cubicBezTo>
                    <a:pt x="117" y="182"/>
                    <a:pt x="117" y="182"/>
                    <a:pt x="117" y="182"/>
                  </a:cubicBezTo>
                  <a:cubicBezTo>
                    <a:pt x="44" y="110"/>
                    <a:pt x="44" y="110"/>
                    <a:pt x="44" y="110"/>
                  </a:cubicBezTo>
                  <a:cubicBezTo>
                    <a:pt x="35" y="101"/>
                    <a:pt x="36" y="91"/>
                    <a:pt x="42" y="86"/>
                  </a:cubicBezTo>
                  <a:cubicBezTo>
                    <a:pt x="47" y="80"/>
                    <a:pt x="58" y="79"/>
                    <a:pt x="66" y="88"/>
                  </a:cubicBezTo>
                  <a:cubicBezTo>
                    <a:pt x="133" y="155"/>
                    <a:pt x="133" y="155"/>
                    <a:pt x="133" y="155"/>
                  </a:cubicBezTo>
                  <a:cubicBezTo>
                    <a:pt x="133" y="111"/>
                    <a:pt x="133" y="111"/>
                    <a:pt x="133" y="111"/>
                  </a:cubicBezTo>
                  <a:cubicBezTo>
                    <a:pt x="88" y="66"/>
                    <a:pt x="88" y="66"/>
                    <a:pt x="88" y="66"/>
                  </a:cubicBezTo>
                  <a:cubicBezTo>
                    <a:pt x="80" y="57"/>
                    <a:pt x="80" y="47"/>
                    <a:pt x="86" y="42"/>
                  </a:cubicBezTo>
                  <a:cubicBezTo>
                    <a:pt x="92" y="36"/>
                    <a:pt x="102" y="35"/>
                    <a:pt x="110" y="44"/>
                  </a:cubicBezTo>
                  <a:cubicBezTo>
                    <a:pt x="133" y="66"/>
                    <a:pt x="133" y="66"/>
                    <a:pt x="133" y="66"/>
                  </a:cubicBezTo>
                  <a:lnTo>
                    <a:pt x="133"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59" name="Freeform 14"/>
            <p:cNvSpPr>
              <a:spLocks noEditPoints="1"/>
            </p:cNvSpPr>
            <p:nvPr userDrawn="1"/>
          </p:nvSpPr>
          <p:spPr bwMode="auto">
            <a:xfrm>
              <a:off x="8023287" y="4895470"/>
              <a:ext cx="20556" cy="93282"/>
            </a:xfrm>
            <a:custGeom>
              <a:avLst/>
              <a:gdLst>
                <a:gd name="T0" fmla="*/ 14 w 27"/>
                <a:gd name="T1" fmla="*/ 26 h 128"/>
                <a:gd name="T2" fmla="*/ 0 w 27"/>
                <a:gd name="T3" fmla="*/ 13 h 128"/>
                <a:gd name="T4" fmla="*/ 14 w 27"/>
                <a:gd name="T5" fmla="*/ 0 h 128"/>
                <a:gd name="T6" fmla="*/ 27 w 27"/>
                <a:gd name="T7" fmla="*/ 13 h 128"/>
                <a:gd name="T8" fmla="*/ 14 w 27"/>
                <a:gd name="T9" fmla="*/ 26 h 128"/>
                <a:gd name="T10" fmla="*/ 3 w 27"/>
                <a:gd name="T11" fmla="*/ 128 h 128"/>
                <a:gd name="T12" fmla="*/ 3 w 27"/>
                <a:gd name="T13" fmla="*/ 40 h 128"/>
                <a:gd name="T14" fmla="*/ 25 w 27"/>
                <a:gd name="T15" fmla="*/ 40 h 128"/>
                <a:gd name="T16" fmla="*/ 25 w 27"/>
                <a:gd name="T17" fmla="*/ 112 h 128"/>
                <a:gd name="T18" fmla="*/ 3 w 27"/>
                <a:gd name="T1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128">
                  <a:moveTo>
                    <a:pt x="14" y="26"/>
                  </a:moveTo>
                  <a:cubicBezTo>
                    <a:pt x="6" y="26"/>
                    <a:pt x="0" y="20"/>
                    <a:pt x="0" y="13"/>
                  </a:cubicBezTo>
                  <a:cubicBezTo>
                    <a:pt x="0" y="6"/>
                    <a:pt x="6" y="0"/>
                    <a:pt x="14" y="0"/>
                  </a:cubicBezTo>
                  <a:cubicBezTo>
                    <a:pt x="21" y="0"/>
                    <a:pt x="27" y="5"/>
                    <a:pt x="27" y="13"/>
                  </a:cubicBezTo>
                  <a:cubicBezTo>
                    <a:pt x="27" y="20"/>
                    <a:pt x="21" y="26"/>
                    <a:pt x="14" y="26"/>
                  </a:cubicBezTo>
                  <a:close/>
                  <a:moveTo>
                    <a:pt x="3" y="128"/>
                  </a:moveTo>
                  <a:cubicBezTo>
                    <a:pt x="3" y="40"/>
                    <a:pt x="3" y="40"/>
                    <a:pt x="3" y="40"/>
                  </a:cubicBezTo>
                  <a:cubicBezTo>
                    <a:pt x="25" y="40"/>
                    <a:pt x="25" y="40"/>
                    <a:pt x="25" y="40"/>
                  </a:cubicBezTo>
                  <a:cubicBezTo>
                    <a:pt x="25" y="40"/>
                    <a:pt x="25" y="95"/>
                    <a:pt x="25" y="112"/>
                  </a:cubicBezTo>
                  <a:cubicBezTo>
                    <a:pt x="25" y="128"/>
                    <a:pt x="3" y="128"/>
                    <a:pt x="3" y="1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60" name="Freeform 15"/>
            <p:cNvSpPr>
              <a:spLocks/>
            </p:cNvSpPr>
            <p:nvPr userDrawn="1"/>
          </p:nvSpPr>
          <p:spPr bwMode="auto">
            <a:xfrm>
              <a:off x="8615239" y="4924717"/>
              <a:ext cx="103744" cy="66806"/>
            </a:xfrm>
            <a:custGeom>
              <a:avLst/>
              <a:gdLst>
                <a:gd name="T0" fmla="*/ 111 w 137"/>
                <a:gd name="T1" fmla="*/ 72 h 92"/>
                <a:gd name="T2" fmla="*/ 88 w 137"/>
                <a:gd name="T3" fmla="*/ 88 h 92"/>
                <a:gd name="T4" fmla="*/ 68 w 137"/>
                <a:gd name="T5" fmla="*/ 28 h 92"/>
                <a:gd name="T6" fmla="*/ 68 w 137"/>
                <a:gd name="T7" fmla="*/ 28 h 92"/>
                <a:gd name="T8" fmla="*/ 53 w 137"/>
                <a:gd name="T9" fmla="*/ 72 h 92"/>
                <a:gd name="T10" fmla="*/ 31 w 137"/>
                <a:gd name="T11" fmla="*/ 88 h 92"/>
                <a:gd name="T12" fmla="*/ 0 w 137"/>
                <a:gd name="T13" fmla="*/ 0 h 92"/>
                <a:gd name="T14" fmla="*/ 22 w 137"/>
                <a:gd name="T15" fmla="*/ 0 h 92"/>
                <a:gd name="T16" fmla="*/ 41 w 137"/>
                <a:gd name="T17" fmla="*/ 60 h 92"/>
                <a:gd name="T18" fmla="*/ 41 w 137"/>
                <a:gd name="T19" fmla="*/ 60 h 92"/>
                <a:gd name="T20" fmla="*/ 60 w 137"/>
                <a:gd name="T21" fmla="*/ 0 h 92"/>
                <a:gd name="T22" fmla="*/ 77 w 137"/>
                <a:gd name="T23" fmla="*/ 0 h 92"/>
                <a:gd name="T24" fmla="*/ 97 w 137"/>
                <a:gd name="T25" fmla="*/ 60 h 92"/>
                <a:gd name="T26" fmla="*/ 97 w 137"/>
                <a:gd name="T27" fmla="*/ 60 h 92"/>
                <a:gd name="T28" fmla="*/ 115 w 137"/>
                <a:gd name="T29" fmla="*/ 0 h 92"/>
                <a:gd name="T30" fmla="*/ 137 w 137"/>
                <a:gd name="T31" fmla="*/ 0 h 92"/>
                <a:gd name="T32" fmla="*/ 111 w 137"/>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 h="92">
                  <a:moveTo>
                    <a:pt x="111" y="72"/>
                  </a:moveTo>
                  <a:cubicBezTo>
                    <a:pt x="104" y="92"/>
                    <a:pt x="88" y="88"/>
                    <a:pt x="88" y="88"/>
                  </a:cubicBezTo>
                  <a:cubicBezTo>
                    <a:pt x="68" y="28"/>
                    <a:pt x="68" y="28"/>
                    <a:pt x="68" y="28"/>
                  </a:cubicBezTo>
                  <a:cubicBezTo>
                    <a:pt x="68" y="28"/>
                    <a:pt x="68" y="28"/>
                    <a:pt x="68" y="28"/>
                  </a:cubicBezTo>
                  <a:cubicBezTo>
                    <a:pt x="68" y="28"/>
                    <a:pt x="59"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7" y="60"/>
                    <a:pt x="97" y="60"/>
                    <a:pt x="97" y="60"/>
                  </a:cubicBezTo>
                  <a:cubicBezTo>
                    <a:pt x="97" y="60"/>
                    <a:pt x="97" y="60"/>
                    <a:pt x="97" y="60"/>
                  </a:cubicBezTo>
                  <a:cubicBezTo>
                    <a:pt x="115" y="0"/>
                    <a:pt x="115" y="0"/>
                    <a:pt x="115" y="0"/>
                  </a:cubicBezTo>
                  <a:cubicBezTo>
                    <a:pt x="137" y="0"/>
                    <a:pt x="137" y="0"/>
                    <a:pt x="137" y="0"/>
                  </a:cubicBezTo>
                  <a:cubicBezTo>
                    <a:pt x="137"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61" name="Freeform 16"/>
            <p:cNvSpPr>
              <a:spLocks noEditPoints="1"/>
            </p:cNvSpPr>
            <p:nvPr userDrawn="1"/>
          </p:nvSpPr>
          <p:spPr bwMode="auto">
            <a:xfrm>
              <a:off x="8423168" y="4892699"/>
              <a:ext cx="65844" cy="95129"/>
            </a:xfrm>
            <a:custGeom>
              <a:avLst/>
              <a:gdLst>
                <a:gd name="T0" fmla="*/ 1 w 87"/>
                <a:gd name="T1" fmla="*/ 0 h 131"/>
                <a:gd name="T2" fmla="*/ 0 w 87"/>
                <a:gd name="T3" fmla="*/ 131 h 131"/>
                <a:gd name="T4" fmla="*/ 41 w 87"/>
                <a:gd name="T5" fmla="*/ 131 h 131"/>
                <a:gd name="T6" fmla="*/ 87 w 87"/>
                <a:gd name="T7" fmla="*/ 92 h 131"/>
                <a:gd name="T8" fmla="*/ 65 w 87"/>
                <a:gd name="T9" fmla="*/ 61 h 131"/>
                <a:gd name="T10" fmla="*/ 62 w 87"/>
                <a:gd name="T11" fmla="*/ 60 h 131"/>
                <a:gd name="T12" fmla="*/ 64 w 87"/>
                <a:gd name="T13" fmla="*/ 59 h 131"/>
                <a:gd name="T14" fmla="*/ 79 w 87"/>
                <a:gd name="T15" fmla="*/ 32 h 131"/>
                <a:gd name="T16" fmla="*/ 42 w 87"/>
                <a:gd name="T17" fmla="*/ 0 h 131"/>
                <a:gd name="T18" fmla="*/ 1 w 87"/>
                <a:gd name="T19" fmla="*/ 0 h 131"/>
                <a:gd name="T20" fmla="*/ 23 w 87"/>
                <a:gd name="T21" fmla="*/ 17 h 131"/>
                <a:gd name="T22" fmla="*/ 36 w 87"/>
                <a:gd name="T23" fmla="*/ 17 h 131"/>
                <a:gd name="T24" fmla="*/ 56 w 87"/>
                <a:gd name="T25" fmla="*/ 35 h 131"/>
                <a:gd name="T26" fmla="*/ 38 w 87"/>
                <a:gd name="T27" fmla="*/ 55 h 131"/>
                <a:gd name="T28" fmla="*/ 22 w 87"/>
                <a:gd name="T29" fmla="*/ 55 h 131"/>
                <a:gd name="T30" fmla="*/ 23 w 87"/>
                <a:gd name="T31" fmla="*/ 17 h 131"/>
                <a:gd name="T32" fmla="*/ 22 w 87"/>
                <a:gd name="T33" fmla="*/ 74 h 131"/>
                <a:gd name="T34" fmla="*/ 40 w 87"/>
                <a:gd name="T35" fmla="*/ 74 h 131"/>
                <a:gd name="T36" fmla="*/ 64 w 87"/>
                <a:gd name="T37" fmla="*/ 92 h 131"/>
                <a:gd name="T38" fmla="*/ 39 w 87"/>
                <a:gd name="T39" fmla="*/ 113 h 131"/>
                <a:gd name="T40" fmla="*/ 22 w 87"/>
                <a:gd name="T41" fmla="*/ 113 h 131"/>
                <a:gd name="T42" fmla="*/ 22 w 87"/>
                <a:gd name="T43" fmla="*/ 7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131">
                  <a:moveTo>
                    <a:pt x="1" y="0"/>
                  </a:moveTo>
                  <a:cubicBezTo>
                    <a:pt x="1" y="3"/>
                    <a:pt x="0" y="129"/>
                    <a:pt x="0" y="131"/>
                  </a:cubicBezTo>
                  <a:cubicBezTo>
                    <a:pt x="2" y="131"/>
                    <a:pt x="41" y="131"/>
                    <a:pt x="41" y="131"/>
                  </a:cubicBezTo>
                  <a:cubicBezTo>
                    <a:pt x="73" y="131"/>
                    <a:pt x="87" y="111"/>
                    <a:pt x="87" y="92"/>
                  </a:cubicBezTo>
                  <a:cubicBezTo>
                    <a:pt x="87" y="77"/>
                    <a:pt x="79" y="65"/>
                    <a:pt x="65" y="61"/>
                  </a:cubicBezTo>
                  <a:cubicBezTo>
                    <a:pt x="62" y="60"/>
                    <a:pt x="62" y="60"/>
                    <a:pt x="62" y="60"/>
                  </a:cubicBezTo>
                  <a:cubicBezTo>
                    <a:pt x="64" y="59"/>
                    <a:pt x="64" y="59"/>
                    <a:pt x="64" y="59"/>
                  </a:cubicBezTo>
                  <a:cubicBezTo>
                    <a:pt x="74" y="54"/>
                    <a:pt x="79" y="44"/>
                    <a:pt x="79" y="32"/>
                  </a:cubicBezTo>
                  <a:cubicBezTo>
                    <a:pt x="79" y="17"/>
                    <a:pt x="68" y="0"/>
                    <a:pt x="42" y="0"/>
                  </a:cubicBezTo>
                  <a:cubicBezTo>
                    <a:pt x="42" y="0"/>
                    <a:pt x="3" y="0"/>
                    <a:pt x="1" y="0"/>
                  </a:cubicBezTo>
                  <a:close/>
                  <a:moveTo>
                    <a:pt x="23" y="17"/>
                  </a:moveTo>
                  <a:cubicBezTo>
                    <a:pt x="36" y="17"/>
                    <a:pt x="36" y="17"/>
                    <a:pt x="36" y="17"/>
                  </a:cubicBezTo>
                  <a:cubicBezTo>
                    <a:pt x="49" y="17"/>
                    <a:pt x="56" y="24"/>
                    <a:pt x="56" y="35"/>
                  </a:cubicBezTo>
                  <a:cubicBezTo>
                    <a:pt x="56" y="47"/>
                    <a:pt x="47" y="55"/>
                    <a:pt x="38" y="55"/>
                  </a:cubicBezTo>
                  <a:cubicBezTo>
                    <a:pt x="22" y="55"/>
                    <a:pt x="22" y="55"/>
                    <a:pt x="22" y="55"/>
                  </a:cubicBezTo>
                  <a:lnTo>
                    <a:pt x="23" y="17"/>
                  </a:lnTo>
                  <a:close/>
                  <a:moveTo>
                    <a:pt x="22" y="74"/>
                  </a:moveTo>
                  <a:cubicBezTo>
                    <a:pt x="40" y="74"/>
                    <a:pt x="40" y="74"/>
                    <a:pt x="40" y="74"/>
                  </a:cubicBezTo>
                  <a:cubicBezTo>
                    <a:pt x="55" y="74"/>
                    <a:pt x="64" y="81"/>
                    <a:pt x="64" y="92"/>
                  </a:cubicBezTo>
                  <a:cubicBezTo>
                    <a:pt x="64" y="105"/>
                    <a:pt x="55" y="113"/>
                    <a:pt x="39" y="113"/>
                  </a:cubicBezTo>
                  <a:cubicBezTo>
                    <a:pt x="22" y="113"/>
                    <a:pt x="22" y="113"/>
                    <a:pt x="22" y="113"/>
                  </a:cubicBezTo>
                  <a:lnTo>
                    <a:pt x="22" y="74"/>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62" name="Freeform 17"/>
            <p:cNvSpPr>
              <a:spLocks noEditPoints="1"/>
            </p:cNvSpPr>
            <p:nvPr userDrawn="1"/>
          </p:nvSpPr>
          <p:spPr bwMode="auto">
            <a:xfrm>
              <a:off x="8546184" y="4923177"/>
              <a:ext cx="66486" cy="66190"/>
            </a:xfrm>
            <a:custGeom>
              <a:avLst/>
              <a:gdLst>
                <a:gd name="T0" fmla="*/ 75 w 88"/>
                <a:gd name="T1" fmla="*/ 78 h 91"/>
                <a:gd name="T2" fmla="*/ 44 w 88"/>
                <a:gd name="T3" fmla="*/ 91 h 91"/>
                <a:gd name="T4" fmla="*/ 14 w 88"/>
                <a:gd name="T5" fmla="*/ 80 h 91"/>
                <a:gd name="T6" fmla="*/ 0 w 88"/>
                <a:gd name="T7" fmla="*/ 46 h 91"/>
                <a:gd name="T8" fmla="*/ 13 w 88"/>
                <a:gd name="T9" fmla="*/ 12 h 91"/>
                <a:gd name="T10" fmla="*/ 44 w 88"/>
                <a:gd name="T11" fmla="*/ 0 h 91"/>
                <a:gd name="T12" fmla="*/ 76 w 88"/>
                <a:gd name="T13" fmla="*/ 12 h 91"/>
                <a:gd name="T14" fmla="*/ 88 w 88"/>
                <a:gd name="T15" fmla="*/ 45 h 91"/>
                <a:gd name="T16" fmla="*/ 75 w 88"/>
                <a:gd name="T17" fmla="*/ 78 h 91"/>
                <a:gd name="T18" fmla="*/ 44 w 88"/>
                <a:gd name="T19" fmla="*/ 17 h 91"/>
                <a:gd name="T20" fmla="*/ 23 w 88"/>
                <a:gd name="T21" fmla="*/ 45 h 91"/>
                <a:gd name="T22" fmla="*/ 44 w 88"/>
                <a:gd name="T23" fmla="*/ 73 h 91"/>
                <a:gd name="T24" fmla="*/ 65 w 88"/>
                <a:gd name="T25" fmla="*/ 45 h 91"/>
                <a:gd name="T26" fmla="*/ 44 w 88"/>
                <a:gd name="T27"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91">
                  <a:moveTo>
                    <a:pt x="75" y="78"/>
                  </a:moveTo>
                  <a:cubicBezTo>
                    <a:pt x="68" y="86"/>
                    <a:pt x="57" y="91"/>
                    <a:pt x="44" y="91"/>
                  </a:cubicBezTo>
                  <a:cubicBezTo>
                    <a:pt x="32" y="91"/>
                    <a:pt x="21" y="87"/>
                    <a:pt x="14" y="80"/>
                  </a:cubicBezTo>
                  <a:cubicBezTo>
                    <a:pt x="5" y="72"/>
                    <a:pt x="0" y="60"/>
                    <a:pt x="0" y="46"/>
                  </a:cubicBezTo>
                  <a:cubicBezTo>
                    <a:pt x="0" y="32"/>
                    <a:pt x="5" y="20"/>
                    <a:pt x="13" y="12"/>
                  </a:cubicBezTo>
                  <a:cubicBezTo>
                    <a:pt x="21" y="4"/>
                    <a:pt x="31" y="0"/>
                    <a:pt x="44" y="0"/>
                  </a:cubicBezTo>
                  <a:cubicBezTo>
                    <a:pt x="57" y="0"/>
                    <a:pt x="68" y="4"/>
                    <a:pt x="76" y="12"/>
                  </a:cubicBezTo>
                  <a:cubicBezTo>
                    <a:pt x="84" y="20"/>
                    <a:pt x="88" y="32"/>
                    <a:pt x="88" y="45"/>
                  </a:cubicBezTo>
                  <a:cubicBezTo>
                    <a:pt x="88" y="58"/>
                    <a:pt x="83" y="70"/>
                    <a:pt x="75" y="78"/>
                  </a:cubicBezTo>
                  <a:close/>
                  <a:moveTo>
                    <a:pt x="44" y="17"/>
                  </a:moveTo>
                  <a:cubicBezTo>
                    <a:pt x="30" y="17"/>
                    <a:pt x="23" y="29"/>
                    <a:pt x="23" y="45"/>
                  </a:cubicBezTo>
                  <a:cubicBezTo>
                    <a:pt x="23" y="62"/>
                    <a:pt x="31" y="73"/>
                    <a:pt x="44" y="73"/>
                  </a:cubicBezTo>
                  <a:cubicBezTo>
                    <a:pt x="58" y="73"/>
                    <a:pt x="65" y="61"/>
                    <a:pt x="65" y="45"/>
                  </a:cubicBezTo>
                  <a:cubicBezTo>
                    <a:pt x="65" y="28"/>
                    <a:pt x="57" y="17"/>
                    <a:pt x="44" y="1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63" name="Freeform 18"/>
            <p:cNvSpPr>
              <a:spLocks/>
            </p:cNvSpPr>
            <p:nvPr userDrawn="1"/>
          </p:nvSpPr>
          <p:spPr bwMode="auto">
            <a:xfrm>
              <a:off x="8728298" y="4923177"/>
              <a:ext cx="60705" cy="65574"/>
            </a:xfrm>
            <a:custGeom>
              <a:avLst/>
              <a:gdLst>
                <a:gd name="T0" fmla="*/ 58 w 80"/>
                <a:gd name="T1" fmla="*/ 90 h 90"/>
                <a:gd name="T2" fmla="*/ 58 w 80"/>
                <a:gd name="T3" fmla="*/ 38 h 90"/>
                <a:gd name="T4" fmla="*/ 45 w 80"/>
                <a:gd name="T5" fmla="*/ 19 h 90"/>
                <a:gd name="T6" fmla="*/ 23 w 80"/>
                <a:gd name="T7" fmla="*/ 28 h 90"/>
                <a:gd name="T8" fmla="*/ 23 w 80"/>
                <a:gd name="T9" fmla="*/ 74 h 90"/>
                <a:gd name="T10" fmla="*/ 0 w 80"/>
                <a:gd name="T11" fmla="*/ 90 h 90"/>
                <a:gd name="T12" fmla="*/ 0 w 80"/>
                <a:gd name="T13" fmla="*/ 2 h 90"/>
                <a:gd name="T14" fmla="*/ 19 w 80"/>
                <a:gd name="T15" fmla="*/ 2 h 90"/>
                <a:gd name="T16" fmla="*/ 22 w 80"/>
                <a:gd name="T17" fmla="*/ 11 h 90"/>
                <a:gd name="T18" fmla="*/ 52 w 80"/>
                <a:gd name="T19" fmla="*/ 0 h 90"/>
                <a:gd name="T20" fmla="*/ 80 w 80"/>
                <a:gd name="T21" fmla="*/ 31 h 90"/>
                <a:gd name="T22" fmla="*/ 80 w 80"/>
                <a:gd name="T23" fmla="*/ 74 h 90"/>
                <a:gd name="T24" fmla="*/ 58 w 80"/>
                <a:gd name="T2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90">
                  <a:moveTo>
                    <a:pt x="58" y="90"/>
                  </a:moveTo>
                  <a:cubicBezTo>
                    <a:pt x="58" y="38"/>
                    <a:pt x="58" y="38"/>
                    <a:pt x="58" y="38"/>
                  </a:cubicBezTo>
                  <a:cubicBezTo>
                    <a:pt x="58" y="29"/>
                    <a:pt x="56" y="19"/>
                    <a:pt x="45" y="19"/>
                  </a:cubicBezTo>
                  <a:cubicBezTo>
                    <a:pt x="37" y="19"/>
                    <a:pt x="29" y="23"/>
                    <a:pt x="23" y="28"/>
                  </a:cubicBezTo>
                  <a:cubicBezTo>
                    <a:pt x="23" y="28"/>
                    <a:pt x="23" y="57"/>
                    <a:pt x="23" y="74"/>
                  </a:cubicBezTo>
                  <a:cubicBezTo>
                    <a:pt x="23" y="90"/>
                    <a:pt x="0" y="90"/>
                    <a:pt x="0" y="90"/>
                  </a:cubicBezTo>
                  <a:cubicBezTo>
                    <a:pt x="0" y="2"/>
                    <a:pt x="0" y="2"/>
                    <a:pt x="0" y="2"/>
                  </a:cubicBezTo>
                  <a:cubicBezTo>
                    <a:pt x="19" y="2"/>
                    <a:pt x="19" y="2"/>
                    <a:pt x="19" y="2"/>
                  </a:cubicBezTo>
                  <a:cubicBezTo>
                    <a:pt x="22" y="11"/>
                    <a:pt x="22" y="11"/>
                    <a:pt x="22" y="11"/>
                  </a:cubicBezTo>
                  <a:cubicBezTo>
                    <a:pt x="31" y="4"/>
                    <a:pt x="40" y="0"/>
                    <a:pt x="52" y="0"/>
                  </a:cubicBezTo>
                  <a:cubicBezTo>
                    <a:pt x="65" y="0"/>
                    <a:pt x="80" y="8"/>
                    <a:pt x="80" y="31"/>
                  </a:cubicBezTo>
                  <a:cubicBezTo>
                    <a:pt x="80" y="31"/>
                    <a:pt x="80" y="57"/>
                    <a:pt x="80" y="74"/>
                  </a:cubicBezTo>
                  <a:cubicBezTo>
                    <a:pt x="80" y="90"/>
                    <a:pt x="58" y="90"/>
                    <a:pt x="58" y="9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64" name="Freeform 19"/>
            <p:cNvSpPr>
              <a:spLocks/>
            </p:cNvSpPr>
            <p:nvPr userDrawn="1"/>
          </p:nvSpPr>
          <p:spPr bwMode="auto">
            <a:xfrm>
              <a:off x="8501217" y="4923177"/>
              <a:ext cx="43361" cy="65574"/>
            </a:xfrm>
            <a:custGeom>
              <a:avLst/>
              <a:gdLst>
                <a:gd name="T0" fmla="*/ 49 w 57"/>
                <a:gd name="T1" fmla="*/ 22 h 90"/>
                <a:gd name="T2" fmla="*/ 39 w 57"/>
                <a:gd name="T3" fmla="*/ 20 h 90"/>
                <a:gd name="T4" fmla="*/ 22 w 57"/>
                <a:gd name="T5" fmla="*/ 27 h 90"/>
                <a:gd name="T6" fmla="*/ 22 w 57"/>
                <a:gd name="T7" fmla="*/ 74 h 90"/>
                <a:gd name="T8" fmla="*/ 0 w 57"/>
                <a:gd name="T9" fmla="*/ 90 h 90"/>
                <a:gd name="T10" fmla="*/ 0 w 57"/>
                <a:gd name="T11" fmla="*/ 2 h 90"/>
                <a:gd name="T12" fmla="*/ 19 w 57"/>
                <a:gd name="T13" fmla="*/ 2 h 90"/>
                <a:gd name="T14" fmla="*/ 21 w 57"/>
                <a:gd name="T15" fmla="*/ 11 h 90"/>
                <a:gd name="T16" fmla="*/ 45 w 57"/>
                <a:gd name="T17" fmla="*/ 0 h 90"/>
                <a:gd name="T18" fmla="*/ 57 w 57"/>
                <a:gd name="T19" fmla="*/ 4 h 90"/>
                <a:gd name="T20" fmla="*/ 49 w 57"/>
                <a:gd name="T21" fmla="*/ 2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0">
                  <a:moveTo>
                    <a:pt x="49" y="22"/>
                  </a:moveTo>
                  <a:cubicBezTo>
                    <a:pt x="46" y="20"/>
                    <a:pt x="42" y="20"/>
                    <a:pt x="39" y="20"/>
                  </a:cubicBezTo>
                  <a:cubicBezTo>
                    <a:pt x="34" y="20"/>
                    <a:pt x="28" y="22"/>
                    <a:pt x="22" y="27"/>
                  </a:cubicBezTo>
                  <a:cubicBezTo>
                    <a:pt x="22" y="27"/>
                    <a:pt x="22" y="57"/>
                    <a:pt x="22" y="74"/>
                  </a:cubicBezTo>
                  <a:cubicBezTo>
                    <a:pt x="22" y="90"/>
                    <a:pt x="0" y="90"/>
                    <a:pt x="0" y="90"/>
                  </a:cubicBezTo>
                  <a:cubicBezTo>
                    <a:pt x="0" y="2"/>
                    <a:pt x="0" y="2"/>
                    <a:pt x="0" y="2"/>
                  </a:cubicBezTo>
                  <a:cubicBezTo>
                    <a:pt x="19" y="2"/>
                    <a:pt x="19" y="2"/>
                    <a:pt x="19"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65" name="Freeform 20"/>
            <p:cNvSpPr>
              <a:spLocks/>
            </p:cNvSpPr>
            <p:nvPr userDrawn="1"/>
          </p:nvSpPr>
          <p:spPr bwMode="auto">
            <a:xfrm>
              <a:off x="7766657" y="4864376"/>
              <a:ext cx="100211" cy="148389"/>
            </a:xfrm>
            <a:custGeom>
              <a:avLst/>
              <a:gdLst>
                <a:gd name="T0" fmla="*/ 0 w 132"/>
                <a:gd name="T1" fmla="*/ 23 h 204"/>
                <a:gd name="T2" fmla="*/ 1 w 132"/>
                <a:gd name="T3" fmla="*/ 22 h 204"/>
                <a:gd name="T4" fmla="*/ 67 w 132"/>
                <a:gd name="T5" fmla="*/ 20 h 204"/>
                <a:gd name="T6" fmla="*/ 80 w 132"/>
                <a:gd name="T7" fmla="*/ 52 h 204"/>
                <a:gd name="T8" fmla="*/ 113 w 132"/>
                <a:gd name="T9" fmla="*/ 65 h 204"/>
                <a:gd name="T10" fmla="*/ 111 w 132"/>
                <a:gd name="T11" fmla="*/ 132 h 204"/>
                <a:gd name="T12" fmla="*/ 38 w 132"/>
                <a:gd name="T13" fmla="*/ 204 h 204"/>
                <a:gd name="T14" fmla="*/ 16 w 132"/>
                <a:gd name="T15" fmla="*/ 182 h 204"/>
                <a:gd name="T16" fmla="*/ 88 w 132"/>
                <a:gd name="T17" fmla="*/ 110 h 204"/>
                <a:gd name="T18" fmla="*/ 91 w 132"/>
                <a:gd name="T19" fmla="*/ 86 h 204"/>
                <a:gd name="T20" fmla="*/ 67 w 132"/>
                <a:gd name="T21" fmla="*/ 88 h 204"/>
                <a:gd name="T22" fmla="*/ 0 w 132"/>
                <a:gd name="T23" fmla="*/ 155 h 204"/>
                <a:gd name="T24" fmla="*/ 0 w 132"/>
                <a:gd name="T25" fmla="*/ 111 h 204"/>
                <a:gd name="T26" fmla="*/ 45 w 132"/>
                <a:gd name="T27" fmla="*/ 66 h 204"/>
                <a:gd name="T28" fmla="*/ 46 w 132"/>
                <a:gd name="T29" fmla="*/ 42 h 204"/>
                <a:gd name="T30" fmla="*/ 22 w 132"/>
                <a:gd name="T31" fmla="*/ 44 h 204"/>
                <a:gd name="T32" fmla="*/ 0 w 132"/>
                <a:gd name="T33" fmla="*/ 66 h 204"/>
                <a:gd name="T34" fmla="*/ 0 w 132"/>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204">
                  <a:moveTo>
                    <a:pt x="0" y="23"/>
                  </a:moveTo>
                  <a:cubicBezTo>
                    <a:pt x="1" y="22"/>
                    <a:pt x="1" y="22"/>
                    <a:pt x="1" y="22"/>
                  </a:cubicBezTo>
                  <a:cubicBezTo>
                    <a:pt x="23" y="0"/>
                    <a:pt x="50" y="2"/>
                    <a:pt x="67" y="20"/>
                  </a:cubicBezTo>
                  <a:cubicBezTo>
                    <a:pt x="80" y="32"/>
                    <a:pt x="81" y="46"/>
                    <a:pt x="80" y="52"/>
                  </a:cubicBezTo>
                  <a:cubicBezTo>
                    <a:pt x="86" y="51"/>
                    <a:pt x="100" y="52"/>
                    <a:pt x="113" y="65"/>
                  </a:cubicBezTo>
                  <a:cubicBezTo>
                    <a:pt x="130" y="82"/>
                    <a:pt x="132" y="110"/>
                    <a:pt x="111" y="132"/>
                  </a:cubicBezTo>
                  <a:cubicBezTo>
                    <a:pt x="38" y="204"/>
                    <a:pt x="38" y="204"/>
                    <a:pt x="38" y="204"/>
                  </a:cubicBezTo>
                  <a:cubicBezTo>
                    <a:pt x="16" y="182"/>
                    <a:pt x="16" y="182"/>
                    <a:pt x="16" y="182"/>
                  </a:cubicBezTo>
                  <a:cubicBezTo>
                    <a:pt x="88" y="110"/>
                    <a:pt x="88" y="110"/>
                    <a:pt x="88" y="110"/>
                  </a:cubicBezTo>
                  <a:cubicBezTo>
                    <a:pt x="97" y="101"/>
                    <a:pt x="96" y="91"/>
                    <a:pt x="91" y="86"/>
                  </a:cubicBezTo>
                  <a:cubicBezTo>
                    <a:pt x="85" y="80"/>
                    <a:pt x="75" y="79"/>
                    <a:pt x="67" y="88"/>
                  </a:cubicBezTo>
                  <a:cubicBezTo>
                    <a:pt x="0" y="155"/>
                    <a:pt x="0" y="155"/>
                    <a:pt x="0" y="155"/>
                  </a:cubicBezTo>
                  <a:cubicBezTo>
                    <a:pt x="0" y="111"/>
                    <a:pt x="0" y="111"/>
                    <a:pt x="0" y="111"/>
                  </a:cubicBezTo>
                  <a:cubicBezTo>
                    <a:pt x="45" y="66"/>
                    <a:pt x="45" y="66"/>
                    <a:pt x="45" y="66"/>
                  </a:cubicBezTo>
                  <a:cubicBezTo>
                    <a:pt x="53" y="57"/>
                    <a:pt x="52" y="47"/>
                    <a:pt x="46" y="42"/>
                  </a:cubicBezTo>
                  <a:cubicBezTo>
                    <a:pt x="41" y="36"/>
                    <a:pt x="31" y="35"/>
                    <a:pt x="22" y="44"/>
                  </a:cubicBezTo>
                  <a:cubicBezTo>
                    <a:pt x="0" y="66"/>
                    <a:pt x="0" y="66"/>
                    <a:pt x="0" y="66"/>
                  </a:cubicBezTo>
                  <a:lnTo>
                    <a:pt x="0"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66" name="Freeform 21"/>
            <p:cNvSpPr>
              <a:spLocks noEditPoints="1"/>
            </p:cNvSpPr>
            <p:nvPr userDrawn="1"/>
          </p:nvSpPr>
          <p:spPr bwMode="auto">
            <a:xfrm>
              <a:off x="7980890" y="5040472"/>
              <a:ext cx="51390" cy="57878"/>
            </a:xfrm>
            <a:custGeom>
              <a:avLst/>
              <a:gdLst>
                <a:gd name="T0" fmla="*/ 0 w 68"/>
                <a:gd name="T1" fmla="*/ 40 h 80"/>
                <a:gd name="T2" fmla="*/ 35 w 68"/>
                <a:gd name="T3" fmla="*/ 0 h 80"/>
                <a:gd name="T4" fmla="*/ 68 w 68"/>
                <a:gd name="T5" fmla="*/ 41 h 80"/>
                <a:gd name="T6" fmla="*/ 68 w 68"/>
                <a:gd name="T7" fmla="*/ 46 h 80"/>
                <a:gd name="T8" fmla="*/ 20 w 68"/>
                <a:gd name="T9" fmla="*/ 46 h 80"/>
                <a:gd name="T10" fmla="*/ 41 w 68"/>
                <a:gd name="T11" fmla="*/ 65 h 80"/>
                <a:gd name="T12" fmla="*/ 60 w 68"/>
                <a:gd name="T13" fmla="*/ 60 h 80"/>
                <a:gd name="T14" fmla="*/ 66 w 68"/>
                <a:gd name="T15" fmla="*/ 73 h 80"/>
                <a:gd name="T16" fmla="*/ 39 w 68"/>
                <a:gd name="T17" fmla="*/ 80 h 80"/>
                <a:gd name="T18" fmla="*/ 0 w 68"/>
                <a:gd name="T19" fmla="*/ 40 h 80"/>
                <a:gd name="T20" fmla="*/ 49 w 68"/>
                <a:gd name="T21" fmla="*/ 32 h 80"/>
                <a:gd name="T22" fmla="*/ 34 w 68"/>
                <a:gd name="T23" fmla="*/ 15 h 80"/>
                <a:gd name="T24" fmla="*/ 19 w 68"/>
                <a:gd name="T25" fmla="*/ 32 h 80"/>
                <a:gd name="T26" fmla="*/ 49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3" y="0"/>
                    <a:pt x="35" y="0"/>
                  </a:cubicBezTo>
                  <a:cubicBezTo>
                    <a:pt x="56" y="0"/>
                    <a:pt x="68" y="16"/>
                    <a:pt x="68" y="41"/>
                  </a:cubicBezTo>
                  <a:cubicBezTo>
                    <a:pt x="68" y="46"/>
                    <a:pt x="68" y="46"/>
                    <a:pt x="68" y="46"/>
                  </a:cubicBezTo>
                  <a:cubicBezTo>
                    <a:pt x="20" y="46"/>
                    <a:pt x="20" y="46"/>
                    <a:pt x="20" y="46"/>
                  </a:cubicBezTo>
                  <a:cubicBezTo>
                    <a:pt x="20" y="57"/>
                    <a:pt x="28" y="65"/>
                    <a:pt x="41" y="65"/>
                  </a:cubicBezTo>
                  <a:cubicBezTo>
                    <a:pt x="49" y="65"/>
                    <a:pt x="55" y="63"/>
                    <a:pt x="60" y="60"/>
                  </a:cubicBezTo>
                  <a:cubicBezTo>
                    <a:pt x="66" y="73"/>
                    <a:pt x="66" y="73"/>
                    <a:pt x="66" y="73"/>
                  </a:cubicBezTo>
                  <a:cubicBezTo>
                    <a:pt x="58" y="78"/>
                    <a:pt x="49" y="80"/>
                    <a:pt x="39" y="80"/>
                  </a:cubicBezTo>
                  <a:cubicBezTo>
                    <a:pt x="11" y="80"/>
                    <a:pt x="0" y="61"/>
                    <a:pt x="0" y="40"/>
                  </a:cubicBezTo>
                  <a:close/>
                  <a:moveTo>
                    <a:pt x="49" y="32"/>
                  </a:moveTo>
                  <a:cubicBezTo>
                    <a:pt x="49" y="23"/>
                    <a:pt x="44" y="15"/>
                    <a:pt x="34" y="15"/>
                  </a:cubicBezTo>
                  <a:cubicBezTo>
                    <a:pt x="25" y="15"/>
                    <a:pt x="19" y="23"/>
                    <a:pt x="19" y="32"/>
                  </a:cubicBezTo>
                  <a:lnTo>
                    <a:pt x="49"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67" name="Freeform 22"/>
            <p:cNvSpPr>
              <a:spLocks/>
            </p:cNvSpPr>
            <p:nvPr userDrawn="1"/>
          </p:nvSpPr>
          <p:spPr bwMode="auto">
            <a:xfrm>
              <a:off x="8295656" y="5041088"/>
              <a:ext cx="37258" cy="56031"/>
            </a:xfrm>
            <a:custGeom>
              <a:avLst/>
              <a:gdLst>
                <a:gd name="T0" fmla="*/ 42 w 49"/>
                <a:gd name="T1" fmla="*/ 19 h 77"/>
                <a:gd name="T2" fmla="*/ 33 w 49"/>
                <a:gd name="T3" fmla="*/ 16 h 77"/>
                <a:gd name="T4" fmla="*/ 19 w 49"/>
                <a:gd name="T5" fmla="*/ 23 h 77"/>
                <a:gd name="T6" fmla="*/ 19 w 49"/>
                <a:gd name="T7" fmla="*/ 63 h 77"/>
                <a:gd name="T8" fmla="*/ 0 w 49"/>
                <a:gd name="T9" fmla="*/ 77 h 77"/>
                <a:gd name="T10" fmla="*/ 0 w 49"/>
                <a:gd name="T11" fmla="*/ 1 h 77"/>
                <a:gd name="T12" fmla="*/ 16 w 49"/>
                <a:gd name="T13" fmla="*/ 1 h 77"/>
                <a:gd name="T14" fmla="*/ 18 w 49"/>
                <a:gd name="T15" fmla="*/ 9 h 77"/>
                <a:gd name="T16" fmla="*/ 39 w 49"/>
                <a:gd name="T17" fmla="*/ 0 h 77"/>
                <a:gd name="T18" fmla="*/ 49 w 49"/>
                <a:gd name="T19" fmla="*/ 3 h 77"/>
                <a:gd name="T20" fmla="*/ 42 w 49"/>
                <a:gd name="T21"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77">
                  <a:moveTo>
                    <a:pt x="42" y="19"/>
                  </a:moveTo>
                  <a:cubicBezTo>
                    <a:pt x="39" y="17"/>
                    <a:pt x="36" y="16"/>
                    <a:pt x="33" y="16"/>
                  </a:cubicBezTo>
                  <a:cubicBezTo>
                    <a:pt x="29" y="16"/>
                    <a:pt x="24" y="18"/>
                    <a:pt x="19" y="23"/>
                  </a:cubicBezTo>
                  <a:cubicBezTo>
                    <a:pt x="19" y="2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2"/>
                    <a:pt x="32" y="0"/>
                    <a:pt x="39" y="0"/>
                  </a:cubicBezTo>
                  <a:cubicBezTo>
                    <a:pt x="42" y="0"/>
                    <a:pt x="46" y="1"/>
                    <a:pt x="49" y="3"/>
                  </a:cubicBezTo>
                  <a:lnTo>
                    <a:pt x="42" y="1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68" name="Freeform 23"/>
            <p:cNvSpPr>
              <a:spLocks noEditPoints="1"/>
            </p:cNvSpPr>
            <p:nvPr userDrawn="1"/>
          </p:nvSpPr>
          <p:spPr bwMode="auto">
            <a:xfrm>
              <a:off x="8178743" y="5040472"/>
              <a:ext cx="51712" cy="57878"/>
            </a:xfrm>
            <a:custGeom>
              <a:avLst/>
              <a:gdLst>
                <a:gd name="T0" fmla="*/ 0 w 68"/>
                <a:gd name="T1" fmla="*/ 40 h 80"/>
                <a:gd name="T2" fmla="*/ 34 w 68"/>
                <a:gd name="T3" fmla="*/ 0 h 80"/>
                <a:gd name="T4" fmla="*/ 68 w 68"/>
                <a:gd name="T5" fmla="*/ 41 h 80"/>
                <a:gd name="T6" fmla="*/ 68 w 68"/>
                <a:gd name="T7" fmla="*/ 46 h 80"/>
                <a:gd name="T8" fmla="*/ 19 w 68"/>
                <a:gd name="T9" fmla="*/ 46 h 80"/>
                <a:gd name="T10" fmla="*/ 41 w 68"/>
                <a:gd name="T11" fmla="*/ 65 h 80"/>
                <a:gd name="T12" fmla="*/ 60 w 68"/>
                <a:gd name="T13" fmla="*/ 60 h 80"/>
                <a:gd name="T14" fmla="*/ 66 w 68"/>
                <a:gd name="T15" fmla="*/ 73 h 80"/>
                <a:gd name="T16" fmla="*/ 39 w 68"/>
                <a:gd name="T17" fmla="*/ 80 h 80"/>
                <a:gd name="T18" fmla="*/ 0 w 68"/>
                <a:gd name="T19" fmla="*/ 40 h 80"/>
                <a:gd name="T20" fmla="*/ 49 w 68"/>
                <a:gd name="T21" fmla="*/ 32 h 80"/>
                <a:gd name="T22" fmla="*/ 34 w 68"/>
                <a:gd name="T23" fmla="*/ 15 h 80"/>
                <a:gd name="T24" fmla="*/ 19 w 68"/>
                <a:gd name="T25" fmla="*/ 32 h 80"/>
                <a:gd name="T26" fmla="*/ 49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3" y="0"/>
                    <a:pt x="34" y="0"/>
                  </a:cubicBezTo>
                  <a:cubicBezTo>
                    <a:pt x="56" y="0"/>
                    <a:pt x="68" y="16"/>
                    <a:pt x="68" y="41"/>
                  </a:cubicBezTo>
                  <a:cubicBezTo>
                    <a:pt x="68" y="46"/>
                    <a:pt x="68" y="46"/>
                    <a:pt x="68" y="46"/>
                  </a:cubicBezTo>
                  <a:cubicBezTo>
                    <a:pt x="19" y="46"/>
                    <a:pt x="19" y="46"/>
                    <a:pt x="19" y="46"/>
                  </a:cubicBezTo>
                  <a:cubicBezTo>
                    <a:pt x="20" y="57"/>
                    <a:pt x="28" y="65"/>
                    <a:pt x="41" y="65"/>
                  </a:cubicBezTo>
                  <a:cubicBezTo>
                    <a:pt x="49" y="65"/>
                    <a:pt x="55" y="63"/>
                    <a:pt x="60" y="60"/>
                  </a:cubicBezTo>
                  <a:cubicBezTo>
                    <a:pt x="66" y="73"/>
                    <a:pt x="66" y="73"/>
                    <a:pt x="66" y="73"/>
                  </a:cubicBezTo>
                  <a:cubicBezTo>
                    <a:pt x="58" y="78"/>
                    <a:pt x="48" y="80"/>
                    <a:pt x="39" y="80"/>
                  </a:cubicBezTo>
                  <a:cubicBezTo>
                    <a:pt x="11" y="80"/>
                    <a:pt x="0" y="61"/>
                    <a:pt x="0" y="40"/>
                  </a:cubicBezTo>
                  <a:close/>
                  <a:moveTo>
                    <a:pt x="49" y="32"/>
                  </a:moveTo>
                  <a:cubicBezTo>
                    <a:pt x="48" y="23"/>
                    <a:pt x="44" y="15"/>
                    <a:pt x="34" y="15"/>
                  </a:cubicBezTo>
                  <a:cubicBezTo>
                    <a:pt x="25" y="15"/>
                    <a:pt x="19" y="23"/>
                    <a:pt x="19" y="32"/>
                  </a:cubicBezTo>
                  <a:lnTo>
                    <a:pt x="49"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69" name="Freeform 24"/>
            <p:cNvSpPr>
              <a:spLocks noEditPoints="1"/>
            </p:cNvSpPr>
            <p:nvPr userDrawn="1"/>
          </p:nvSpPr>
          <p:spPr bwMode="auto">
            <a:xfrm>
              <a:off x="8236557" y="5040472"/>
              <a:ext cx="51390" cy="57878"/>
            </a:xfrm>
            <a:custGeom>
              <a:avLst/>
              <a:gdLst>
                <a:gd name="T0" fmla="*/ 0 w 68"/>
                <a:gd name="T1" fmla="*/ 40 h 80"/>
                <a:gd name="T2" fmla="*/ 34 w 68"/>
                <a:gd name="T3" fmla="*/ 0 h 80"/>
                <a:gd name="T4" fmla="*/ 68 w 68"/>
                <a:gd name="T5" fmla="*/ 41 h 80"/>
                <a:gd name="T6" fmla="*/ 68 w 68"/>
                <a:gd name="T7" fmla="*/ 46 h 80"/>
                <a:gd name="T8" fmla="*/ 19 w 68"/>
                <a:gd name="T9" fmla="*/ 46 h 80"/>
                <a:gd name="T10" fmla="*/ 40 w 68"/>
                <a:gd name="T11" fmla="*/ 65 h 80"/>
                <a:gd name="T12" fmla="*/ 60 w 68"/>
                <a:gd name="T13" fmla="*/ 60 h 80"/>
                <a:gd name="T14" fmla="*/ 65 w 68"/>
                <a:gd name="T15" fmla="*/ 73 h 80"/>
                <a:gd name="T16" fmla="*/ 39 w 68"/>
                <a:gd name="T17" fmla="*/ 80 h 80"/>
                <a:gd name="T18" fmla="*/ 0 w 68"/>
                <a:gd name="T19" fmla="*/ 40 h 80"/>
                <a:gd name="T20" fmla="*/ 48 w 68"/>
                <a:gd name="T21" fmla="*/ 32 h 80"/>
                <a:gd name="T22" fmla="*/ 34 w 68"/>
                <a:gd name="T23" fmla="*/ 15 h 80"/>
                <a:gd name="T24" fmla="*/ 19 w 68"/>
                <a:gd name="T25" fmla="*/ 32 h 80"/>
                <a:gd name="T26" fmla="*/ 48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2" y="0"/>
                    <a:pt x="34" y="0"/>
                  </a:cubicBezTo>
                  <a:cubicBezTo>
                    <a:pt x="55" y="0"/>
                    <a:pt x="68" y="16"/>
                    <a:pt x="68" y="41"/>
                  </a:cubicBezTo>
                  <a:cubicBezTo>
                    <a:pt x="68" y="46"/>
                    <a:pt x="68" y="46"/>
                    <a:pt x="68" y="46"/>
                  </a:cubicBezTo>
                  <a:cubicBezTo>
                    <a:pt x="19" y="46"/>
                    <a:pt x="19" y="46"/>
                    <a:pt x="19" y="46"/>
                  </a:cubicBezTo>
                  <a:cubicBezTo>
                    <a:pt x="19" y="57"/>
                    <a:pt x="28" y="65"/>
                    <a:pt x="40" y="65"/>
                  </a:cubicBezTo>
                  <a:cubicBezTo>
                    <a:pt x="48" y="65"/>
                    <a:pt x="54" y="63"/>
                    <a:pt x="60" y="60"/>
                  </a:cubicBezTo>
                  <a:cubicBezTo>
                    <a:pt x="65" y="73"/>
                    <a:pt x="65" y="73"/>
                    <a:pt x="65" y="73"/>
                  </a:cubicBezTo>
                  <a:cubicBezTo>
                    <a:pt x="57" y="78"/>
                    <a:pt x="48" y="80"/>
                    <a:pt x="39" y="80"/>
                  </a:cubicBezTo>
                  <a:cubicBezTo>
                    <a:pt x="11" y="80"/>
                    <a:pt x="0" y="61"/>
                    <a:pt x="0" y="40"/>
                  </a:cubicBezTo>
                  <a:close/>
                  <a:moveTo>
                    <a:pt x="48" y="32"/>
                  </a:moveTo>
                  <a:cubicBezTo>
                    <a:pt x="48" y="23"/>
                    <a:pt x="44" y="15"/>
                    <a:pt x="34" y="15"/>
                  </a:cubicBezTo>
                  <a:cubicBezTo>
                    <a:pt x="24" y="15"/>
                    <a:pt x="19" y="23"/>
                    <a:pt x="19" y="32"/>
                  </a:cubicBezTo>
                  <a:lnTo>
                    <a:pt x="48"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70" name="Freeform 25"/>
            <p:cNvSpPr>
              <a:spLocks/>
            </p:cNvSpPr>
            <p:nvPr userDrawn="1"/>
          </p:nvSpPr>
          <p:spPr bwMode="auto">
            <a:xfrm>
              <a:off x="8040631" y="5041088"/>
              <a:ext cx="37258" cy="56031"/>
            </a:xfrm>
            <a:custGeom>
              <a:avLst/>
              <a:gdLst>
                <a:gd name="T0" fmla="*/ 42 w 49"/>
                <a:gd name="T1" fmla="*/ 19 h 77"/>
                <a:gd name="T2" fmla="*/ 33 w 49"/>
                <a:gd name="T3" fmla="*/ 16 h 77"/>
                <a:gd name="T4" fmla="*/ 19 w 49"/>
                <a:gd name="T5" fmla="*/ 23 h 77"/>
                <a:gd name="T6" fmla="*/ 19 w 49"/>
                <a:gd name="T7" fmla="*/ 63 h 77"/>
                <a:gd name="T8" fmla="*/ 0 w 49"/>
                <a:gd name="T9" fmla="*/ 77 h 77"/>
                <a:gd name="T10" fmla="*/ 0 w 49"/>
                <a:gd name="T11" fmla="*/ 1 h 77"/>
                <a:gd name="T12" fmla="*/ 16 w 49"/>
                <a:gd name="T13" fmla="*/ 1 h 77"/>
                <a:gd name="T14" fmla="*/ 18 w 49"/>
                <a:gd name="T15" fmla="*/ 9 h 77"/>
                <a:gd name="T16" fmla="*/ 38 w 49"/>
                <a:gd name="T17" fmla="*/ 0 h 77"/>
                <a:gd name="T18" fmla="*/ 49 w 49"/>
                <a:gd name="T19" fmla="*/ 3 h 77"/>
                <a:gd name="T20" fmla="*/ 42 w 49"/>
                <a:gd name="T21"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77">
                  <a:moveTo>
                    <a:pt x="42" y="19"/>
                  </a:moveTo>
                  <a:cubicBezTo>
                    <a:pt x="39" y="17"/>
                    <a:pt x="35" y="16"/>
                    <a:pt x="33" y="16"/>
                  </a:cubicBezTo>
                  <a:cubicBezTo>
                    <a:pt x="29" y="16"/>
                    <a:pt x="24" y="18"/>
                    <a:pt x="19" y="23"/>
                  </a:cubicBezTo>
                  <a:cubicBezTo>
                    <a:pt x="19" y="2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2"/>
                    <a:pt x="31" y="0"/>
                    <a:pt x="38" y="0"/>
                  </a:cubicBezTo>
                  <a:cubicBezTo>
                    <a:pt x="42" y="0"/>
                    <a:pt x="46" y="1"/>
                    <a:pt x="49" y="3"/>
                  </a:cubicBezTo>
                  <a:lnTo>
                    <a:pt x="42" y="1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71" name="Freeform 26"/>
            <p:cNvSpPr>
              <a:spLocks/>
            </p:cNvSpPr>
            <p:nvPr userDrawn="1"/>
          </p:nvSpPr>
          <p:spPr bwMode="auto">
            <a:xfrm>
              <a:off x="8083992" y="5041088"/>
              <a:ext cx="86400" cy="56031"/>
            </a:xfrm>
            <a:custGeom>
              <a:avLst/>
              <a:gdLst>
                <a:gd name="T0" fmla="*/ 114 w 114"/>
                <a:gd name="T1" fmla="*/ 25 h 77"/>
                <a:gd name="T2" fmla="*/ 114 w 114"/>
                <a:gd name="T3" fmla="*/ 63 h 77"/>
                <a:gd name="T4" fmla="*/ 95 w 114"/>
                <a:gd name="T5" fmla="*/ 77 h 77"/>
                <a:gd name="T6" fmla="*/ 95 w 114"/>
                <a:gd name="T7" fmla="*/ 31 h 77"/>
                <a:gd name="T8" fmla="*/ 84 w 114"/>
                <a:gd name="T9" fmla="*/ 16 h 77"/>
                <a:gd name="T10" fmla="*/ 66 w 114"/>
                <a:gd name="T11" fmla="*/ 23 h 77"/>
                <a:gd name="T12" fmla="*/ 66 w 114"/>
                <a:gd name="T13" fmla="*/ 63 h 77"/>
                <a:gd name="T14" fmla="*/ 66 w 114"/>
                <a:gd name="T15" fmla="*/ 63 h 77"/>
                <a:gd name="T16" fmla="*/ 47 w 114"/>
                <a:gd name="T17" fmla="*/ 77 h 77"/>
                <a:gd name="T18" fmla="*/ 47 w 114"/>
                <a:gd name="T19" fmla="*/ 31 h 77"/>
                <a:gd name="T20" fmla="*/ 37 w 114"/>
                <a:gd name="T21" fmla="*/ 16 h 77"/>
                <a:gd name="T22" fmla="*/ 19 w 114"/>
                <a:gd name="T23" fmla="*/ 23 h 77"/>
                <a:gd name="T24" fmla="*/ 19 w 114"/>
                <a:gd name="T25" fmla="*/ 63 h 77"/>
                <a:gd name="T26" fmla="*/ 19 w 114"/>
                <a:gd name="T27" fmla="*/ 63 h 77"/>
                <a:gd name="T28" fmla="*/ 0 w 114"/>
                <a:gd name="T29" fmla="*/ 77 h 77"/>
                <a:gd name="T30" fmla="*/ 0 w 114"/>
                <a:gd name="T31" fmla="*/ 1 h 77"/>
                <a:gd name="T32" fmla="*/ 16 w 114"/>
                <a:gd name="T33" fmla="*/ 1 h 77"/>
                <a:gd name="T34" fmla="*/ 18 w 114"/>
                <a:gd name="T35" fmla="*/ 9 h 77"/>
                <a:gd name="T36" fmla="*/ 43 w 114"/>
                <a:gd name="T37" fmla="*/ 0 h 77"/>
                <a:gd name="T38" fmla="*/ 63 w 114"/>
                <a:gd name="T39" fmla="*/ 11 h 77"/>
                <a:gd name="T40" fmla="*/ 89 w 114"/>
                <a:gd name="T41" fmla="*/ 0 h 77"/>
                <a:gd name="T42" fmla="*/ 114 w 114"/>
                <a:gd name="T43" fmla="*/ 2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77">
                  <a:moveTo>
                    <a:pt x="114" y="25"/>
                  </a:moveTo>
                  <a:cubicBezTo>
                    <a:pt x="114" y="63"/>
                    <a:pt x="114" y="63"/>
                    <a:pt x="114" y="63"/>
                  </a:cubicBezTo>
                  <a:cubicBezTo>
                    <a:pt x="114" y="77"/>
                    <a:pt x="95" y="77"/>
                    <a:pt x="95" y="77"/>
                  </a:cubicBezTo>
                  <a:cubicBezTo>
                    <a:pt x="95" y="31"/>
                    <a:pt x="95" y="31"/>
                    <a:pt x="95" y="31"/>
                  </a:cubicBezTo>
                  <a:cubicBezTo>
                    <a:pt x="95" y="22"/>
                    <a:pt x="93" y="16"/>
                    <a:pt x="84" y="16"/>
                  </a:cubicBezTo>
                  <a:cubicBezTo>
                    <a:pt x="77" y="16"/>
                    <a:pt x="71" y="19"/>
                    <a:pt x="66" y="23"/>
                  </a:cubicBezTo>
                  <a:cubicBezTo>
                    <a:pt x="66" y="63"/>
                    <a:pt x="66" y="63"/>
                    <a:pt x="66" y="63"/>
                  </a:cubicBezTo>
                  <a:cubicBezTo>
                    <a:pt x="66" y="63"/>
                    <a:pt x="66" y="49"/>
                    <a:pt x="66" y="63"/>
                  </a:cubicBezTo>
                  <a:cubicBezTo>
                    <a:pt x="66" y="77"/>
                    <a:pt x="47" y="77"/>
                    <a:pt x="47" y="77"/>
                  </a:cubicBezTo>
                  <a:cubicBezTo>
                    <a:pt x="47" y="31"/>
                    <a:pt x="47" y="31"/>
                    <a:pt x="47" y="31"/>
                  </a:cubicBezTo>
                  <a:cubicBezTo>
                    <a:pt x="47" y="23"/>
                    <a:pt x="46" y="16"/>
                    <a:pt x="37" y="16"/>
                  </a:cubicBezTo>
                  <a:cubicBezTo>
                    <a:pt x="30" y="16"/>
                    <a:pt x="19" y="23"/>
                    <a:pt x="19" y="23"/>
                  </a:cubicBezTo>
                  <a:cubicBezTo>
                    <a:pt x="19" y="63"/>
                    <a:pt x="19" y="63"/>
                    <a:pt x="19" y="63"/>
                  </a:cubicBezTo>
                  <a:cubicBezTo>
                    <a:pt x="19" y="6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3"/>
                    <a:pt x="34" y="0"/>
                    <a:pt x="43" y="0"/>
                  </a:cubicBezTo>
                  <a:cubicBezTo>
                    <a:pt x="52" y="0"/>
                    <a:pt x="59" y="4"/>
                    <a:pt x="63" y="11"/>
                  </a:cubicBezTo>
                  <a:cubicBezTo>
                    <a:pt x="71" y="3"/>
                    <a:pt x="81" y="0"/>
                    <a:pt x="89" y="0"/>
                  </a:cubicBezTo>
                  <a:cubicBezTo>
                    <a:pt x="102" y="0"/>
                    <a:pt x="114" y="6"/>
                    <a:pt x="114" y="25"/>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72" name="Freeform 27"/>
            <p:cNvSpPr>
              <a:spLocks/>
            </p:cNvSpPr>
            <p:nvPr userDrawn="1"/>
          </p:nvSpPr>
          <p:spPr bwMode="auto">
            <a:xfrm>
              <a:off x="7908622" y="5019846"/>
              <a:ext cx="77407" cy="77889"/>
            </a:xfrm>
            <a:custGeom>
              <a:avLst/>
              <a:gdLst>
                <a:gd name="T0" fmla="*/ 43 w 102"/>
                <a:gd name="T1" fmla="*/ 107 h 107"/>
                <a:gd name="T2" fmla="*/ 65 w 102"/>
                <a:gd name="T3" fmla="*/ 91 h 107"/>
                <a:gd name="T4" fmla="*/ 102 w 102"/>
                <a:gd name="T5" fmla="*/ 0 h 107"/>
                <a:gd name="T6" fmla="*/ 81 w 102"/>
                <a:gd name="T7" fmla="*/ 0 h 107"/>
                <a:gd name="T8" fmla="*/ 51 w 102"/>
                <a:gd name="T9" fmla="*/ 78 h 107"/>
                <a:gd name="T10" fmla="*/ 51 w 102"/>
                <a:gd name="T11" fmla="*/ 78 h 107"/>
                <a:gd name="T12" fmla="*/ 21 w 102"/>
                <a:gd name="T13" fmla="*/ 0 h 107"/>
                <a:gd name="T14" fmla="*/ 0 w 102"/>
                <a:gd name="T15" fmla="*/ 0 h 107"/>
                <a:gd name="T16" fmla="*/ 43 w 102"/>
                <a:gd name="T17"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107">
                  <a:moveTo>
                    <a:pt x="43" y="107"/>
                  </a:moveTo>
                  <a:cubicBezTo>
                    <a:pt x="57" y="107"/>
                    <a:pt x="61" y="101"/>
                    <a:pt x="65" y="91"/>
                  </a:cubicBezTo>
                  <a:cubicBezTo>
                    <a:pt x="102" y="0"/>
                    <a:pt x="102" y="0"/>
                    <a:pt x="102" y="0"/>
                  </a:cubicBezTo>
                  <a:cubicBezTo>
                    <a:pt x="81" y="0"/>
                    <a:pt x="81" y="0"/>
                    <a:pt x="81" y="0"/>
                  </a:cubicBezTo>
                  <a:cubicBezTo>
                    <a:pt x="51" y="78"/>
                    <a:pt x="51" y="78"/>
                    <a:pt x="51" y="78"/>
                  </a:cubicBezTo>
                  <a:cubicBezTo>
                    <a:pt x="51" y="78"/>
                    <a:pt x="51" y="78"/>
                    <a:pt x="51" y="78"/>
                  </a:cubicBezTo>
                  <a:cubicBezTo>
                    <a:pt x="21" y="0"/>
                    <a:pt x="21" y="0"/>
                    <a:pt x="21" y="0"/>
                  </a:cubicBezTo>
                  <a:cubicBezTo>
                    <a:pt x="0" y="0"/>
                    <a:pt x="0" y="0"/>
                    <a:pt x="0" y="0"/>
                  </a:cubicBezTo>
                  <a:cubicBezTo>
                    <a:pt x="43" y="107"/>
                    <a:pt x="43" y="107"/>
                    <a:pt x="43" y="10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173" name="Group 172"/>
          <p:cNvGrpSpPr/>
          <p:nvPr userDrawn="1"/>
        </p:nvGrpSpPr>
        <p:grpSpPr>
          <a:xfrm>
            <a:off x="7686461" y="4906654"/>
            <a:ext cx="1124815" cy="151147"/>
            <a:chOff x="7686461" y="4581466"/>
            <a:chExt cx="1124815" cy="151147"/>
          </a:xfrm>
          <a:solidFill>
            <a:schemeClr val="bg1"/>
          </a:solidFill>
        </p:grpSpPr>
        <p:sp>
          <p:nvSpPr>
            <p:cNvPr id="174"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75"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76"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77"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78"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79"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80"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81"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82"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83"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84"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85"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86"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87"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88"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grpSp>
      <p:grpSp>
        <p:nvGrpSpPr>
          <p:cNvPr id="73" name="Group 72"/>
          <p:cNvGrpSpPr/>
          <p:nvPr userDrawn="1"/>
        </p:nvGrpSpPr>
        <p:grpSpPr>
          <a:xfrm>
            <a:off x="6223980" y="4846685"/>
            <a:ext cx="1123200" cy="262528"/>
            <a:chOff x="7673274" y="4343117"/>
            <a:chExt cx="1123200" cy="262528"/>
          </a:xfrm>
          <a:solidFill>
            <a:schemeClr val="bg1"/>
          </a:solidFill>
        </p:grpSpPr>
        <p:grpSp>
          <p:nvGrpSpPr>
            <p:cNvPr id="74" name="Group 73"/>
            <p:cNvGrpSpPr/>
            <p:nvPr userDrawn="1"/>
          </p:nvGrpSpPr>
          <p:grpSpPr>
            <a:xfrm>
              <a:off x="7909937" y="4494135"/>
              <a:ext cx="438357" cy="111510"/>
              <a:chOff x="7909937" y="4491754"/>
              <a:chExt cx="438357" cy="111510"/>
            </a:xfrm>
            <a:grpFill/>
          </p:grpSpPr>
          <p:sp>
            <p:nvSpPr>
              <p:cNvPr id="121" name="Freeform 21"/>
              <p:cNvSpPr>
                <a:spLocks noEditPoints="1"/>
              </p:cNvSpPr>
              <p:nvPr/>
            </p:nvSpPr>
            <p:spPr bwMode="auto">
              <a:xfrm>
                <a:off x="7909937" y="4496945"/>
                <a:ext cx="72264" cy="78286"/>
              </a:xfrm>
              <a:custGeom>
                <a:avLst/>
                <a:gdLst>
                  <a:gd name="T0" fmla="*/ 290 w 696"/>
                  <a:gd name="T1" fmla="*/ 0 h 754"/>
                  <a:gd name="T2" fmla="*/ 394 w 696"/>
                  <a:gd name="T3" fmla="*/ 0 h 754"/>
                  <a:gd name="T4" fmla="*/ 696 w 696"/>
                  <a:gd name="T5" fmla="*/ 754 h 754"/>
                  <a:gd name="T6" fmla="*/ 550 w 696"/>
                  <a:gd name="T7" fmla="*/ 754 h 754"/>
                  <a:gd name="T8" fmla="*/ 478 w 696"/>
                  <a:gd name="T9" fmla="*/ 566 h 754"/>
                  <a:gd name="T10" fmla="*/ 210 w 696"/>
                  <a:gd name="T11" fmla="*/ 566 h 754"/>
                  <a:gd name="T12" fmla="*/ 140 w 696"/>
                  <a:gd name="T13" fmla="*/ 754 h 754"/>
                  <a:gd name="T14" fmla="*/ 0 w 696"/>
                  <a:gd name="T15" fmla="*/ 754 h 754"/>
                  <a:gd name="T16" fmla="*/ 290 w 696"/>
                  <a:gd name="T17" fmla="*/ 0 h 754"/>
                  <a:gd name="T18" fmla="*/ 436 w 696"/>
                  <a:gd name="T19" fmla="*/ 456 h 754"/>
                  <a:gd name="T20" fmla="*/ 384 w 696"/>
                  <a:gd name="T21" fmla="*/ 306 h 754"/>
                  <a:gd name="T22" fmla="*/ 384 w 696"/>
                  <a:gd name="T23" fmla="*/ 306 h 754"/>
                  <a:gd name="T24" fmla="*/ 360 w 696"/>
                  <a:gd name="T25" fmla="*/ 236 h 754"/>
                  <a:gd name="T26" fmla="*/ 346 w 696"/>
                  <a:gd name="T27" fmla="*/ 190 h 754"/>
                  <a:gd name="T28" fmla="*/ 344 w 696"/>
                  <a:gd name="T29" fmla="*/ 190 h 754"/>
                  <a:gd name="T30" fmla="*/ 344 w 696"/>
                  <a:gd name="T31" fmla="*/ 190 h 754"/>
                  <a:gd name="T32" fmla="*/ 328 w 696"/>
                  <a:gd name="T33" fmla="*/ 236 h 754"/>
                  <a:gd name="T34" fmla="*/ 304 w 696"/>
                  <a:gd name="T35" fmla="*/ 306 h 754"/>
                  <a:gd name="T36" fmla="*/ 250 w 696"/>
                  <a:gd name="T37" fmla="*/ 456 h 754"/>
                  <a:gd name="T38" fmla="*/ 436 w 696"/>
                  <a:gd name="T39" fmla="*/ 456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6" h="754">
                    <a:moveTo>
                      <a:pt x="290" y="0"/>
                    </a:moveTo>
                    <a:lnTo>
                      <a:pt x="394" y="0"/>
                    </a:lnTo>
                    <a:lnTo>
                      <a:pt x="696" y="754"/>
                    </a:lnTo>
                    <a:lnTo>
                      <a:pt x="550" y="754"/>
                    </a:lnTo>
                    <a:lnTo>
                      <a:pt x="478" y="566"/>
                    </a:lnTo>
                    <a:lnTo>
                      <a:pt x="210" y="566"/>
                    </a:lnTo>
                    <a:lnTo>
                      <a:pt x="140" y="754"/>
                    </a:lnTo>
                    <a:lnTo>
                      <a:pt x="0" y="754"/>
                    </a:lnTo>
                    <a:lnTo>
                      <a:pt x="290" y="0"/>
                    </a:lnTo>
                    <a:close/>
                    <a:moveTo>
                      <a:pt x="436" y="456"/>
                    </a:moveTo>
                    <a:lnTo>
                      <a:pt x="384" y="306"/>
                    </a:lnTo>
                    <a:lnTo>
                      <a:pt x="384" y="306"/>
                    </a:lnTo>
                    <a:lnTo>
                      <a:pt x="360" y="236"/>
                    </a:lnTo>
                    <a:lnTo>
                      <a:pt x="346" y="190"/>
                    </a:lnTo>
                    <a:lnTo>
                      <a:pt x="344" y="190"/>
                    </a:lnTo>
                    <a:lnTo>
                      <a:pt x="344" y="190"/>
                    </a:lnTo>
                    <a:lnTo>
                      <a:pt x="328" y="236"/>
                    </a:lnTo>
                    <a:lnTo>
                      <a:pt x="304" y="306"/>
                    </a:lnTo>
                    <a:lnTo>
                      <a:pt x="250" y="456"/>
                    </a:lnTo>
                    <a:lnTo>
                      <a:pt x="436" y="4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2" name="Freeform 22"/>
              <p:cNvSpPr>
                <a:spLocks noEditPoints="1"/>
              </p:cNvSpPr>
              <p:nvPr/>
            </p:nvSpPr>
            <p:spPr bwMode="auto">
              <a:xfrm>
                <a:off x="8047404" y="4517918"/>
                <a:ext cx="48591" cy="58558"/>
              </a:xfrm>
              <a:custGeom>
                <a:avLst/>
                <a:gdLst>
                  <a:gd name="T0" fmla="*/ 334 w 468"/>
                  <a:gd name="T1" fmla="*/ 502 h 564"/>
                  <a:gd name="T2" fmla="*/ 302 w 468"/>
                  <a:gd name="T3" fmla="*/ 526 h 564"/>
                  <a:gd name="T4" fmla="*/ 266 w 468"/>
                  <a:gd name="T5" fmla="*/ 546 h 564"/>
                  <a:gd name="T6" fmla="*/ 226 w 468"/>
                  <a:gd name="T7" fmla="*/ 560 h 564"/>
                  <a:gd name="T8" fmla="*/ 178 w 468"/>
                  <a:gd name="T9" fmla="*/ 564 h 564"/>
                  <a:gd name="T10" fmla="*/ 160 w 468"/>
                  <a:gd name="T11" fmla="*/ 564 h 564"/>
                  <a:gd name="T12" fmla="*/ 124 w 468"/>
                  <a:gd name="T13" fmla="*/ 558 h 564"/>
                  <a:gd name="T14" fmla="*/ 92 w 468"/>
                  <a:gd name="T15" fmla="*/ 546 h 564"/>
                  <a:gd name="T16" fmla="*/ 62 w 468"/>
                  <a:gd name="T17" fmla="*/ 528 h 564"/>
                  <a:gd name="T18" fmla="*/ 38 w 468"/>
                  <a:gd name="T19" fmla="*/ 506 h 564"/>
                  <a:gd name="T20" fmla="*/ 20 w 468"/>
                  <a:gd name="T21" fmla="*/ 478 h 564"/>
                  <a:gd name="T22" fmla="*/ 6 w 468"/>
                  <a:gd name="T23" fmla="*/ 446 h 564"/>
                  <a:gd name="T24" fmla="*/ 0 w 468"/>
                  <a:gd name="T25" fmla="*/ 412 h 564"/>
                  <a:gd name="T26" fmla="*/ 0 w 468"/>
                  <a:gd name="T27" fmla="*/ 392 h 564"/>
                  <a:gd name="T28" fmla="*/ 6 w 468"/>
                  <a:gd name="T29" fmla="*/ 342 h 564"/>
                  <a:gd name="T30" fmla="*/ 24 w 468"/>
                  <a:gd name="T31" fmla="*/ 302 h 564"/>
                  <a:gd name="T32" fmla="*/ 52 w 468"/>
                  <a:gd name="T33" fmla="*/ 270 h 564"/>
                  <a:gd name="T34" fmla="*/ 90 w 468"/>
                  <a:gd name="T35" fmla="*/ 246 h 564"/>
                  <a:gd name="T36" fmla="*/ 120 w 468"/>
                  <a:gd name="T37" fmla="*/ 232 h 564"/>
                  <a:gd name="T38" fmla="*/ 190 w 468"/>
                  <a:gd name="T39" fmla="*/ 218 h 564"/>
                  <a:gd name="T40" fmla="*/ 322 w 468"/>
                  <a:gd name="T41" fmla="*/ 210 h 564"/>
                  <a:gd name="T42" fmla="*/ 322 w 468"/>
                  <a:gd name="T43" fmla="*/ 194 h 564"/>
                  <a:gd name="T44" fmla="*/ 314 w 468"/>
                  <a:gd name="T45" fmla="*/ 154 h 564"/>
                  <a:gd name="T46" fmla="*/ 294 w 468"/>
                  <a:gd name="T47" fmla="*/ 126 h 564"/>
                  <a:gd name="T48" fmla="*/ 260 w 468"/>
                  <a:gd name="T49" fmla="*/ 108 h 564"/>
                  <a:gd name="T50" fmla="*/ 218 w 468"/>
                  <a:gd name="T51" fmla="*/ 104 h 564"/>
                  <a:gd name="T52" fmla="*/ 198 w 468"/>
                  <a:gd name="T53" fmla="*/ 104 h 564"/>
                  <a:gd name="T54" fmla="*/ 160 w 468"/>
                  <a:gd name="T55" fmla="*/ 110 h 564"/>
                  <a:gd name="T56" fmla="*/ 108 w 468"/>
                  <a:gd name="T57" fmla="*/ 126 h 564"/>
                  <a:gd name="T58" fmla="*/ 32 w 468"/>
                  <a:gd name="T59" fmla="*/ 54 h 564"/>
                  <a:gd name="T60" fmla="*/ 56 w 468"/>
                  <a:gd name="T61" fmla="*/ 42 h 564"/>
                  <a:gd name="T62" fmla="*/ 106 w 468"/>
                  <a:gd name="T63" fmla="*/ 22 h 564"/>
                  <a:gd name="T64" fmla="*/ 158 w 468"/>
                  <a:gd name="T65" fmla="*/ 8 h 564"/>
                  <a:gd name="T66" fmla="*/ 212 w 468"/>
                  <a:gd name="T67" fmla="*/ 0 h 564"/>
                  <a:gd name="T68" fmla="*/ 240 w 468"/>
                  <a:gd name="T69" fmla="*/ 0 h 564"/>
                  <a:gd name="T70" fmla="*/ 292 w 468"/>
                  <a:gd name="T71" fmla="*/ 4 h 564"/>
                  <a:gd name="T72" fmla="*/ 336 w 468"/>
                  <a:gd name="T73" fmla="*/ 12 h 564"/>
                  <a:gd name="T74" fmla="*/ 372 w 468"/>
                  <a:gd name="T75" fmla="*/ 28 h 564"/>
                  <a:gd name="T76" fmla="*/ 404 w 468"/>
                  <a:gd name="T77" fmla="*/ 50 h 564"/>
                  <a:gd name="T78" fmla="*/ 426 w 468"/>
                  <a:gd name="T79" fmla="*/ 76 h 564"/>
                  <a:gd name="T80" fmla="*/ 444 w 468"/>
                  <a:gd name="T81" fmla="*/ 110 h 564"/>
                  <a:gd name="T82" fmla="*/ 454 w 468"/>
                  <a:gd name="T83" fmla="*/ 150 h 564"/>
                  <a:gd name="T84" fmla="*/ 458 w 468"/>
                  <a:gd name="T85" fmla="*/ 196 h 564"/>
                  <a:gd name="T86" fmla="*/ 458 w 468"/>
                  <a:gd name="T87" fmla="*/ 414 h 564"/>
                  <a:gd name="T88" fmla="*/ 460 w 468"/>
                  <a:gd name="T89" fmla="*/ 496 h 564"/>
                  <a:gd name="T90" fmla="*/ 468 w 468"/>
                  <a:gd name="T91" fmla="*/ 552 h 564"/>
                  <a:gd name="T92" fmla="*/ 334 w 468"/>
                  <a:gd name="T93" fmla="*/ 502 h 564"/>
                  <a:gd name="T94" fmla="*/ 248 w 468"/>
                  <a:gd name="T95" fmla="*/ 304 h 564"/>
                  <a:gd name="T96" fmla="*/ 204 w 468"/>
                  <a:gd name="T97" fmla="*/ 310 h 564"/>
                  <a:gd name="T98" fmla="*/ 170 w 468"/>
                  <a:gd name="T99" fmla="*/ 322 h 564"/>
                  <a:gd name="T100" fmla="*/ 162 w 468"/>
                  <a:gd name="T101" fmla="*/ 326 h 564"/>
                  <a:gd name="T102" fmla="*/ 150 w 468"/>
                  <a:gd name="T103" fmla="*/ 340 h 564"/>
                  <a:gd name="T104" fmla="*/ 142 w 468"/>
                  <a:gd name="T105" fmla="*/ 354 h 564"/>
                  <a:gd name="T106" fmla="*/ 138 w 468"/>
                  <a:gd name="T107" fmla="*/ 382 h 564"/>
                  <a:gd name="T108" fmla="*/ 138 w 468"/>
                  <a:gd name="T109" fmla="*/ 400 h 564"/>
                  <a:gd name="T110" fmla="*/ 150 w 468"/>
                  <a:gd name="T111" fmla="*/ 426 h 564"/>
                  <a:gd name="T112" fmla="*/ 170 w 468"/>
                  <a:gd name="T113" fmla="*/ 446 h 564"/>
                  <a:gd name="T114" fmla="*/ 200 w 468"/>
                  <a:gd name="T115" fmla="*/ 456 h 564"/>
                  <a:gd name="T116" fmla="*/ 216 w 468"/>
                  <a:gd name="T117" fmla="*/ 456 h 564"/>
                  <a:gd name="T118" fmla="*/ 252 w 468"/>
                  <a:gd name="T119" fmla="*/ 452 h 564"/>
                  <a:gd name="T120" fmla="*/ 282 w 468"/>
                  <a:gd name="T121" fmla="*/ 442 h 564"/>
                  <a:gd name="T122" fmla="*/ 322 w 468"/>
                  <a:gd name="T123" fmla="*/ 418 h 564"/>
                  <a:gd name="T124" fmla="*/ 248 w 468"/>
                  <a:gd name="T125" fmla="*/ 30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8" h="564">
                    <a:moveTo>
                      <a:pt x="334" y="502"/>
                    </a:moveTo>
                    <a:lnTo>
                      <a:pt x="334" y="502"/>
                    </a:lnTo>
                    <a:lnTo>
                      <a:pt x="318" y="514"/>
                    </a:lnTo>
                    <a:lnTo>
                      <a:pt x="302" y="526"/>
                    </a:lnTo>
                    <a:lnTo>
                      <a:pt x="284" y="536"/>
                    </a:lnTo>
                    <a:lnTo>
                      <a:pt x="266" y="546"/>
                    </a:lnTo>
                    <a:lnTo>
                      <a:pt x="246" y="554"/>
                    </a:lnTo>
                    <a:lnTo>
                      <a:pt x="226" y="560"/>
                    </a:lnTo>
                    <a:lnTo>
                      <a:pt x="202" y="562"/>
                    </a:lnTo>
                    <a:lnTo>
                      <a:pt x="178" y="564"/>
                    </a:lnTo>
                    <a:lnTo>
                      <a:pt x="178" y="564"/>
                    </a:lnTo>
                    <a:lnTo>
                      <a:pt x="160" y="564"/>
                    </a:lnTo>
                    <a:lnTo>
                      <a:pt x="140" y="560"/>
                    </a:lnTo>
                    <a:lnTo>
                      <a:pt x="124" y="558"/>
                    </a:lnTo>
                    <a:lnTo>
                      <a:pt x="106" y="552"/>
                    </a:lnTo>
                    <a:lnTo>
                      <a:pt x="92" y="546"/>
                    </a:lnTo>
                    <a:lnTo>
                      <a:pt x="76" y="538"/>
                    </a:lnTo>
                    <a:lnTo>
                      <a:pt x="62" y="528"/>
                    </a:lnTo>
                    <a:lnTo>
                      <a:pt x="50" y="516"/>
                    </a:lnTo>
                    <a:lnTo>
                      <a:pt x="38" y="506"/>
                    </a:lnTo>
                    <a:lnTo>
                      <a:pt x="28" y="492"/>
                    </a:lnTo>
                    <a:lnTo>
                      <a:pt x="20" y="478"/>
                    </a:lnTo>
                    <a:lnTo>
                      <a:pt x="12" y="462"/>
                    </a:lnTo>
                    <a:lnTo>
                      <a:pt x="6" y="446"/>
                    </a:lnTo>
                    <a:lnTo>
                      <a:pt x="2" y="430"/>
                    </a:lnTo>
                    <a:lnTo>
                      <a:pt x="0" y="412"/>
                    </a:lnTo>
                    <a:lnTo>
                      <a:pt x="0" y="392"/>
                    </a:lnTo>
                    <a:lnTo>
                      <a:pt x="0" y="392"/>
                    </a:lnTo>
                    <a:lnTo>
                      <a:pt x="0" y="366"/>
                    </a:lnTo>
                    <a:lnTo>
                      <a:pt x="6" y="342"/>
                    </a:lnTo>
                    <a:lnTo>
                      <a:pt x="14" y="320"/>
                    </a:lnTo>
                    <a:lnTo>
                      <a:pt x="24" y="302"/>
                    </a:lnTo>
                    <a:lnTo>
                      <a:pt x="36" y="284"/>
                    </a:lnTo>
                    <a:lnTo>
                      <a:pt x="52" y="270"/>
                    </a:lnTo>
                    <a:lnTo>
                      <a:pt x="70" y="256"/>
                    </a:lnTo>
                    <a:lnTo>
                      <a:pt x="90" y="246"/>
                    </a:lnTo>
                    <a:lnTo>
                      <a:pt x="90" y="246"/>
                    </a:lnTo>
                    <a:lnTo>
                      <a:pt x="120" y="232"/>
                    </a:lnTo>
                    <a:lnTo>
                      <a:pt x="154" y="224"/>
                    </a:lnTo>
                    <a:lnTo>
                      <a:pt x="190" y="218"/>
                    </a:lnTo>
                    <a:lnTo>
                      <a:pt x="230" y="214"/>
                    </a:lnTo>
                    <a:lnTo>
                      <a:pt x="322" y="210"/>
                    </a:lnTo>
                    <a:lnTo>
                      <a:pt x="322" y="194"/>
                    </a:lnTo>
                    <a:lnTo>
                      <a:pt x="322" y="194"/>
                    </a:lnTo>
                    <a:lnTo>
                      <a:pt x="320" y="172"/>
                    </a:lnTo>
                    <a:lnTo>
                      <a:pt x="314" y="154"/>
                    </a:lnTo>
                    <a:lnTo>
                      <a:pt x="306" y="138"/>
                    </a:lnTo>
                    <a:lnTo>
                      <a:pt x="294" y="126"/>
                    </a:lnTo>
                    <a:lnTo>
                      <a:pt x="278" y="116"/>
                    </a:lnTo>
                    <a:lnTo>
                      <a:pt x="260" y="108"/>
                    </a:lnTo>
                    <a:lnTo>
                      <a:pt x="240" y="106"/>
                    </a:lnTo>
                    <a:lnTo>
                      <a:pt x="218" y="104"/>
                    </a:lnTo>
                    <a:lnTo>
                      <a:pt x="218" y="104"/>
                    </a:lnTo>
                    <a:lnTo>
                      <a:pt x="198" y="104"/>
                    </a:lnTo>
                    <a:lnTo>
                      <a:pt x="178" y="106"/>
                    </a:lnTo>
                    <a:lnTo>
                      <a:pt x="160" y="110"/>
                    </a:lnTo>
                    <a:lnTo>
                      <a:pt x="142" y="114"/>
                    </a:lnTo>
                    <a:lnTo>
                      <a:pt x="108" y="126"/>
                    </a:lnTo>
                    <a:lnTo>
                      <a:pt x="76" y="142"/>
                    </a:lnTo>
                    <a:lnTo>
                      <a:pt x="32" y="54"/>
                    </a:lnTo>
                    <a:lnTo>
                      <a:pt x="32" y="54"/>
                    </a:lnTo>
                    <a:lnTo>
                      <a:pt x="56" y="42"/>
                    </a:lnTo>
                    <a:lnTo>
                      <a:pt x="82" y="30"/>
                    </a:lnTo>
                    <a:lnTo>
                      <a:pt x="106" y="22"/>
                    </a:lnTo>
                    <a:lnTo>
                      <a:pt x="132" y="14"/>
                    </a:lnTo>
                    <a:lnTo>
                      <a:pt x="158" y="8"/>
                    </a:lnTo>
                    <a:lnTo>
                      <a:pt x="186" y="4"/>
                    </a:lnTo>
                    <a:lnTo>
                      <a:pt x="212" y="0"/>
                    </a:lnTo>
                    <a:lnTo>
                      <a:pt x="240" y="0"/>
                    </a:lnTo>
                    <a:lnTo>
                      <a:pt x="240" y="0"/>
                    </a:lnTo>
                    <a:lnTo>
                      <a:pt x="268" y="0"/>
                    </a:lnTo>
                    <a:lnTo>
                      <a:pt x="292" y="4"/>
                    </a:lnTo>
                    <a:lnTo>
                      <a:pt x="314" y="6"/>
                    </a:lnTo>
                    <a:lnTo>
                      <a:pt x="336" y="12"/>
                    </a:lnTo>
                    <a:lnTo>
                      <a:pt x="356" y="20"/>
                    </a:lnTo>
                    <a:lnTo>
                      <a:pt x="372" y="28"/>
                    </a:lnTo>
                    <a:lnTo>
                      <a:pt x="388" y="38"/>
                    </a:lnTo>
                    <a:lnTo>
                      <a:pt x="404" y="50"/>
                    </a:lnTo>
                    <a:lnTo>
                      <a:pt x="416" y="62"/>
                    </a:lnTo>
                    <a:lnTo>
                      <a:pt x="426" y="76"/>
                    </a:lnTo>
                    <a:lnTo>
                      <a:pt x="436" y="94"/>
                    </a:lnTo>
                    <a:lnTo>
                      <a:pt x="444" y="110"/>
                    </a:lnTo>
                    <a:lnTo>
                      <a:pt x="450" y="130"/>
                    </a:lnTo>
                    <a:lnTo>
                      <a:pt x="454" y="150"/>
                    </a:lnTo>
                    <a:lnTo>
                      <a:pt x="456" y="172"/>
                    </a:lnTo>
                    <a:lnTo>
                      <a:pt x="458" y="196"/>
                    </a:lnTo>
                    <a:lnTo>
                      <a:pt x="458" y="414"/>
                    </a:lnTo>
                    <a:lnTo>
                      <a:pt x="458" y="414"/>
                    </a:lnTo>
                    <a:lnTo>
                      <a:pt x="458" y="458"/>
                    </a:lnTo>
                    <a:lnTo>
                      <a:pt x="460" y="496"/>
                    </a:lnTo>
                    <a:lnTo>
                      <a:pt x="462" y="528"/>
                    </a:lnTo>
                    <a:lnTo>
                      <a:pt x="468" y="552"/>
                    </a:lnTo>
                    <a:lnTo>
                      <a:pt x="354" y="552"/>
                    </a:lnTo>
                    <a:lnTo>
                      <a:pt x="334" y="502"/>
                    </a:lnTo>
                    <a:close/>
                    <a:moveTo>
                      <a:pt x="248" y="304"/>
                    </a:moveTo>
                    <a:lnTo>
                      <a:pt x="248" y="304"/>
                    </a:lnTo>
                    <a:lnTo>
                      <a:pt x="224" y="306"/>
                    </a:lnTo>
                    <a:lnTo>
                      <a:pt x="204" y="310"/>
                    </a:lnTo>
                    <a:lnTo>
                      <a:pt x="186" y="314"/>
                    </a:lnTo>
                    <a:lnTo>
                      <a:pt x="170" y="322"/>
                    </a:lnTo>
                    <a:lnTo>
                      <a:pt x="170" y="322"/>
                    </a:lnTo>
                    <a:lnTo>
                      <a:pt x="162" y="326"/>
                    </a:lnTo>
                    <a:lnTo>
                      <a:pt x="156" y="332"/>
                    </a:lnTo>
                    <a:lnTo>
                      <a:pt x="150" y="340"/>
                    </a:lnTo>
                    <a:lnTo>
                      <a:pt x="146" y="346"/>
                    </a:lnTo>
                    <a:lnTo>
                      <a:pt x="142" y="354"/>
                    </a:lnTo>
                    <a:lnTo>
                      <a:pt x="140" y="364"/>
                    </a:lnTo>
                    <a:lnTo>
                      <a:pt x="138" y="382"/>
                    </a:lnTo>
                    <a:lnTo>
                      <a:pt x="138" y="382"/>
                    </a:lnTo>
                    <a:lnTo>
                      <a:pt x="138" y="400"/>
                    </a:lnTo>
                    <a:lnTo>
                      <a:pt x="142" y="414"/>
                    </a:lnTo>
                    <a:lnTo>
                      <a:pt x="150" y="426"/>
                    </a:lnTo>
                    <a:lnTo>
                      <a:pt x="158" y="438"/>
                    </a:lnTo>
                    <a:lnTo>
                      <a:pt x="170" y="446"/>
                    </a:lnTo>
                    <a:lnTo>
                      <a:pt x="184" y="452"/>
                    </a:lnTo>
                    <a:lnTo>
                      <a:pt x="200" y="456"/>
                    </a:lnTo>
                    <a:lnTo>
                      <a:pt x="216" y="456"/>
                    </a:lnTo>
                    <a:lnTo>
                      <a:pt x="216" y="456"/>
                    </a:lnTo>
                    <a:lnTo>
                      <a:pt x="234" y="456"/>
                    </a:lnTo>
                    <a:lnTo>
                      <a:pt x="252" y="452"/>
                    </a:lnTo>
                    <a:lnTo>
                      <a:pt x="268" y="448"/>
                    </a:lnTo>
                    <a:lnTo>
                      <a:pt x="282" y="442"/>
                    </a:lnTo>
                    <a:lnTo>
                      <a:pt x="304" y="430"/>
                    </a:lnTo>
                    <a:lnTo>
                      <a:pt x="322" y="418"/>
                    </a:lnTo>
                    <a:lnTo>
                      <a:pt x="322" y="302"/>
                    </a:lnTo>
                    <a:lnTo>
                      <a:pt x="248" y="3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3" name="Freeform 23"/>
              <p:cNvSpPr>
                <a:spLocks/>
              </p:cNvSpPr>
              <p:nvPr/>
            </p:nvSpPr>
            <p:spPr bwMode="auto">
              <a:xfrm>
                <a:off x="8121536" y="4519372"/>
                <a:ext cx="62089" cy="83892"/>
              </a:xfrm>
              <a:custGeom>
                <a:avLst/>
                <a:gdLst>
                  <a:gd name="T0" fmla="*/ 34 w 598"/>
                  <a:gd name="T1" fmla="*/ 678 h 808"/>
                  <a:gd name="T2" fmla="*/ 34 w 598"/>
                  <a:gd name="T3" fmla="*/ 678 h 808"/>
                  <a:gd name="T4" fmla="*/ 54 w 598"/>
                  <a:gd name="T5" fmla="*/ 688 h 808"/>
                  <a:gd name="T6" fmla="*/ 74 w 598"/>
                  <a:gd name="T7" fmla="*/ 694 h 808"/>
                  <a:gd name="T8" fmla="*/ 94 w 598"/>
                  <a:gd name="T9" fmla="*/ 698 h 808"/>
                  <a:gd name="T10" fmla="*/ 116 w 598"/>
                  <a:gd name="T11" fmla="*/ 700 h 808"/>
                  <a:gd name="T12" fmla="*/ 116 w 598"/>
                  <a:gd name="T13" fmla="*/ 700 h 808"/>
                  <a:gd name="T14" fmla="*/ 138 w 598"/>
                  <a:gd name="T15" fmla="*/ 698 h 808"/>
                  <a:gd name="T16" fmla="*/ 158 w 598"/>
                  <a:gd name="T17" fmla="*/ 692 h 808"/>
                  <a:gd name="T18" fmla="*/ 168 w 598"/>
                  <a:gd name="T19" fmla="*/ 686 h 808"/>
                  <a:gd name="T20" fmla="*/ 178 w 598"/>
                  <a:gd name="T21" fmla="*/ 680 h 808"/>
                  <a:gd name="T22" fmla="*/ 188 w 598"/>
                  <a:gd name="T23" fmla="*/ 672 h 808"/>
                  <a:gd name="T24" fmla="*/ 198 w 598"/>
                  <a:gd name="T25" fmla="*/ 664 h 808"/>
                  <a:gd name="T26" fmla="*/ 216 w 598"/>
                  <a:gd name="T27" fmla="*/ 642 h 808"/>
                  <a:gd name="T28" fmla="*/ 234 w 598"/>
                  <a:gd name="T29" fmla="*/ 612 h 808"/>
                  <a:gd name="T30" fmla="*/ 250 w 598"/>
                  <a:gd name="T31" fmla="*/ 578 h 808"/>
                  <a:gd name="T32" fmla="*/ 266 w 598"/>
                  <a:gd name="T33" fmla="*/ 536 h 808"/>
                  <a:gd name="T34" fmla="*/ 24 w 598"/>
                  <a:gd name="T35" fmla="*/ 0 h 808"/>
                  <a:gd name="T36" fmla="*/ 164 w 598"/>
                  <a:gd name="T37" fmla="*/ 0 h 808"/>
                  <a:gd name="T38" fmla="*/ 328 w 598"/>
                  <a:gd name="T39" fmla="*/ 382 h 808"/>
                  <a:gd name="T40" fmla="*/ 330 w 598"/>
                  <a:gd name="T41" fmla="*/ 382 h 808"/>
                  <a:gd name="T42" fmla="*/ 460 w 598"/>
                  <a:gd name="T43" fmla="*/ 0 h 808"/>
                  <a:gd name="T44" fmla="*/ 598 w 598"/>
                  <a:gd name="T45" fmla="*/ 0 h 808"/>
                  <a:gd name="T46" fmla="*/ 392 w 598"/>
                  <a:gd name="T47" fmla="*/ 556 h 808"/>
                  <a:gd name="T48" fmla="*/ 392 w 598"/>
                  <a:gd name="T49" fmla="*/ 556 h 808"/>
                  <a:gd name="T50" fmla="*/ 376 w 598"/>
                  <a:gd name="T51" fmla="*/ 596 h 808"/>
                  <a:gd name="T52" fmla="*/ 360 w 598"/>
                  <a:gd name="T53" fmla="*/ 632 h 808"/>
                  <a:gd name="T54" fmla="*/ 344 w 598"/>
                  <a:gd name="T55" fmla="*/ 662 h 808"/>
                  <a:gd name="T56" fmla="*/ 326 w 598"/>
                  <a:gd name="T57" fmla="*/ 690 h 808"/>
                  <a:gd name="T58" fmla="*/ 308 w 598"/>
                  <a:gd name="T59" fmla="*/ 714 h 808"/>
                  <a:gd name="T60" fmla="*/ 292 w 598"/>
                  <a:gd name="T61" fmla="*/ 734 h 808"/>
                  <a:gd name="T62" fmla="*/ 274 w 598"/>
                  <a:gd name="T63" fmla="*/ 752 h 808"/>
                  <a:gd name="T64" fmla="*/ 256 w 598"/>
                  <a:gd name="T65" fmla="*/ 766 h 808"/>
                  <a:gd name="T66" fmla="*/ 238 w 598"/>
                  <a:gd name="T67" fmla="*/ 778 h 808"/>
                  <a:gd name="T68" fmla="*/ 220 w 598"/>
                  <a:gd name="T69" fmla="*/ 788 h 808"/>
                  <a:gd name="T70" fmla="*/ 200 w 598"/>
                  <a:gd name="T71" fmla="*/ 796 h 808"/>
                  <a:gd name="T72" fmla="*/ 182 w 598"/>
                  <a:gd name="T73" fmla="*/ 800 h 808"/>
                  <a:gd name="T74" fmla="*/ 164 w 598"/>
                  <a:gd name="T75" fmla="*/ 804 h 808"/>
                  <a:gd name="T76" fmla="*/ 146 w 598"/>
                  <a:gd name="T77" fmla="*/ 808 h 808"/>
                  <a:gd name="T78" fmla="*/ 108 w 598"/>
                  <a:gd name="T79" fmla="*/ 808 h 808"/>
                  <a:gd name="T80" fmla="*/ 108 w 598"/>
                  <a:gd name="T81" fmla="*/ 808 h 808"/>
                  <a:gd name="T82" fmla="*/ 78 w 598"/>
                  <a:gd name="T83" fmla="*/ 808 h 808"/>
                  <a:gd name="T84" fmla="*/ 52 w 598"/>
                  <a:gd name="T85" fmla="*/ 802 h 808"/>
                  <a:gd name="T86" fmla="*/ 26 w 598"/>
                  <a:gd name="T87" fmla="*/ 794 h 808"/>
                  <a:gd name="T88" fmla="*/ 0 w 598"/>
                  <a:gd name="T89" fmla="*/ 784 h 808"/>
                  <a:gd name="T90" fmla="*/ 34 w 598"/>
                  <a:gd name="T91" fmla="*/ 678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98" h="808">
                    <a:moveTo>
                      <a:pt x="34" y="678"/>
                    </a:moveTo>
                    <a:lnTo>
                      <a:pt x="34" y="678"/>
                    </a:lnTo>
                    <a:lnTo>
                      <a:pt x="54" y="688"/>
                    </a:lnTo>
                    <a:lnTo>
                      <a:pt x="74" y="694"/>
                    </a:lnTo>
                    <a:lnTo>
                      <a:pt x="94" y="698"/>
                    </a:lnTo>
                    <a:lnTo>
                      <a:pt x="116" y="700"/>
                    </a:lnTo>
                    <a:lnTo>
                      <a:pt x="116" y="700"/>
                    </a:lnTo>
                    <a:lnTo>
                      <a:pt x="138" y="698"/>
                    </a:lnTo>
                    <a:lnTo>
                      <a:pt x="158" y="692"/>
                    </a:lnTo>
                    <a:lnTo>
                      <a:pt x="168" y="686"/>
                    </a:lnTo>
                    <a:lnTo>
                      <a:pt x="178" y="680"/>
                    </a:lnTo>
                    <a:lnTo>
                      <a:pt x="188" y="672"/>
                    </a:lnTo>
                    <a:lnTo>
                      <a:pt x="198" y="664"/>
                    </a:lnTo>
                    <a:lnTo>
                      <a:pt x="216" y="642"/>
                    </a:lnTo>
                    <a:lnTo>
                      <a:pt x="234" y="612"/>
                    </a:lnTo>
                    <a:lnTo>
                      <a:pt x="250" y="578"/>
                    </a:lnTo>
                    <a:lnTo>
                      <a:pt x="266" y="536"/>
                    </a:lnTo>
                    <a:lnTo>
                      <a:pt x="24" y="0"/>
                    </a:lnTo>
                    <a:lnTo>
                      <a:pt x="164" y="0"/>
                    </a:lnTo>
                    <a:lnTo>
                      <a:pt x="328" y="382"/>
                    </a:lnTo>
                    <a:lnTo>
                      <a:pt x="330" y="382"/>
                    </a:lnTo>
                    <a:lnTo>
                      <a:pt x="460" y="0"/>
                    </a:lnTo>
                    <a:lnTo>
                      <a:pt x="598" y="0"/>
                    </a:lnTo>
                    <a:lnTo>
                      <a:pt x="392" y="556"/>
                    </a:lnTo>
                    <a:lnTo>
                      <a:pt x="392" y="556"/>
                    </a:lnTo>
                    <a:lnTo>
                      <a:pt x="376" y="596"/>
                    </a:lnTo>
                    <a:lnTo>
                      <a:pt x="360" y="632"/>
                    </a:lnTo>
                    <a:lnTo>
                      <a:pt x="344" y="662"/>
                    </a:lnTo>
                    <a:lnTo>
                      <a:pt x="326" y="690"/>
                    </a:lnTo>
                    <a:lnTo>
                      <a:pt x="308" y="714"/>
                    </a:lnTo>
                    <a:lnTo>
                      <a:pt x="292" y="734"/>
                    </a:lnTo>
                    <a:lnTo>
                      <a:pt x="274" y="752"/>
                    </a:lnTo>
                    <a:lnTo>
                      <a:pt x="256" y="766"/>
                    </a:lnTo>
                    <a:lnTo>
                      <a:pt x="238" y="778"/>
                    </a:lnTo>
                    <a:lnTo>
                      <a:pt x="220" y="788"/>
                    </a:lnTo>
                    <a:lnTo>
                      <a:pt x="200" y="796"/>
                    </a:lnTo>
                    <a:lnTo>
                      <a:pt x="182" y="800"/>
                    </a:lnTo>
                    <a:lnTo>
                      <a:pt x="164" y="804"/>
                    </a:lnTo>
                    <a:lnTo>
                      <a:pt x="146" y="808"/>
                    </a:lnTo>
                    <a:lnTo>
                      <a:pt x="108" y="808"/>
                    </a:lnTo>
                    <a:lnTo>
                      <a:pt x="108" y="808"/>
                    </a:lnTo>
                    <a:lnTo>
                      <a:pt x="78" y="808"/>
                    </a:lnTo>
                    <a:lnTo>
                      <a:pt x="52" y="802"/>
                    </a:lnTo>
                    <a:lnTo>
                      <a:pt x="26" y="794"/>
                    </a:lnTo>
                    <a:lnTo>
                      <a:pt x="0" y="784"/>
                    </a:lnTo>
                    <a:lnTo>
                      <a:pt x="34" y="6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4" name="Freeform 24"/>
              <p:cNvSpPr>
                <a:spLocks/>
              </p:cNvSpPr>
              <p:nvPr/>
            </p:nvSpPr>
            <p:spPr bwMode="auto">
              <a:xfrm>
                <a:off x="8179056" y="4502136"/>
                <a:ext cx="45269" cy="74340"/>
              </a:xfrm>
              <a:custGeom>
                <a:avLst/>
                <a:gdLst>
                  <a:gd name="T0" fmla="*/ 124 w 436"/>
                  <a:gd name="T1" fmla="*/ 572 h 716"/>
                  <a:gd name="T2" fmla="*/ 124 w 436"/>
                  <a:gd name="T3" fmla="*/ 272 h 716"/>
                  <a:gd name="T4" fmla="*/ 0 w 436"/>
                  <a:gd name="T5" fmla="*/ 272 h 716"/>
                  <a:gd name="T6" fmla="*/ 28 w 436"/>
                  <a:gd name="T7" fmla="*/ 166 h 716"/>
                  <a:gd name="T8" fmla="*/ 124 w 436"/>
                  <a:gd name="T9" fmla="*/ 166 h 716"/>
                  <a:gd name="T10" fmla="*/ 124 w 436"/>
                  <a:gd name="T11" fmla="*/ 40 h 716"/>
                  <a:gd name="T12" fmla="*/ 260 w 436"/>
                  <a:gd name="T13" fmla="*/ 0 h 716"/>
                  <a:gd name="T14" fmla="*/ 260 w 436"/>
                  <a:gd name="T15" fmla="*/ 166 h 716"/>
                  <a:gd name="T16" fmla="*/ 424 w 436"/>
                  <a:gd name="T17" fmla="*/ 166 h 716"/>
                  <a:gd name="T18" fmla="*/ 390 w 436"/>
                  <a:gd name="T19" fmla="*/ 272 h 716"/>
                  <a:gd name="T20" fmla="*/ 260 w 436"/>
                  <a:gd name="T21" fmla="*/ 272 h 716"/>
                  <a:gd name="T22" fmla="*/ 260 w 436"/>
                  <a:gd name="T23" fmla="*/ 538 h 716"/>
                  <a:gd name="T24" fmla="*/ 260 w 436"/>
                  <a:gd name="T25" fmla="*/ 538 h 716"/>
                  <a:gd name="T26" fmla="*/ 262 w 436"/>
                  <a:gd name="T27" fmla="*/ 556 h 716"/>
                  <a:gd name="T28" fmla="*/ 264 w 436"/>
                  <a:gd name="T29" fmla="*/ 570 h 716"/>
                  <a:gd name="T30" fmla="*/ 268 w 436"/>
                  <a:gd name="T31" fmla="*/ 582 h 716"/>
                  <a:gd name="T32" fmla="*/ 274 w 436"/>
                  <a:gd name="T33" fmla="*/ 592 h 716"/>
                  <a:gd name="T34" fmla="*/ 280 w 436"/>
                  <a:gd name="T35" fmla="*/ 598 h 716"/>
                  <a:gd name="T36" fmla="*/ 290 w 436"/>
                  <a:gd name="T37" fmla="*/ 604 h 716"/>
                  <a:gd name="T38" fmla="*/ 300 w 436"/>
                  <a:gd name="T39" fmla="*/ 606 h 716"/>
                  <a:gd name="T40" fmla="*/ 312 w 436"/>
                  <a:gd name="T41" fmla="*/ 606 h 716"/>
                  <a:gd name="T42" fmla="*/ 312 w 436"/>
                  <a:gd name="T43" fmla="*/ 606 h 716"/>
                  <a:gd name="T44" fmla="*/ 336 w 436"/>
                  <a:gd name="T45" fmla="*/ 604 h 716"/>
                  <a:gd name="T46" fmla="*/ 358 w 436"/>
                  <a:gd name="T47" fmla="*/ 598 h 716"/>
                  <a:gd name="T48" fmla="*/ 378 w 436"/>
                  <a:gd name="T49" fmla="*/ 590 h 716"/>
                  <a:gd name="T50" fmla="*/ 394 w 436"/>
                  <a:gd name="T51" fmla="*/ 580 h 716"/>
                  <a:gd name="T52" fmla="*/ 436 w 436"/>
                  <a:gd name="T53" fmla="*/ 674 h 716"/>
                  <a:gd name="T54" fmla="*/ 436 w 436"/>
                  <a:gd name="T55" fmla="*/ 674 h 716"/>
                  <a:gd name="T56" fmla="*/ 420 w 436"/>
                  <a:gd name="T57" fmla="*/ 684 h 716"/>
                  <a:gd name="T58" fmla="*/ 402 w 436"/>
                  <a:gd name="T59" fmla="*/ 692 h 716"/>
                  <a:gd name="T60" fmla="*/ 384 w 436"/>
                  <a:gd name="T61" fmla="*/ 698 h 716"/>
                  <a:gd name="T62" fmla="*/ 362 w 436"/>
                  <a:gd name="T63" fmla="*/ 704 h 716"/>
                  <a:gd name="T64" fmla="*/ 342 w 436"/>
                  <a:gd name="T65" fmla="*/ 710 h 716"/>
                  <a:gd name="T66" fmla="*/ 320 w 436"/>
                  <a:gd name="T67" fmla="*/ 714 h 716"/>
                  <a:gd name="T68" fmla="*/ 300 w 436"/>
                  <a:gd name="T69" fmla="*/ 716 h 716"/>
                  <a:gd name="T70" fmla="*/ 278 w 436"/>
                  <a:gd name="T71" fmla="*/ 716 h 716"/>
                  <a:gd name="T72" fmla="*/ 278 w 436"/>
                  <a:gd name="T73" fmla="*/ 716 h 716"/>
                  <a:gd name="T74" fmla="*/ 260 w 436"/>
                  <a:gd name="T75" fmla="*/ 716 h 716"/>
                  <a:gd name="T76" fmla="*/ 244 w 436"/>
                  <a:gd name="T77" fmla="*/ 714 h 716"/>
                  <a:gd name="T78" fmla="*/ 228 w 436"/>
                  <a:gd name="T79" fmla="*/ 710 h 716"/>
                  <a:gd name="T80" fmla="*/ 214 w 436"/>
                  <a:gd name="T81" fmla="*/ 706 h 716"/>
                  <a:gd name="T82" fmla="*/ 200 w 436"/>
                  <a:gd name="T83" fmla="*/ 700 h 716"/>
                  <a:gd name="T84" fmla="*/ 188 w 436"/>
                  <a:gd name="T85" fmla="*/ 694 h 716"/>
                  <a:gd name="T86" fmla="*/ 176 w 436"/>
                  <a:gd name="T87" fmla="*/ 686 h 716"/>
                  <a:gd name="T88" fmla="*/ 166 w 436"/>
                  <a:gd name="T89" fmla="*/ 678 h 716"/>
                  <a:gd name="T90" fmla="*/ 156 w 436"/>
                  <a:gd name="T91" fmla="*/ 668 h 716"/>
                  <a:gd name="T92" fmla="*/ 148 w 436"/>
                  <a:gd name="T93" fmla="*/ 656 h 716"/>
                  <a:gd name="T94" fmla="*/ 142 w 436"/>
                  <a:gd name="T95" fmla="*/ 644 h 716"/>
                  <a:gd name="T96" fmla="*/ 136 w 436"/>
                  <a:gd name="T97" fmla="*/ 632 h 716"/>
                  <a:gd name="T98" fmla="*/ 130 w 436"/>
                  <a:gd name="T99" fmla="*/ 618 h 716"/>
                  <a:gd name="T100" fmla="*/ 128 w 436"/>
                  <a:gd name="T101" fmla="*/ 604 h 716"/>
                  <a:gd name="T102" fmla="*/ 126 w 436"/>
                  <a:gd name="T103" fmla="*/ 588 h 716"/>
                  <a:gd name="T104" fmla="*/ 124 w 436"/>
                  <a:gd name="T105" fmla="*/ 572 h 716"/>
                  <a:gd name="T106" fmla="*/ 124 w 436"/>
                  <a:gd name="T107" fmla="*/ 57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6" h="716">
                    <a:moveTo>
                      <a:pt x="124" y="572"/>
                    </a:moveTo>
                    <a:lnTo>
                      <a:pt x="124" y="272"/>
                    </a:lnTo>
                    <a:lnTo>
                      <a:pt x="0" y="272"/>
                    </a:lnTo>
                    <a:lnTo>
                      <a:pt x="28" y="166"/>
                    </a:lnTo>
                    <a:lnTo>
                      <a:pt x="124" y="166"/>
                    </a:lnTo>
                    <a:lnTo>
                      <a:pt x="124" y="40"/>
                    </a:lnTo>
                    <a:lnTo>
                      <a:pt x="260" y="0"/>
                    </a:lnTo>
                    <a:lnTo>
                      <a:pt x="260" y="166"/>
                    </a:lnTo>
                    <a:lnTo>
                      <a:pt x="424" y="166"/>
                    </a:lnTo>
                    <a:lnTo>
                      <a:pt x="390" y="272"/>
                    </a:lnTo>
                    <a:lnTo>
                      <a:pt x="260" y="272"/>
                    </a:lnTo>
                    <a:lnTo>
                      <a:pt x="260" y="538"/>
                    </a:lnTo>
                    <a:lnTo>
                      <a:pt x="260" y="538"/>
                    </a:lnTo>
                    <a:lnTo>
                      <a:pt x="262" y="556"/>
                    </a:lnTo>
                    <a:lnTo>
                      <a:pt x="264" y="570"/>
                    </a:lnTo>
                    <a:lnTo>
                      <a:pt x="268" y="582"/>
                    </a:lnTo>
                    <a:lnTo>
                      <a:pt x="274" y="592"/>
                    </a:lnTo>
                    <a:lnTo>
                      <a:pt x="280" y="598"/>
                    </a:lnTo>
                    <a:lnTo>
                      <a:pt x="290" y="604"/>
                    </a:lnTo>
                    <a:lnTo>
                      <a:pt x="300" y="606"/>
                    </a:lnTo>
                    <a:lnTo>
                      <a:pt x="312" y="606"/>
                    </a:lnTo>
                    <a:lnTo>
                      <a:pt x="312" y="606"/>
                    </a:lnTo>
                    <a:lnTo>
                      <a:pt x="336" y="604"/>
                    </a:lnTo>
                    <a:lnTo>
                      <a:pt x="358" y="598"/>
                    </a:lnTo>
                    <a:lnTo>
                      <a:pt x="378" y="590"/>
                    </a:lnTo>
                    <a:lnTo>
                      <a:pt x="394" y="580"/>
                    </a:lnTo>
                    <a:lnTo>
                      <a:pt x="436" y="674"/>
                    </a:lnTo>
                    <a:lnTo>
                      <a:pt x="436" y="674"/>
                    </a:lnTo>
                    <a:lnTo>
                      <a:pt x="420" y="684"/>
                    </a:lnTo>
                    <a:lnTo>
                      <a:pt x="402" y="692"/>
                    </a:lnTo>
                    <a:lnTo>
                      <a:pt x="384" y="698"/>
                    </a:lnTo>
                    <a:lnTo>
                      <a:pt x="362" y="704"/>
                    </a:lnTo>
                    <a:lnTo>
                      <a:pt x="342" y="710"/>
                    </a:lnTo>
                    <a:lnTo>
                      <a:pt x="320" y="714"/>
                    </a:lnTo>
                    <a:lnTo>
                      <a:pt x="300" y="716"/>
                    </a:lnTo>
                    <a:lnTo>
                      <a:pt x="278" y="716"/>
                    </a:lnTo>
                    <a:lnTo>
                      <a:pt x="278" y="716"/>
                    </a:lnTo>
                    <a:lnTo>
                      <a:pt x="260" y="716"/>
                    </a:lnTo>
                    <a:lnTo>
                      <a:pt x="244" y="714"/>
                    </a:lnTo>
                    <a:lnTo>
                      <a:pt x="228" y="710"/>
                    </a:lnTo>
                    <a:lnTo>
                      <a:pt x="214" y="706"/>
                    </a:lnTo>
                    <a:lnTo>
                      <a:pt x="200" y="700"/>
                    </a:lnTo>
                    <a:lnTo>
                      <a:pt x="188" y="694"/>
                    </a:lnTo>
                    <a:lnTo>
                      <a:pt x="176" y="686"/>
                    </a:lnTo>
                    <a:lnTo>
                      <a:pt x="166" y="678"/>
                    </a:lnTo>
                    <a:lnTo>
                      <a:pt x="156" y="668"/>
                    </a:lnTo>
                    <a:lnTo>
                      <a:pt x="148" y="656"/>
                    </a:lnTo>
                    <a:lnTo>
                      <a:pt x="142" y="644"/>
                    </a:lnTo>
                    <a:lnTo>
                      <a:pt x="136" y="632"/>
                    </a:lnTo>
                    <a:lnTo>
                      <a:pt x="130" y="618"/>
                    </a:lnTo>
                    <a:lnTo>
                      <a:pt x="128" y="604"/>
                    </a:lnTo>
                    <a:lnTo>
                      <a:pt x="126" y="588"/>
                    </a:lnTo>
                    <a:lnTo>
                      <a:pt x="124" y="572"/>
                    </a:lnTo>
                    <a:lnTo>
                      <a:pt x="124" y="5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5" name="Freeform 25"/>
              <p:cNvSpPr>
                <a:spLocks/>
              </p:cNvSpPr>
              <p:nvPr/>
            </p:nvSpPr>
            <p:spPr bwMode="auto">
              <a:xfrm>
                <a:off x="8254227" y="4517918"/>
                <a:ext cx="47345" cy="58558"/>
              </a:xfrm>
              <a:custGeom>
                <a:avLst/>
                <a:gdLst>
                  <a:gd name="T0" fmla="*/ 0 w 456"/>
                  <a:gd name="T1" fmla="*/ 288 h 564"/>
                  <a:gd name="T2" fmla="*/ 4 w 456"/>
                  <a:gd name="T3" fmla="*/ 226 h 564"/>
                  <a:gd name="T4" fmla="*/ 22 w 456"/>
                  <a:gd name="T5" fmla="*/ 172 h 564"/>
                  <a:gd name="T6" fmla="*/ 48 w 456"/>
                  <a:gd name="T7" fmla="*/ 122 h 564"/>
                  <a:gd name="T8" fmla="*/ 82 w 456"/>
                  <a:gd name="T9" fmla="*/ 80 h 564"/>
                  <a:gd name="T10" fmla="*/ 124 w 456"/>
                  <a:gd name="T11" fmla="*/ 46 h 564"/>
                  <a:gd name="T12" fmla="*/ 172 w 456"/>
                  <a:gd name="T13" fmla="*/ 22 h 564"/>
                  <a:gd name="T14" fmla="*/ 226 w 456"/>
                  <a:gd name="T15" fmla="*/ 6 h 564"/>
                  <a:gd name="T16" fmla="*/ 284 w 456"/>
                  <a:gd name="T17" fmla="*/ 0 h 564"/>
                  <a:gd name="T18" fmla="*/ 308 w 456"/>
                  <a:gd name="T19" fmla="*/ 0 h 564"/>
                  <a:gd name="T20" fmla="*/ 352 w 456"/>
                  <a:gd name="T21" fmla="*/ 6 h 564"/>
                  <a:gd name="T22" fmla="*/ 388 w 456"/>
                  <a:gd name="T23" fmla="*/ 16 h 564"/>
                  <a:gd name="T24" fmla="*/ 428 w 456"/>
                  <a:gd name="T25" fmla="*/ 36 h 564"/>
                  <a:gd name="T26" fmla="*/ 428 w 456"/>
                  <a:gd name="T27" fmla="*/ 152 h 564"/>
                  <a:gd name="T28" fmla="*/ 400 w 456"/>
                  <a:gd name="T29" fmla="*/ 134 h 564"/>
                  <a:gd name="T30" fmla="*/ 368 w 456"/>
                  <a:gd name="T31" fmla="*/ 120 h 564"/>
                  <a:gd name="T32" fmla="*/ 336 w 456"/>
                  <a:gd name="T33" fmla="*/ 112 h 564"/>
                  <a:gd name="T34" fmla="*/ 298 w 456"/>
                  <a:gd name="T35" fmla="*/ 110 h 564"/>
                  <a:gd name="T36" fmla="*/ 280 w 456"/>
                  <a:gd name="T37" fmla="*/ 110 h 564"/>
                  <a:gd name="T38" fmla="*/ 246 w 456"/>
                  <a:gd name="T39" fmla="*/ 118 h 564"/>
                  <a:gd name="T40" fmla="*/ 216 w 456"/>
                  <a:gd name="T41" fmla="*/ 130 h 564"/>
                  <a:gd name="T42" fmla="*/ 192 w 456"/>
                  <a:gd name="T43" fmla="*/ 148 h 564"/>
                  <a:gd name="T44" fmla="*/ 170 w 456"/>
                  <a:gd name="T45" fmla="*/ 172 h 564"/>
                  <a:gd name="T46" fmla="*/ 156 w 456"/>
                  <a:gd name="T47" fmla="*/ 200 h 564"/>
                  <a:gd name="T48" fmla="*/ 144 w 456"/>
                  <a:gd name="T49" fmla="*/ 230 h 564"/>
                  <a:gd name="T50" fmla="*/ 140 w 456"/>
                  <a:gd name="T51" fmla="*/ 266 h 564"/>
                  <a:gd name="T52" fmla="*/ 138 w 456"/>
                  <a:gd name="T53" fmla="*/ 284 h 564"/>
                  <a:gd name="T54" fmla="*/ 142 w 456"/>
                  <a:gd name="T55" fmla="*/ 322 h 564"/>
                  <a:gd name="T56" fmla="*/ 150 w 456"/>
                  <a:gd name="T57" fmla="*/ 358 h 564"/>
                  <a:gd name="T58" fmla="*/ 162 w 456"/>
                  <a:gd name="T59" fmla="*/ 386 h 564"/>
                  <a:gd name="T60" fmla="*/ 180 w 456"/>
                  <a:gd name="T61" fmla="*/ 410 h 564"/>
                  <a:gd name="T62" fmla="*/ 202 w 456"/>
                  <a:gd name="T63" fmla="*/ 430 h 564"/>
                  <a:gd name="T64" fmla="*/ 228 w 456"/>
                  <a:gd name="T65" fmla="*/ 444 h 564"/>
                  <a:gd name="T66" fmla="*/ 258 w 456"/>
                  <a:gd name="T67" fmla="*/ 452 h 564"/>
                  <a:gd name="T68" fmla="*/ 292 w 456"/>
                  <a:gd name="T69" fmla="*/ 454 h 564"/>
                  <a:gd name="T70" fmla="*/ 310 w 456"/>
                  <a:gd name="T71" fmla="*/ 454 h 564"/>
                  <a:gd name="T72" fmla="*/ 342 w 456"/>
                  <a:gd name="T73" fmla="*/ 448 h 564"/>
                  <a:gd name="T74" fmla="*/ 388 w 456"/>
                  <a:gd name="T75" fmla="*/ 432 h 564"/>
                  <a:gd name="T76" fmla="*/ 456 w 456"/>
                  <a:gd name="T77" fmla="*/ 512 h 564"/>
                  <a:gd name="T78" fmla="*/ 438 w 456"/>
                  <a:gd name="T79" fmla="*/ 522 h 564"/>
                  <a:gd name="T80" fmla="*/ 398 w 456"/>
                  <a:gd name="T81" fmla="*/ 542 h 564"/>
                  <a:gd name="T82" fmla="*/ 352 w 456"/>
                  <a:gd name="T83" fmla="*/ 556 h 564"/>
                  <a:gd name="T84" fmla="*/ 300 w 456"/>
                  <a:gd name="T85" fmla="*/ 564 h 564"/>
                  <a:gd name="T86" fmla="*/ 272 w 456"/>
                  <a:gd name="T87" fmla="*/ 564 h 564"/>
                  <a:gd name="T88" fmla="*/ 210 w 456"/>
                  <a:gd name="T89" fmla="*/ 558 h 564"/>
                  <a:gd name="T90" fmla="*/ 156 w 456"/>
                  <a:gd name="T91" fmla="*/ 542 h 564"/>
                  <a:gd name="T92" fmla="*/ 108 w 456"/>
                  <a:gd name="T93" fmla="*/ 518 h 564"/>
                  <a:gd name="T94" fmla="*/ 70 w 456"/>
                  <a:gd name="T95" fmla="*/ 484 h 564"/>
                  <a:gd name="T96" fmla="*/ 40 w 456"/>
                  <a:gd name="T97" fmla="*/ 444 h 564"/>
                  <a:gd name="T98" fmla="*/ 18 w 456"/>
                  <a:gd name="T99" fmla="*/ 396 h 564"/>
                  <a:gd name="T100" fmla="*/ 4 w 456"/>
                  <a:gd name="T101" fmla="*/ 344 h 564"/>
                  <a:gd name="T102" fmla="*/ 0 w 456"/>
                  <a:gd name="T103" fmla="*/ 288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56" h="564">
                    <a:moveTo>
                      <a:pt x="0" y="288"/>
                    </a:moveTo>
                    <a:lnTo>
                      <a:pt x="0" y="288"/>
                    </a:lnTo>
                    <a:lnTo>
                      <a:pt x="0" y="256"/>
                    </a:lnTo>
                    <a:lnTo>
                      <a:pt x="4" y="226"/>
                    </a:lnTo>
                    <a:lnTo>
                      <a:pt x="12" y="198"/>
                    </a:lnTo>
                    <a:lnTo>
                      <a:pt x="22" y="172"/>
                    </a:lnTo>
                    <a:lnTo>
                      <a:pt x="32" y="146"/>
                    </a:lnTo>
                    <a:lnTo>
                      <a:pt x="48" y="122"/>
                    </a:lnTo>
                    <a:lnTo>
                      <a:pt x="64" y="100"/>
                    </a:lnTo>
                    <a:lnTo>
                      <a:pt x="82" y="80"/>
                    </a:lnTo>
                    <a:lnTo>
                      <a:pt x="102" y="62"/>
                    </a:lnTo>
                    <a:lnTo>
                      <a:pt x="124" y="46"/>
                    </a:lnTo>
                    <a:lnTo>
                      <a:pt x="146" y="32"/>
                    </a:lnTo>
                    <a:lnTo>
                      <a:pt x="172" y="22"/>
                    </a:lnTo>
                    <a:lnTo>
                      <a:pt x="198" y="12"/>
                    </a:lnTo>
                    <a:lnTo>
                      <a:pt x="226" y="6"/>
                    </a:lnTo>
                    <a:lnTo>
                      <a:pt x="254" y="2"/>
                    </a:lnTo>
                    <a:lnTo>
                      <a:pt x="284" y="0"/>
                    </a:lnTo>
                    <a:lnTo>
                      <a:pt x="284" y="0"/>
                    </a:lnTo>
                    <a:lnTo>
                      <a:pt x="308" y="0"/>
                    </a:lnTo>
                    <a:lnTo>
                      <a:pt x="332" y="4"/>
                    </a:lnTo>
                    <a:lnTo>
                      <a:pt x="352" y="6"/>
                    </a:lnTo>
                    <a:lnTo>
                      <a:pt x="372" y="12"/>
                    </a:lnTo>
                    <a:lnTo>
                      <a:pt x="388" y="16"/>
                    </a:lnTo>
                    <a:lnTo>
                      <a:pt x="404" y="24"/>
                    </a:lnTo>
                    <a:lnTo>
                      <a:pt x="428" y="36"/>
                    </a:lnTo>
                    <a:lnTo>
                      <a:pt x="428" y="152"/>
                    </a:lnTo>
                    <a:lnTo>
                      <a:pt x="428" y="152"/>
                    </a:lnTo>
                    <a:lnTo>
                      <a:pt x="414" y="142"/>
                    </a:lnTo>
                    <a:lnTo>
                      <a:pt x="400" y="134"/>
                    </a:lnTo>
                    <a:lnTo>
                      <a:pt x="384" y="126"/>
                    </a:lnTo>
                    <a:lnTo>
                      <a:pt x="368" y="120"/>
                    </a:lnTo>
                    <a:lnTo>
                      <a:pt x="352" y="116"/>
                    </a:lnTo>
                    <a:lnTo>
                      <a:pt x="336" y="112"/>
                    </a:lnTo>
                    <a:lnTo>
                      <a:pt x="316" y="110"/>
                    </a:lnTo>
                    <a:lnTo>
                      <a:pt x="298" y="110"/>
                    </a:lnTo>
                    <a:lnTo>
                      <a:pt x="298" y="110"/>
                    </a:lnTo>
                    <a:lnTo>
                      <a:pt x="280" y="110"/>
                    </a:lnTo>
                    <a:lnTo>
                      <a:pt x="262" y="112"/>
                    </a:lnTo>
                    <a:lnTo>
                      <a:pt x="246" y="118"/>
                    </a:lnTo>
                    <a:lnTo>
                      <a:pt x="230" y="122"/>
                    </a:lnTo>
                    <a:lnTo>
                      <a:pt x="216" y="130"/>
                    </a:lnTo>
                    <a:lnTo>
                      <a:pt x="204" y="138"/>
                    </a:lnTo>
                    <a:lnTo>
                      <a:pt x="192" y="148"/>
                    </a:lnTo>
                    <a:lnTo>
                      <a:pt x="180" y="160"/>
                    </a:lnTo>
                    <a:lnTo>
                      <a:pt x="170" y="172"/>
                    </a:lnTo>
                    <a:lnTo>
                      <a:pt x="162" y="186"/>
                    </a:lnTo>
                    <a:lnTo>
                      <a:pt x="156" y="200"/>
                    </a:lnTo>
                    <a:lnTo>
                      <a:pt x="150" y="214"/>
                    </a:lnTo>
                    <a:lnTo>
                      <a:pt x="144" y="230"/>
                    </a:lnTo>
                    <a:lnTo>
                      <a:pt x="142" y="248"/>
                    </a:lnTo>
                    <a:lnTo>
                      <a:pt x="140" y="266"/>
                    </a:lnTo>
                    <a:lnTo>
                      <a:pt x="138" y="284"/>
                    </a:lnTo>
                    <a:lnTo>
                      <a:pt x="138" y="284"/>
                    </a:lnTo>
                    <a:lnTo>
                      <a:pt x="140" y="304"/>
                    </a:lnTo>
                    <a:lnTo>
                      <a:pt x="142" y="322"/>
                    </a:lnTo>
                    <a:lnTo>
                      <a:pt x="144" y="340"/>
                    </a:lnTo>
                    <a:lnTo>
                      <a:pt x="150" y="358"/>
                    </a:lnTo>
                    <a:lnTo>
                      <a:pt x="156" y="372"/>
                    </a:lnTo>
                    <a:lnTo>
                      <a:pt x="162" y="386"/>
                    </a:lnTo>
                    <a:lnTo>
                      <a:pt x="170" y="400"/>
                    </a:lnTo>
                    <a:lnTo>
                      <a:pt x="180" y="410"/>
                    </a:lnTo>
                    <a:lnTo>
                      <a:pt x="190" y="420"/>
                    </a:lnTo>
                    <a:lnTo>
                      <a:pt x="202" y="430"/>
                    </a:lnTo>
                    <a:lnTo>
                      <a:pt x="214" y="438"/>
                    </a:lnTo>
                    <a:lnTo>
                      <a:pt x="228" y="444"/>
                    </a:lnTo>
                    <a:lnTo>
                      <a:pt x="242" y="448"/>
                    </a:lnTo>
                    <a:lnTo>
                      <a:pt x="258" y="452"/>
                    </a:lnTo>
                    <a:lnTo>
                      <a:pt x="274" y="454"/>
                    </a:lnTo>
                    <a:lnTo>
                      <a:pt x="292" y="454"/>
                    </a:lnTo>
                    <a:lnTo>
                      <a:pt x="292" y="454"/>
                    </a:lnTo>
                    <a:lnTo>
                      <a:pt x="310" y="454"/>
                    </a:lnTo>
                    <a:lnTo>
                      <a:pt x="326" y="452"/>
                    </a:lnTo>
                    <a:lnTo>
                      <a:pt x="342" y="448"/>
                    </a:lnTo>
                    <a:lnTo>
                      <a:pt x="358" y="444"/>
                    </a:lnTo>
                    <a:lnTo>
                      <a:pt x="388" y="432"/>
                    </a:lnTo>
                    <a:lnTo>
                      <a:pt x="416" y="418"/>
                    </a:lnTo>
                    <a:lnTo>
                      <a:pt x="456" y="512"/>
                    </a:lnTo>
                    <a:lnTo>
                      <a:pt x="456" y="512"/>
                    </a:lnTo>
                    <a:lnTo>
                      <a:pt x="438" y="522"/>
                    </a:lnTo>
                    <a:lnTo>
                      <a:pt x="420" y="532"/>
                    </a:lnTo>
                    <a:lnTo>
                      <a:pt x="398" y="542"/>
                    </a:lnTo>
                    <a:lnTo>
                      <a:pt x="376" y="550"/>
                    </a:lnTo>
                    <a:lnTo>
                      <a:pt x="352" y="556"/>
                    </a:lnTo>
                    <a:lnTo>
                      <a:pt x="326" y="560"/>
                    </a:lnTo>
                    <a:lnTo>
                      <a:pt x="300" y="564"/>
                    </a:lnTo>
                    <a:lnTo>
                      <a:pt x="272" y="564"/>
                    </a:lnTo>
                    <a:lnTo>
                      <a:pt x="272" y="564"/>
                    </a:lnTo>
                    <a:lnTo>
                      <a:pt x="240" y="562"/>
                    </a:lnTo>
                    <a:lnTo>
                      <a:pt x="210" y="558"/>
                    </a:lnTo>
                    <a:lnTo>
                      <a:pt x="182" y="552"/>
                    </a:lnTo>
                    <a:lnTo>
                      <a:pt x="156" y="542"/>
                    </a:lnTo>
                    <a:lnTo>
                      <a:pt x="130" y="532"/>
                    </a:lnTo>
                    <a:lnTo>
                      <a:pt x="108" y="518"/>
                    </a:lnTo>
                    <a:lnTo>
                      <a:pt x="88" y="502"/>
                    </a:lnTo>
                    <a:lnTo>
                      <a:pt x="70" y="484"/>
                    </a:lnTo>
                    <a:lnTo>
                      <a:pt x="54" y="464"/>
                    </a:lnTo>
                    <a:lnTo>
                      <a:pt x="40" y="444"/>
                    </a:lnTo>
                    <a:lnTo>
                      <a:pt x="28" y="420"/>
                    </a:lnTo>
                    <a:lnTo>
                      <a:pt x="18" y="396"/>
                    </a:lnTo>
                    <a:lnTo>
                      <a:pt x="10" y="370"/>
                    </a:lnTo>
                    <a:lnTo>
                      <a:pt x="4" y="344"/>
                    </a:lnTo>
                    <a:lnTo>
                      <a:pt x="0" y="316"/>
                    </a:lnTo>
                    <a:lnTo>
                      <a:pt x="0" y="288"/>
                    </a:lnTo>
                    <a:lnTo>
                      <a:pt x="0"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6" name="Freeform 26"/>
              <p:cNvSpPr>
                <a:spLocks/>
              </p:cNvSpPr>
              <p:nvPr/>
            </p:nvSpPr>
            <p:spPr bwMode="auto">
              <a:xfrm>
                <a:off x="8304894" y="4517918"/>
                <a:ext cx="43400" cy="58558"/>
              </a:xfrm>
              <a:custGeom>
                <a:avLst/>
                <a:gdLst>
                  <a:gd name="T0" fmla="*/ 58 w 418"/>
                  <a:gd name="T1" fmla="*/ 422 h 564"/>
                  <a:gd name="T2" fmla="*/ 112 w 418"/>
                  <a:gd name="T3" fmla="*/ 444 h 564"/>
                  <a:gd name="T4" fmla="*/ 170 w 418"/>
                  <a:gd name="T5" fmla="*/ 456 h 564"/>
                  <a:gd name="T6" fmla="*/ 210 w 418"/>
                  <a:gd name="T7" fmla="*/ 456 h 564"/>
                  <a:gd name="T8" fmla="*/ 258 w 418"/>
                  <a:gd name="T9" fmla="*/ 444 h 564"/>
                  <a:gd name="T10" fmla="*/ 282 w 418"/>
                  <a:gd name="T11" fmla="*/ 414 h 564"/>
                  <a:gd name="T12" fmla="*/ 284 w 418"/>
                  <a:gd name="T13" fmla="*/ 392 h 564"/>
                  <a:gd name="T14" fmla="*/ 274 w 418"/>
                  <a:gd name="T15" fmla="*/ 372 h 564"/>
                  <a:gd name="T16" fmla="*/ 226 w 418"/>
                  <a:gd name="T17" fmla="*/ 340 h 564"/>
                  <a:gd name="T18" fmla="*/ 134 w 418"/>
                  <a:gd name="T19" fmla="*/ 304 h 564"/>
                  <a:gd name="T20" fmla="*/ 72 w 418"/>
                  <a:gd name="T21" fmla="*/ 264 h 564"/>
                  <a:gd name="T22" fmla="*/ 48 w 418"/>
                  <a:gd name="T23" fmla="*/ 232 h 564"/>
                  <a:gd name="T24" fmla="*/ 34 w 418"/>
                  <a:gd name="T25" fmla="*/ 194 h 564"/>
                  <a:gd name="T26" fmla="*/ 32 w 418"/>
                  <a:gd name="T27" fmla="*/ 162 h 564"/>
                  <a:gd name="T28" fmla="*/ 40 w 418"/>
                  <a:gd name="T29" fmla="*/ 112 h 564"/>
                  <a:gd name="T30" fmla="*/ 62 w 418"/>
                  <a:gd name="T31" fmla="*/ 70 h 564"/>
                  <a:gd name="T32" fmla="*/ 100 w 418"/>
                  <a:gd name="T33" fmla="*/ 36 h 564"/>
                  <a:gd name="T34" fmla="*/ 150 w 418"/>
                  <a:gd name="T35" fmla="*/ 12 h 564"/>
                  <a:gd name="T36" fmla="*/ 212 w 418"/>
                  <a:gd name="T37" fmla="*/ 0 h 564"/>
                  <a:gd name="T38" fmla="*/ 280 w 418"/>
                  <a:gd name="T39" fmla="*/ 2 h 564"/>
                  <a:gd name="T40" fmla="*/ 394 w 418"/>
                  <a:gd name="T41" fmla="*/ 26 h 564"/>
                  <a:gd name="T42" fmla="*/ 358 w 418"/>
                  <a:gd name="T43" fmla="*/ 128 h 564"/>
                  <a:gd name="T44" fmla="*/ 262 w 418"/>
                  <a:gd name="T45" fmla="*/ 108 h 564"/>
                  <a:gd name="T46" fmla="*/ 224 w 418"/>
                  <a:gd name="T47" fmla="*/ 108 h 564"/>
                  <a:gd name="T48" fmla="*/ 186 w 418"/>
                  <a:gd name="T49" fmla="*/ 118 h 564"/>
                  <a:gd name="T50" fmla="*/ 166 w 418"/>
                  <a:gd name="T51" fmla="*/ 144 h 564"/>
                  <a:gd name="T52" fmla="*/ 166 w 418"/>
                  <a:gd name="T53" fmla="*/ 164 h 564"/>
                  <a:gd name="T54" fmla="*/ 176 w 418"/>
                  <a:gd name="T55" fmla="*/ 184 h 564"/>
                  <a:gd name="T56" fmla="*/ 224 w 418"/>
                  <a:gd name="T57" fmla="*/ 212 h 564"/>
                  <a:gd name="T58" fmla="*/ 314 w 418"/>
                  <a:gd name="T59" fmla="*/ 248 h 564"/>
                  <a:gd name="T60" fmla="*/ 378 w 418"/>
                  <a:gd name="T61" fmla="*/ 292 h 564"/>
                  <a:gd name="T62" fmla="*/ 402 w 418"/>
                  <a:gd name="T63" fmla="*/ 324 h 564"/>
                  <a:gd name="T64" fmla="*/ 414 w 418"/>
                  <a:gd name="T65" fmla="*/ 364 h 564"/>
                  <a:gd name="T66" fmla="*/ 418 w 418"/>
                  <a:gd name="T67" fmla="*/ 396 h 564"/>
                  <a:gd name="T68" fmla="*/ 408 w 418"/>
                  <a:gd name="T69" fmla="*/ 456 h 564"/>
                  <a:gd name="T70" fmla="*/ 380 w 418"/>
                  <a:gd name="T71" fmla="*/ 502 h 564"/>
                  <a:gd name="T72" fmla="*/ 336 w 418"/>
                  <a:gd name="T73" fmla="*/ 534 h 564"/>
                  <a:gd name="T74" fmla="*/ 282 w 418"/>
                  <a:gd name="T75" fmla="*/ 554 h 564"/>
                  <a:gd name="T76" fmla="*/ 220 w 418"/>
                  <a:gd name="T77" fmla="*/ 564 h 564"/>
                  <a:gd name="T78" fmla="*/ 168 w 418"/>
                  <a:gd name="T79" fmla="*/ 562 h 564"/>
                  <a:gd name="T80" fmla="*/ 84 w 418"/>
                  <a:gd name="T81" fmla="*/ 548 h 564"/>
                  <a:gd name="T82" fmla="*/ 18 w 418"/>
                  <a:gd name="T83" fmla="*/ 522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8" h="564">
                    <a:moveTo>
                      <a:pt x="42" y="412"/>
                    </a:moveTo>
                    <a:lnTo>
                      <a:pt x="42" y="412"/>
                    </a:lnTo>
                    <a:lnTo>
                      <a:pt x="58" y="422"/>
                    </a:lnTo>
                    <a:lnTo>
                      <a:pt x="76" y="430"/>
                    </a:lnTo>
                    <a:lnTo>
                      <a:pt x="94" y="438"/>
                    </a:lnTo>
                    <a:lnTo>
                      <a:pt x="112" y="444"/>
                    </a:lnTo>
                    <a:lnTo>
                      <a:pt x="130" y="450"/>
                    </a:lnTo>
                    <a:lnTo>
                      <a:pt x="150" y="454"/>
                    </a:lnTo>
                    <a:lnTo>
                      <a:pt x="170" y="456"/>
                    </a:lnTo>
                    <a:lnTo>
                      <a:pt x="190" y="456"/>
                    </a:lnTo>
                    <a:lnTo>
                      <a:pt x="190" y="456"/>
                    </a:lnTo>
                    <a:lnTo>
                      <a:pt x="210" y="456"/>
                    </a:lnTo>
                    <a:lnTo>
                      <a:pt x="228" y="454"/>
                    </a:lnTo>
                    <a:lnTo>
                      <a:pt x="244" y="450"/>
                    </a:lnTo>
                    <a:lnTo>
                      <a:pt x="258" y="444"/>
                    </a:lnTo>
                    <a:lnTo>
                      <a:pt x="268" y="436"/>
                    </a:lnTo>
                    <a:lnTo>
                      <a:pt x="278" y="426"/>
                    </a:lnTo>
                    <a:lnTo>
                      <a:pt x="282" y="414"/>
                    </a:lnTo>
                    <a:lnTo>
                      <a:pt x="284" y="400"/>
                    </a:lnTo>
                    <a:lnTo>
                      <a:pt x="284" y="400"/>
                    </a:lnTo>
                    <a:lnTo>
                      <a:pt x="284" y="392"/>
                    </a:lnTo>
                    <a:lnTo>
                      <a:pt x="282" y="384"/>
                    </a:lnTo>
                    <a:lnTo>
                      <a:pt x="278" y="378"/>
                    </a:lnTo>
                    <a:lnTo>
                      <a:pt x="274" y="372"/>
                    </a:lnTo>
                    <a:lnTo>
                      <a:pt x="262" y="360"/>
                    </a:lnTo>
                    <a:lnTo>
                      <a:pt x="244" y="350"/>
                    </a:lnTo>
                    <a:lnTo>
                      <a:pt x="226" y="340"/>
                    </a:lnTo>
                    <a:lnTo>
                      <a:pt x="204" y="332"/>
                    </a:lnTo>
                    <a:lnTo>
                      <a:pt x="158" y="314"/>
                    </a:lnTo>
                    <a:lnTo>
                      <a:pt x="134" y="304"/>
                    </a:lnTo>
                    <a:lnTo>
                      <a:pt x="112" y="294"/>
                    </a:lnTo>
                    <a:lnTo>
                      <a:pt x="90" y="280"/>
                    </a:lnTo>
                    <a:lnTo>
                      <a:pt x="72" y="264"/>
                    </a:lnTo>
                    <a:lnTo>
                      <a:pt x="62" y="254"/>
                    </a:lnTo>
                    <a:lnTo>
                      <a:pt x="54" y="244"/>
                    </a:lnTo>
                    <a:lnTo>
                      <a:pt x="48" y="232"/>
                    </a:lnTo>
                    <a:lnTo>
                      <a:pt x="42" y="222"/>
                    </a:lnTo>
                    <a:lnTo>
                      <a:pt x="38" y="208"/>
                    </a:lnTo>
                    <a:lnTo>
                      <a:pt x="34" y="194"/>
                    </a:lnTo>
                    <a:lnTo>
                      <a:pt x="32" y="180"/>
                    </a:lnTo>
                    <a:lnTo>
                      <a:pt x="32" y="162"/>
                    </a:lnTo>
                    <a:lnTo>
                      <a:pt x="32" y="162"/>
                    </a:lnTo>
                    <a:lnTo>
                      <a:pt x="32" y="146"/>
                    </a:lnTo>
                    <a:lnTo>
                      <a:pt x="36" y="128"/>
                    </a:lnTo>
                    <a:lnTo>
                      <a:pt x="40" y="112"/>
                    </a:lnTo>
                    <a:lnTo>
                      <a:pt x="46" y="98"/>
                    </a:lnTo>
                    <a:lnTo>
                      <a:pt x="54" y="82"/>
                    </a:lnTo>
                    <a:lnTo>
                      <a:pt x="62" y="70"/>
                    </a:lnTo>
                    <a:lnTo>
                      <a:pt x="74" y="56"/>
                    </a:lnTo>
                    <a:lnTo>
                      <a:pt x="86" y="46"/>
                    </a:lnTo>
                    <a:lnTo>
                      <a:pt x="100" y="36"/>
                    </a:lnTo>
                    <a:lnTo>
                      <a:pt x="116" y="26"/>
                    </a:lnTo>
                    <a:lnTo>
                      <a:pt x="132" y="18"/>
                    </a:lnTo>
                    <a:lnTo>
                      <a:pt x="150" y="12"/>
                    </a:lnTo>
                    <a:lnTo>
                      <a:pt x="170" y="6"/>
                    </a:lnTo>
                    <a:lnTo>
                      <a:pt x="190" y="4"/>
                    </a:lnTo>
                    <a:lnTo>
                      <a:pt x="212" y="0"/>
                    </a:lnTo>
                    <a:lnTo>
                      <a:pt x="236" y="0"/>
                    </a:lnTo>
                    <a:lnTo>
                      <a:pt x="236" y="0"/>
                    </a:lnTo>
                    <a:lnTo>
                      <a:pt x="280" y="2"/>
                    </a:lnTo>
                    <a:lnTo>
                      <a:pt x="320" y="8"/>
                    </a:lnTo>
                    <a:lnTo>
                      <a:pt x="358" y="16"/>
                    </a:lnTo>
                    <a:lnTo>
                      <a:pt x="394" y="26"/>
                    </a:lnTo>
                    <a:lnTo>
                      <a:pt x="394" y="142"/>
                    </a:lnTo>
                    <a:lnTo>
                      <a:pt x="394" y="142"/>
                    </a:lnTo>
                    <a:lnTo>
                      <a:pt x="358" y="128"/>
                    </a:lnTo>
                    <a:lnTo>
                      <a:pt x="322" y="116"/>
                    </a:lnTo>
                    <a:lnTo>
                      <a:pt x="282" y="110"/>
                    </a:lnTo>
                    <a:lnTo>
                      <a:pt x="262" y="108"/>
                    </a:lnTo>
                    <a:lnTo>
                      <a:pt x="242" y="108"/>
                    </a:lnTo>
                    <a:lnTo>
                      <a:pt x="242" y="108"/>
                    </a:lnTo>
                    <a:lnTo>
                      <a:pt x="224" y="108"/>
                    </a:lnTo>
                    <a:lnTo>
                      <a:pt x="210" y="110"/>
                    </a:lnTo>
                    <a:lnTo>
                      <a:pt x="198" y="114"/>
                    </a:lnTo>
                    <a:lnTo>
                      <a:pt x="186" y="118"/>
                    </a:lnTo>
                    <a:lnTo>
                      <a:pt x="176" y="126"/>
                    </a:lnTo>
                    <a:lnTo>
                      <a:pt x="170" y="134"/>
                    </a:lnTo>
                    <a:lnTo>
                      <a:pt x="166" y="144"/>
                    </a:lnTo>
                    <a:lnTo>
                      <a:pt x="164" y="156"/>
                    </a:lnTo>
                    <a:lnTo>
                      <a:pt x="164" y="156"/>
                    </a:lnTo>
                    <a:lnTo>
                      <a:pt x="166" y="164"/>
                    </a:lnTo>
                    <a:lnTo>
                      <a:pt x="168" y="170"/>
                    </a:lnTo>
                    <a:lnTo>
                      <a:pt x="172" y="178"/>
                    </a:lnTo>
                    <a:lnTo>
                      <a:pt x="176" y="184"/>
                    </a:lnTo>
                    <a:lnTo>
                      <a:pt x="188" y="194"/>
                    </a:lnTo>
                    <a:lnTo>
                      <a:pt x="204" y="204"/>
                    </a:lnTo>
                    <a:lnTo>
                      <a:pt x="224" y="212"/>
                    </a:lnTo>
                    <a:lnTo>
                      <a:pt x="244" y="220"/>
                    </a:lnTo>
                    <a:lnTo>
                      <a:pt x="292" y="238"/>
                    </a:lnTo>
                    <a:lnTo>
                      <a:pt x="314" y="248"/>
                    </a:lnTo>
                    <a:lnTo>
                      <a:pt x="338" y="260"/>
                    </a:lnTo>
                    <a:lnTo>
                      <a:pt x="360" y="274"/>
                    </a:lnTo>
                    <a:lnTo>
                      <a:pt x="378" y="292"/>
                    </a:lnTo>
                    <a:lnTo>
                      <a:pt x="386" y="302"/>
                    </a:lnTo>
                    <a:lnTo>
                      <a:pt x="394" y="312"/>
                    </a:lnTo>
                    <a:lnTo>
                      <a:pt x="402" y="324"/>
                    </a:lnTo>
                    <a:lnTo>
                      <a:pt x="406" y="336"/>
                    </a:lnTo>
                    <a:lnTo>
                      <a:pt x="412" y="350"/>
                    </a:lnTo>
                    <a:lnTo>
                      <a:pt x="414" y="364"/>
                    </a:lnTo>
                    <a:lnTo>
                      <a:pt x="418" y="380"/>
                    </a:lnTo>
                    <a:lnTo>
                      <a:pt x="418" y="396"/>
                    </a:lnTo>
                    <a:lnTo>
                      <a:pt x="418" y="396"/>
                    </a:lnTo>
                    <a:lnTo>
                      <a:pt x="416" y="418"/>
                    </a:lnTo>
                    <a:lnTo>
                      <a:pt x="414" y="438"/>
                    </a:lnTo>
                    <a:lnTo>
                      <a:pt x="408" y="456"/>
                    </a:lnTo>
                    <a:lnTo>
                      <a:pt x="400" y="472"/>
                    </a:lnTo>
                    <a:lnTo>
                      <a:pt x="390" y="488"/>
                    </a:lnTo>
                    <a:lnTo>
                      <a:pt x="380" y="502"/>
                    </a:lnTo>
                    <a:lnTo>
                      <a:pt x="366" y="514"/>
                    </a:lnTo>
                    <a:lnTo>
                      <a:pt x="352" y="524"/>
                    </a:lnTo>
                    <a:lnTo>
                      <a:pt x="336" y="534"/>
                    </a:lnTo>
                    <a:lnTo>
                      <a:pt x="320" y="542"/>
                    </a:lnTo>
                    <a:lnTo>
                      <a:pt x="302" y="550"/>
                    </a:lnTo>
                    <a:lnTo>
                      <a:pt x="282" y="554"/>
                    </a:lnTo>
                    <a:lnTo>
                      <a:pt x="262" y="558"/>
                    </a:lnTo>
                    <a:lnTo>
                      <a:pt x="242" y="562"/>
                    </a:lnTo>
                    <a:lnTo>
                      <a:pt x="220" y="564"/>
                    </a:lnTo>
                    <a:lnTo>
                      <a:pt x="200" y="564"/>
                    </a:lnTo>
                    <a:lnTo>
                      <a:pt x="200" y="564"/>
                    </a:lnTo>
                    <a:lnTo>
                      <a:pt x="168" y="562"/>
                    </a:lnTo>
                    <a:lnTo>
                      <a:pt x="138" y="560"/>
                    </a:lnTo>
                    <a:lnTo>
                      <a:pt x="110" y="554"/>
                    </a:lnTo>
                    <a:lnTo>
                      <a:pt x="84" y="548"/>
                    </a:lnTo>
                    <a:lnTo>
                      <a:pt x="60" y="540"/>
                    </a:lnTo>
                    <a:lnTo>
                      <a:pt x="38" y="532"/>
                    </a:lnTo>
                    <a:lnTo>
                      <a:pt x="18" y="522"/>
                    </a:lnTo>
                    <a:lnTo>
                      <a:pt x="0" y="512"/>
                    </a:lnTo>
                    <a:lnTo>
                      <a:pt x="42" y="4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7" name="Freeform 27"/>
              <p:cNvSpPr>
                <a:spLocks noEditPoints="1"/>
              </p:cNvSpPr>
              <p:nvPr/>
            </p:nvSpPr>
            <p:spPr bwMode="auto">
              <a:xfrm>
                <a:off x="8230347" y="4493623"/>
                <a:ext cx="17443" cy="81608"/>
              </a:xfrm>
              <a:custGeom>
                <a:avLst/>
                <a:gdLst>
                  <a:gd name="T0" fmla="*/ 84 w 168"/>
                  <a:gd name="T1" fmla="*/ 162 h 786"/>
                  <a:gd name="T2" fmla="*/ 84 w 168"/>
                  <a:gd name="T3" fmla="*/ 162 h 786"/>
                  <a:gd name="T4" fmla="*/ 68 w 168"/>
                  <a:gd name="T5" fmla="*/ 160 h 786"/>
                  <a:gd name="T6" fmla="*/ 52 w 168"/>
                  <a:gd name="T7" fmla="*/ 156 h 786"/>
                  <a:gd name="T8" fmla="*/ 38 w 168"/>
                  <a:gd name="T9" fmla="*/ 148 h 786"/>
                  <a:gd name="T10" fmla="*/ 26 w 168"/>
                  <a:gd name="T11" fmla="*/ 138 h 786"/>
                  <a:gd name="T12" fmla="*/ 14 w 168"/>
                  <a:gd name="T13" fmla="*/ 126 h 786"/>
                  <a:gd name="T14" fmla="*/ 8 w 168"/>
                  <a:gd name="T15" fmla="*/ 112 h 786"/>
                  <a:gd name="T16" fmla="*/ 2 w 168"/>
                  <a:gd name="T17" fmla="*/ 98 h 786"/>
                  <a:gd name="T18" fmla="*/ 0 w 168"/>
                  <a:gd name="T19" fmla="*/ 80 h 786"/>
                  <a:gd name="T20" fmla="*/ 0 w 168"/>
                  <a:gd name="T21" fmla="*/ 80 h 786"/>
                  <a:gd name="T22" fmla="*/ 2 w 168"/>
                  <a:gd name="T23" fmla="*/ 64 h 786"/>
                  <a:gd name="T24" fmla="*/ 8 w 168"/>
                  <a:gd name="T25" fmla="*/ 50 h 786"/>
                  <a:gd name="T26" fmla="*/ 14 w 168"/>
                  <a:gd name="T27" fmla="*/ 36 h 786"/>
                  <a:gd name="T28" fmla="*/ 26 w 168"/>
                  <a:gd name="T29" fmla="*/ 24 h 786"/>
                  <a:gd name="T30" fmla="*/ 38 w 168"/>
                  <a:gd name="T31" fmla="*/ 14 h 786"/>
                  <a:gd name="T32" fmla="*/ 52 w 168"/>
                  <a:gd name="T33" fmla="*/ 6 h 786"/>
                  <a:gd name="T34" fmla="*/ 68 w 168"/>
                  <a:gd name="T35" fmla="*/ 2 h 786"/>
                  <a:gd name="T36" fmla="*/ 84 w 168"/>
                  <a:gd name="T37" fmla="*/ 0 h 786"/>
                  <a:gd name="T38" fmla="*/ 84 w 168"/>
                  <a:gd name="T39" fmla="*/ 0 h 786"/>
                  <a:gd name="T40" fmla="*/ 102 w 168"/>
                  <a:gd name="T41" fmla="*/ 2 h 786"/>
                  <a:gd name="T42" fmla="*/ 118 w 168"/>
                  <a:gd name="T43" fmla="*/ 6 h 786"/>
                  <a:gd name="T44" fmla="*/ 132 w 168"/>
                  <a:gd name="T45" fmla="*/ 14 h 786"/>
                  <a:gd name="T46" fmla="*/ 144 w 168"/>
                  <a:gd name="T47" fmla="*/ 24 h 786"/>
                  <a:gd name="T48" fmla="*/ 154 w 168"/>
                  <a:gd name="T49" fmla="*/ 36 h 786"/>
                  <a:gd name="T50" fmla="*/ 162 w 168"/>
                  <a:gd name="T51" fmla="*/ 48 h 786"/>
                  <a:gd name="T52" fmla="*/ 166 w 168"/>
                  <a:gd name="T53" fmla="*/ 64 h 786"/>
                  <a:gd name="T54" fmla="*/ 168 w 168"/>
                  <a:gd name="T55" fmla="*/ 80 h 786"/>
                  <a:gd name="T56" fmla="*/ 168 w 168"/>
                  <a:gd name="T57" fmla="*/ 80 h 786"/>
                  <a:gd name="T58" fmla="*/ 166 w 168"/>
                  <a:gd name="T59" fmla="*/ 96 h 786"/>
                  <a:gd name="T60" fmla="*/ 162 w 168"/>
                  <a:gd name="T61" fmla="*/ 112 h 786"/>
                  <a:gd name="T62" fmla="*/ 154 w 168"/>
                  <a:gd name="T63" fmla="*/ 126 h 786"/>
                  <a:gd name="T64" fmla="*/ 144 w 168"/>
                  <a:gd name="T65" fmla="*/ 138 h 786"/>
                  <a:gd name="T66" fmla="*/ 132 w 168"/>
                  <a:gd name="T67" fmla="*/ 148 h 786"/>
                  <a:gd name="T68" fmla="*/ 118 w 168"/>
                  <a:gd name="T69" fmla="*/ 156 h 786"/>
                  <a:gd name="T70" fmla="*/ 102 w 168"/>
                  <a:gd name="T71" fmla="*/ 160 h 786"/>
                  <a:gd name="T72" fmla="*/ 84 w 168"/>
                  <a:gd name="T73" fmla="*/ 162 h 786"/>
                  <a:gd name="T74" fmla="*/ 84 w 168"/>
                  <a:gd name="T75" fmla="*/ 162 h 786"/>
                  <a:gd name="T76" fmla="*/ 16 w 168"/>
                  <a:gd name="T77" fmla="*/ 786 h 786"/>
                  <a:gd name="T78" fmla="*/ 16 w 168"/>
                  <a:gd name="T79" fmla="*/ 244 h 786"/>
                  <a:gd name="T80" fmla="*/ 152 w 168"/>
                  <a:gd name="T81" fmla="*/ 244 h 786"/>
                  <a:gd name="T82" fmla="*/ 152 w 168"/>
                  <a:gd name="T83" fmla="*/ 244 h 786"/>
                  <a:gd name="T84" fmla="*/ 152 w 168"/>
                  <a:gd name="T85" fmla="*/ 686 h 786"/>
                  <a:gd name="T86" fmla="*/ 152 w 168"/>
                  <a:gd name="T87" fmla="*/ 686 h 786"/>
                  <a:gd name="T88" fmla="*/ 150 w 168"/>
                  <a:gd name="T89" fmla="*/ 704 h 786"/>
                  <a:gd name="T90" fmla="*/ 146 w 168"/>
                  <a:gd name="T91" fmla="*/ 720 h 786"/>
                  <a:gd name="T92" fmla="*/ 138 w 168"/>
                  <a:gd name="T93" fmla="*/ 732 h 786"/>
                  <a:gd name="T94" fmla="*/ 130 w 168"/>
                  <a:gd name="T95" fmla="*/ 744 h 786"/>
                  <a:gd name="T96" fmla="*/ 120 w 168"/>
                  <a:gd name="T97" fmla="*/ 754 h 786"/>
                  <a:gd name="T98" fmla="*/ 108 w 168"/>
                  <a:gd name="T99" fmla="*/ 762 h 786"/>
                  <a:gd name="T100" fmla="*/ 96 w 168"/>
                  <a:gd name="T101" fmla="*/ 768 h 786"/>
                  <a:gd name="T102" fmla="*/ 84 w 168"/>
                  <a:gd name="T103" fmla="*/ 774 h 786"/>
                  <a:gd name="T104" fmla="*/ 60 w 168"/>
                  <a:gd name="T105" fmla="*/ 782 h 786"/>
                  <a:gd name="T106" fmla="*/ 38 w 168"/>
                  <a:gd name="T107" fmla="*/ 784 h 786"/>
                  <a:gd name="T108" fmla="*/ 16 w 168"/>
                  <a:gd name="T109" fmla="*/ 786 h 786"/>
                  <a:gd name="T110" fmla="*/ 16 w 168"/>
                  <a:gd name="T111" fmla="*/ 786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8" h="786">
                    <a:moveTo>
                      <a:pt x="84" y="162"/>
                    </a:moveTo>
                    <a:lnTo>
                      <a:pt x="84" y="162"/>
                    </a:lnTo>
                    <a:lnTo>
                      <a:pt x="68" y="160"/>
                    </a:lnTo>
                    <a:lnTo>
                      <a:pt x="52" y="156"/>
                    </a:lnTo>
                    <a:lnTo>
                      <a:pt x="38" y="148"/>
                    </a:lnTo>
                    <a:lnTo>
                      <a:pt x="26" y="138"/>
                    </a:lnTo>
                    <a:lnTo>
                      <a:pt x="14" y="126"/>
                    </a:lnTo>
                    <a:lnTo>
                      <a:pt x="8" y="112"/>
                    </a:lnTo>
                    <a:lnTo>
                      <a:pt x="2" y="98"/>
                    </a:lnTo>
                    <a:lnTo>
                      <a:pt x="0" y="80"/>
                    </a:lnTo>
                    <a:lnTo>
                      <a:pt x="0" y="80"/>
                    </a:lnTo>
                    <a:lnTo>
                      <a:pt x="2" y="64"/>
                    </a:lnTo>
                    <a:lnTo>
                      <a:pt x="8" y="50"/>
                    </a:lnTo>
                    <a:lnTo>
                      <a:pt x="14" y="36"/>
                    </a:lnTo>
                    <a:lnTo>
                      <a:pt x="26" y="24"/>
                    </a:lnTo>
                    <a:lnTo>
                      <a:pt x="38" y="14"/>
                    </a:lnTo>
                    <a:lnTo>
                      <a:pt x="52" y="6"/>
                    </a:lnTo>
                    <a:lnTo>
                      <a:pt x="68" y="2"/>
                    </a:lnTo>
                    <a:lnTo>
                      <a:pt x="84" y="0"/>
                    </a:lnTo>
                    <a:lnTo>
                      <a:pt x="84" y="0"/>
                    </a:lnTo>
                    <a:lnTo>
                      <a:pt x="102" y="2"/>
                    </a:lnTo>
                    <a:lnTo>
                      <a:pt x="118" y="6"/>
                    </a:lnTo>
                    <a:lnTo>
                      <a:pt x="132" y="14"/>
                    </a:lnTo>
                    <a:lnTo>
                      <a:pt x="144" y="24"/>
                    </a:lnTo>
                    <a:lnTo>
                      <a:pt x="154" y="36"/>
                    </a:lnTo>
                    <a:lnTo>
                      <a:pt x="162" y="48"/>
                    </a:lnTo>
                    <a:lnTo>
                      <a:pt x="166" y="64"/>
                    </a:lnTo>
                    <a:lnTo>
                      <a:pt x="168" y="80"/>
                    </a:lnTo>
                    <a:lnTo>
                      <a:pt x="168" y="80"/>
                    </a:lnTo>
                    <a:lnTo>
                      <a:pt x="166" y="96"/>
                    </a:lnTo>
                    <a:lnTo>
                      <a:pt x="162" y="112"/>
                    </a:lnTo>
                    <a:lnTo>
                      <a:pt x="154" y="126"/>
                    </a:lnTo>
                    <a:lnTo>
                      <a:pt x="144" y="138"/>
                    </a:lnTo>
                    <a:lnTo>
                      <a:pt x="132" y="148"/>
                    </a:lnTo>
                    <a:lnTo>
                      <a:pt x="118" y="156"/>
                    </a:lnTo>
                    <a:lnTo>
                      <a:pt x="102" y="160"/>
                    </a:lnTo>
                    <a:lnTo>
                      <a:pt x="84" y="162"/>
                    </a:lnTo>
                    <a:lnTo>
                      <a:pt x="84" y="162"/>
                    </a:lnTo>
                    <a:close/>
                    <a:moveTo>
                      <a:pt x="16" y="786"/>
                    </a:moveTo>
                    <a:lnTo>
                      <a:pt x="16" y="244"/>
                    </a:lnTo>
                    <a:lnTo>
                      <a:pt x="152" y="244"/>
                    </a:lnTo>
                    <a:lnTo>
                      <a:pt x="152" y="244"/>
                    </a:lnTo>
                    <a:lnTo>
                      <a:pt x="152" y="686"/>
                    </a:lnTo>
                    <a:lnTo>
                      <a:pt x="152" y="686"/>
                    </a:lnTo>
                    <a:lnTo>
                      <a:pt x="150" y="704"/>
                    </a:lnTo>
                    <a:lnTo>
                      <a:pt x="146" y="720"/>
                    </a:lnTo>
                    <a:lnTo>
                      <a:pt x="138" y="732"/>
                    </a:lnTo>
                    <a:lnTo>
                      <a:pt x="130" y="744"/>
                    </a:lnTo>
                    <a:lnTo>
                      <a:pt x="120" y="754"/>
                    </a:lnTo>
                    <a:lnTo>
                      <a:pt x="108" y="762"/>
                    </a:lnTo>
                    <a:lnTo>
                      <a:pt x="96" y="768"/>
                    </a:lnTo>
                    <a:lnTo>
                      <a:pt x="84" y="774"/>
                    </a:lnTo>
                    <a:lnTo>
                      <a:pt x="60" y="782"/>
                    </a:lnTo>
                    <a:lnTo>
                      <a:pt x="38" y="784"/>
                    </a:lnTo>
                    <a:lnTo>
                      <a:pt x="16" y="786"/>
                    </a:lnTo>
                    <a:lnTo>
                      <a:pt x="16" y="7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8" name="Freeform 28"/>
              <p:cNvSpPr>
                <a:spLocks/>
              </p:cNvSpPr>
              <p:nvPr/>
            </p:nvSpPr>
            <p:spPr bwMode="auto">
              <a:xfrm>
                <a:off x="7989468" y="4518126"/>
                <a:ext cx="49837" cy="57313"/>
              </a:xfrm>
              <a:custGeom>
                <a:avLst/>
                <a:gdLst>
                  <a:gd name="T0" fmla="*/ 346 w 480"/>
                  <a:gd name="T1" fmla="*/ 230 h 552"/>
                  <a:gd name="T2" fmla="*/ 344 w 480"/>
                  <a:gd name="T3" fmla="*/ 210 h 552"/>
                  <a:gd name="T4" fmla="*/ 338 w 480"/>
                  <a:gd name="T5" fmla="*/ 170 h 552"/>
                  <a:gd name="T6" fmla="*/ 322 w 480"/>
                  <a:gd name="T7" fmla="*/ 138 h 552"/>
                  <a:gd name="T8" fmla="*/ 308 w 480"/>
                  <a:gd name="T9" fmla="*/ 126 h 552"/>
                  <a:gd name="T10" fmla="*/ 290 w 480"/>
                  <a:gd name="T11" fmla="*/ 118 h 552"/>
                  <a:gd name="T12" fmla="*/ 268 w 480"/>
                  <a:gd name="T13" fmla="*/ 116 h 552"/>
                  <a:gd name="T14" fmla="*/ 250 w 480"/>
                  <a:gd name="T15" fmla="*/ 116 h 552"/>
                  <a:gd name="T16" fmla="*/ 216 w 480"/>
                  <a:gd name="T17" fmla="*/ 126 h 552"/>
                  <a:gd name="T18" fmla="*/ 182 w 480"/>
                  <a:gd name="T19" fmla="*/ 140 h 552"/>
                  <a:gd name="T20" fmla="*/ 134 w 480"/>
                  <a:gd name="T21" fmla="*/ 172 h 552"/>
                  <a:gd name="T22" fmla="*/ 134 w 480"/>
                  <a:gd name="T23" fmla="*/ 452 h 552"/>
                  <a:gd name="T24" fmla="*/ 132 w 480"/>
                  <a:gd name="T25" fmla="*/ 470 h 552"/>
                  <a:gd name="T26" fmla="*/ 120 w 480"/>
                  <a:gd name="T27" fmla="*/ 498 h 552"/>
                  <a:gd name="T28" fmla="*/ 102 w 480"/>
                  <a:gd name="T29" fmla="*/ 518 h 552"/>
                  <a:gd name="T30" fmla="*/ 78 w 480"/>
                  <a:gd name="T31" fmla="*/ 534 h 552"/>
                  <a:gd name="T32" fmla="*/ 42 w 480"/>
                  <a:gd name="T33" fmla="*/ 546 h 552"/>
                  <a:gd name="T34" fmla="*/ 0 w 480"/>
                  <a:gd name="T35" fmla="*/ 552 h 552"/>
                  <a:gd name="T36" fmla="*/ 114 w 480"/>
                  <a:gd name="T37" fmla="*/ 14 h 552"/>
                  <a:gd name="T38" fmla="*/ 128 w 480"/>
                  <a:gd name="T39" fmla="*/ 70 h 552"/>
                  <a:gd name="T40" fmla="*/ 170 w 480"/>
                  <a:gd name="T41" fmla="*/ 42 h 552"/>
                  <a:gd name="T42" fmla="*/ 214 w 480"/>
                  <a:gd name="T43" fmla="*/ 20 h 552"/>
                  <a:gd name="T44" fmla="*/ 262 w 480"/>
                  <a:gd name="T45" fmla="*/ 6 h 552"/>
                  <a:gd name="T46" fmla="*/ 314 w 480"/>
                  <a:gd name="T47" fmla="*/ 0 h 552"/>
                  <a:gd name="T48" fmla="*/ 328 w 480"/>
                  <a:gd name="T49" fmla="*/ 2 h 552"/>
                  <a:gd name="T50" fmla="*/ 358 w 480"/>
                  <a:gd name="T51" fmla="*/ 6 h 552"/>
                  <a:gd name="T52" fmla="*/ 388 w 480"/>
                  <a:gd name="T53" fmla="*/ 16 h 552"/>
                  <a:gd name="T54" fmla="*/ 414 w 480"/>
                  <a:gd name="T55" fmla="*/ 32 h 552"/>
                  <a:gd name="T56" fmla="*/ 438 w 480"/>
                  <a:gd name="T57" fmla="*/ 54 h 552"/>
                  <a:gd name="T58" fmla="*/ 458 w 480"/>
                  <a:gd name="T59" fmla="*/ 84 h 552"/>
                  <a:gd name="T60" fmla="*/ 472 w 480"/>
                  <a:gd name="T61" fmla="*/ 120 h 552"/>
                  <a:gd name="T62" fmla="*/ 478 w 480"/>
                  <a:gd name="T63" fmla="*/ 166 h 552"/>
                  <a:gd name="T64" fmla="*/ 480 w 480"/>
                  <a:gd name="T65" fmla="*/ 190 h 552"/>
                  <a:gd name="T66" fmla="*/ 480 w 480"/>
                  <a:gd name="T67" fmla="*/ 452 h 552"/>
                  <a:gd name="T68" fmla="*/ 474 w 480"/>
                  <a:gd name="T69" fmla="*/ 484 h 552"/>
                  <a:gd name="T70" fmla="*/ 458 w 480"/>
                  <a:gd name="T71" fmla="*/ 510 h 552"/>
                  <a:gd name="T72" fmla="*/ 438 w 480"/>
                  <a:gd name="T73" fmla="*/ 528 h 552"/>
                  <a:gd name="T74" fmla="*/ 412 w 480"/>
                  <a:gd name="T75" fmla="*/ 540 h 552"/>
                  <a:gd name="T76" fmla="*/ 366 w 480"/>
                  <a:gd name="T77" fmla="*/ 550 h 552"/>
                  <a:gd name="T78" fmla="*/ 346 w 480"/>
                  <a:gd name="T79" fmla="*/ 552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80" h="552">
                    <a:moveTo>
                      <a:pt x="346" y="552"/>
                    </a:moveTo>
                    <a:lnTo>
                      <a:pt x="346" y="230"/>
                    </a:lnTo>
                    <a:lnTo>
                      <a:pt x="346" y="230"/>
                    </a:lnTo>
                    <a:lnTo>
                      <a:pt x="344" y="210"/>
                    </a:lnTo>
                    <a:lnTo>
                      <a:pt x="342" y="190"/>
                    </a:lnTo>
                    <a:lnTo>
                      <a:pt x="338" y="170"/>
                    </a:lnTo>
                    <a:lnTo>
                      <a:pt x="332" y="152"/>
                    </a:lnTo>
                    <a:lnTo>
                      <a:pt x="322" y="138"/>
                    </a:lnTo>
                    <a:lnTo>
                      <a:pt x="316" y="132"/>
                    </a:lnTo>
                    <a:lnTo>
                      <a:pt x="308" y="126"/>
                    </a:lnTo>
                    <a:lnTo>
                      <a:pt x="300" y="122"/>
                    </a:lnTo>
                    <a:lnTo>
                      <a:pt x="290" y="118"/>
                    </a:lnTo>
                    <a:lnTo>
                      <a:pt x="280" y="116"/>
                    </a:lnTo>
                    <a:lnTo>
                      <a:pt x="268" y="116"/>
                    </a:lnTo>
                    <a:lnTo>
                      <a:pt x="268" y="116"/>
                    </a:lnTo>
                    <a:lnTo>
                      <a:pt x="250" y="116"/>
                    </a:lnTo>
                    <a:lnTo>
                      <a:pt x="232" y="120"/>
                    </a:lnTo>
                    <a:lnTo>
                      <a:pt x="216" y="126"/>
                    </a:lnTo>
                    <a:lnTo>
                      <a:pt x="198" y="132"/>
                    </a:lnTo>
                    <a:lnTo>
                      <a:pt x="182" y="140"/>
                    </a:lnTo>
                    <a:lnTo>
                      <a:pt x="166" y="150"/>
                    </a:lnTo>
                    <a:lnTo>
                      <a:pt x="134" y="172"/>
                    </a:lnTo>
                    <a:lnTo>
                      <a:pt x="134" y="172"/>
                    </a:lnTo>
                    <a:lnTo>
                      <a:pt x="134" y="452"/>
                    </a:lnTo>
                    <a:lnTo>
                      <a:pt x="134" y="452"/>
                    </a:lnTo>
                    <a:lnTo>
                      <a:pt x="132" y="470"/>
                    </a:lnTo>
                    <a:lnTo>
                      <a:pt x="128" y="484"/>
                    </a:lnTo>
                    <a:lnTo>
                      <a:pt x="120" y="498"/>
                    </a:lnTo>
                    <a:lnTo>
                      <a:pt x="112" y="510"/>
                    </a:lnTo>
                    <a:lnTo>
                      <a:pt x="102" y="518"/>
                    </a:lnTo>
                    <a:lnTo>
                      <a:pt x="90" y="528"/>
                    </a:lnTo>
                    <a:lnTo>
                      <a:pt x="78" y="534"/>
                    </a:lnTo>
                    <a:lnTo>
                      <a:pt x="66" y="540"/>
                    </a:lnTo>
                    <a:lnTo>
                      <a:pt x="42" y="546"/>
                    </a:lnTo>
                    <a:lnTo>
                      <a:pt x="20" y="550"/>
                    </a:lnTo>
                    <a:lnTo>
                      <a:pt x="0" y="552"/>
                    </a:lnTo>
                    <a:lnTo>
                      <a:pt x="0" y="14"/>
                    </a:lnTo>
                    <a:lnTo>
                      <a:pt x="114" y="14"/>
                    </a:lnTo>
                    <a:lnTo>
                      <a:pt x="128" y="70"/>
                    </a:lnTo>
                    <a:lnTo>
                      <a:pt x="128" y="70"/>
                    </a:lnTo>
                    <a:lnTo>
                      <a:pt x="150" y="54"/>
                    </a:lnTo>
                    <a:lnTo>
                      <a:pt x="170" y="42"/>
                    </a:lnTo>
                    <a:lnTo>
                      <a:pt x="192" y="30"/>
                    </a:lnTo>
                    <a:lnTo>
                      <a:pt x="214" y="20"/>
                    </a:lnTo>
                    <a:lnTo>
                      <a:pt x="238" y="12"/>
                    </a:lnTo>
                    <a:lnTo>
                      <a:pt x="262" y="6"/>
                    </a:lnTo>
                    <a:lnTo>
                      <a:pt x="286" y="2"/>
                    </a:lnTo>
                    <a:lnTo>
                      <a:pt x="314" y="0"/>
                    </a:lnTo>
                    <a:lnTo>
                      <a:pt x="314" y="0"/>
                    </a:lnTo>
                    <a:lnTo>
                      <a:pt x="328" y="2"/>
                    </a:lnTo>
                    <a:lnTo>
                      <a:pt x="344" y="2"/>
                    </a:lnTo>
                    <a:lnTo>
                      <a:pt x="358" y="6"/>
                    </a:lnTo>
                    <a:lnTo>
                      <a:pt x="374" y="10"/>
                    </a:lnTo>
                    <a:lnTo>
                      <a:pt x="388" y="16"/>
                    </a:lnTo>
                    <a:lnTo>
                      <a:pt x="402" y="24"/>
                    </a:lnTo>
                    <a:lnTo>
                      <a:pt x="414" y="32"/>
                    </a:lnTo>
                    <a:lnTo>
                      <a:pt x="426" y="42"/>
                    </a:lnTo>
                    <a:lnTo>
                      <a:pt x="438" y="54"/>
                    </a:lnTo>
                    <a:lnTo>
                      <a:pt x="448" y="68"/>
                    </a:lnTo>
                    <a:lnTo>
                      <a:pt x="458" y="84"/>
                    </a:lnTo>
                    <a:lnTo>
                      <a:pt x="464" y="102"/>
                    </a:lnTo>
                    <a:lnTo>
                      <a:pt x="472" y="120"/>
                    </a:lnTo>
                    <a:lnTo>
                      <a:pt x="476" y="142"/>
                    </a:lnTo>
                    <a:lnTo>
                      <a:pt x="478" y="166"/>
                    </a:lnTo>
                    <a:lnTo>
                      <a:pt x="480" y="190"/>
                    </a:lnTo>
                    <a:lnTo>
                      <a:pt x="480" y="190"/>
                    </a:lnTo>
                    <a:lnTo>
                      <a:pt x="480" y="452"/>
                    </a:lnTo>
                    <a:lnTo>
                      <a:pt x="480" y="452"/>
                    </a:lnTo>
                    <a:lnTo>
                      <a:pt x="478" y="470"/>
                    </a:lnTo>
                    <a:lnTo>
                      <a:pt x="474" y="484"/>
                    </a:lnTo>
                    <a:lnTo>
                      <a:pt x="468" y="498"/>
                    </a:lnTo>
                    <a:lnTo>
                      <a:pt x="458" y="510"/>
                    </a:lnTo>
                    <a:lnTo>
                      <a:pt x="448" y="520"/>
                    </a:lnTo>
                    <a:lnTo>
                      <a:pt x="438" y="528"/>
                    </a:lnTo>
                    <a:lnTo>
                      <a:pt x="424" y="534"/>
                    </a:lnTo>
                    <a:lnTo>
                      <a:pt x="412" y="540"/>
                    </a:lnTo>
                    <a:lnTo>
                      <a:pt x="388" y="546"/>
                    </a:lnTo>
                    <a:lnTo>
                      <a:pt x="366" y="550"/>
                    </a:lnTo>
                    <a:lnTo>
                      <a:pt x="346" y="552"/>
                    </a:lnTo>
                    <a:lnTo>
                      <a:pt x="346" y="5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9" name="Freeform 29"/>
              <p:cNvSpPr>
                <a:spLocks/>
              </p:cNvSpPr>
              <p:nvPr/>
            </p:nvSpPr>
            <p:spPr bwMode="auto">
              <a:xfrm>
                <a:off x="8106170" y="4491754"/>
                <a:ext cx="14120" cy="83477"/>
              </a:xfrm>
              <a:custGeom>
                <a:avLst/>
                <a:gdLst>
                  <a:gd name="T0" fmla="*/ 136 w 136"/>
                  <a:gd name="T1" fmla="*/ 704 h 804"/>
                  <a:gd name="T2" fmla="*/ 136 w 136"/>
                  <a:gd name="T3" fmla="*/ 704 h 804"/>
                  <a:gd name="T4" fmla="*/ 134 w 136"/>
                  <a:gd name="T5" fmla="*/ 722 h 804"/>
                  <a:gd name="T6" fmla="*/ 130 w 136"/>
                  <a:gd name="T7" fmla="*/ 738 h 804"/>
                  <a:gd name="T8" fmla="*/ 122 w 136"/>
                  <a:gd name="T9" fmla="*/ 750 h 804"/>
                  <a:gd name="T10" fmla="*/ 114 w 136"/>
                  <a:gd name="T11" fmla="*/ 762 h 804"/>
                  <a:gd name="T12" fmla="*/ 104 w 136"/>
                  <a:gd name="T13" fmla="*/ 772 h 804"/>
                  <a:gd name="T14" fmla="*/ 92 w 136"/>
                  <a:gd name="T15" fmla="*/ 780 h 804"/>
                  <a:gd name="T16" fmla="*/ 80 w 136"/>
                  <a:gd name="T17" fmla="*/ 786 h 804"/>
                  <a:gd name="T18" fmla="*/ 68 w 136"/>
                  <a:gd name="T19" fmla="*/ 792 h 804"/>
                  <a:gd name="T20" fmla="*/ 44 w 136"/>
                  <a:gd name="T21" fmla="*/ 800 h 804"/>
                  <a:gd name="T22" fmla="*/ 22 w 136"/>
                  <a:gd name="T23" fmla="*/ 802 h 804"/>
                  <a:gd name="T24" fmla="*/ 0 w 136"/>
                  <a:gd name="T25" fmla="*/ 804 h 804"/>
                  <a:gd name="T26" fmla="*/ 0 w 136"/>
                  <a:gd name="T27" fmla="*/ 0 h 804"/>
                  <a:gd name="T28" fmla="*/ 136 w 136"/>
                  <a:gd name="T29" fmla="*/ 0 h 804"/>
                  <a:gd name="T30" fmla="*/ 136 w 136"/>
                  <a:gd name="T31" fmla="*/ 0 h 804"/>
                  <a:gd name="T32" fmla="*/ 136 w 136"/>
                  <a:gd name="T33" fmla="*/ 704 h 804"/>
                  <a:gd name="T34" fmla="*/ 136 w 136"/>
                  <a:gd name="T35" fmla="*/ 70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04">
                    <a:moveTo>
                      <a:pt x="136" y="704"/>
                    </a:moveTo>
                    <a:lnTo>
                      <a:pt x="136" y="704"/>
                    </a:lnTo>
                    <a:lnTo>
                      <a:pt x="134" y="722"/>
                    </a:lnTo>
                    <a:lnTo>
                      <a:pt x="130" y="738"/>
                    </a:lnTo>
                    <a:lnTo>
                      <a:pt x="122" y="750"/>
                    </a:lnTo>
                    <a:lnTo>
                      <a:pt x="114" y="762"/>
                    </a:lnTo>
                    <a:lnTo>
                      <a:pt x="104" y="772"/>
                    </a:lnTo>
                    <a:lnTo>
                      <a:pt x="92" y="780"/>
                    </a:lnTo>
                    <a:lnTo>
                      <a:pt x="80" y="786"/>
                    </a:lnTo>
                    <a:lnTo>
                      <a:pt x="68" y="792"/>
                    </a:lnTo>
                    <a:lnTo>
                      <a:pt x="44" y="800"/>
                    </a:lnTo>
                    <a:lnTo>
                      <a:pt x="22" y="802"/>
                    </a:lnTo>
                    <a:lnTo>
                      <a:pt x="0" y="804"/>
                    </a:lnTo>
                    <a:lnTo>
                      <a:pt x="0" y="0"/>
                    </a:lnTo>
                    <a:lnTo>
                      <a:pt x="136" y="0"/>
                    </a:lnTo>
                    <a:lnTo>
                      <a:pt x="136" y="0"/>
                    </a:lnTo>
                    <a:lnTo>
                      <a:pt x="136" y="704"/>
                    </a:lnTo>
                    <a:lnTo>
                      <a:pt x="136" y="7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5" name="Group 74"/>
            <p:cNvGrpSpPr/>
            <p:nvPr userDrawn="1"/>
          </p:nvGrpSpPr>
          <p:grpSpPr>
            <a:xfrm>
              <a:off x="7673274" y="4343117"/>
              <a:ext cx="1123200" cy="148389"/>
              <a:chOff x="7665803" y="4864376"/>
              <a:chExt cx="1123200" cy="148389"/>
            </a:xfrm>
            <a:grpFill/>
          </p:grpSpPr>
          <p:sp>
            <p:nvSpPr>
              <p:cNvPr id="76" name="Freeform 6"/>
              <p:cNvSpPr>
                <a:spLocks/>
              </p:cNvSpPr>
              <p:nvPr userDrawn="1"/>
            </p:nvSpPr>
            <p:spPr bwMode="auto">
              <a:xfrm>
                <a:off x="8119644" y="4924717"/>
                <a:ext cx="103102" cy="66806"/>
              </a:xfrm>
              <a:custGeom>
                <a:avLst/>
                <a:gdLst>
                  <a:gd name="T0" fmla="*/ 111 w 136"/>
                  <a:gd name="T1" fmla="*/ 72 h 92"/>
                  <a:gd name="T2" fmla="*/ 87 w 136"/>
                  <a:gd name="T3" fmla="*/ 88 h 92"/>
                  <a:gd name="T4" fmla="*/ 68 w 136"/>
                  <a:gd name="T5" fmla="*/ 28 h 92"/>
                  <a:gd name="T6" fmla="*/ 67 w 136"/>
                  <a:gd name="T7" fmla="*/ 28 h 92"/>
                  <a:gd name="T8" fmla="*/ 53 w 136"/>
                  <a:gd name="T9" fmla="*/ 72 h 92"/>
                  <a:gd name="T10" fmla="*/ 31 w 136"/>
                  <a:gd name="T11" fmla="*/ 88 h 92"/>
                  <a:gd name="T12" fmla="*/ 0 w 136"/>
                  <a:gd name="T13" fmla="*/ 0 h 92"/>
                  <a:gd name="T14" fmla="*/ 22 w 136"/>
                  <a:gd name="T15" fmla="*/ 0 h 92"/>
                  <a:gd name="T16" fmla="*/ 41 w 136"/>
                  <a:gd name="T17" fmla="*/ 60 h 92"/>
                  <a:gd name="T18" fmla="*/ 41 w 136"/>
                  <a:gd name="T19" fmla="*/ 60 h 92"/>
                  <a:gd name="T20" fmla="*/ 60 w 136"/>
                  <a:gd name="T21" fmla="*/ 0 h 92"/>
                  <a:gd name="T22" fmla="*/ 77 w 136"/>
                  <a:gd name="T23" fmla="*/ 0 h 92"/>
                  <a:gd name="T24" fmla="*/ 96 w 136"/>
                  <a:gd name="T25" fmla="*/ 60 h 92"/>
                  <a:gd name="T26" fmla="*/ 97 w 136"/>
                  <a:gd name="T27" fmla="*/ 60 h 92"/>
                  <a:gd name="T28" fmla="*/ 115 w 136"/>
                  <a:gd name="T29" fmla="*/ 0 h 92"/>
                  <a:gd name="T30" fmla="*/ 136 w 136"/>
                  <a:gd name="T31" fmla="*/ 0 h 92"/>
                  <a:gd name="T32" fmla="*/ 111 w 136"/>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 h="92">
                    <a:moveTo>
                      <a:pt x="111" y="72"/>
                    </a:moveTo>
                    <a:cubicBezTo>
                      <a:pt x="103" y="92"/>
                      <a:pt x="87" y="88"/>
                      <a:pt x="87" y="88"/>
                    </a:cubicBezTo>
                    <a:cubicBezTo>
                      <a:pt x="68" y="28"/>
                      <a:pt x="68" y="28"/>
                      <a:pt x="68" y="28"/>
                    </a:cubicBezTo>
                    <a:cubicBezTo>
                      <a:pt x="67" y="28"/>
                      <a:pt x="67" y="28"/>
                      <a:pt x="67" y="28"/>
                    </a:cubicBezTo>
                    <a:cubicBezTo>
                      <a:pt x="67" y="28"/>
                      <a:pt x="58"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6" y="60"/>
                      <a:pt x="96" y="60"/>
                      <a:pt x="96" y="60"/>
                    </a:cubicBezTo>
                    <a:cubicBezTo>
                      <a:pt x="97" y="60"/>
                      <a:pt x="97" y="60"/>
                      <a:pt x="97" y="60"/>
                    </a:cubicBezTo>
                    <a:cubicBezTo>
                      <a:pt x="115" y="0"/>
                      <a:pt x="115" y="0"/>
                      <a:pt x="115" y="0"/>
                    </a:cubicBezTo>
                    <a:cubicBezTo>
                      <a:pt x="136" y="0"/>
                      <a:pt x="136" y="0"/>
                      <a:pt x="136" y="0"/>
                    </a:cubicBezTo>
                    <a:cubicBezTo>
                      <a:pt x="136"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7" name="Freeform 7"/>
              <p:cNvSpPr>
                <a:spLocks noEditPoints="1"/>
              </p:cNvSpPr>
              <p:nvPr userDrawn="1"/>
            </p:nvSpPr>
            <p:spPr bwMode="auto">
              <a:xfrm>
                <a:off x="8225958" y="4923177"/>
                <a:ext cx="57493" cy="66190"/>
              </a:xfrm>
              <a:custGeom>
                <a:avLst/>
                <a:gdLst>
                  <a:gd name="T0" fmla="*/ 57 w 76"/>
                  <a:gd name="T1" fmla="*/ 90 h 91"/>
                  <a:gd name="T2" fmla="*/ 53 w 76"/>
                  <a:gd name="T3" fmla="*/ 81 h 91"/>
                  <a:gd name="T4" fmla="*/ 28 w 76"/>
                  <a:gd name="T5" fmla="*/ 91 h 91"/>
                  <a:gd name="T6" fmla="*/ 0 w 76"/>
                  <a:gd name="T7" fmla="*/ 63 h 91"/>
                  <a:gd name="T8" fmla="*/ 36 w 76"/>
                  <a:gd name="T9" fmla="*/ 34 h 91"/>
                  <a:gd name="T10" fmla="*/ 51 w 76"/>
                  <a:gd name="T11" fmla="*/ 34 h 91"/>
                  <a:gd name="T12" fmla="*/ 51 w 76"/>
                  <a:gd name="T13" fmla="*/ 31 h 91"/>
                  <a:gd name="T14" fmla="*/ 35 w 76"/>
                  <a:gd name="T15" fmla="*/ 17 h 91"/>
                  <a:gd name="T16" fmla="*/ 12 w 76"/>
                  <a:gd name="T17" fmla="*/ 23 h 91"/>
                  <a:gd name="T18" fmla="*/ 5 w 76"/>
                  <a:gd name="T19" fmla="*/ 9 h 91"/>
                  <a:gd name="T20" fmla="*/ 39 w 76"/>
                  <a:gd name="T21" fmla="*/ 0 h 91"/>
                  <a:gd name="T22" fmla="*/ 74 w 76"/>
                  <a:gd name="T23" fmla="*/ 31 h 91"/>
                  <a:gd name="T24" fmla="*/ 74 w 76"/>
                  <a:gd name="T25" fmla="*/ 66 h 91"/>
                  <a:gd name="T26" fmla="*/ 76 w 76"/>
                  <a:gd name="T27" fmla="*/ 90 h 91"/>
                  <a:gd name="T28" fmla="*/ 57 w 76"/>
                  <a:gd name="T29" fmla="*/ 90 h 91"/>
                  <a:gd name="T30" fmla="*/ 51 w 76"/>
                  <a:gd name="T31" fmla="*/ 49 h 91"/>
                  <a:gd name="T32" fmla="*/ 39 w 76"/>
                  <a:gd name="T33" fmla="*/ 49 h 91"/>
                  <a:gd name="T34" fmla="*/ 22 w 76"/>
                  <a:gd name="T35" fmla="*/ 61 h 91"/>
                  <a:gd name="T36" fmla="*/ 36 w 76"/>
                  <a:gd name="T37" fmla="*/ 73 h 91"/>
                  <a:gd name="T38" fmla="*/ 51 w 76"/>
                  <a:gd name="T39" fmla="*/ 68 h 91"/>
                  <a:gd name="T40" fmla="*/ 51 w 76"/>
                  <a:gd name="T41" fmla="*/ 4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91">
                    <a:moveTo>
                      <a:pt x="57" y="90"/>
                    </a:moveTo>
                    <a:cubicBezTo>
                      <a:pt x="53" y="81"/>
                      <a:pt x="53" y="81"/>
                      <a:pt x="53" y="81"/>
                    </a:cubicBezTo>
                    <a:cubicBezTo>
                      <a:pt x="48" y="86"/>
                      <a:pt x="40" y="91"/>
                      <a:pt x="28" y="91"/>
                    </a:cubicBezTo>
                    <a:cubicBezTo>
                      <a:pt x="12" y="91"/>
                      <a:pt x="0" y="80"/>
                      <a:pt x="0" y="63"/>
                    </a:cubicBezTo>
                    <a:cubicBezTo>
                      <a:pt x="0" y="45"/>
                      <a:pt x="14" y="35"/>
                      <a:pt x="36" y="34"/>
                    </a:cubicBezTo>
                    <a:cubicBezTo>
                      <a:pt x="51" y="34"/>
                      <a:pt x="51" y="34"/>
                      <a:pt x="51" y="34"/>
                    </a:cubicBezTo>
                    <a:cubicBezTo>
                      <a:pt x="51" y="33"/>
                      <a:pt x="51" y="32"/>
                      <a:pt x="51" y="31"/>
                    </a:cubicBezTo>
                    <a:cubicBezTo>
                      <a:pt x="51" y="21"/>
                      <a:pt x="44" y="17"/>
                      <a:pt x="35" y="17"/>
                    </a:cubicBezTo>
                    <a:cubicBezTo>
                      <a:pt x="25" y="17"/>
                      <a:pt x="18" y="20"/>
                      <a:pt x="12" y="23"/>
                    </a:cubicBezTo>
                    <a:cubicBezTo>
                      <a:pt x="5" y="9"/>
                      <a:pt x="5" y="9"/>
                      <a:pt x="5" y="9"/>
                    </a:cubicBezTo>
                    <a:cubicBezTo>
                      <a:pt x="17" y="2"/>
                      <a:pt x="28" y="0"/>
                      <a:pt x="39" y="0"/>
                    </a:cubicBezTo>
                    <a:cubicBezTo>
                      <a:pt x="61" y="0"/>
                      <a:pt x="74" y="9"/>
                      <a:pt x="74" y="31"/>
                    </a:cubicBezTo>
                    <a:cubicBezTo>
                      <a:pt x="74" y="66"/>
                      <a:pt x="74" y="66"/>
                      <a:pt x="74" y="66"/>
                    </a:cubicBezTo>
                    <a:cubicBezTo>
                      <a:pt x="74" y="78"/>
                      <a:pt x="75" y="86"/>
                      <a:pt x="76" y="90"/>
                    </a:cubicBezTo>
                    <a:lnTo>
                      <a:pt x="57" y="90"/>
                    </a:lnTo>
                    <a:close/>
                    <a:moveTo>
                      <a:pt x="51" y="49"/>
                    </a:moveTo>
                    <a:cubicBezTo>
                      <a:pt x="39" y="49"/>
                      <a:pt x="39" y="49"/>
                      <a:pt x="39" y="49"/>
                    </a:cubicBezTo>
                    <a:cubicBezTo>
                      <a:pt x="27" y="50"/>
                      <a:pt x="22" y="54"/>
                      <a:pt x="22" y="61"/>
                    </a:cubicBezTo>
                    <a:cubicBezTo>
                      <a:pt x="22" y="68"/>
                      <a:pt x="27" y="73"/>
                      <a:pt x="36" y="73"/>
                    </a:cubicBezTo>
                    <a:cubicBezTo>
                      <a:pt x="44" y="73"/>
                      <a:pt x="49" y="70"/>
                      <a:pt x="51" y="68"/>
                    </a:cubicBezTo>
                    <a:lnTo>
                      <a:pt x="51" y="4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8" name="Freeform 8"/>
              <p:cNvSpPr>
                <a:spLocks noEditPoints="1"/>
              </p:cNvSpPr>
              <p:nvPr userDrawn="1"/>
            </p:nvSpPr>
            <p:spPr bwMode="auto">
              <a:xfrm>
                <a:off x="8342550" y="4892699"/>
                <a:ext cx="62311" cy="96668"/>
              </a:xfrm>
              <a:custGeom>
                <a:avLst/>
                <a:gdLst>
                  <a:gd name="T0" fmla="*/ 47 w 82"/>
                  <a:gd name="T1" fmla="*/ 133 h 133"/>
                  <a:gd name="T2" fmla="*/ 0 w 82"/>
                  <a:gd name="T3" fmla="*/ 88 h 133"/>
                  <a:gd name="T4" fmla="*/ 48 w 82"/>
                  <a:gd name="T5" fmla="*/ 42 h 133"/>
                  <a:gd name="T6" fmla="*/ 59 w 82"/>
                  <a:gd name="T7" fmla="*/ 42 h 133"/>
                  <a:gd name="T8" fmla="*/ 60 w 82"/>
                  <a:gd name="T9" fmla="*/ 0 h 133"/>
                  <a:gd name="T10" fmla="*/ 82 w 82"/>
                  <a:gd name="T11" fmla="*/ 0 h 133"/>
                  <a:gd name="T12" fmla="*/ 81 w 82"/>
                  <a:gd name="T13" fmla="*/ 126 h 133"/>
                  <a:gd name="T14" fmla="*/ 47 w 82"/>
                  <a:gd name="T15" fmla="*/ 133 h 133"/>
                  <a:gd name="T16" fmla="*/ 59 w 82"/>
                  <a:gd name="T17" fmla="*/ 60 h 133"/>
                  <a:gd name="T18" fmla="*/ 49 w 82"/>
                  <a:gd name="T19" fmla="*/ 59 h 133"/>
                  <a:gd name="T20" fmla="*/ 22 w 82"/>
                  <a:gd name="T21" fmla="*/ 87 h 133"/>
                  <a:gd name="T22" fmla="*/ 49 w 82"/>
                  <a:gd name="T23" fmla="*/ 114 h 133"/>
                  <a:gd name="T24" fmla="*/ 59 w 82"/>
                  <a:gd name="T25" fmla="*/ 113 h 133"/>
                  <a:gd name="T26" fmla="*/ 59 w 82"/>
                  <a:gd name="T27" fmla="*/ 6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3">
                    <a:moveTo>
                      <a:pt x="47" y="133"/>
                    </a:moveTo>
                    <a:cubicBezTo>
                      <a:pt x="21" y="133"/>
                      <a:pt x="0" y="117"/>
                      <a:pt x="0" y="88"/>
                    </a:cubicBezTo>
                    <a:cubicBezTo>
                      <a:pt x="0" y="61"/>
                      <a:pt x="20" y="42"/>
                      <a:pt x="48" y="42"/>
                    </a:cubicBezTo>
                    <a:cubicBezTo>
                      <a:pt x="52" y="42"/>
                      <a:pt x="56" y="42"/>
                      <a:pt x="59" y="42"/>
                    </a:cubicBezTo>
                    <a:cubicBezTo>
                      <a:pt x="60" y="0"/>
                      <a:pt x="60" y="0"/>
                      <a:pt x="60" y="0"/>
                    </a:cubicBezTo>
                    <a:cubicBezTo>
                      <a:pt x="82" y="0"/>
                      <a:pt x="82" y="0"/>
                      <a:pt x="82" y="0"/>
                    </a:cubicBezTo>
                    <a:cubicBezTo>
                      <a:pt x="81" y="126"/>
                      <a:pt x="81" y="126"/>
                      <a:pt x="81" y="126"/>
                    </a:cubicBezTo>
                    <a:cubicBezTo>
                      <a:pt x="73" y="130"/>
                      <a:pt x="62" y="133"/>
                      <a:pt x="47" y="133"/>
                    </a:cubicBezTo>
                    <a:close/>
                    <a:moveTo>
                      <a:pt x="59" y="60"/>
                    </a:moveTo>
                    <a:cubicBezTo>
                      <a:pt x="56" y="60"/>
                      <a:pt x="54" y="59"/>
                      <a:pt x="49" y="59"/>
                    </a:cubicBezTo>
                    <a:cubicBezTo>
                      <a:pt x="33" y="59"/>
                      <a:pt x="22" y="70"/>
                      <a:pt x="22" y="87"/>
                    </a:cubicBezTo>
                    <a:cubicBezTo>
                      <a:pt x="22" y="103"/>
                      <a:pt x="32" y="114"/>
                      <a:pt x="49" y="114"/>
                    </a:cubicBezTo>
                    <a:cubicBezTo>
                      <a:pt x="53" y="114"/>
                      <a:pt x="57" y="114"/>
                      <a:pt x="59" y="113"/>
                    </a:cubicBezTo>
                    <a:lnTo>
                      <a:pt x="59" y="60"/>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9" name="Freeform 9"/>
              <p:cNvSpPr>
                <a:spLocks/>
              </p:cNvSpPr>
              <p:nvPr userDrawn="1"/>
            </p:nvSpPr>
            <p:spPr bwMode="auto">
              <a:xfrm>
                <a:off x="8093949"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0" name="Freeform 10"/>
              <p:cNvSpPr>
                <a:spLocks/>
              </p:cNvSpPr>
              <p:nvPr userDrawn="1"/>
            </p:nvSpPr>
            <p:spPr bwMode="auto">
              <a:xfrm>
                <a:off x="8060545"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1" name="Freeform 11"/>
              <p:cNvSpPr>
                <a:spLocks/>
              </p:cNvSpPr>
              <p:nvPr userDrawn="1"/>
            </p:nvSpPr>
            <p:spPr bwMode="auto">
              <a:xfrm>
                <a:off x="8297262" y="4923177"/>
                <a:ext cx="43039" cy="66190"/>
              </a:xfrm>
              <a:custGeom>
                <a:avLst/>
                <a:gdLst>
                  <a:gd name="T0" fmla="*/ 49 w 57"/>
                  <a:gd name="T1" fmla="*/ 22 h 91"/>
                  <a:gd name="T2" fmla="*/ 39 w 57"/>
                  <a:gd name="T3" fmla="*/ 20 h 91"/>
                  <a:gd name="T4" fmla="*/ 22 w 57"/>
                  <a:gd name="T5" fmla="*/ 27 h 91"/>
                  <a:gd name="T6" fmla="*/ 22 w 57"/>
                  <a:gd name="T7" fmla="*/ 74 h 91"/>
                  <a:gd name="T8" fmla="*/ 0 w 57"/>
                  <a:gd name="T9" fmla="*/ 90 h 91"/>
                  <a:gd name="T10" fmla="*/ 0 w 57"/>
                  <a:gd name="T11" fmla="*/ 2 h 91"/>
                  <a:gd name="T12" fmla="*/ 18 w 57"/>
                  <a:gd name="T13" fmla="*/ 2 h 91"/>
                  <a:gd name="T14" fmla="*/ 21 w 57"/>
                  <a:gd name="T15" fmla="*/ 11 h 91"/>
                  <a:gd name="T16" fmla="*/ 45 w 57"/>
                  <a:gd name="T17" fmla="*/ 0 h 91"/>
                  <a:gd name="T18" fmla="*/ 57 w 57"/>
                  <a:gd name="T19" fmla="*/ 4 h 91"/>
                  <a:gd name="T20" fmla="*/ 49 w 57"/>
                  <a:gd name="T21" fmla="*/ 2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1">
                    <a:moveTo>
                      <a:pt x="49" y="22"/>
                    </a:moveTo>
                    <a:cubicBezTo>
                      <a:pt x="45" y="20"/>
                      <a:pt x="41" y="20"/>
                      <a:pt x="39" y="20"/>
                    </a:cubicBezTo>
                    <a:cubicBezTo>
                      <a:pt x="34" y="20"/>
                      <a:pt x="28" y="22"/>
                      <a:pt x="22" y="27"/>
                    </a:cubicBezTo>
                    <a:cubicBezTo>
                      <a:pt x="22" y="27"/>
                      <a:pt x="22" y="57"/>
                      <a:pt x="22" y="74"/>
                    </a:cubicBezTo>
                    <a:cubicBezTo>
                      <a:pt x="22" y="91"/>
                      <a:pt x="0" y="90"/>
                      <a:pt x="0" y="90"/>
                    </a:cubicBezTo>
                    <a:cubicBezTo>
                      <a:pt x="0" y="2"/>
                      <a:pt x="0" y="2"/>
                      <a:pt x="0" y="2"/>
                    </a:cubicBezTo>
                    <a:cubicBezTo>
                      <a:pt x="18" y="2"/>
                      <a:pt x="18" y="2"/>
                      <a:pt x="18"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2" name="Freeform 12"/>
              <p:cNvSpPr>
                <a:spLocks/>
              </p:cNvSpPr>
              <p:nvPr userDrawn="1"/>
            </p:nvSpPr>
            <p:spPr bwMode="auto">
              <a:xfrm>
                <a:off x="7907980" y="4892699"/>
                <a:ext cx="98605" cy="95129"/>
              </a:xfrm>
              <a:custGeom>
                <a:avLst/>
                <a:gdLst>
                  <a:gd name="T0" fmla="*/ 106 w 130"/>
                  <a:gd name="T1" fmla="*/ 131 h 131"/>
                  <a:gd name="T2" fmla="*/ 106 w 130"/>
                  <a:gd name="T3" fmla="*/ 53 h 131"/>
                  <a:gd name="T4" fmla="*/ 107 w 130"/>
                  <a:gd name="T5" fmla="*/ 39 h 131"/>
                  <a:gd name="T6" fmla="*/ 106 w 130"/>
                  <a:gd name="T7" fmla="*/ 39 h 131"/>
                  <a:gd name="T8" fmla="*/ 99 w 130"/>
                  <a:gd name="T9" fmla="*/ 52 h 131"/>
                  <a:gd name="T10" fmla="*/ 72 w 130"/>
                  <a:gd name="T11" fmla="*/ 93 h 131"/>
                  <a:gd name="T12" fmla="*/ 60 w 130"/>
                  <a:gd name="T13" fmla="*/ 93 h 131"/>
                  <a:gd name="T14" fmla="*/ 32 w 130"/>
                  <a:gd name="T15" fmla="*/ 51 h 131"/>
                  <a:gd name="T16" fmla="*/ 24 w 130"/>
                  <a:gd name="T17" fmla="*/ 39 h 131"/>
                  <a:gd name="T18" fmla="*/ 23 w 130"/>
                  <a:gd name="T19" fmla="*/ 39 h 131"/>
                  <a:gd name="T20" fmla="*/ 24 w 130"/>
                  <a:gd name="T21" fmla="*/ 52 h 131"/>
                  <a:gd name="T22" fmla="*/ 24 w 130"/>
                  <a:gd name="T23" fmla="*/ 131 h 131"/>
                  <a:gd name="T24" fmla="*/ 0 w 130"/>
                  <a:gd name="T25" fmla="*/ 131 h 131"/>
                  <a:gd name="T26" fmla="*/ 0 w 130"/>
                  <a:gd name="T27" fmla="*/ 0 h 131"/>
                  <a:gd name="T28" fmla="*/ 22 w 130"/>
                  <a:gd name="T29" fmla="*/ 0 h 131"/>
                  <a:gd name="T30" fmla="*/ 58 w 130"/>
                  <a:gd name="T31" fmla="*/ 52 h 131"/>
                  <a:gd name="T32" fmla="*/ 66 w 130"/>
                  <a:gd name="T33" fmla="*/ 66 h 131"/>
                  <a:gd name="T34" fmla="*/ 67 w 130"/>
                  <a:gd name="T35" fmla="*/ 66 h 131"/>
                  <a:gd name="T36" fmla="*/ 75 w 130"/>
                  <a:gd name="T37" fmla="*/ 52 h 131"/>
                  <a:gd name="T38" fmla="*/ 108 w 130"/>
                  <a:gd name="T39" fmla="*/ 0 h 131"/>
                  <a:gd name="T40" fmla="*/ 130 w 130"/>
                  <a:gd name="T41" fmla="*/ 0 h 131"/>
                  <a:gd name="T42" fmla="*/ 130 w 130"/>
                  <a:gd name="T43" fmla="*/ 131 h 131"/>
                  <a:gd name="T44" fmla="*/ 106 w 130"/>
                  <a:gd name="T45"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0" h="131">
                    <a:moveTo>
                      <a:pt x="106" y="131"/>
                    </a:moveTo>
                    <a:cubicBezTo>
                      <a:pt x="106" y="53"/>
                      <a:pt x="106" y="53"/>
                      <a:pt x="106" y="53"/>
                    </a:cubicBezTo>
                    <a:cubicBezTo>
                      <a:pt x="106" y="48"/>
                      <a:pt x="106" y="44"/>
                      <a:pt x="107" y="39"/>
                    </a:cubicBezTo>
                    <a:cubicBezTo>
                      <a:pt x="106" y="39"/>
                      <a:pt x="106" y="39"/>
                      <a:pt x="106" y="39"/>
                    </a:cubicBezTo>
                    <a:cubicBezTo>
                      <a:pt x="105" y="43"/>
                      <a:pt x="101" y="49"/>
                      <a:pt x="99" y="52"/>
                    </a:cubicBezTo>
                    <a:cubicBezTo>
                      <a:pt x="72" y="93"/>
                      <a:pt x="72" y="93"/>
                      <a:pt x="72" y="93"/>
                    </a:cubicBezTo>
                    <a:cubicBezTo>
                      <a:pt x="60" y="93"/>
                      <a:pt x="60" y="93"/>
                      <a:pt x="60" y="93"/>
                    </a:cubicBezTo>
                    <a:cubicBezTo>
                      <a:pt x="32" y="51"/>
                      <a:pt x="32" y="51"/>
                      <a:pt x="32" y="51"/>
                    </a:cubicBezTo>
                    <a:cubicBezTo>
                      <a:pt x="29" y="48"/>
                      <a:pt x="26" y="44"/>
                      <a:pt x="24" y="39"/>
                    </a:cubicBezTo>
                    <a:cubicBezTo>
                      <a:pt x="23" y="39"/>
                      <a:pt x="23" y="39"/>
                      <a:pt x="23" y="39"/>
                    </a:cubicBezTo>
                    <a:cubicBezTo>
                      <a:pt x="24" y="44"/>
                      <a:pt x="24" y="48"/>
                      <a:pt x="24" y="52"/>
                    </a:cubicBezTo>
                    <a:cubicBezTo>
                      <a:pt x="24" y="131"/>
                      <a:pt x="24" y="131"/>
                      <a:pt x="24" y="131"/>
                    </a:cubicBezTo>
                    <a:cubicBezTo>
                      <a:pt x="0" y="131"/>
                      <a:pt x="0" y="131"/>
                      <a:pt x="0" y="131"/>
                    </a:cubicBezTo>
                    <a:cubicBezTo>
                      <a:pt x="0" y="0"/>
                      <a:pt x="0" y="0"/>
                      <a:pt x="0" y="0"/>
                    </a:cubicBezTo>
                    <a:cubicBezTo>
                      <a:pt x="22" y="0"/>
                      <a:pt x="22" y="0"/>
                      <a:pt x="22" y="0"/>
                    </a:cubicBezTo>
                    <a:cubicBezTo>
                      <a:pt x="58" y="52"/>
                      <a:pt x="58" y="52"/>
                      <a:pt x="58" y="52"/>
                    </a:cubicBezTo>
                    <a:cubicBezTo>
                      <a:pt x="61" y="57"/>
                      <a:pt x="64" y="61"/>
                      <a:pt x="66" y="66"/>
                    </a:cubicBezTo>
                    <a:cubicBezTo>
                      <a:pt x="67" y="66"/>
                      <a:pt x="67" y="66"/>
                      <a:pt x="67" y="66"/>
                    </a:cubicBezTo>
                    <a:cubicBezTo>
                      <a:pt x="69" y="61"/>
                      <a:pt x="71" y="57"/>
                      <a:pt x="75" y="52"/>
                    </a:cubicBezTo>
                    <a:cubicBezTo>
                      <a:pt x="108" y="0"/>
                      <a:pt x="108" y="0"/>
                      <a:pt x="108" y="0"/>
                    </a:cubicBezTo>
                    <a:cubicBezTo>
                      <a:pt x="130" y="0"/>
                      <a:pt x="130" y="0"/>
                      <a:pt x="130" y="0"/>
                    </a:cubicBezTo>
                    <a:cubicBezTo>
                      <a:pt x="130" y="131"/>
                      <a:pt x="130" y="131"/>
                      <a:pt x="130" y="131"/>
                    </a:cubicBezTo>
                    <a:lnTo>
                      <a:pt x="106" y="131"/>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3" name="Freeform 13"/>
              <p:cNvSpPr>
                <a:spLocks/>
              </p:cNvSpPr>
              <p:nvPr userDrawn="1"/>
            </p:nvSpPr>
            <p:spPr bwMode="auto">
              <a:xfrm>
                <a:off x="7665803" y="4864376"/>
                <a:ext cx="100854" cy="148389"/>
              </a:xfrm>
              <a:custGeom>
                <a:avLst/>
                <a:gdLst>
                  <a:gd name="T0" fmla="*/ 133 w 133"/>
                  <a:gd name="T1" fmla="*/ 23 h 204"/>
                  <a:gd name="T2" fmla="*/ 132 w 133"/>
                  <a:gd name="T3" fmla="*/ 22 h 204"/>
                  <a:gd name="T4" fmla="*/ 65 w 133"/>
                  <a:gd name="T5" fmla="*/ 20 h 204"/>
                  <a:gd name="T6" fmla="*/ 52 w 133"/>
                  <a:gd name="T7" fmla="*/ 52 h 204"/>
                  <a:gd name="T8" fmla="*/ 20 w 133"/>
                  <a:gd name="T9" fmla="*/ 65 h 204"/>
                  <a:gd name="T10" fmla="*/ 22 w 133"/>
                  <a:gd name="T11" fmla="*/ 132 h 204"/>
                  <a:gd name="T12" fmla="*/ 95 w 133"/>
                  <a:gd name="T13" fmla="*/ 204 h 204"/>
                  <a:gd name="T14" fmla="*/ 117 w 133"/>
                  <a:gd name="T15" fmla="*/ 182 h 204"/>
                  <a:gd name="T16" fmla="*/ 44 w 133"/>
                  <a:gd name="T17" fmla="*/ 110 h 204"/>
                  <a:gd name="T18" fmla="*/ 42 w 133"/>
                  <a:gd name="T19" fmla="*/ 86 h 204"/>
                  <a:gd name="T20" fmla="*/ 66 w 133"/>
                  <a:gd name="T21" fmla="*/ 88 h 204"/>
                  <a:gd name="T22" fmla="*/ 133 w 133"/>
                  <a:gd name="T23" fmla="*/ 155 h 204"/>
                  <a:gd name="T24" fmla="*/ 133 w 133"/>
                  <a:gd name="T25" fmla="*/ 111 h 204"/>
                  <a:gd name="T26" fmla="*/ 88 w 133"/>
                  <a:gd name="T27" fmla="*/ 66 h 204"/>
                  <a:gd name="T28" fmla="*/ 86 w 133"/>
                  <a:gd name="T29" fmla="*/ 42 h 204"/>
                  <a:gd name="T30" fmla="*/ 110 w 133"/>
                  <a:gd name="T31" fmla="*/ 44 h 204"/>
                  <a:gd name="T32" fmla="*/ 133 w 133"/>
                  <a:gd name="T33" fmla="*/ 66 h 204"/>
                  <a:gd name="T34" fmla="*/ 133 w 133"/>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204">
                    <a:moveTo>
                      <a:pt x="133" y="23"/>
                    </a:moveTo>
                    <a:cubicBezTo>
                      <a:pt x="132" y="22"/>
                      <a:pt x="132" y="22"/>
                      <a:pt x="132" y="22"/>
                    </a:cubicBezTo>
                    <a:cubicBezTo>
                      <a:pt x="110" y="0"/>
                      <a:pt x="82" y="2"/>
                      <a:pt x="65" y="20"/>
                    </a:cubicBezTo>
                    <a:cubicBezTo>
                      <a:pt x="53" y="32"/>
                      <a:pt x="51" y="46"/>
                      <a:pt x="52" y="52"/>
                    </a:cubicBezTo>
                    <a:cubicBezTo>
                      <a:pt x="47" y="51"/>
                      <a:pt x="32" y="52"/>
                      <a:pt x="20" y="65"/>
                    </a:cubicBezTo>
                    <a:cubicBezTo>
                      <a:pt x="3" y="82"/>
                      <a:pt x="0" y="110"/>
                      <a:pt x="22" y="132"/>
                    </a:cubicBezTo>
                    <a:cubicBezTo>
                      <a:pt x="95" y="204"/>
                      <a:pt x="95" y="204"/>
                      <a:pt x="95" y="204"/>
                    </a:cubicBezTo>
                    <a:cubicBezTo>
                      <a:pt x="117" y="182"/>
                      <a:pt x="117" y="182"/>
                      <a:pt x="117" y="182"/>
                    </a:cubicBezTo>
                    <a:cubicBezTo>
                      <a:pt x="44" y="110"/>
                      <a:pt x="44" y="110"/>
                      <a:pt x="44" y="110"/>
                    </a:cubicBezTo>
                    <a:cubicBezTo>
                      <a:pt x="35" y="101"/>
                      <a:pt x="36" y="91"/>
                      <a:pt x="42" y="86"/>
                    </a:cubicBezTo>
                    <a:cubicBezTo>
                      <a:pt x="47" y="80"/>
                      <a:pt x="58" y="79"/>
                      <a:pt x="66" y="88"/>
                    </a:cubicBezTo>
                    <a:cubicBezTo>
                      <a:pt x="133" y="155"/>
                      <a:pt x="133" y="155"/>
                      <a:pt x="133" y="155"/>
                    </a:cubicBezTo>
                    <a:cubicBezTo>
                      <a:pt x="133" y="111"/>
                      <a:pt x="133" y="111"/>
                      <a:pt x="133" y="111"/>
                    </a:cubicBezTo>
                    <a:cubicBezTo>
                      <a:pt x="88" y="66"/>
                      <a:pt x="88" y="66"/>
                      <a:pt x="88" y="66"/>
                    </a:cubicBezTo>
                    <a:cubicBezTo>
                      <a:pt x="80" y="57"/>
                      <a:pt x="80" y="47"/>
                      <a:pt x="86" y="42"/>
                    </a:cubicBezTo>
                    <a:cubicBezTo>
                      <a:pt x="92" y="36"/>
                      <a:pt x="102" y="35"/>
                      <a:pt x="110" y="44"/>
                    </a:cubicBezTo>
                    <a:cubicBezTo>
                      <a:pt x="133" y="66"/>
                      <a:pt x="133" y="66"/>
                      <a:pt x="133" y="66"/>
                    </a:cubicBezTo>
                    <a:lnTo>
                      <a:pt x="133"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4" name="Freeform 14"/>
              <p:cNvSpPr>
                <a:spLocks noEditPoints="1"/>
              </p:cNvSpPr>
              <p:nvPr userDrawn="1"/>
            </p:nvSpPr>
            <p:spPr bwMode="auto">
              <a:xfrm>
                <a:off x="8023287" y="4895470"/>
                <a:ext cx="20556" cy="93282"/>
              </a:xfrm>
              <a:custGeom>
                <a:avLst/>
                <a:gdLst>
                  <a:gd name="T0" fmla="*/ 14 w 27"/>
                  <a:gd name="T1" fmla="*/ 26 h 128"/>
                  <a:gd name="T2" fmla="*/ 0 w 27"/>
                  <a:gd name="T3" fmla="*/ 13 h 128"/>
                  <a:gd name="T4" fmla="*/ 14 w 27"/>
                  <a:gd name="T5" fmla="*/ 0 h 128"/>
                  <a:gd name="T6" fmla="*/ 27 w 27"/>
                  <a:gd name="T7" fmla="*/ 13 h 128"/>
                  <a:gd name="T8" fmla="*/ 14 w 27"/>
                  <a:gd name="T9" fmla="*/ 26 h 128"/>
                  <a:gd name="T10" fmla="*/ 3 w 27"/>
                  <a:gd name="T11" fmla="*/ 128 h 128"/>
                  <a:gd name="T12" fmla="*/ 3 w 27"/>
                  <a:gd name="T13" fmla="*/ 40 h 128"/>
                  <a:gd name="T14" fmla="*/ 25 w 27"/>
                  <a:gd name="T15" fmla="*/ 40 h 128"/>
                  <a:gd name="T16" fmla="*/ 25 w 27"/>
                  <a:gd name="T17" fmla="*/ 112 h 128"/>
                  <a:gd name="T18" fmla="*/ 3 w 27"/>
                  <a:gd name="T1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128">
                    <a:moveTo>
                      <a:pt x="14" y="26"/>
                    </a:moveTo>
                    <a:cubicBezTo>
                      <a:pt x="6" y="26"/>
                      <a:pt x="0" y="20"/>
                      <a:pt x="0" y="13"/>
                    </a:cubicBezTo>
                    <a:cubicBezTo>
                      <a:pt x="0" y="6"/>
                      <a:pt x="6" y="0"/>
                      <a:pt x="14" y="0"/>
                    </a:cubicBezTo>
                    <a:cubicBezTo>
                      <a:pt x="21" y="0"/>
                      <a:pt x="27" y="5"/>
                      <a:pt x="27" y="13"/>
                    </a:cubicBezTo>
                    <a:cubicBezTo>
                      <a:pt x="27" y="20"/>
                      <a:pt x="21" y="26"/>
                      <a:pt x="14" y="26"/>
                    </a:cubicBezTo>
                    <a:close/>
                    <a:moveTo>
                      <a:pt x="3" y="128"/>
                    </a:moveTo>
                    <a:cubicBezTo>
                      <a:pt x="3" y="40"/>
                      <a:pt x="3" y="40"/>
                      <a:pt x="3" y="40"/>
                    </a:cubicBezTo>
                    <a:cubicBezTo>
                      <a:pt x="25" y="40"/>
                      <a:pt x="25" y="40"/>
                      <a:pt x="25" y="40"/>
                    </a:cubicBezTo>
                    <a:cubicBezTo>
                      <a:pt x="25" y="40"/>
                      <a:pt x="25" y="95"/>
                      <a:pt x="25" y="112"/>
                    </a:cubicBezTo>
                    <a:cubicBezTo>
                      <a:pt x="25" y="128"/>
                      <a:pt x="3" y="128"/>
                      <a:pt x="3" y="1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5" name="Freeform 15"/>
              <p:cNvSpPr>
                <a:spLocks/>
              </p:cNvSpPr>
              <p:nvPr userDrawn="1"/>
            </p:nvSpPr>
            <p:spPr bwMode="auto">
              <a:xfrm>
                <a:off x="8615239" y="4924717"/>
                <a:ext cx="103744" cy="66806"/>
              </a:xfrm>
              <a:custGeom>
                <a:avLst/>
                <a:gdLst>
                  <a:gd name="T0" fmla="*/ 111 w 137"/>
                  <a:gd name="T1" fmla="*/ 72 h 92"/>
                  <a:gd name="T2" fmla="*/ 88 w 137"/>
                  <a:gd name="T3" fmla="*/ 88 h 92"/>
                  <a:gd name="T4" fmla="*/ 68 w 137"/>
                  <a:gd name="T5" fmla="*/ 28 h 92"/>
                  <a:gd name="T6" fmla="*/ 68 w 137"/>
                  <a:gd name="T7" fmla="*/ 28 h 92"/>
                  <a:gd name="T8" fmla="*/ 53 w 137"/>
                  <a:gd name="T9" fmla="*/ 72 h 92"/>
                  <a:gd name="T10" fmla="*/ 31 w 137"/>
                  <a:gd name="T11" fmla="*/ 88 h 92"/>
                  <a:gd name="T12" fmla="*/ 0 w 137"/>
                  <a:gd name="T13" fmla="*/ 0 h 92"/>
                  <a:gd name="T14" fmla="*/ 22 w 137"/>
                  <a:gd name="T15" fmla="*/ 0 h 92"/>
                  <a:gd name="T16" fmla="*/ 41 w 137"/>
                  <a:gd name="T17" fmla="*/ 60 h 92"/>
                  <a:gd name="T18" fmla="*/ 41 w 137"/>
                  <a:gd name="T19" fmla="*/ 60 h 92"/>
                  <a:gd name="T20" fmla="*/ 60 w 137"/>
                  <a:gd name="T21" fmla="*/ 0 h 92"/>
                  <a:gd name="T22" fmla="*/ 77 w 137"/>
                  <a:gd name="T23" fmla="*/ 0 h 92"/>
                  <a:gd name="T24" fmla="*/ 97 w 137"/>
                  <a:gd name="T25" fmla="*/ 60 h 92"/>
                  <a:gd name="T26" fmla="*/ 97 w 137"/>
                  <a:gd name="T27" fmla="*/ 60 h 92"/>
                  <a:gd name="T28" fmla="*/ 115 w 137"/>
                  <a:gd name="T29" fmla="*/ 0 h 92"/>
                  <a:gd name="T30" fmla="*/ 137 w 137"/>
                  <a:gd name="T31" fmla="*/ 0 h 92"/>
                  <a:gd name="T32" fmla="*/ 111 w 137"/>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 h="92">
                    <a:moveTo>
                      <a:pt x="111" y="72"/>
                    </a:moveTo>
                    <a:cubicBezTo>
                      <a:pt x="104" y="92"/>
                      <a:pt x="88" y="88"/>
                      <a:pt x="88" y="88"/>
                    </a:cubicBezTo>
                    <a:cubicBezTo>
                      <a:pt x="68" y="28"/>
                      <a:pt x="68" y="28"/>
                      <a:pt x="68" y="28"/>
                    </a:cubicBezTo>
                    <a:cubicBezTo>
                      <a:pt x="68" y="28"/>
                      <a:pt x="68" y="28"/>
                      <a:pt x="68" y="28"/>
                    </a:cubicBezTo>
                    <a:cubicBezTo>
                      <a:pt x="68" y="28"/>
                      <a:pt x="59"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7" y="60"/>
                      <a:pt x="97" y="60"/>
                      <a:pt x="97" y="60"/>
                    </a:cubicBezTo>
                    <a:cubicBezTo>
                      <a:pt x="97" y="60"/>
                      <a:pt x="97" y="60"/>
                      <a:pt x="97" y="60"/>
                    </a:cubicBezTo>
                    <a:cubicBezTo>
                      <a:pt x="115" y="0"/>
                      <a:pt x="115" y="0"/>
                      <a:pt x="115" y="0"/>
                    </a:cubicBezTo>
                    <a:cubicBezTo>
                      <a:pt x="137" y="0"/>
                      <a:pt x="137" y="0"/>
                      <a:pt x="137" y="0"/>
                    </a:cubicBezTo>
                    <a:cubicBezTo>
                      <a:pt x="137"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6" name="Freeform 16"/>
              <p:cNvSpPr>
                <a:spLocks noEditPoints="1"/>
              </p:cNvSpPr>
              <p:nvPr userDrawn="1"/>
            </p:nvSpPr>
            <p:spPr bwMode="auto">
              <a:xfrm>
                <a:off x="8423168" y="4892699"/>
                <a:ext cx="65844" cy="95129"/>
              </a:xfrm>
              <a:custGeom>
                <a:avLst/>
                <a:gdLst>
                  <a:gd name="T0" fmla="*/ 1 w 87"/>
                  <a:gd name="T1" fmla="*/ 0 h 131"/>
                  <a:gd name="T2" fmla="*/ 0 w 87"/>
                  <a:gd name="T3" fmla="*/ 131 h 131"/>
                  <a:gd name="T4" fmla="*/ 41 w 87"/>
                  <a:gd name="T5" fmla="*/ 131 h 131"/>
                  <a:gd name="T6" fmla="*/ 87 w 87"/>
                  <a:gd name="T7" fmla="*/ 92 h 131"/>
                  <a:gd name="T8" fmla="*/ 65 w 87"/>
                  <a:gd name="T9" fmla="*/ 61 h 131"/>
                  <a:gd name="T10" fmla="*/ 62 w 87"/>
                  <a:gd name="T11" fmla="*/ 60 h 131"/>
                  <a:gd name="T12" fmla="*/ 64 w 87"/>
                  <a:gd name="T13" fmla="*/ 59 h 131"/>
                  <a:gd name="T14" fmla="*/ 79 w 87"/>
                  <a:gd name="T15" fmla="*/ 32 h 131"/>
                  <a:gd name="T16" fmla="*/ 42 w 87"/>
                  <a:gd name="T17" fmla="*/ 0 h 131"/>
                  <a:gd name="T18" fmla="*/ 1 w 87"/>
                  <a:gd name="T19" fmla="*/ 0 h 131"/>
                  <a:gd name="T20" fmla="*/ 23 w 87"/>
                  <a:gd name="T21" fmla="*/ 17 h 131"/>
                  <a:gd name="T22" fmla="*/ 36 w 87"/>
                  <a:gd name="T23" fmla="*/ 17 h 131"/>
                  <a:gd name="T24" fmla="*/ 56 w 87"/>
                  <a:gd name="T25" fmla="*/ 35 h 131"/>
                  <a:gd name="T26" fmla="*/ 38 w 87"/>
                  <a:gd name="T27" fmla="*/ 55 h 131"/>
                  <a:gd name="T28" fmla="*/ 22 w 87"/>
                  <a:gd name="T29" fmla="*/ 55 h 131"/>
                  <a:gd name="T30" fmla="*/ 23 w 87"/>
                  <a:gd name="T31" fmla="*/ 17 h 131"/>
                  <a:gd name="T32" fmla="*/ 22 w 87"/>
                  <a:gd name="T33" fmla="*/ 74 h 131"/>
                  <a:gd name="T34" fmla="*/ 40 w 87"/>
                  <a:gd name="T35" fmla="*/ 74 h 131"/>
                  <a:gd name="T36" fmla="*/ 64 w 87"/>
                  <a:gd name="T37" fmla="*/ 92 h 131"/>
                  <a:gd name="T38" fmla="*/ 39 w 87"/>
                  <a:gd name="T39" fmla="*/ 113 h 131"/>
                  <a:gd name="T40" fmla="*/ 22 w 87"/>
                  <a:gd name="T41" fmla="*/ 113 h 131"/>
                  <a:gd name="T42" fmla="*/ 22 w 87"/>
                  <a:gd name="T43" fmla="*/ 7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131">
                    <a:moveTo>
                      <a:pt x="1" y="0"/>
                    </a:moveTo>
                    <a:cubicBezTo>
                      <a:pt x="1" y="3"/>
                      <a:pt x="0" y="129"/>
                      <a:pt x="0" y="131"/>
                    </a:cubicBezTo>
                    <a:cubicBezTo>
                      <a:pt x="2" y="131"/>
                      <a:pt x="41" y="131"/>
                      <a:pt x="41" y="131"/>
                    </a:cubicBezTo>
                    <a:cubicBezTo>
                      <a:pt x="73" y="131"/>
                      <a:pt x="87" y="111"/>
                      <a:pt x="87" y="92"/>
                    </a:cubicBezTo>
                    <a:cubicBezTo>
                      <a:pt x="87" y="77"/>
                      <a:pt x="79" y="65"/>
                      <a:pt x="65" y="61"/>
                    </a:cubicBezTo>
                    <a:cubicBezTo>
                      <a:pt x="62" y="60"/>
                      <a:pt x="62" y="60"/>
                      <a:pt x="62" y="60"/>
                    </a:cubicBezTo>
                    <a:cubicBezTo>
                      <a:pt x="64" y="59"/>
                      <a:pt x="64" y="59"/>
                      <a:pt x="64" y="59"/>
                    </a:cubicBezTo>
                    <a:cubicBezTo>
                      <a:pt x="74" y="54"/>
                      <a:pt x="79" y="44"/>
                      <a:pt x="79" y="32"/>
                    </a:cubicBezTo>
                    <a:cubicBezTo>
                      <a:pt x="79" y="17"/>
                      <a:pt x="68" y="0"/>
                      <a:pt x="42" y="0"/>
                    </a:cubicBezTo>
                    <a:cubicBezTo>
                      <a:pt x="42" y="0"/>
                      <a:pt x="3" y="0"/>
                      <a:pt x="1" y="0"/>
                    </a:cubicBezTo>
                    <a:close/>
                    <a:moveTo>
                      <a:pt x="23" y="17"/>
                    </a:moveTo>
                    <a:cubicBezTo>
                      <a:pt x="36" y="17"/>
                      <a:pt x="36" y="17"/>
                      <a:pt x="36" y="17"/>
                    </a:cubicBezTo>
                    <a:cubicBezTo>
                      <a:pt x="49" y="17"/>
                      <a:pt x="56" y="24"/>
                      <a:pt x="56" y="35"/>
                    </a:cubicBezTo>
                    <a:cubicBezTo>
                      <a:pt x="56" y="47"/>
                      <a:pt x="47" y="55"/>
                      <a:pt x="38" y="55"/>
                    </a:cubicBezTo>
                    <a:cubicBezTo>
                      <a:pt x="22" y="55"/>
                      <a:pt x="22" y="55"/>
                      <a:pt x="22" y="55"/>
                    </a:cubicBezTo>
                    <a:lnTo>
                      <a:pt x="23" y="17"/>
                    </a:lnTo>
                    <a:close/>
                    <a:moveTo>
                      <a:pt x="22" y="74"/>
                    </a:moveTo>
                    <a:cubicBezTo>
                      <a:pt x="40" y="74"/>
                      <a:pt x="40" y="74"/>
                      <a:pt x="40" y="74"/>
                    </a:cubicBezTo>
                    <a:cubicBezTo>
                      <a:pt x="55" y="74"/>
                      <a:pt x="64" y="81"/>
                      <a:pt x="64" y="92"/>
                    </a:cubicBezTo>
                    <a:cubicBezTo>
                      <a:pt x="64" y="105"/>
                      <a:pt x="55" y="113"/>
                      <a:pt x="39" y="113"/>
                    </a:cubicBezTo>
                    <a:cubicBezTo>
                      <a:pt x="22" y="113"/>
                      <a:pt x="22" y="113"/>
                      <a:pt x="22" y="113"/>
                    </a:cubicBezTo>
                    <a:lnTo>
                      <a:pt x="22" y="74"/>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7" name="Freeform 17"/>
              <p:cNvSpPr>
                <a:spLocks noEditPoints="1"/>
              </p:cNvSpPr>
              <p:nvPr userDrawn="1"/>
            </p:nvSpPr>
            <p:spPr bwMode="auto">
              <a:xfrm>
                <a:off x="8546184" y="4923177"/>
                <a:ext cx="66486" cy="66190"/>
              </a:xfrm>
              <a:custGeom>
                <a:avLst/>
                <a:gdLst>
                  <a:gd name="T0" fmla="*/ 75 w 88"/>
                  <a:gd name="T1" fmla="*/ 78 h 91"/>
                  <a:gd name="T2" fmla="*/ 44 w 88"/>
                  <a:gd name="T3" fmla="*/ 91 h 91"/>
                  <a:gd name="T4" fmla="*/ 14 w 88"/>
                  <a:gd name="T5" fmla="*/ 80 h 91"/>
                  <a:gd name="T6" fmla="*/ 0 w 88"/>
                  <a:gd name="T7" fmla="*/ 46 h 91"/>
                  <a:gd name="T8" fmla="*/ 13 w 88"/>
                  <a:gd name="T9" fmla="*/ 12 h 91"/>
                  <a:gd name="T10" fmla="*/ 44 w 88"/>
                  <a:gd name="T11" fmla="*/ 0 h 91"/>
                  <a:gd name="T12" fmla="*/ 76 w 88"/>
                  <a:gd name="T13" fmla="*/ 12 h 91"/>
                  <a:gd name="T14" fmla="*/ 88 w 88"/>
                  <a:gd name="T15" fmla="*/ 45 h 91"/>
                  <a:gd name="T16" fmla="*/ 75 w 88"/>
                  <a:gd name="T17" fmla="*/ 78 h 91"/>
                  <a:gd name="T18" fmla="*/ 44 w 88"/>
                  <a:gd name="T19" fmla="*/ 17 h 91"/>
                  <a:gd name="T20" fmla="*/ 23 w 88"/>
                  <a:gd name="T21" fmla="*/ 45 h 91"/>
                  <a:gd name="T22" fmla="*/ 44 w 88"/>
                  <a:gd name="T23" fmla="*/ 73 h 91"/>
                  <a:gd name="T24" fmla="*/ 65 w 88"/>
                  <a:gd name="T25" fmla="*/ 45 h 91"/>
                  <a:gd name="T26" fmla="*/ 44 w 88"/>
                  <a:gd name="T27"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91">
                    <a:moveTo>
                      <a:pt x="75" y="78"/>
                    </a:moveTo>
                    <a:cubicBezTo>
                      <a:pt x="68" y="86"/>
                      <a:pt x="57" y="91"/>
                      <a:pt x="44" y="91"/>
                    </a:cubicBezTo>
                    <a:cubicBezTo>
                      <a:pt x="32" y="91"/>
                      <a:pt x="21" y="87"/>
                      <a:pt x="14" y="80"/>
                    </a:cubicBezTo>
                    <a:cubicBezTo>
                      <a:pt x="5" y="72"/>
                      <a:pt x="0" y="60"/>
                      <a:pt x="0" y="46"/>
                    </a:cubicBezTo>
                    <a:cubicBezTo>
                      <a:pt x="0" y="32"/>
                      <a:pt x="5" y="20"/>
                      <a:pt x="13" y="12"/>
                    </a:cubicBezTo>
                    <a:cubicBezTo>
                      <a:pt x="21" y="4"/>
                      <a:pt x="31" y="0"/>
                      <a:pt x="44" y="0"/>
                    </a:cubicBezTo>
                    <a:cubicBezTo>
                      <a:pt x="57" y="0"/>
                      <a:pt x="68" y="4"/>
                      <a:pt x="76" y="12"/>
                    </a:cubicBezTo>
                    <a:cubicBezTo>
                      <a:pt x="84" y="20"/>
                      <a:pt x="88" y="32"/>
                      <a:pt x="88" y="45"/>
                    </a:cubicBezTo>
                    <a:cubicBezTo>
                      <a:pt x="88" y="58"/>
                      <a:pt x="83" y="70"/>
                      <a:pt x="75" y="78"/>
                    </a:cubicBezTo>
                    <a:close/>
                    <a:moveTo>
                      <a:pt x="44" y="17"/>
                    </a:moveTo>
                    <a:cubicBezTo>
                      <a:pt x="30" y="17"/>
                      <a:pt x="23" y="29"/>
                      <a:pt x="23" y="45"/>
                    </a:cubicBezTo>
                    <a:cubicBezTo>
                      <a:pt x="23" y="62"/>
                      <a:pt x="31" y="73"/>
                      <a:pt x="44" y="73"/>
                    </a:cubicBezTo>
                    <a:cubicBezTo>
                      <a:pt x="58" y="73"/>
                      <a:pt x="65" y="61"/>
                      <a:pt x="65" y="45"/>
                    </a:cubicBezTo>
                    <a:cubicBezTo>
                      <a:pt x="65" y="28"/>
                      <a:pt x="57" y="17"/>
                      <a:pt x="44" y="1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8" name="Freeform 18"/>
              <p:cNvSpPr>
                <a:spLocks/>
              </p:cNvSpPr>
              <p:nvPr userDrawn="1"/>
            </p:nvSpPr>
            <p:spPr bwMode="auto">
              <a:xfrm>
                <a:off x="8728298" y="4923177"/>
                <a:ext cx="60705" cy="65574"/>
              </a:xfrm>
              <a:custGeom>
                <a:avLst/>
                <a:gdLst>
                  <a:gd name="T0" fmla="*/ 58 w 80"/>
                  <a:gd name="T1" fmla="*/ 90 h 90"/>
                  <a:gd name="T2" fmla="*/ 58 w 80"/>
                  <a:gd name="T3" fmla="*/ 38 h 90"/>
                  <a:gd name="T4" fmla="*/ 45 w 80"/>
                  <a:gd name="T5" fmla="*/ 19 h 90"/>
                  <a:gd name="T6" fmla="*/ 23 w 80"/>
                  <a:gd name="T7" fmla="*/ 28 h 90"/>
                  <a:gd name="T8" fmla="*/ 23 w 80"/>
                  <a:gd name="T9" fmla="*/ 74 h 90"/>
                  <a:gd name="T10" fmla="*/ 0 w 80"/>
                  <a:gd name="T11" fmla="*/ 90 h 90"/>
                  <a:gd name="T12" fmla="*/ 0 w 80"/>
                  <a:gd name="T13" fmla="*/ 2 h 90"/>
                  <a:gd name="T14" fmla="*/ 19 w 80"/>
                  <a:gd name="T15" fmla="*/ 2 h 90"/>
                  <a:gd name="T16" fmla="*/ 22 w 80"/>
                  <a:gd name="T17" fmla="*/ 11 h 90"/>
                  <a:gd name="T18" fmla="*/ 52 w 80"/>
                  <a:gd name="T19" fmla="*/ 0 h 90"/>
                  <a:gd name="T20" fmla="*/ 80 w 80"/>
                  <a:gd name="T21" fmla="*/ 31 h 90"/>
                  <a:gd name="T22" fmla="*/ 80 w 80"/>
                  <a:gd name="T23" fmla="*/ 74 h 90"/>
                  <a:gd name="T24" fmla="*/ 58 w 80"/>
                  <a:gd name="T2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90">
                    <a:moveTo>
                      <a:pt x="58" y="90"/>
                    </a:moveTo>
                    <a:cubicBezTo>
                      <a:pt x="58" y="38"/>
                      <a:pt x="58" y="38"/>
                      <a:pt x="58" y="38"/>
                    </a:cubicBezTo>
                    <a:cubicBezTo>
                      <a:pt x="58" y="29"/>
                      <a:pt x="56" y="19"/>
                      <a:pt x="45" y="19"/>
                    </a:cubicBezTo>
                    <a:cubicBezTo>
                      <a:pt x="37" y="19"/>
                      <a:pt x="29" y="23"/>
                      <a:pt x="23" y="28"/>
                    </a:cubicBezTo>
                    <a:cubicBezTo>
                      <a:pt x="23" y="28"/>
                      <a:pt x="23" y="57"/>
                      <a:pt x="23" y="74"/>
                    </a:cubicBezTo>
                    <a:cubicBezTo>
                      <a:pt x="23" y="90"/>
                      <a:pt x="0" y="90"/>
                      <a:pt x="0" y="90"/>
                    </a:cubicBezTo>
                    <a:cubicBezTo>
                      <a:pt x="0" y="2"/>
                      <a:pt x="0" y="2"/>
                      <a:pt x="0" y="2"/>
                    </a:cubicBezTo>
                    <a:cubicBezTo>
                      <a:pt x="19" y="2"/>
                      <a:pt x="19" y="2"/>
                      <a:pt x="19" y="2"/>
                    </a:cubicBezTo>
                    <a:cubicBezTo>
                      <a:pt x="22" y="11"/>
                      <a:pt x="22" y="11"/>
                      <a:pt x="22" y="11"/>
                    </a:cubicBezTo>
                    <a:cubicBezTo>
                      <a:pt x="31" y="4"/>
                      <a:pt x="40" y="0"/>
                      <a:pt x="52" y="0"/>
                    </a:cubicBezTo>
                    <a:cubicBezTo>
                      <a:pt x="65" y="0"/>
                      <a:pt x="80" y="8"/>
                      <a:pt x="80" y="31"/>
                    </a:cubicBezTo>
                    <a:cubicBezTo>
                      <a:pt x="80" y="31"/>
                      <a:pt x="80" y="57"/>
                      <a:pt x="80" y="74"/>
                    </a:cubicBezTo>
                    <a:cubicBezTo>
                      <a:pt x="80" y="90"/>
                      <a:pt x="58" y="90"/>
                      <a:pt x="58" y="9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9" name="Freeform 19"/>
              <p:cNvSpPr>
                <a:spLocks/>
              </p:cNvSpPr>
              <p:nvPr userDrawn="1"/>
            </p:nvSpPr>
            <p:spPr bwMode="auto">
              <a:xfrm>
                <a:off x="8501217" y="4923177"/>
                <a:ext cx="43361" cy="65574"/>
              </a:xfrm>
              <a:custGeom>
                <a:avLst/>
                <a:gdLst>
                  <a:gd name="T0" fmla="*/ 49 w 57"/>
                  <a:gd name="T1" fmla="*/ 22 h 90"/>
                  <a:gd name="T2" fmla="*/ 39 w 57"/>
                  <a:gd name="T3" fmla="*/ 20 h 90"/>
                  <a:gd name="T4" fmla="*/ 22 w 57"/>
                  <a:gd name="T5" fmla="*/ 27 h 90"/>
                  <a:gd name="T6" fmla="*/ 22 w 57"/>
                  <a:gd name="T7" fmla="*/ 74 h 90"/>
                  <a:gd name="T8" fmla="*/ 0 w 57"/>
                  <a:gd name="T9" fmla="*/ 90 h 90"/>
                  <a:gd name="T10" fmla="*/ 0 w 57"/>
                  <a:gd name="T11" fmla="*/ 2 h 90"/>
                  <a:gd name="T12" fmla="*/ 19 w 57"/>
                  <a:gd name="T13" fmla="*/ 2 h 90"/>
                  <a:gd name="T14" fmla="*/ 21 w 57"/>
                  <a:gd name="T15" fmla="*/ 11 h 90"/>
                  <a:gd name="T16" fmla="*/ 45 w 57"/>
                  <a:gd name="T17" fmla="*/ 0 h 90"/>
                  <a:gd name="T18" fmla="*/ 57 w 57"/>
                  <a:gd name="T19" fmla="*/ 4 h 90"/>
                  <a:gd name="T20" fmla="*/ 49 w 57"/>
                  <a:gd name="T21" fmla="*/ 2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0">
                    <a:moveTo>
                      <a:pt x="49" y="22"/>
                    </a:moveTo>
                    <a:cubicBezTo>
                      <a:pt x="46" y="20"/>
                      <a:pt x="42" y="20"/>
                      <a:pt x="39" y="20"/>
                    </a:cubicBezTo>
                    <a:cubicBezTo>
                      <a:pt x="34" y="20"/>
                      <a:pt x="28" y="22"/>
                      <a:pt x="22" y="27"/>
                    </a:cubicBezTo>
                    <a:cubicBezTo>
                      <a:pt x="22" y="27"/>
                      <a:pt x="22" y="57"/>
                      <a:pt x="22" y="74"/>
                    </a:cubicBezTo>
                    <a:cubicBezTo>
                      <a:pt x="22" y="90"/>
                      <a:pt x="0" y="90"/>
                      <a:pt x="0" y="90"/>
                    </a:cubicBezTo>
                    <a:cubicBezTo>
                      <a:pt x="0" y="2"/>
                      <a:pt x="0" y="2"/>
                      <a:pt x="0" y="2"/>
                    </a:cubicBezTo>
                    <a:cubicBezTo>
                      <a:pt x="19" y="2"/>
                      <a:pt x="19" y="2"/>
                      <a:pt x="19"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20" name="Freeform 20"/>
              <p:cNvSpPr>
                <a:spLocks/>
              </p:cNvSpPr>
              <p:nvPr userDrawn="1"/>
            </p:nvSpPr>
            <p:spPr bwMode="auto">
              <a:xfrm>
                <a:off x="7766657" y="4864376"/>
                <a:ext cx="100211" cy="148389"/>
              </a:xfrm>
              <a:custGeom>
                <a:avLst/>
                <a:gdLst>
                  <a:gd name="T0" fmla="*/ 0 w 132"/>
                  <a:gd name="T1" fmla="*/ 23 h 204"/>
                  <a:gd name="T2" fmla="*/ 1 w 132"/>
                  <a:gd name="T3" fmla="*/ 22 h 204"/>
                  <a:gd name="T4" fmla="*/ 67 w 132"/>
                  <a:gd name="T5" fmla="*/ 20 h 204"/>
                  <a:gd name="T6" fmla="*/ 80 w 132"/>
                  <a:gd name="T7" fmla="*/ 52 h 204"/>
                  <a:gd name="T8" fmla="*/ 113 w 132"/>
                  <a:gd name="T9" fmla="*/ 65 h 204"/>
                  <a:gd name="T10" fmla="*/ 111 w 132"/>
                  <a:gd name="T11" fmla="*/ 132 h 204"/>
                  <a:gd name="T12" fmla="*/ 38 w 132"/>
                  <a:gd name="T13" fmla="*/ 204 h 204"/>
                  <a:gd name="T14" fmla="*/ 16 w 132"/>
                  <a:gd name="T15" fmla="*/ 182 h 204"/>
                  <a:gd name="T16" fmla="*/ 88 w 132"/>
                  <a:gd name="T17" fmla="*/ 110 h 204"/>
                  <a:gd name="T18" fmla="*/ 91 w 132"/>
                  <a:gd name="T19" fmla="*/ 86 h 204"/>
                  <a:gd name="T20" fmla="*/ 67 w 132"/>
                  <a:gd name="T21" fmla="*/ 88 h 204"/>
                  <a:gd name="T22" fmla="*/ 0 w 132"/>
                  <a:gd name="T23" fmla="*/ 155 h 204"/>
                  <a:gd name="T24" fmla="*/ 0 w 132"/>
                  <a:gd name="T25" fmla="*/ 111 h 204"/>
                  <a:gd name="T26" fmla="*/ 45 w 132"/>
                  <a:gd name="T27" fmla="*/ 66 h 204"/>
                  <a:gd name="T28" fmla="*/ 46 w 132"/>
                  <a:gd name="T29" fmla="*/ 42 h 204"/>
                  <a:gd name="T30" fmla="*/ 22 w 132"/>
                  <a:gd name="T31" fmla="*/ 44 h 204"/>
                  <a:gd name="T32" fmla="*/ 0 w 132"/>
                  <a:gd name="T33" fmla="*/ 66 h 204"/>
                  <a:gd name="T34" fmla="*/ 0 w 132"/>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204">
                    <a:moveTo>
                      <a:pt x="0" y="23"/>
                    </a:moveTo>
                    <a:cubicBezTo>
                      <a:pt x="1" y="22"/>
                      <a:pt x="1" y="22"/>
                      <a:pt x="1" y="22"/>
                    </a:cubicBezTo>
                    <a:cubicBezTo>
                      <a:pt x="23" y="0"/>
                      <a:pt x="50" y="2"/>
                      <a:pt x="67" y="20"/>
                    </a:cubicBezTo>
                    <a:cubicBezTo>
                      <a:pt x="80" y="32"/>
                      <a:pt x="81" y="46"/>
                      <a:pt x="80" y="52"/>
                    </a:cubicBezTo>
                    <a:cubicBezTo>
                      <a:pt x="86" y="51"/>
                      <a:pt x="100" y="52"/>
                      <a:pt x="113" y="65"/>
                    </a:cubicBezTo>
                    <a:cubicBezTo>
                      <a:pt x="130" y="82"/>
                      <a:pt x="132" y="110"/>
                      <a:pt x="111" y="132"/>
                    </a:cubicBezTo>
                    <a:cubicBezTo>
                      <a:pt x="38" y="204"/>
                      <a:pt x="38" y="204"/>
                      <a:pt x="38" y="204"/>
                    </a:cubicBezTo>
                    <a:cubicBezTo>
                      <a:pt x="16" y="182"/>
                      <a:pt x="16" y="182"/>
                      <a:pt x="16" y="182"/>
                    </a:cubicBezTo>
                    <a:cubicBezTo>
                      <a:pt x="88" y="110"/>
                      <a:pt x="88" y="110"/>
                      <a:pt x="88" y="110"/>
                    </a:cubicBezTo>
                    <a:cubicBezTo>
                      <a:pt x="97" y="101"/>
                      <a:pt x="96" y="91"/>
                      <a:pt x="91" y="86"/>
                    </a:cubicBezTo>
                    <a:cubicBezTo>
                      <a:pt x="85" y="80"/>
                      <a:pt x="75" y="79"/>
                      <a:pt x="67" y="88"/>
                    </a:cubicBezTo>
                    <a:cubicBezTo>
                      <a:pt x="0" y="155"/>
                      <a:pt x="0" y="155"/>
                      <a:pt x="0" y="155"/>
                    </a:cubicBezTo>
                    <a:cubicBezTo>
                      <a:pt x="0" y="111"/>
                      <a:pt x="0" y="111"/>
                      <a:pt x="0" y="111"/>
                    </a:cubicBezTo>
                    <a:cubicBezTo>
                      <a:pt x="45" y="66"/>
                      <a:pt x="45" y="66"/>
                      <a:pt x="45" y="66"/>
                    </a:cubicBezTo>
                    <a:cubicBezTo>
                      <a:pt x="53" y="57"/>
                      <a:pt x="52" y="47"/>
                      <a:pt x="46" y="42"/>
                    </a:cubicBezTo>
                    <a:cubicBezTo>
                      <a:pt x="41" y="36"/>
                      <a:pt x="31" y="35"/>
                      <a:pt x="22" y="44"/>
                    </a:cubicBezTo>
                    <a:cubicBezTo>
                      <a:pt x="0" y="66"/>
                      <a:pt x="0" y="66"/>
                      <a:pt x="0" y="66"/>
                    </a:cubicBezTo>
                    <a:lnTo>
                      <a:pt x="0"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grpSp>
      <p:sp>
        <p:nvSpPr>
          <p:cNvPr id="87"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solidFill>
                  <a:schemeClr val="tx1">
                    <a:lumMod val="50000"/>
                    <a:lumOff val="50000"/>
                  </a:schemeClr>
                </a:solidFill>
                <a:latin typeface="+mn-lt"/>
              </a:rPr>
              <a:t>Private and Confidental</a:t>
            </a:r>
            <a:endParaRPr lang="pt-BR" sz="500" dirty="0">
              <a:solidFill>
                <a:schemeClr val="tx1">
                  <a:lumMod val="50000"/>
                  <a:lumOff val="50000"/>
                </a:schemeClr>
              </a:solidFill>
              <a:latin typeface="+mn-lt"/>
            </a:endParaRPr>
          </a:p>
        </p:txBody>
      </p:sp>
    </p:spTree>
    <p:extLst>
      <p:ext uri="{BB962C8B-B14F-4D97-AF65-F5344CB8AC3E}">
        <p14:creationId xmlns:p14="http://schemas.microsoft.com/office/powerpoint/2010/main" val="588322056"/>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F_MB_Swirl">
    <p:bg>
      <p:bgPr>
        <a:solidFill>
          <a:schemeClr val="bg1"/>
        </a:solidFill>
        <a:effectLst/>
      </p:bgPr>
    </p:bg>
    <p:spTree>
      <p:nvGrpSpPr>
        <p:cNvPr id="1" name=""/>
        <p:cNvGrpSpPr/>
        <p:nvPr/>
      </p:nvGrpSpPr>
      <p:grpSpPr>
        <a:xfrm>
          <a:off x="0" y="0"/>
          <a:ext cx="0" cy="0"/>
          <a:chOff x="0" y="0"/>
          <a:chExt cx="0" cy="0"/>
        </a:xfrm>
      </p:grpSpPr>
      <p:pic>
        <p:nvPicPr>
          <p:cNvPr id="80" name="Picture 13" descr="FF_PPT-Divider-Page-Background-Image.png"/>
          <p:cNvPicPr>
            <a:picLocks noChangeAspect="1"/>
          </p:cNvPicPr>
          <p:nvPr userDrawn="1"/>
        </p:nvPicPr>
        <p:blipFill rotWithShape="1">
          <a:blip r:embed="rId2" cstate="print"/>
          <a:srcRect l="5501" t="5026" r="259" b="19569"/>
          <a:stretch/>
        </p:blipFill>
        <p:spPr bwMode="auto">
          <a:xfrm>
            <a:off x="0" y="0"/>
            <a:ext cx="9144000" cy="5169840"/>
          </a:xfrm>
          <a:prstGeom prst="rect">
            <a:avLst/>
          </a:prstGeom>
          <a:noFill/>
          <a:ln w="9525">
            <a:noFill/>
            <a:miter lim="800000"/>
            <a:headEnd/>
            <a:tailEnd/>
          </a:ln>
        </p:spPr>
      </p:pic>
      <p:pic>
        <p:nvPicPr>
          <p:cNvPr id="33" name="Picture 32" descr="cookie_white.png"/>
          <p:cNvPicPr>
            <a:picLocks noChangeAspect="1"/>
          </p:cNvPicPr>
          <p:nvPr userDrawn="1"/>
        </p:nvPicPr>
        <p:blipFill rotWithShape="1">
          <a:blip r:embed="rId3" cstate="screen">
            <a:alphaModFix amt="16000"/>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a:ext>
            </a:extLst>
          </a:blip>
          <a:srcRect/>
          <a:stretch/>
        </p:blipFill>
        <p:spPr>
          <a:xfrm flipH="1">
            <a:off x="5149029" y="2289839"/>
            <a:ext cx="4020091" cy="2880000"/>
          </a:xfrm>
          <a:prstGeom prst="rect">
            <a:avLst/>
          </a:prstGeom>
        </p:spPr>
      </p:pic>
      <p:cxnSp>
        <p:nvCxnSpPr>
          <p:cNvPr id="32" name="Straight Connector 31"/>
          <p:cNvCxnSpPr/>
          <p:nvPr userDrawn="1"/>
        </p:nvCxnSpPr>
        <p:spPr>
          <a:xfrm>
            <a:off x="343365" y="470176"/>
            <a:ext cx="8460000" cy="0"/>
          </a:xfrm>
          <a:prstGeom prst="line">
            <a:avLst/>
          </a:prstGeom>
          <a:ln w="6350" cmpd="sng">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343365" y="4801146"/>
            <a:ext cx="8460000" cy="0"/>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sp>
        <p:nvSpPr>
          <p:cNvPr id="67"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chemeClr val="bg1"/>
                </a:solidFill>
                <a:latin typeface="+mn-lt"/>
              </a:defRPr>
            </a:lvl1pPr>
          </a:lstStyle>
          <a:p>
            <a:fld id="{19AB4E72-7858-48F1-A40D-12FF09E4BFB8}" type="slidenum">
              <a:rPr lang="en-GB" smtClean="0"/>
              <a:pPr/>
              <a:t>‹Nº›</a:t>
            </a:fld>
            <a:endParaRPr lang="en-GB" dirty="0"/>
          </a:p>
        </p:txBody>
      </p:sp>
      <p:sp>
        <p:nvSpPr>
          <p:cNvPr id="36" name="Title 1"/>
          <p:cNvSpPr>
            <a:spLocks noGrp="1"/>
          </p:cNvSpPr>
          <p:nvPr>
            <p:ph type="ctrTitle" hasCustomPrompt="1"/>
          </p:nvPr>
        </p:nvSpPr>
        <p:spPr>
          <a:xfrm>
            <a:off x="343365" y="2867487"/>
            <a:ext cx="8460000" cy="443198"/>
          </a:xfrm>
          <a:prstGeom prst="rect">
            <a:avLst/>
          </a:prstGeom>
        </p:spPr>
        <p:txBody>
          <a:bodyPr lIns="0" tIns="0" rIns="0" bIns="0" anchor="b"/>
          <a:lstStyle>
            <a:lvl1pPr>
              <a:lnSpc>
                <a:spcPct val="90000"/>
              </a:lnSpc>
              <a:defRPr sz="3200" b="0">
                <a:solidFill>
                  <a:schemeClr val="bg1"/>
                </a:solidFill>
              </a:defRPr>
            </a:lvl1pPr>
          </a:lstStyle>
          <a:p>
            <a:r>
              <a:rPr lang="en-US" dirty="0" smtClean="0"/>
              <a:t>Click to edit Master title Style</a:t>
            </a:r>
            <a:endParaRPr lang="en-US" dirty="0"/>
          </a:p>
        </p:txBody>
      </p:sp>
      <p:sp>
        <p:nvSpPr>
          <p:cNvPr id="37" name="Subtitle 2"/>
          <p:cNvSpPr>
            <a:spLocks noGrp="1"/>
          </p:cNvSpPr>
          <p:nvPr>
            <p:ph type="subTitle" idx="1" hasCustomPrompt="1"/>
          </p:nvPr>
        </p:nvSpPr>
        <p:spPr>
          <a:xfrm>
            <a:off x="343364" y="3474100"/>
            <a:ext cx="8460000" cy="202165"/>
          </a:xfrm>
          <a:prstGeom prst="rect">
            <a:avLst/>
          </a:prstGeom>
        </p:spPr>
        <p:txBody>
          <a:bodyPr lIns="0" tIns="0" rIns="0" bIns="0">
            <a:noAutofit/>
          </a:bodyPr>
          <a:lstStyle>
            <a:lvl1pPr marL="0" indent="0" algn="l">
              <a:buNone/>
              <a:defRPr sz="14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cxnSp>
        <p:nvCxnSpPr>
          <p:cNvPr id="38" name="Straight Connector 37"/>
          <p:cNvCxnSpPr/>
          <p:nvPr userDrawn="1"/>
        </p:nvCxnSpPr>
        <p:spPr>
          <a:xfrm>
            <a:off x="346086" y="3395058"/>
            <a:ext cx="8460000" cy="0"/>
          </a:xfrm>
          <a:prstGeom prst="line">
            <a:avLst/>
          </a:prstGeom>
          <a:ln w="12700" cmpd="sng">
            <a:solidFill>
              <a:schemeClr val="bg1"/>
            </a:solidFill>
          </a:ln>
        </p:spPr>
        <p:style>
          <a:lnRef idx="1">
            <a:schemeClr val="accent1"/>
          </a:lnRef>
          <a:fillRef idx="0">
            <a:schemeClr val="accent1"/>
          </a:fillRef>
          <a:effectRef idx="0">
            <a:schemeClr val="accent1"/>
          </a:effectRef>
          <a:fontRef idx="minor">
            <a:schemeClr val="tx1"/>
          </a:fontRef>
        </p:style>
      </p:cxnSp>
      <p:pic>
        <p:nvPicPr>
          <p:cNvPr id="28" name="Picture 2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641219" y="4829728"/>
            <a:ext cx="288000" cy="288000"/>
          </a:xfrm>
          <a:prstGeom prst="rect">
            <a:avLst/>
          </a:prstGeom>
        </p:spPr>
      </p:pic>
      <p:sp>
        <p:nvSpPr>
          <p:cNvPr id="51" name="Text Placeholder 2"/>
          <p:cNvSpPr>
            <a:spLocks noGrp="1"/>
          </p:cNvSpPr>
          <p:nvPr>
            <p:ph type="body" sz="quarter" idx="25" hasCustomPrompt="1"/>
          </p:nvPr>
        </p:nvSpPr>
        <p:spPr>
          <a:xfrm>
            <a:off x="4727636" y="4807465"/>
            <a:ext cx="1160462" cy="341313"/>
          </a:xfrm>
          <a:prstGeom prst="rect">
            <a:avLst/>
          </a:prstGeom>
        </p:spPr>
        <p:txBody>
          <a:bodyPr anchor="ctr"/>
          <a:lstStyle>
            <a:lvl1pPr marL="0" indent="0" algn="ctr">
              <a:buNone/>
              <a:defRPr sz="800">
                <a:solidFill>
                  <a:schemeClr val="bg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grpSp>
        <p:nvGrpSpPr>
          <p:cNvPr id="29" name="Group 28"/>
          <p:cNvGrpSpPr/>
          <p:nvPr userDrawn="1"/>
        </p:nvGrpSpPr>
        <p:grpSpPr>
          <a:xfrm>
            <a:off x="7686461" y="4906654"/>
            <a:ext cx="1124815" cy="151147"/>
            <a:chOff x="7686461" y="4581466"/>
            <a:chExt cx="1124815" cy="151147"/>
          </a:xfrm>
          <a:solidFill>
            <a:schemeClr val="bg1"/>
          </a:solidFill>
        </p:grpSpPr>
        <p:sp>
          <p:nvSpPr>
            <p:cNvPr id="30"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31"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34"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35"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39"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40"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41"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42"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43"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44"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45"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46"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47"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48"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49"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grpSp>
      <p:sp>
        <p:nvSpPr>
          <p:cNvPr id="50"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solidFill>
                  <a:schemeClr val="tx1">
                    <a:lumMod val="75000"/>
                    <a:lumOff val="25000"/>
                  </a:schemeClr>
                </a:solidFill>
                <a:latin typeface="+mn-lt"/>
              </a:rPr>
              <a:t>Private and Confidental</a:t>
            </a:r>
            <a:endParaRPr lang="pt-BR" sz="500" dirty="0">
              <a:solidFill>
                <a:schemeClr val="tx1">
                  <a:lumMod val="75000"/>
                  <a:lumOff val="25000"/>
                </a:schemeClr>
              </a:solidFill>
              <a:latin typeface="+mn-lt"/>
            </a:endParaRPr>
          </a:p>
        </p:txBody>
      </p:sp>
    </p:spTree>
    <p:extLst>
      <p:ext uri="{BB962C8B-B14F-4D97-AF65-F5344CB8AC3E}">
        <p14:creationId xmlns:p14="http://schemas.microsoft.com/office/powerpoint/2010/main" val="257103078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Titles - Half Text">
    <p:bg>
      <p:bgPr>
        <a:solidFill>
          <a:schemeClr val="bg1"/>
        </a:solidFill>
        <a:effectLst/>
      </p:bgPr>
    </p:bg>
    <p:spTree>
      <p:nvGrpSpPr>
        <p:cNvPr id="1" name=""/>
        <p:cNvGrpSpPr/>
        <p:nvPr/>
      </p:nvGrpSpPr>
      <p:grpSpPr>
        <a:xfrm>
          <a:off x="0" y="0"/>
          <a:ext cx="0" cy="0"/>
          <a:chOff x="0" y="0"/>
          <a:chExt cx="0" cy="0"/>
        </a:xfrm>
      </p:grpSpPr>
      <p:sp>
        <p:nvSpPr>
          <p:cNvPr id="9" name="Title Placeholder 6"/>
          <p:cNvSpPr>
            <a:spLocks noGrp="1"/>
          </p:cNvSpPr>
          <p:nvPr>
            <p:ph type="title"/>
          </p:nvPr>
        </p:nvSpPr>
        <p:spPr>
          <a:xfrm>
            <a:off x="347474" y="323727"/>
            <a:ext cx="8460000" cy="416186"/>
          </a:xfrm>
          <a:prstGeom prst="rect">
            <a:avLst/>
          </a:prstGeom>
        </p:spPr>
        <p:txBody>
          <a:bodyPr vert="horz" lIns="0" tIns="45720" rIns="0" bIns="45720" rtlCol="0" anchor="b">
            <a:noAutofit/>
          </a:bodyPr>
          <a:lstStyle>
            <a:lvl1pPr>
              <a:defRPr sz="2000">
                <a:solidFill>
                  <a:schemeClr val="tx1">
                    <a:lumMod val="75000"/>
                    <a:lumOff val="25000"/>
                  </a:schemeClr>
                </a:solidFill>
              </a:defRPr>
            </a:lvl1pPr>
          </a:lstStyle>
          <a:p>
            <a:r>
              <a:rPr lang="en-US" dirty="0" smtClean="0"/>
              <a:t>Click to edit Master title style</a:t>
            </a:r>
            <a:endParaRPr lang="en-GB" dirty="0"/>
          </a:p>
        </p:txBody>
      </p:sp>
      <p:sp>
        <p:nvSpPr>
          <p:cNvPr id="12" name="Text Placeholder 7"/>
          <p:cNvSpPr>
            <a:spLocks noGrp="1"/>
          </p:cNvSpPr>
          <p:nvPr>
            <p:ph type="body" sz="quarter" idx="20"/>
          </p:nvPr>
        </p:nvSpPr>
        <p:spPr>
          <a:xfrm>
            <a:off x="347473" y="808579"/>
            <a:ext cx="8460000" cy="393270"/>
          </a:xfrm>
          <a:prstGeom prst="rect">
            <a:avLst/>
          </a:prstGeom>
        </p:spPr>
        <p:txBody>
          <a:bodyPr lIns="0" rIns="0"/>
          <a:lstStyle>
            <a:lvl1pPr marL="0" indent="0">
              <a:spcBef>
                <a:spcPts val="0"/>
              </a:spcBef>
              <a:buNone/>
              <a:defRPr lang="en-US" sz="1100" b="1" i="1" kern="1200" dirty="0" smtClean="0">
                <a:solidFill>
                  <a:schemeClr val="tx2"/>
                </a:solidFill>
                <a:latin typeface="+mj-lt"/>
                <a:ea typeface="+mn-ea"/>
                <a:cs typeface="Arial"/>
              </a:defRPr>
            </a:lvl1pPr>
            <a:lvl2pPr marL="0" indent="0">
              <a:spcBef>
                <a:spcPts val="0"/>
              </a:spcBef>
              <a:buNone/>
              <a:defRPr lang="en-US" sz="1100" b="0" i="0" kern="1200" dirty="0" smtClean="0">
                <a:solidFill>
                  <a:schemeClr val="tx1">
                    <a:lumMod val="75000"/>
                    <a:lumOff val="25000"/>
                  </a:schemeClr>
                </a:solidFill>
                <a:latin typeface="+mj-lt"/>
                <a:ea typeface="+mn-ea"/>
                <a:cs typeface="Arial"/>
              </a:defRPr>
            </a:lvl2pPr>
          </a:lstStyle>
          <a:p>
            <a:pPr lvl="0"/>
            <a:r>
              <a:rPr lang="en-US" dirty="0" smtClean="0"/>
              <a:t>Click to edit Master text styles</a:t>
            </a:r>
          </a:p>
          <a:p>
            <a:pPr lvl="1"/>
            <a:r>
              <a:rPr lang="en-US" dirty="0" smtClean="0"/>
              <a:t>Second level</a:t>
            </a:r>
          </a:p>
        </p:txBody>
      </p:sp>
      <p:cxnSp>
        <p:nvCxnSpPr>
          <p:cNvPr id="13" name="Straight Connector 12"/>
          <p:cNvCxnSpPr/>
          <p:nvPr userDrawn="1"/>
        </p:nvCxnSpPr>
        <p:spPr>
          <a:xfrm>
            <a:off x="343366" y="739913"/>
            <a:ext cx="8460000" cy="0"/>
          </a:xfrm>
          <a:prstGeom prst="line">
            <a:avLst/>
          </a:prstGeom>
          <a:ln w="12700">
            <a:solidFill>
              <a:schemeClr val="tx1">
                <a:lumMod val="75000"/>
                <a:lumOff val="25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351670" y="1270022"/>
            <a:ext cx="8460000" cy="0"/>
          </a:xfrm>
          <a:prstGeom prst="line">
            <a:avLst/>
          </a:prstGeom>
          <a:ln w="12700" cap="rnd">
            <a:solidFill>
              <a:schemeClr val="tx1">
                <a:lumMod val="75000"/>
                <a:lumOff val="25000"/>
              </a:schemeClr>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11" name="Text Placeholder 46"/>
          <p:cNvSpPr>
            <a:spLocks noGrp="1"/>
          </p:cNvSpPr>
          <p:nvPr>
            <p:ph idx="1"/>
          </p:nvPr>
        </p:nvSpPr>
        <p:spPr>
          <a:xfrm>
            <a:off x="351670" y="1454341"/>
            <a:ext cx="4140000" cy="3240000"/>
          </a:xfrm>
          <a:prstGeom prst="rect">
            <a:avLst/>
          </a:prstGeom>
        </p:spPr>
        <p:txBody>
          <a:bodyPr vert="horz" lIns="0" tIns="45720" rIns="0" bIns="45720" rtlCol="0">
            <a:noAutofit/>
          </a:bodyPr>
          <a:lstStyle>
            <a:lvl1pPr marL="0" indent="0">
              <a:spcBef>
                <a:spcPts val="600"/>
              </a:spcBef>
              <a:buClr>
                <a:schemeClr val="tx2"/>
              </a:buClr>
              <a:buNone/>
              <a:defRPr sz="1050" b="1">
                <a:solidFill>
                  <a:schemeClr val="tx2"/>
                </a:solidFill>
                <a:latin typeface="Arial"/>
                <a:cs typeface="Arial"/>
              </a:defRPr>
            </a:lvl1pPr>
            <a:lvl2pPr marL="179388" indent="-179388">
              <a:spcBef>
                <a:spcPts val="600"/>
              </a:spcBef>
              <a:buClr>
                <a:schemeClr val="tx2"/>
              </a:buClr>
              <a:defRPr sz="1000">
                <a:latin typeface="Arial"/>
                <a:cs typeface="Arial"/>
              </a:defRPr>
            </a:lvl2pPr>
            <a:lvl3pPr marL="179388" indent="-179388">
              <a:spcBef>
                <a:spcPts val="600"/>
              </a:spcBef>
              <a:buClr>
                <a:schemeClr val="tx2"/>
              </a:buClr>
              <a:defRPr sz="1000">
                <a:latin typeface="Arial"/>
                <a:cs typeface="Arial"/>
              </a:defRPr>
            </a:lvl3pPr>
            <a:lvl4pPr marL="179388" indent="-179388">
              <a:spcBef>
                <a:spcPts val="600"/>
              </a:spcBef>
              <a:buClr>
                <a:schemeClr val="tx2"/>
              </a:buClr>
              <a:tabLst/>
              <a:defRPr sz="1000">
                <a:latin typeface="Arial"/>
                <a:cs typeface="Arial"/>
              </a:defRPr>
            </a:lvl4pPr>
            <a:lvl5pPr marL="179388" indent="-179388">
              <a:spcBef>
                <a:spcPts val="600"/>
              </a:spcBef>
              <a:buClr>
                <a:schemeClr val="tx2"/>
              </a:buClr>
              <a:defRPr sz="1000">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Text Placeholder 2"/>
          <p:cNvSpPr>
            <a:spLocks noGrp="1"/>
          </p:cNvSpPr>
          <p:nvPr>
            <p:ph type="body" sz="quarter" idx="25" hasCustomPrompt="1"/>
          </p:nvPr>
        </p:nvSpPr>
        <p:spPr>
          <a:xfrm>
            <a:off x="6202363" y="4807465"/>
            <a:ext cx="1160462" cy="341313"/>
          </a:xfrm>
          <a:prstGeom prst="rect">
            <a:avLst/>
          </a:prstGeom>
        </p:spPr>
        <p:txBody>
          <a:bodyPr anchor="ctr"/>
          <a:lstStyle>
            <a:lvl1pPr marL="0" indent="0" algn="ctr">
              <a:buNone/>
              <a:defRPr sz="800">
                <a:solidFill>
                  <a:schemeClr val="tx1">
                    <a:lumMod val="75000"/>
                    <a:lumOff val="25000"/>
                  </a:schemeClr>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spTree>
    <p:extLst>
      <p:ext uri="{BB962C8B-B14F-4D97-AF65-F5344CB8AC3E}">
        <p14:creationId xmlns:p14="http://schemas.microsoft.com/office/powerpoint/2010/main" val="825640346"/>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F_MB_Leaf">
    <p:bg>
      <p:bgPr>
        <a:solidFill>
          <a:schemeClr val="bg1"/>
        </a:solidFill>
        <a:effectLst/>
      </p:bgPr>
    </p:bg>
    <p:spTree>
      <p:nvGrpSpPr>
        <p:cNvPr id="1" name=""/>
        <p:cNvGrpSpPr/>
        <p:nvPr/>
      </p:nvGrpSpPr>
      <p:grpSpPr>
        <a:xfrm>
          <a:off x="0" y="0"/>
          <a:ext cx="0" cy="0"/>
          <a:chOff x="0" y="0"/>
          <a:chExt cx="0" cy="0"/>
        </a:xfrm>
      </p:grpSpPr>
      <p:sp>
        <p:nvSpPr>
          <p:cNvPr id="31" name="Rectangle 30"/>
          <p:cNvSpPr/>
          <p:nvPr userDrawn="1"/>
        </p:nvSpPr>
        <p:spPr>
          <a:xfrm>
            <a:off x="0" y="0"/>
            <a:ext cx="9144000" cy="5148263"/>
          </a:xfrm>
          <a:prstGeom prst="rect">
            <a:avLst/>
          </a:prstGeom>
          <a:solidFill>
            <a:schemeClr val="tx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en-GB" sz="1050" smtClean="0">
              <a:solidFill>
                <a:schemeClr val="bg1"/>
              </a:solidFill>
              <a:latin typeface="Arial" panose="020B0604020202020204" pitchFamily="34" charset="0"/>
              <a:cs typeface="Arial" panose="020B0604020202020204" pitchFamily="34" charset="0"/>
            </a:endParaRPr>
          </a:p>
        </p:txBody>
      </p:sp>
      <p:pic>
        <p:nvPicPr>
          <p:cNvPr id="33" name="Picture 32" descr="cookie_white.png"/>
          <p:cNvPicPr>
            <a:picLocks noChangeAspect="1"/>
          </p:cNvPicPr>
          <p:nvPr userDrawn="1"/>
        </p:nvPicPr>
        <p:blipFill rotWithShape="1">
          <a:blip r:embed="rId2" cstate="screen">
            <a:alphaModFix amt="16000"/>
            <a:extLst>
              <a:ext uri="{28A0092B-C50C-407E-A947-70E740481C1C}">
                <a14:useLocalDpi xmlns:a14="http://schemas.microsoft.com/office/drawing/2010/main"/>
              </a:ext>
            </a:extLst>
          </a:blip>
          <a:srcRect/>
          <a:stretch/>
        </p:blipFill>
        <p:spPr>
          <a:xfrm flipH="1">
            <a:off x="5149029" y="2289839"/>
            <a:ext cx="4020091" cy="2880000"/>
          </a:xfrm>
          <a:prstGeom prst="rect">
            <a:avLst/>
          </a:prstGeom>
        </p:spPr>
      </p:pic>
      <p:cxnSp>
        <p:nvCxnSpPr>
          <p:cNvPr id="32" name="Straight Connector 31"/>
          <p:cNvCxnSpPr/>
          <p:nvPr userDrawn="1"/>
        </p:nvCxnSpPr>
        <p:spPr>
          <a:xfrm>
            <a:off x="343365" y="470176"/>
            <a:ext cx="8460000" cy="0"/>
          </a:xfrm>
          <a:prstGeom prst="line">
            <a:avLst/>
          </a:prstGeom>
          <a:ln w="6350" cmpd="sng">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343365" y="4801146"/>
            <a:ext cx="8460000" cy="0"/>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sp>
        <p:nvSpPr>
          <p:cNvPr id="67"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rgbClr val="FFFFFF"/>
                </a:solidFill>
                <a:latin typeface="+mn-lt"/>
              </a:defRPr>
            </a:lvl1pPr>
          </a:lstStyle>
          <a:p>
            <a:fld id="{19AB4E72-7858-48F1-A40D-12FF09E4BFB8}" type="slidenum">
              <a:rPr lang="en-GB" smtClean="0"/>
              <a:pPr/>
              <a:t>‹Nº›</a:t>
            </a:fld>
            <a:endParaRPr lang="en-GB"/>
          </a:p>
        </p:txBody>
      </p:sp>
      <p:sp>
        <p:nvSpPr>
          <p:cNvPr id="36" name="Title 1"/>
          <p:cNvSpPr>
            <a:spLocks noGrp="1"/>
          </p:cNvSpPr>
          <p:nvPr>
            <p:ph type="ctrTitle" hasCustomPrompt="1"/>
          </p:nvPr>
        </p:nvSpPr>
        <p:spPr>
          <a:xfrm>
            <a:off x="343365" y="2867487"/>
            <a:ext cx="8460000" cy="443198"/>
          </a:xfrm>
          <a:prstGeom prst="rect">
            <a:avLst/>
          </a:prstGeom>
        </p:spPr>
        <p:txBody>
          <a:bodyPr lIns="0" tIns="0" rIns="0" bIns="0" anchor="b"/>
          <a:lstStyle>
            <a:lvl1pPr>
              <a:lnSpc>
                <a:spcPct val="90000"/>
              </a:lnSpc>
              <a:defRPr sz="3200" b="0">
                <a:solidFill>
                  <a:schemeClr val="bg1"/>
                </a:solidFill>
              </a:defRPr>
            </a:lvl1pPr>
          </a:lstStyle>
          <a:p>
            <a:r>
              <a:rPr lang="en-US" dirty="0" smtClean="0"/>
              <a:t>Click to edit Master title Style</a:t>
            </a:r>
            <a:endParaRPr lang="en-US" dirty="0"/>
          </a:p>
        </p:txBody>
      </p:sp>
      <p:sp>
        <p:nvSpPr>
          <p:cNvPr id="37" name="Subtitle 2"/>
          <p:cNvSpPr>
            <a:spLocks noGrp="1"/>
          </p:cNvSpPr>
          <p:nvPr>
            <p:ph type="subTitle" idx="1" hasCustomPrompt="1"/>
          </p:nvPr>
        </p:nvSpPr>
        <p:spPr>
          <a:xfrm>
            <a:off x="343364" y="3474100"/>
            <a:ext cx="8460000" cy="202165"/>
          </a:xfrm>
          <a:prstGeom prst="rect">
            <a:avLst/>
          </a:prstGeom>
        </p:spPr>
        <p:txBody>
          <a:bodyPr lIns="0" tIns="0" rIns="0" bIns="0">
            <a:noAutofit/>
          </a:bodyPr>
          <a:lstStyle>
            <a:lvl1pPr marL="0" indent="0" algn="l">
              <a:buNone/>
              <a:defRPr sz="14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cxnSp>
        <p:nvCxnSpPr>
          <p:cNvPr id="38" name="Straight Connector 37"/>
          <p:cNvCxnSpPr/>
          <p:nvPr userDrawn="1"/>
        </p:nvCxnSpPr>
        <p:spPr>
          <a:xfrm>
            <a:off x="346086" y="3395058"/>
            <a:ext cx="8460000" cy="0"/>
          </a:xfrm>
          <a:prstGeom prst="line">
            <a:avLst/>
          </a:prstGeom>
          <a:ln w="12700" cmpd="sng">
            <a:solidFill>
              <a:schemeClr val="bg1"/>
            </a:solidFill>
          </a:ln>
        </p:spPr>
        <p:style>
          <a:lnRef idx="1">
            <a:schemeClr val="accent1"/>
          </a:lnRef>
          <a:fillRef idx="0">
            <a:schemeClr val="accent1"/>
          </a:fillRef>
          <a:effectRef idx="0">
            <a:schemeClr val="accent1"/>
          </a:effectRef>
          <a:fontRef idx="minor">
            <a:schemeClr val="tx1"/>
          </a:fontRef>
        </p:style>
      </p:cxnSp>
      <p:pic>
        <p:nvPicPr>
          <p:cNvPr id="50" name="Picture 4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641219" y="4829728"/>
            <a:ext cx="288000" cy="288000"/>
          </a:xfrm>
          <a:prstGeom prst="rect">
            <a:avLst/>
          </a:prstGeom>
        </p:spPr>
      </p:pic>
      <p:sp>
        <p:nvSpPr>
          <p:cNvPr id="53" name="Text Placeholder 2"/>
          <p:cNvSpPr>
            <a:spLocks noGrp="1"/>
          </p:cNvSpPr>
          <p:nvPr>
            <p:ph type="body" sz="quarter" idx="25" hasCustomPrompt="1"/>
          </p:nvPr>
        </p:nvSpPr>
        <p:spPr>
          <a:xfrm>
            <a:off x="4727636" y="4807465"/>
            <a:ext cx="1160462" cy="341313"/>
          </a:xfrm>
          <a:prstGeom prst="rect">
            <a:avLst/>
          </a:prstGeom>
        </p:spPr>
        <p:txBody>
          <a:bodyPr anchor="ctr"/>
          <a:lstStyle>
            <a:lvl1pPr marL="0" indent="0" algn="ctr">
              <a:buNone/>
              <a:defRPr sz="800">
                <a:solidFill>
                  <a:schemeClr val="bg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grpSp>
        <p:nvGrpSpPr>
          <p:cNvPr id="51" name="Group 50"/>
          <p:cNvGrpSpPr/>
          <p:nvPr userDrawn="1"/>
        </p:nvGrpSpPr>
        <p:grpSpPr>
          <a:xfrm>
            <a:off x="7686461" y="4906654"/>
            <a:ext cx="1124815" cy="151147"/>
            <a:chOff x="7686461" y="4581466"/>
            <a:chExt cx="1124815" cy="151147"/>
          </a:xfrm>
          <a:solidFill>
            <a:schemeClr val="bg1"/>
          </a:solidFill>
        </p:grpSpPr>
        <p:sp>
          <p:nvSpPr>
            <p:cNvPr id="52"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4"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5"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6"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7"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8"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9"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0"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1"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2"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3"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4"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5"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6"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8"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grpSp>
      <p:sp>
        <p:nvSpPr>
          <p:cNvPr id="28"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solidFill>
                  <a:schemeClr val="tx2">
                    <a:lumMod val="75000"/>
                  </a:schemeClr>
                </a:solidFill>
                <a:latin typeface="+mn-lt"/>
              </a:rPr>
              <a:t>Private and Confidental</a:t>
            </a:r>
            <a:endParaRPr lang="pt-BR" sz="500" dirty="0">
              <a:solidFill>
                <a:schemeClr val="tx2">
                  <a:lumMod val="75000"/>
                </a:schemeClr>
              </a:solidFill>
              <a:latin typeface="+mn-lt"/>
            </a:endParaRPr>
          </a:p>
        </p:txBody>
      </p:sp>
    </p:spTree>
    <p:extLst>
      <p:ext uri="{BB962C8B-B14F-4D97-AF65-F5344CB8AC3E}">
        <p14:creationId xmlns:p14="http://schemas.microsoft.com/office/powerpoint/2010/main" val="3650111731"/>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F_MB_Slate3">
    <p:bg>
      <p:bgPr>
        <a:solidFill>
          <a:schemeClr val="bg1"/>
        </a:solidFill>
        <a:effectLst/>
      </p:bgPr>
    </p:bg>
    <p:spTree>
      <p:nvGrpSpPr>
        <p:cNvPr id="1" name=""/>
        <p:cNvGrpSpPr/>
        <p:nvPr/>
      </p:nvGrpSpPr>
      <p:grpSpPr>
        <a:xfrm>
          <a:off x="0" y="0"/>
          <a:ext cx="0" cy="0"/>
          <a:chOff x="0" y="0"/>
          <a:chExt cx="0" cy="0"/>
        </a:xfrm>
      </p:grpSpPr>
      <p:sp>
        <p:nvSpPr>
          <p:cNvPr id="31" name="Rectangle 30"/>
          <p:cNvSpPr/>
          <p:nvPr userDrawn="1"/>
        </p:nvSpPr>
        <p:spPr>
          <a:xfrm>
            <a:off x="0" y="0"/>
            <a:ext cx="9144000" cy="5148263"/>
          </a:xfrm>
          <a:prstGeom prst="rect">
            <a:avLst/>
          </a:prstGeom>
          <a:solidFill>
            <a:srgbClr val="4B4E53"/>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en-GB" sz="1050" smtClean="0">
              <a:solidFill>
                <a:schemeClr val="bg1"/>
              </a:solidFill>
              <a:latin typeface="Arial" panose="020B0604020202020204" pitchFamily="34" charset="0"/>
              <a:cs typeface="Arial" panose="020B0604020202020204" pitchFamily="34" charset="0"/>
            </a:endParaRPr>
          </a:p>
        </p:txBody>
      </p:sp>
      <p:pic>
        <p:nvPicPr>
          <p:cNvPr id="33" name="Picture 32" descr="cookie_white.png"/>
          <p:cNvPicPr>
            <a:picLocks noChangeAspect="1"/>
          </p:cNvPicPr>
          <p:nvPr userDrawn="1"/>
        </p:nvPicPr>
        <p:blipFill rotWithShape="1">
          <a:blip r:embed="rId2" cstate="screen">
            <a:alphaModFix amt="16000"/>
            <a:extLst>
              <a:ext uri="{28A0092B-C50C-407E-A947-70E740481C1C}">
                <a14:useLocalDpi xmlns:a14="http://schemas.microsoft.com/office/drawing/2010/main"/>
              </a:ext>
            </a:extLst>
          </a:blip>
          <a:srcRect/>
          <a:stretch/>
        </p:blipFill>
        <p:spPr>
          <a:xfrm flipH="1">
            <a:off x="5149029" y="2289839"/>
            <a:ext cx="4020091" cy="2880000"/>
          </a:xfrm>
          <a:prstGeom prst="rect">
            <a:avLst/>
          </a:prstGeom>
        </p:spPr>
      </p:pic>
      <p:cxnSp>
        <p:nvCxnSpPr>
          <p:cNvPr id="32" name="Straight Connector 31"/>
          <p:cNvCxnSpPr/>
          <p:nvPr userDrawn="1"/>
        </p:nvCxnSpPr>
        <p:spPr>
          <a:xfrm>
            <a:off x="343365" y="470176"/>
            <a:ext cx="8460000" cy="0"/>
          </a:xfrm>
          <a:prstGeom prst="line">
            <a:avLst/>
          </a:prstGeom>
          <a:ln w="6350" cmpd="sng">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343365" y="4801146"/>
            <a:ext cx="8460000" cy="0"/>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sp>
        <p:nvSpPr>
          <p:cNvPr id="67"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rgbClr val="FFFFFF"/>
                </a:solidFill>
                <a:latin typeface="+mn-lt"/>
              </a:defRPr>
            </a:lvl1pPr>
          </a:lstStyle>
          <a:p>
            <a:fld id="{19AB4E72-7858-48F1-A40D-12FF09E4BFB8}" type="slidenum">
              <a:rPr lang="en-GB" smtClean="0"/>
              <a:pPr/>
              <a:t>‹Nº›</a:t>
            </a:fld>
            <a:endParaRPr lang="en-GB"/>
          </a:p>
        </p:txBody>
      </p:sp>
      <p:sp>
        <p:nvSpPr>
          <p:cNvPr id="36" name="Title 1"/>
          <p:cNvSpPr>
            <a:spLocks noGrp="1"/>
          </p:cNvSpPr>
          <p:nvPr>
            <p:ph type="ctrTitle" hasCustomPrompt="1"/>
          </p:nvPr>
        </p:nvSpPr>
        <p:spPr>
          <a:xfrm>
            <a:off x="343365" y="2867487"/>
            <a:ext cx="8460000" cy="443198"/>
          </a:xfrm>
          <a:prstGeom prst="rect">
            <a:avLst/>
          </a:prstGeom>
        </p:spPr>
        <p:txBody>
          <a:bodyPr lIns="0" tIns="0" rIns="0" bIns="0" anchor="b"/>
          <a:lstStyle>
            <a:lvl1pPr>
              <a:lnSpc>
                <a:spcPct val="90000"/>
              </a:lnSpc>
              <a:defRPr sz="3200" b="0">
                <a:solidFill>
                  <a:schemeClr val="bg1"/>
                </a:solidFill>
              </a:defRPr>
            </a:lvl1pPr>
          </a:lstStyle>
          <a:p>
            <a:r>
              <a:rPr lang="en-US" dirty="0" smtClean="0"/>
              <a:t>Click to edit Master title Style</a:t>
            </a:r>
            <a:endParaRPr lang="en-US" dirty="0"/>
          </a:p>
        </p:txBody>
      </p:sp>
      <p:sp>
        <p:nvSpPr>
          <p:cNvPr id="37" name="Subtitle 2"/>
          <p:cNvSpPr>
            <a:spLocks noGrp="1"/>
          </p:cNvSpPr>
          <p:nvPr>
            <p:ph type="subTitle" idx="1" hasCustomPrompt="1"/>
          </p:nvPr>
        </p:nvSpPr>
        <p:spPr>
          <a:xfrm>
            <a:off x="343364" y="3474100"/>
            <a:ext cx="8460000" cy="202165"/>
          </a:xfrm>
          <a:prstGeom prst="rect">
            <a:avLst/>
          </a:prstGeom>
        </p:spPr>
        <p:txBody>
          <a:bodyPr lIns="0" tIns="0" rIns="0" bIns="0">
            <a:noAutofit/>
          </a:bodyPr>
          <a:lstStyle>
            <a:lvl1pPr marL="0" indent="0" algn="l">
              <a:buNone/>
              <a:defRPr sz="1400">
                <a:solidFill>
                  <a:schemeClr val="tx2"/>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cxnSp>
        <p:nvCxnSpPr>
          <p:cNvPr id="38" name="Straight Connector 37"/>
          <p:cNvCxnSpPr/>
          <p:nvPr userDrawn="1"/>
        </p:nvCxnSpPr>
        <p:spPr>
          <a:xfrm>
            <a:off x="346086" y="3395058"/>
            <a:ext cx="8460000" cy="0"/>
          </a:xfrm>
          <a:prstGeom prst="line">
            <a:avLst/>
          </a:prstGeom>
          <a:ln w="12700" cmpd="sng">
            <a:solidFill>
              <a:schemeClr val="bg1"/>
            </a:solidFill>
          </a:ln>
        </p:spPr>
        <p:style>
          <a:lnRef idx="1">
            <a:schemeClr val="accent1"/>
          </a:lnRef>
          <a:fillRef idx="0">
            <a:schemeClr val="accent1"/>
          </a:fillRef>
          <a:effectRef idx="0">
            <a:schemeClr val="accent1"/>
          </a:effectRef>
          <a:fontRef idx="minor">
            <a:schemeClr val="tx1"/>
          </a:fontRef>
        </p:style>
      </p:cxnSp>
      <p:pic>
        <p:nvPicPr>
          <p:cNvPr id="51" name="Picture 5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641219" y="4829728"/>
            <a:ext cx="288000" cy="288000"/>
          </a:xfrm>
          <a:prstGeom prst="rect">
            <a:avLst/>
          </a:prstGeom>
        </p:spPr>
      </p:pic>
      <p:sp>
        <p:nvSpPr>
          <p:cNvPr id="56" name="Text Placeholder 2"/>
          <p:cNvSpPr>
            <a:spLocks noGrp="1"/>
          </p:cNvSpPr>
          <p:nvPr>
            <p:ph type="body" sz="quarter" idx="25" hasCustomPrompt="1"/>
          </p:nvPr>
        </p:nvSpPr>
        <p:spPr>
          <a:xfrm>
            <a:off x="4727636" y="4807465"/>
            <a:ext cx="1160462" cy="341313"/>
          </a:xfrm>
          <a:prstGeom prst="rect">
            <a:avLst/>
          </a:prstGeom>
        </p:spPr>
        <p:txBody>
          <a:bodyPr anchor="ctr"/>
          <a:lstStyle>
            <a:lvl1pPr marL="0" indent="0" algn="ctr">
              <a:buNone/>
              <a:defRPr sz="800">
                <a:solidFill>
                  <a:schemeClr val="bg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grpSp>
        <p:nvGrpSpPr>
          <p:cNvPr id="57" name="Group 56"/>
          <p:cNvGrpSpPr/>
          <p:nvPr userDrawn="1"/>
        </p:nvGrpSpPr>
        <p:grpSpPr>
          <a:xfrm>
            <a:off x="7686461" y="4906654"/>
            <a:ext cx="1124815" cy="151147"/>
            <a:chOff x="7686461" y="4581466"/>
            <a:chExt cx="1124815" cy="151147"/>
          </a:xfrm>
          <a:solidFill>
            <a:schemeClr val="bg1"/>
          </a:solidFill>
        </p:grpSpPr>
        <p:sp>
          <p:nvSpPr>
            <p:cNvPr id="58"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9"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0"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1"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2"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3"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4"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5"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92"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93"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94"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95"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96"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97"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98"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grpSp>
      <p:sp>
        <p:nvSpPr>
          <p:cNvPr id="28"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solidFill>
                  <a:schemeClr val="tx1">
                    <a:lumMod val="50000"/>
                    <a:lumOff val="50000"/>
                  </a:schemeClr>
                </a:solidFill>
                <a:latin typeface="+mn-lt"/>
              </a:rPr>
              <a:t>Private and Confidental</a:t>
            </a:r>
            <a:endParaRPr lang="pt-BR" sz="500" dirty="0">
              <a:solidFill>
                <a:schemeClr val="tx1">
                  <a:lumMod val="50000"/>
                  <a:lumOff val="50000"/>
                </a:schemeClr>
              </a:solidFill>
              <a:latin typeface="+mn-lt"/>
            </a:endParaRPr>
          </a:p>
        </p:txBody>
      </p:sp>
    </p:spTree>
    <p:extLst>
      <p:ext uri="{BB962C8B-B14F-4D97-AF65-F5344CB8AC3E}">
        <p14:creationId xmlns:p14="http://schemas.microsoft.com/office/powerpoint/2010/main" val="3989000472"/>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F_V_MB_Leaf">
    <p:bg>
      <p:bgPr>
        <a:solidFill>
          <a:schemeClr val="bg1"/>
        </a:solidFill>
        <a:effectLst/>
      </p:bgPr>
    </p:bg>
    <p:spTree>
      <p:nvGrpSpPr>
        <p:cNvPr id="1" name=""/>
        <p:cNvGrpSpPr/>
        <p:nvPr/>
      </p:nvGrpSpPr>
      <p:grpSpPr>
        <a:xfrm>
          <a:off x="0" y="0"/>
          <a:ext cx="0" cy="0"/>
          <a:chOff x="0" y="0"/>
          <a:chExt cx="0" cy="0"/>
        </a:xfrm>
      </p:grpSpPr>
      <p:sp>
        <p:nvSpPr>
          <p:cNvPr id="31" name="Rectangle 30"/>
          <p:cNvSpPr/>
          <p:nvPr userDrawn="1"/>
        </p:nvSpPr>
        <p:spPr>
          <a:xfrm>
            <a:off x="0" y="0"/>
            <a:ext cx="9144000" cy="5148263"/>
          </a:xfrm>
          <a:prstGeom prst="rect">
            <a:avLst/>
          </a:prstGeom>
          <a:solidFill>
            <a:schemeClr val="tx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en-GB" sz="1050" smtClean="0">
              <a:solidFill>
                <a:schemeClr val="bg1"/>
              </a:solidFill>
              <a:latin typeface="Arial" panose="020B0604020202020204" pitchFamily="34" charset="0"/>
              <a:cs typeface="Arial" panose="020B0604020202020204" pitchFamily="34" charset="0"/>
            </a:endParaRPr>
          </a:p>
        </p:txBody>
      </p:sp>
      <p:pic>
        <p:nvPicPr>
          <p:cNvPr id="33" name="Picture 32" descr="cookie_white.png"/>
          <p:cNvPicPr>
            <a:picLocks noChangeAspect="1"/>
          </p:cNvPicPr>
          <p:nvPr userDrawn="1"/>
        </p:nvPicPr>
        <p:blipFill rotWithShape="1">
          <a:blip r:embed="rId2" cstate="screen">
            <a:alphaModFix amt="16000"/>
            <a:extLst>
              <a:ext uri="{28A0092B-C50C-407E-A947-70E740481C1C}">
                <a14:useLocalDpi xmlns:a14="http://schemas.microsoft.com/office/drawing/2010/main"/>
              </a:ext>
            </a:extLst>
          </a:blip>
          <a:srcRect/>
          <a:stretch/>
        </p:blipFill>
        <p:spPr>
          <a:xfrm flipH="1">
            <a:off x="5149029" y="2289839"/>
            <a:ext cx="4020091" cy="2880000"/>
          </a:xfrm>
          <a:prstGeom prst="rect">
            <a:avLst/>
          </a:prstGeom>
        </p:spPr>
      </p:pic>
      <p:cxnSp>
        <p:nvCxnSpPr>
          <p:cNvPr id="32" name="Straight Connector 31"/>
          <p:cNvCxnSpPr/>
          <p:nvPr userDrawn="1"/>
        </p:nvCxnSpPr>
        <p:spPr>
          <a:xfrm>
            <a:off x="343365" y="470176"/>
            <a:ext cx="8460000" cy="0"/>
          </a:xfrm>
          <a:prstGeom prst="line">
            <a:avLst/>
          </a:prstGeom>
          <a:ln w="6350" cmpd="sng">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343365" y="4801146"/>
            <a:ext cx="8460000" cy="0"/>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sp>
        <p:nvSpPr>
          <p:cNvPr id="67"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rgbClr val="FFFFFF"/>
                </a:solidFill>
                <a:latin typeface="+mn-lt"/>
              </a:defRPr>
            </a:lvl1pPr>
          </a:lstStyle>
          <a:p>
            <a:fld id="{19AB4E72-7858-48F1-A40D-12FF09E4BFB8}" type="slidenum">
              <a:rPr lang="en-GB" smtClean="0"/>
              <a:pPr/>
              <a:t>‹Nº›</a:t>
            </a:fld>
            <a:endParaRPr lang="en-GB"/>
          </a:p>
        </p:txBody>
      </p:sp>
      <p:sp>
        <p:nvSpPr>
          <p:cNvPr id="36" name="Title 1"/>
          <p:cNvSpPr>
            <a:spLocks noGrp="1"/>
          </p:cNvSpPr>
          <p:nvPr>
            <p:ph type="ctrTitle" hasCustomPrompt="1"/>
          </p:nvPr>
        </p:nvSpPr>
        <p:spPr>
          <a:xfrm>
            <a:off x="343365" y="2867487"/>
            <a:ext cx="8460000" cy="443198"/>
          </a:xfrm>
          <a:prstGeom prst="rect">
            <a:avLst/>
          </a:prstGeom>
        </p:spPr>
        <p:txBody>
          <a:bodyPr lIns="0" tIns="0" rIns="0" bIns="0" anchor="b"/>
          <a:lstStyle>
            <a:lvl1pPr>
              <a:lnSpc>
                <a:spcPct val="90000"/>
              </a:lnSpc>
              <a:defRPr sz="3200" b="0">
                <a:solidFill>
                  <a:schemeClr val="bg1"/>
                </a:solidFill>
              </a:defRPr>
            </a:lvl1pPr>
          </a:lstStyle>
          <a:p>
            <a:r>
              <a:rPr lang="en-US" dirty="0" smtClean="0"/>
              <a:t>Click to edit Master title Style</a:t>
            </a:r>
            <a:endParaRPr lang="en-US" dirty="0"/>
          </a:p>
        </p:txBody>
      </p:sp>
      <p:sp>
        <p:nvSpPr>
          <p:cNvPr id="37" name="Subtitle 2"/>
          <p:cNvSpPr>
            <a:spLocks noGrp="1"/>
          </p:cNvSpPr>
          <p:nvPr>
            <p:ph type="subTitle" idx="1" hasCustomPrompt="1"/>
          </p:nvPr>
        </p:nvSpPr>
        <p:spPr>
          <a:xfrm>
            <a:off x="343364" y="3474100"/>
            <a:ext cx="8460000" cy="202165"/>
          </a:xfrm>
          <a:prstGeom prst="rect">
            <a:avLst/>
          </a:prstGeom>
        </p:spPr>
        <p:txBody>
          <a:bodyPr lIns="0" tIns="0" rIns="0" bIns="0">
            <a:noAutofit/>
          </a:bodyPr>
          <a:lstStyle>
            <a:lvl1pPr marL="0" indent="0" algn="l">
              <a:buNone/>
              <a:defRPr sz="14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cxnSp>
        <p:nvCxnSpPr>
          <p:cNvPr id="38" name="Straight Connector 37"/>
          <p:cNvCxnSpPr/>
          <p:nvPr userDrawn="1"/>
        </p:nvCxnSpPr>
        <p:spPr>
          <a:xfrm>
            <a:off x="346086" y="3395058"/>
            <a:ext cx="8460000" cy="0"/>
          </a:xfrm>
          <a:prstGeom prst="line">
            <a:avLst/>
          </a:prstGeom>
          <a:ln w="12700" cmpd="sng">
            <a:solidFill>
              <a:schemeClr val="bg1"/>
            </a:solidFill>
          </a:ln>
        </p:spPr>
        <p:style>
          <a:lnRef idx="1">
            <a:schemeClr val="accent1"/>
          </a:lnRef>
          <a:fillRef idx="0">
            <a:schemeClr val="accent1"/>
          </a:fillRef>
          <a:effectRef idx="0">
            <a:schemeClr val="accent1"/>
          </a:effectRef>
          <a:fontRef idx="minor">
            <a:schemeClr val="tx1"/>
          </a:fontRef>
        </p:style>
      </p:cxnSp>
      <p:grpSp>
        <p:nvGrpSpPr>
          <p:cNvPr id="73" name="Group 72"/>
          <p:cNvGrpSpPr/>
          <p:nvPr userDrawn="1"/>
        </p:nvGrpSpPr>
        <p:grpSpPr>
          <a:xfrm>
            <a:off x="6219557" y="4840100"/>
            <a:ext cx="1123200" cy="233974"/>
            <a:chOff x="7665803" y="4864376"/>
            <a:chExt cx="1123200" cy="233974"/>
          </a:xfrm>
          <a:solidFill>
            <a:schemeClr val="bg1"/>
          </a:solidFill>
        </p:grpSpPr>
        <p:sp>
          <p:nvSpPr>
            <p:cNvPr id="74" name="Freeform 6"/>
            <p:cNvSpPr>
              <a:spLocks/>
            </p:cNvSpPr>
            <p:nvPr userDrawn="1"/>
          </p:nvSpPr>
          <p:spPr bwMode="auto">
            <a:xfrm>
              <a:off x="8119644" y="4924717"/>
              <a:ext cx="103102" cy="66806"/>
            </a:xfrm>
            <a:custGeom>
              <a:avLst/>
              <a:gdLst>
                <a:gd name="T0" fmla="*/ 111 w 136"/>
                <a:gd name="T1" fmla="*/ 72 h 92"/>
                <a:gd name="T2" fmla="*/ 87 w 136"/>
                <a:gd name="T3" fmla="*/ 88 h 92"/>
                <a:gd name="T4" fmla="*/ 68 w 136"/>
                <a:gd name="T5" fmla="*/ 28 h 92"/>
                <a:gd name="T6" fmla="*/ 67 w 136"/>
                <a:gd name="T7" fmla="*/ 28 h 92"/>
                <a:gd name="T8" fmla="*/ 53 w 136"/>
                <a:gd name="T9" fmla="*/ 72 h 92"/>
                <a:gd name="T10" fmla="*/ 31 w 136"/>
                <a:gd name="T11" fmla="*/ 88 h 92"/>
                <a:gd name="T12" fmla="*/ 0 w 136"/>
                <a:gd name="T13" fmla="*/ 0 h 92"/>
                <a:gd name="T14" fmla="*/ 22 w 136"/>
                <a:gd name="T15" fmla="*/ 0 h 92"/>
                <a:gd name="T16" fmla="*/ 41 w 136"/>
                <a:gd name="T17" fmla="*/ 60 h 92"/>
                <a:gd name="T18" fmla="*/ 41 w 136"/>
                <a:gd name="T19" fmla="*/ 60 h 92"/>
                <a:gd name="T20" fmla="*/ 60 w 136"/>
                <a:gd name="T21" fmla="*/ 0 h 92"/>
                <a:gd name="T22" fmla="*/ 77 w 136"/>
                <a:gd name="T23" fmla="*/ 0 h 92"/>
                <a:gd name="T24" fmla="*/ 96 w 136"/>
                <a:gd name="T25" fmla="*/ 60 h 92"/>
                <a:gd name="T26" fmla="*/ 97 w 136"/>
                <a:gd name="T27" fmla="*/ 60 h 92"/>
                <a:gd name="T28" fmla="*/ 115 w 136"/>
                <a:gd name="T29" fmla="*/ 0 h 92"/>
                <a:gd name="T30" fmla="*/ 136 w 136"/>
                <a:gd name="T31" fmla="*/ 0 h 92"/>
                <a:gd name="T32" fmla="*/ 111 w 136"/>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 h="92">
                  <a:moveTo>
                    <a:pt x="111" y="72"/>
                  </a:moveTo>
                  <a:cubicBezTo>
                    <a:pt x="103" y="92"/>
                    <a:pt x="87" y="88"/>
                    <a:pt x="87" y="88"/>
                  </a:cubicBezTo>
                  <a:cubicBezTo>
                    <a:pt x="68" y="28"/>
                    <a:pt x="68" y="28"/>
                    <a:pt x="68" y="28"/>
                  </a:cubicBezTo>
                  <a:cubicBezTo>
                    <a:pt x="67" y="28"/>
                    <a:pt x="67" y="28"/>
                    <a:pt x="67" y="28"/>
                  </a:cubicBezTo>
                  <a:cubicBezTo>
                    <a:pt x="67" y="28"/>
                    <a:pt x="58"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6" y="60"/>
                    <a:pt x="96" y="60"/>
                    <a:pt x="96" y="60"/>
                  </a:cubicBezTo>
                  <a:cubicBezTo>
                    <a:pt x="97" y="60"/>
                    <a:pt x="97" y="60"/>
                    <a:pt x="97" y="60"/>
                  </a:cubicBezTo>
                  <a:cubicBezTo>
                    <a:pt x="115" y="0"/>
                    <a:pt x="115" y="0"/>
                    <a:pt x="115" y="0"/>
                  </a:cubicBezTo>
                  <a:cubicBezTo>
                    <a:pt x="136" y="0"/>
                    <a:pt x="136" y="0"/>
                    <a:pt x="136" y="0"/>
                  </a:cubicBezTo>
                  <a:cubicBezTo>
                    <a:pt x="136"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8" name="Freeform 7"/>
            <p:cNvSpPr>
              <a:spLocks noEditPoints="1"/>
            </p:cNvSpPr>
            <p:nvPr userDrawn="1"/>
          </p:nvSpPr>
          <p:spPr bwMode="auto">
            <a:xfrm>
              <a:off x="8225958" y="4923177"/>
              <a:ext cx="57493" cy="66190"/>
            </a:xfrm>
            <a:custGeom>
              <a:avLst/>
              <a:gdLst>
                <a:gd name="T0" fmla="*/ 57 w 76"/>
                <a:gd name="T1" fmla="*/ 90 h 91"/>
                <a:gd name="T2" fmla="*/ 53 w 76"/>
                <a:gd name="T3" fmla="*/ 81 h 91"/>
                <a:gd name="T4" fmla="*/ 28 w 76"/>
                <a:gd name="T5" fmla="*/ 91 h 91"/>
                <a:gd name="T6" fmla="*/ 0 w 76"/>
                <a:gd name="T7" fmla="*/ 63 h 91"/>
                <a:gd name="T8" fmla="*/ 36 w 76"/>
                <a:gd name="T9" fmla="*/ 34 h 91"/>
                <a:gd name="T10" fmla="*/ 51 w 76"/>
                <a:gd name="T11" fmla="*/ 34 h 91"/>
                <a:gd name="T12" fmla="*/ 51 w 76"/>
                <a:gd name="T13" fmla="*/ 31 h 91"/>
                <a:gd name="T14" fmla="*/ 35 w 76"/>
                <a:gd name="T15" fmla="*/ 17 h 91"/>
                <a:gd name="T16" fmla="*/ 12 w 76"/>
                <a:gd name="T17" fmla="*/ 23 h 91"/>
                <a:gd name="T18" fmla="*/ 5 w 76"/>
                <a:gd name="T19" fmla="*/ 9 h 91"/>
                <a:gd name="T20" fmla="*/ 39 w 76"/>
                <a:gd name="T21" fmla="*/ 0 h 91"/>
                <a:gd name="T22" fmla="*/ 74 w 76"/>
                <a:gd name="T23" fmla="*/ 31 h 91"/>
                <a:gd name="T24" fmla="*/ 74 w 76"/>
                <a:gd name="T25" fmla="*/ 66 h 91"/>
                <a:gd name="T26" fmla="*/ 76 w 76"/>
                <a:gd name="T27" fmla="*/ 90 h 91"/>
                <a:gd name="T28" fmla="*/ 57 w 76"/>
                <a:gd name="T29" fmla="*/ 90 h 91"/>
                <a:gd name="T30" fmla="*/ 51 w 76"/>
                <a:gd name="T31" fmla="*/ 49 h 91"/>
                <a:gd name="T32" fmla="*/ 39 w 76"/>
                <a:gd name="T33" fmla="*/ 49 h 91"/>
                <a:gd name="T34" fmla="*/ 22 w 76"/>
                <a:gd name="T35" fmla="*/ 61 h 91"/>
                <a:gd name="T36" fmla="*/ 36 w 76"/>
                <a:gd name="T37" fmla="*/ 73 h 91"/>
                <a:gd name="T38" fmla="*/ 51 w 76"/>
                <a:gd name="T39" fmla="*/ 68 h 91"/>
                <a:gd name="T40" fmla="*/ 51 w 76"/>
                <a:gd name="T41" fmla="*/ 4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91">
                  <a:moveTo>
                    <a:pt x="57" y="90"/>
                  </a:moveTo>
                  <a:cubicBezTo>
                    <a:pt x="53" y="81"/>
                    <a:pt x="53" y="81"/>
                    <a:pt x="53" y="81"/>
                  </a:cubicBezTo>
                  <a:cubicBezTo>
                    <a:pt x="48" y="86"/>
                    <a:pt x="40" y="91"/>
                    <a:pt x="28" y="91"/>
                  </a:cubicBezTo>
                  <a:cubicBezTo>
                    <a:pt x="12" y="91"/>
                    <a:pt x="0" y="80"/>
                    <a:pt x="0" y="63"/>
                  </a:cubicBezTo>
                  <a:cubicBezTo>
                    <a:pt x="0" y="45"/>
                    <a:pt x="14" y="35"/>
                    <a:pt x="36" y="34"/>
                  </a:cubicBezTo>
                  <a:cubicBezTo>
                    <a:pt x="51" y="34"/>
                    <a:pt x="51" y="34"/>
                    <a:pt x="51" y="34"/>
                  </a:cubicBezTo>
                  <a:cubicBezTo>
                    <a:pt x="51" y="33"/>
                    <a:pt x="51" y="32"/>
                    <a:pt x="51" y="31"/>
                  </a:cubicBezTo>
                  <a:cubicBezTo>
                    <a:pt x="51" y="21"/>
                    <a:pt x="44" y="17"/>
                    <a:pt x="35" y="17"/>
                  </a:cubicBezTo>
                  <a:cubicBezTo>
                    <a:pt x="25" y="17"/>
                    <a:pt x="18" y="20"/>
                    <a:pt x="12" y="23"/>
                  </a:cubicBezTo>
                  <a:cubicBezTo>
                    <a:pt x="5" y="9"/>
                    <a:pt x="5" y="9"/>
                    <a:pt x="5" y="9"/>
                  </a:cubicBezTo>
                  <a:cubicBezTo>
                    <a:pt x="17" y="2"/>
                    <a:pt x="28" y="0"/>
                    <a:pt x="39" y="0"/>
                  </a:cubicBezTo>
                  <a:cubicBezTo>
                    <a:pt x="61" y="0"/>
                    <a:pt x="74" y="9"/>
                    <a:pt x="74" y="31"/>
                  </a:cubicBezTo>
                  <a:cubicBezTo>
                    <a:pt x="74" y="66"/>
                    <a:pt x="74" y="66"/>
                    <a:pt x="74" y="66"/>
                  </a:cubicBezTo>
                  <a:cubicBezTo>
                    <a:pt x="74" y="78"/>
                    <a:pt x="75" y="86"/>
                    <a:pt x="76" y="90"/>
                  </a:cubicBezTo>
                  <a:lnTo>
                    <a:pt x="57" y="90"/>
                  </a:lnTo>
                  <a:close/>
                  <a:moveTo>
                    <a:pt x="51" y="49"/>
                  </a:moveTo>
                  <a:cubicBezTo>
                    <a:pt x="39" y="49"/>
                    <a:pt x="39" y="49"/>
                    <a:pt x="39" y="49"/>
                  </a:cubicBezTo>
                  <a:cubicBezTo>
                    <a:pt x="27" y="50"/>
                    <a:pt x="22" y="54"/>
                    <a:pt x="22" y="61"/>
                  </a:cubicBezTo>
                  <a:cubicBezTo>
                    <a:pt x="22" y="68"/>
                    <a:pt x="27" y="73"/>
                    <a:pt x="36" y="73"/>
                  </a:cubicBezTo>
                  <a:cubicBezTo>
                    <a:pt x="44" y="73"/>
                    <a:pt x="49" y="70"/>
                    <a:pt x="51" y="68"/>
                  </a:cubicBezTo>
                  <a:lnTo>
                    <a:pt x="51" y="4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9" name="Freeform 8"/>
            <p:cNvSpPr>
              <a:spLocks noEditPoints="1"/>
            </p:cNvSpPr>
            <p:nvPr userDrawn="1"/>
          </p:nvSpPr>
          <p:spPr bwMode="auto">
            <a:xfrm>
              <a:off x="8342550" y="4892699"/>
              <a:ext cx="62311" cy="96668"/>
            </a:xfrm>
            <a:custGeom>
              <a:avLst/>
              <a:gdLst>
                <a:gd name="T0" fmla="*/ 47 w 82"/>
                <a:gd name="T1" fmla="*/ 133 h 133"/>
                <a:gd name="T2" fmla="*/ 0 w 82"/>
                <a:gd name="T3" fmla="*/ 88 h 133"/>
                <a:gd name="T4" fmla="*/ 48 w 82"/>
                <a:gd name="T5" fmla="*/ 42 h 133"/>
                <a:gd name="T6" fmla="*/ 59 w 82"/>
                <a:gd name="T7" fmla="*/ 42 h 133"/>
                <a:gd name="T8" fmla="*/ 60 w 82"/>
                <a:gd name="T9" fmla="*/ 0 h 133"/>
                <a:gd name="T10" fmla="*/ 82 w 82"/>
                <a:gd name="T11" fmla="*/ 0 h 133"/>
                <a:gd name="T12" fmla="*/ 81 w 82"/>
                <a:gd name="T13" fmla="*/ 126 h 133"/>
                <a:gd name="T14" fmla="*/ 47 w 82"/>
                <a:gd name="T15" fmla="*/ 133 h 133"/>
                <a:gd name="T16" fmla="*/ 59 w 82"/>
                <a:gd name="T17" fmla="*/ 60 h 133"/>
                <a:gd name="T18" fmla="*/ 49 w 82"/>
                <a:gd name="T19" fmla="*/ 59 h 133"/>
                <a:gd name="T20" fmla="*/ 22 w 82"/>
                <a:gd name="T21" fmla="*/ 87 h 133"/>
                <a:gd name="T22" fmla="*/ 49 w 82"/>
                <a:gd name="T23" fmla="*/ 114 h 133"/>
                <a:gd name="T24" fmla="*/ 59 w 82"/>
                <a:gd name="T25" fmla="*/ 113 h 133"/>
                <a:gd name="T26" fmla="*/ 59 w 82"/>
                <a:gd name="T27" fmla="*/ 6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3">
                  <a:moveTo>
                    <a:pt x="47" y="133"/>
                  </a:moveTo>
                  <a:cubicBezTo>
                    <a:pt x="21" y="133"/>
                    <a:pt x="0" y="117"/>
                    <a:pt x="0" y="88"/>
                  </a:cubicBezTo>
                  <a:cubicBezTo>
                    <a:pt x="0" y="61"/>
                    <a:pt x="20" y="42"/>
                    <a:pt x="48" y="42"/>
                  </a:cubicBezTo>
                  <a:cubicBezTo>
                    <a:pt x="52" y="42"/>
                    <a:pt x="56" y="42"/>
                    <a:pt x="59" y="42"/>
                  </a:cubicBezTo>
                  <a:cubicBezTo>
                    <a:pt x="60" y="0"/>
                    <a:pt x="60" y="0"/>
                    <a:pt x="60" y="0"/>
                  </a:cubicBezTo>
                  <a:cubicBezTo>
                    <a:pt x="82" y="0"/>
                    <a:pt x="82" y="0"/>
                    <a:pt x="82" y="0"/>
                  </a:cubicBezTo>
                  <a:cubicBezTo>
                    <a:pt x="81" y="126"/>
                    <a:pt x="81" y="126"/>
                    <a:pt x="81" y="126"/>
                  </a:cubicBezTo>
                  <a:cubicBezTo>
                    <a:pt x="73" y="130"/>
                    <a:pt x="62" y="133"/>
                    <a:pt x="47" y="133"/>
                  </a:cubicBezTo>
                  <a:close/>
                  <a:moveTo>
                    <a:pt x="59" y="60"/>
                  </a:moveTo>
                  <a:cubicBezTo>
                    <a:pt x="56" y="60"/>
                    <a:pt x="54" y="59"/>
                    <a:pt x="49" y="59"/>
                  </a:cubicBezTo>
                  <a:cubicBezTo>
                    <a:pt x="33" y="59"/>
                    <a:pt x="22" y="70"/>
                    <a:pt x="22" y="87"/>
                  </a:cubicBezTo>
                  <a:cubicBezTo>
                    <a:pt x="22" y="103"/>
                    <a:pt x="32" y="114"/>
                    <a:pt x="49" y="114"/>
                  </a:cubicBezTo>
                  <a:cubicBezTo>
                    <a:pt x="53" y="114"/>
                    <a:pt x="57" y="114"/>
                    <a:pt x="59" y="113"/>
                  </a:cubicBezTo>
                  <a:lnTo>
                    <a:pt x="59" y="60"/>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0" name="Freeform 9"/>
            <p:cNvSpPr>
              <a:spLocks/>
            </p:cNvSpPr>
            <p:nvPr userDrawn="1"/>
          </p:nvSpPr>
          <p:spPr bwMode="auto">
            <a:xfrm>
              <a:off x="8093949"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1" name="Freeform 10"/>
            <p:cNvSpPr>
              <a:spLocks/>
            </p:cNvSpPr>
            <p:nvPr userDrawn="1"/>
          </p:nvSpPr>
          <p:spPr bwMode="auto">
            <a:xfrm>
              <a:off x="8060545"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2" name="Freeform 11"/>
            <p:cNvSpPr>
              <a:spLocks/>
            </p:cNvSpPr>
            <p:nvPr userDrawn="1"/>
          </p:nvSpPr>
          <p:spPr bwMode="auto">
            <a:xfrm>
              <a:off x="8297262" y="4923177"/>
              <a:ext cx="43039" cy="66190"/>
            </a:xfrm>
            <a:custGeom>
              <a:avLst/>
              <a:gdLst>
                <a:gd name="T0" fmla="*/ 49 w 57"/>
                <a:gd name="T1" fmla="*/ 22 h 91"/>
                <a:gd name="T2" fmla="*/ 39 w 57"/>
                <a:gd name="T3" fmla="*/ 20 h 91"/>
                <a:gd name="T4" fmla="*/ 22 w 57"/>
                <a:gd name="T5" fmla="*/ 27 h 91"/>
                <a:gd name="T6" fmla="*/ 22 w 57"/>
                <a:gd name="T7" fmla="*/ 74 h 91"/>
                <a:gd name="T8" fmla="*/ 0 w 57"/>
                <a:gd name="T9" fmla="*/ 90 h 91"/>
                <a:gd name="T10" fmla="*/ 0 w 57"/>
                <a:gd name="T11" fmla="*/ 2 h 91"/>
                <a:gd name="T12" fmla="*/ 18 w 57"/>
                <a:gd name="T13" fmla="*/ 2 h 91"/>
                <a:gd name="T14" fmla="*/ 21 w 57"/>
                <a:gd name="T15" fmla="*/ 11 h 91"/>
                <a:gd name="T16" fmla="*/ 45 w 57"/>
                <a:gd name="T17" fmla="*/ 0 h 91"/>
                <a:gd name="T18" fmla="*/ 57 w 57"/>
                <a:gd name="T19" fmla="*/ 4 h 91"/>
                <a:gd name="T20" fmla="*/ 49 w 57"/>
                <a:gd name="T21" fmla="*/ 2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1">
                  <a:moveTo>
                    <a:pt x="49" y="22"/>
                  </a:moveTo>
                  <a:cubicBezTo>
                    <a:pt x="45" y="20"/>
                    <a:pt x="41" y="20"/>
                    <a:pt x="39" y="20"/>
                  </a:cubicBezTo>
                  <a:cubicBezTo>
                    <a:pt x="34" y="20"/>
                    <a:pt x="28" y="22"/>
                    <a:pt x="22" y="27"/>
                  </a:cubicBezTo>
                  <a:cubicBezTo>
                    <a:pt x="22" y="27"/>
                    <a:pt x="22" y="57"/>
                    <a:pt x="22" y="74"/>
                  </a:cubicBezTo>
                  <a:cubicBezTo>
                    <a:pt x="22" y="91"/>
                    <a:pt x="0" y="90"/>
                    <a:pt x="0" y="90"/>
                  </a:cubicBezTo>
                  <a:cubicBezTo>
                    <a:pt x="0" y="2"/>
                    <a:pt x="0" y="2"/>
                    <a:pt x="0" y="2"/>
                  </a:cubicBezTo>
                  <a:cubicBezTo>
                    <a:pt x="18" y="2"/>
                    <a:pt x="18" y="2"/>
                    <a:pt x="18"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3" name="Freeform 12"/>
            <p:cNvSpPr>
              <a:spLocks/>
            </p:cNvSpPr>
            <p:nvPr userDrawn="1"/>
          </p:nvSpPr>
          <p:spPr bwMode="auto">
            <a:xfrm>
              <a:off x="7907980" y="4892699"/>
              <a:ext cx="98605" cy="95129"/>
            </a:xfrm>
            <a:custGeom>
              <a:avLst/>
              <a:gdLst>
                <a:gd name="T0" fmla="*/ 106 w 130"/>
                <a:gd name="T1" fmla="*/ 131 h 131"/>
                <a:gd name="T2" fmla="*/ 106 w 130"/>
                <a:gd name="T3" fmla="*/ 53 h 131"/>
                <a:gd name="T4" fmla="*/ 107 w 130"/>
                <a:gd name="T5" fmla="*/ 39 h 131"/>
                <a:gd name="T6" fmla="*/ 106 w 130"/>
                <a:gd name="T7" fmla="*/ 39 h 131"/>
                <a:gd name="T8" fmla="*/ 99 w 130"/>
                <a:gd name="T9" fmla="*/ 52 h 131"/>
                <a:gd name="T10" fmla="*/ 72 w 130"/>
                <a:gd name="T11" fmla="*/ 93 h 131"/>
                <a:gd name="T12" fmla="*/ 60 w 130"/>
                <a:gd name="T13" fmla="*/ 93 h 131"/>
                <a:gd name="T14" fmla="*/ 32 w 130"/>
                <a:gd name="T15" fmla="*/ 51 h 131"/>
                <a:gd name="T16" fmla="*/ 24 w 130"/>
                <a:gd name="T17" fmla="*/ 39 h 131"/>
                <a:gd name="T18" fmla="*/ 23 w 130"/>
                <a:gd name="T19" fmla="*/ 39 h 131"/>
                <a:gd name="T20" fmla="*/ 24 w 130"/>
                <a:gd name="T21" fmla="*/ 52 h 131"/>
                <a:gd name="T22" fmla="*/ 24 w 130"/>
                <a:gd name="T23" fmla="*/ 131 h 131"/>
                <a:gd name="T24" fmla="*/ 0 w 130"/>
                <a:gd name="T25" fmla="*/ 131 h 131"/>
                <a:gd name="T26" fmla="*/ 0 w 130"/>
                <a:gd name="T27" fmla="*/ 0 h 131"/>
                <a:gd name="T28" fmla="*/ 22 w 130"/>
                <a:gd name="T29" fmla="*/ 0 h 131"/>
                <a:gd name="T30" fmla="*/ 58 w 130"/>
                <a:gd name="T31" fmla="*/ 52 h 131"/>
                <a:gd name="T32" fmla="*/ 66 w 130"/>
                <a:gd name="T33" fmla="*/ 66 h 131"/>
                <a:gd name="T34" fmla="*/ 67 w 130"/>
                <a:gd name="T35" fmla="*/ 66 h 131"/>
                <a:gd name="T36" fmla="*/ 75 w 130"/>
                <a:gd name="T37" fmla="*/ 52 h 131"/>
                <a:gd name="T38" fmla="*/ 108 w 130"/>
                <a:gd name="T39" fmla="*/ 0 h 131"/>
                <a:gd name="T40" fmla="*/ 130 w 130"/>
                <a:gd name="T41" fmla="*/ 0 h 131"/>
                <a:gd name="T42" fmla="*/ 130 w 130"/>
                <a:gd name="T43" fmla="*/ 131 h 131"/>
                <a:gd name="T44" fmla="*/ 106 w 130"/>
                <a:gd name="T45"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0" h="131">
                  <a:moveTo>
                    <a:pt x="106" y="131"/>
                  </a:moveTo>
                  <a:cubicBezTo>
                    <a:pt x="106" y="53"/>
                    <a:pt x="106" y="53"/>
                    <a:pt x="106" y="53"/>
                  </a:cubicBezTo>
                  <a:cubicBezTo>
                    <a:pt x="106" y="48"/>
                    <a:pt x="106" y="44"/>
                    <a:pt x="107" y="39"/>
                  </a:cubicBezTo>
                  <a:cubicBezTo>
                    <a:pt x="106" y="39"/>
                    <a:pt x="106" y="39"/>
                    <a:pt x="106" y="39"/>
                  </a:cubicBezTo>
                  <a:cubicBezTo>
                    <a:pt x="105" y="43"/>
                    <a:pt x="101" y="49"/>
                    <a:pt x="99" y="52"/>
                  </a:cubicBezTo>
                  <a:cubicBezTo>
                    <a:pt x="72" y="93"/>
                    <a:pt x="72" y="93"/>
                    <a:pt x="72" y="93"/>
                  </a:cubicBezTo>
                  <a:cubicBezTo>
                    <a:pt x="60" y="93"/>
                    <a:pt x="60" y="93"/>
                    <a:pt x="60" y="93"/>
                  </a:cubicBezTo>
                  <a:cubicBezTo>
                    <a:pt x="32" y="51"/>
                    <a:pt x="32" y="51"/>
                    <a:pt x="32" y="51"/>
                  </a:cubicBezTo>
                  <a:cubicBezTo>
                    <a:pt x="29" y="48"/>
                    <a:pt x="26" y="44"/>
                    <a:pt x="24" y="39"/>
                  </a:cubicBezTo>
                  <a:cubicBezTo>
                    <a:pt x="23" y="39"/>
                    <a:pt x="23" y="39"/>
                    <a:pt x="23" y="39"/>
                  </a:cubicBezTo>
                  <a:cubicBezTo>
                    <a:pt x="24" y="44"/>
                    <a:pt x="24" y="48"/>
                    <a:pt x="24" y="52"/>
                  </a:cubicBezTo>
                  <a:cubicBezTo>
                    <a:pt x="24" y="131"/>
                    <a:pt x="24" y="131"/>
                    <a:pt x="24" y="131"/>
                  </a:cubicBezTo>
                  <a:cubicBezTo>
                    <a:pt x="0" y="131"/>
                    <a:pt x="0" y="131"/>
                    <a:pt x="0" y="131"/>
                  </a:cubicBezTo>
                  <a:cubicBezTo>
                    <a:pt x="0" y="0"/>
                    <a:pt x="0" y="0"/>
                    <a:pt x="0" y="0"/>
                  </a:cubicBezTo>
                  <a:cubicBezTo>
                    <a:pt x="22" y="0"/>
                    <a:pt x="22" y="0"/>
                    <a:pt x="22" y="0"/>
                  </a:cubicBezTo>
                  <a:cubicBezTo>
                    <a:pt x="58" y="52"/>
                    <a:pt x="58" y="52"/>
                    <a:pt x="58" y="52"/>
                  </a:cubicBezTo>
                  <a:cubicBezTo>
                    <a:pt x="61" y="57"/>
                    <a:pt x="64" y="61"/>
                    <a:pt x="66" y="66"/>
                  </a:cubicBezTo>
                  <a:cubicBezTo>
                    <a:pt x="67" y="66"/>
                    <a:pt x="67" y="66"/>
                    <a:pt x="67" y="66"/>
                  </a:cubicBezTo>
                  <a:cubicBezTo>
                    <a:pt x="69" y="61"/>
                    <a:pt x="71" y="57"/>
                    <a:pt x="75" y="52"/>
                  </a:cubicBezTo>
                  <a:cubicBezTo>
                    <a:pt x="108" y="0"/>
                    <a:pt x="108" y="0"/>
                    <a:pt x="108" y="0"/>
                  </a:cubicBezTo>
                  <a:cubicBezTo>
                    <a:pt x="130" y="0"/>
                    <a:pt x="130" y="0"/>
                    <a:pt x="130" y="0"/>
                  </a:cubicBezTo>
                  <a:cubicBezTo>
                    <a:pt x="130" y="131"/>
                    <a:pt x="130" y="131"/>
                    <a:pt x="130" y="131"/>
                  </a:cubicBezTo>
                  <a:lnTo>
                    <a:pt x="106" y="131"/>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4" name="Freeform 13"/>
            <p:cNvSpPr>
              <a:spLocks/>
            </p:cNvSpPr>
            <p:nvPr userDrawn="1"/>
          </p:nvSpPr>
          <p:spPr bwMode="auto">
            <a:xfrm>
              <a:off x="7665803" y="4864376"/>
              <a:ext cx="100854" cy="148389"/>
            </a:xfrm>
            <a:custGeom>
              <a:avLst/>
              <a:gdLst>
                <a:gd name="T0" fmla="*/ 133 w 133"/>
                <a:gd name="T1" fmla="*/ 23 h 204"/>
                <a:gd name="T2" fmla="*/ 132 w 133"/>
                <a:gd name="T3" fmla="*/ 22 h 204"/>
                <a:gd name="T4" fmla="*/ 65 w 133"/>
                <a:gd name="T5" fmla="*/ 20 h 204"/>
                <a:gd name="T6" fmla="*/ 52 w 133"/>
                <a:gd name="T7" fmla="*/ 52 h 204"/>
                <a:gd name="T8" fmla="*/ 20 w 133"/>
                <a:gd name="T9" fmla="*/ 65 h 204"/>
                <a:gd name="T10" fmla="*/ 22 w 133"/>
                <a:gd name="T11" fmla="*/ 132 h 204"/>
                <a:gd name="T12" fmla="*/ 95 w 133"/>
                <a:gd name="T13" fmla="*/ 204 h 204"/>
                <a:gd name="T14" fmla="*/ 117 w 133"/>
                <a:gd name="T15" fmla="*/ 182 h 204"/>
                <a:gd name="T16" fmla="*/ 44 w 133"/>
                <a:gd name="T17" fmla="*/ 110 h 204"/>
                <a:gd name="T18" fmla="*/ 42 w 133"/>
                <a:gd name="T19" fmla="*/ 86 h 204"/>
                <a:gd name="T20" fmla="*/ 66 w 133"/>
                <a:gd name="T21" fmla="*/ 88 h 204"/>
                <a:gd name="T22" fmla="*/ 133 w 133"/>
                <a:gd name="T23" fmla="*/ 155 h 204"/>
                <a:gd name="T24" fmla="*/ 133 w 133"/>
                <a:gd name="T25" fmla="*/ 111 h 204"/>
                <a:gd name="T26" fmla="*/ 88 w 133"/>
                <a:gd name="T27" fmla="*/ 66 h 204"/>
                <a:gd name="T28" fmla="*/ 86 w 133"/>
                <a:gd name="T29" fmla="*/ 42 h 204"/>
                <a:gd name="T30" fmla="*/ 110 w 133"/>
                <a:gd name="T31" fmla="*/ 44 h 204"/>
                <a:gd name="T32" fmla="*/ 133 w 133"/>
                <a:gd name="T33" fmla="*/ 66 h 204"/>
                <a:gd name="T34" fmla="*/ 133 w 133"/>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204">
                  <a:moveTo>
                    <a:pt x="133" y="23"/>
                  </a:moveTo>
                  <a:cubicBezTo>
                    <a:pt x="132" y="22"/>
                    <a:pt x="132" y="22"/>
                    <a:pt x="132" y="22"/>
                  </a:cubicBezTo>
                  <a:cubicBezTo>
                    <a:pt x="110" y="0"/>
                    <a:pt x="82" y="2"/>
                    <a:pt x="65" y="20"/>
                  </a:cubicBezTo>
                  <a:cubicBezTo>
                    <a:pt x="53" y="32"/>
                    <a:pt x="51" y="46"/>
                    <a:pt x="52" y="52"/>
                  </a:cubicBezTo>
                  <a:cubicBezTo>
                    <a:pt x="47" y="51"/>
                    <a:pt x="32" y="52"/>
                    <a:pt x="20" y="65"/>
                  </a:cubicBezTo>
                  <a:cubicBezTo>
                    <a:pt x="3" y="82"/>
                    <a:pt x="0" y="110"/>
                    <a:pt x="22" y="132"/>
                  </a:cubicBezTo>
                  <a:cubicBezTo>
                    <a:pt x="95" y="204"/>
                    <a:pt x="95" y="204"/>
                    <a:pt x="95" y="204"/>
                  </a:cubicBezTo>
                  <a:cubicBezTo>
                    <a:pt x="117" y="182"/>
                    <a:pt x="117" y="182"/>
                    <a:pt x="117" y="182"/>
                  </a:cubicBezTo>
                  <a:cubicBezTo>
                    <a:pt x="44" y="110"/>
                    <a:pt x="44" y="110"/>
                    <a:pt x="44" y="110"/>
                  </a:cubicBezTo>
                  <a:cubicBezTo>
                    <a:pt x="35" y="101"/>
                    <a:pt x="36" y="91"/>
                    <a:pt x="42" y="86"/>
                  </a:cubicBezTo>
                  <a:cubicBezTo>
                    <a:pt x="47" y="80"/>
                    <a:pt x="58" y="79"/>
                    <a:pt x="66" y="88"/>
                  </a:cubicBezTo>
                  <a:cubicBezTo>
                    <a:pt x="133" y="155"/>
                    <a:pt x="133" y="155"/>
                    <a:pt x="133" y="155"/>
                  </a:cubicBezTo>
                  <a:cubicBezTo>
                    <a:pt x="133" y="111"/>
                    <a:pt x="133" y="111"/>
                    <a:pt x="133" y="111"/>
                  </a:cubicBezTo>
                  <a:cubicBezTo>
                    <a:pt x="88" y="66"/>
                    <a:pt x="88" y="66"/>
                    <a:pt x="88" y="66"/>
                  </a:cubicBezTo>
                  <a:cubicBezTo>
                    <a:pt x="80" y="57"/>
                    <a:pt x="80" y="47"/>
                    <a:pt x="86" y="42"/>
                  </a:cubicBezTo>
                  <a:cubicBezTo>
                    <a:pt x="92" y="36"/>
                    <a:pt x="102" y="35"/>
                    <a:pt x="110" y="44"/>
                  </a:cubicBezTo>
                  <a:cubicBezTo>
                    <a:pt x="133" y="66"/>
                    <a:pt x="133" y="66"/>
                    <a:pt x="133" y="66"/>
                  </a:cubicBezTo>
                  <a:lnTo>
                    <a:pt x="133"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5" name="Freeform 14"/>
            <p:cNvSpPr>
              <a:spLocks noEditPoints="1"/>
            </p:cNvSpPr>
            <p:nvPr userDrawn="1"/>
          </p:nvSpPr>
          <p:spPr bwMode="auto">
            <a:xfrm>
              <a:off x="8023287" y="4895470"/>
              <a:ext cx="20556" cy="93282"/>
            </a:xfrm>
            <a:custGeom>
              <a:avLst/>
              <a:gdLst>
                <a:gd name="T0" fmla="*/ 14 w 27"/>
                <a:gd name="T1" fmla="*/ 26 h 128"/>
                <a:gd name="T2" fmla="*/ 0 w 27"/>
                <a:gd name="T3" fmla="*/ 13 h 128"/>
                <a:gd name="T4" fmla="*/ 14 w 27"/>
                <a:gd name="T5" fmla="*/ 0 h 128"/>
                <a:gd name="T6" fmla="*/ 27 w 27"/>
                <a:gd name="T7" fmla="*/ 13 h 128"/>
                <a:gd name="T8" fmla="*/ 14 w 27"/>
                <a:gd name="T9" fmla="*/ 26 h 128"/>
                <a:gd name="T10" fmla="*/ 3 w 27"/>
                <a:gd name="T11" fmla="*/ 128 h 128"/>
                <a:gd name="T12" fmla="*/ 3 w 27"/>
                <a:gd name="T13" fmla="*/ 40 h 128"/>
                <a:gd name="T14" fmla="*/ 25 w 27"/>
                <a:gd name="T15" fmla="*/ 40 h 128"/>
                <a:gd name="T16" fmla="*/ 25 w 27"/>
                <a:gd name="T17" fmla="*/ 112 h 128"/>
                <a:gd name="T18" fmla="*/ 3 w 27"/>
                <a:gd name="T1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128">
                  <a:moveTo>
                    <a:pt x="14" y="26"/>
                  </a:moveTo>
                  <a:cubicBezTo>
                    <a:pt x="6" y="26"/>
                    <a:pt x="0" y="20"/>
                    <a:pt x="0" y="13"/>
                  </a:cubicBezTo>
                  <a:cubicBezTo>
                    <a:pt x="0" y="6"/>
                    <a:pt x="6" y="0"/>
                    <a:pt x="14" y="0"/>
                  </a:cubicBezTo>
                  <a:cubicBezTo>
                    <a:pt x="21" y="0"/>
                    <a:pt x="27" y="5"/>
                    <a:pt x="27" y="13"/>
                  </a:cubicBezTo>
                  <a:cubicBezTo>
                    <a:pt x="27" y="20"/>
                    <a:pt x="21" y="26"/>
                    <a:pt x="14" y="26"/>
                  </a:cubicBezTo>
                  <a:close/>
                  <a:moveTo>
                    <a:pt x="3" y="128"/>
                  </a:moveTo>
                  <a:cubicBezTo>
                    <a:pt x="3" y="40"/>
                    <a:pt x="3" y="40"/>
                    <a:pt x="3" y="40"/>
                  </a:cubicBezTo>
                  <a:cubicBezTo>
                    <a:pt x="25" y="40"/>
                    <a:pt x="25" y="40"/>
                    <a:pt x="25" y="40"/>
                  </a:cubicBezTo>
                  <a:cubicBezTo>
                    <a:pt x="25" y="40"/>
                    <a:pt x="25" y="95"/>
                    <a:pt x="25" y="112"/>
                  </a:cubicBezTo>
                  <a:cubicBezTo>
                    <a:pt x="25" y="128"/>
                    <a:pt x="3" y="128"/>
                    <a:pt x="3" y="1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6" name="Freeform 15"/>
            <p:cNvSpPr>
              <a:spLocks/>
            </p:cNvSpPr>
            <p:nvPr userDrawn="1"/>
          </p:nvSpPr>
          <p:spPr bwMode="auto">
            <a:xfrm>
              <a:off x="8615239" y="4924717"/>
              <a:ext cx="103744" cy="66806"/>
            </a:xfrm>
            <a:custGeom>
              <a:avLst/>
              <a:gdLst>
                <a:gd name="T0" fmla="*/ 111 w 137"/>
                <a:gd name="T1" fmla="*/ 72 h 92"/>
                <a:gd name="T2" fmla="*/ 88 w 137"/>
                <a:gd name="T3" fmla="*/ 88 h 92"/>
                <a:gd name="T4" fmla="*/ 68 w 137"/>
                <a:gd name="T5" fmla="*/ 28 h 92"/>
                <a:gd name="T6" fmla="*/ 68 w 137"/>
                <a:gd name="T7" fmla="*/ 28 h 92"/>
                <a:gd name="T8" fmla="*/ 53 w 137"/>
                <a:gd name="T9" fmla="*/ 72 h 92"/>
                <a:gd name="T10" fmla="*/ 31 w 137"/>
                <a:gd name="T11" fmla="*/ 88 h 92"/>
                <a:gd name="T12" fmla="*/ 0 w 137"/>
                <a:gd name="T13" fmla="*/ 0 h 92"/>
                <a:gd name="T14" fmla="*/ 22 w 137"/>
                <a:gd name="T15" fmla="*/ 0 h 92"/>
                <a:gd name="T16" fmla="*/ 41 w 137"/>
                <a:gd name="T17" fmla="*/ 60 h 92"/>
                <a:gd name="T18" fmla="*/ 41 w 137"/>
                <a:gd name="T19" fmla="*/ 60 h 92"/>
                <a:gd name="T20" fmla="*/ 60 w 137"/>
                <a:gd name="T21" fmla="*/ 0 h 92"/>
                <a:gd name="T22" fmla="*/ 77 w 137"/>
                <a:gd name="T23" fmla="*/ 0 h 92"/>
                <a:gd name="T24" fmla="*/ 97 w 137"/>
                <a:gd name="T25" fmla="*/ 60 h 92"/>
                <a:gd name="T26" fmla="*/ 97 w 137"/>
                <a:gd name="T27" fmla="*/ 60 h 92"/>
                <a:gd name="T28" fmla="*/ 115 w 137"/>
                <a:gd name="T29" fmla="*/ 0 h 92"/>
                <a:gd name="T30" fmla="*/ 137 w 137"/>
                <a:gd name="T31" fmla="*/ 0 h 92"/>
                <a:gd name="T32" fmla="*/ 111 w 137"/>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 h="92">
                  <a:moveTo>
                    <a:pt x="111" y="72"/>
                  </a:moveTo>
                  <a:cubicBezTo>
                    <a:pt x="104" y="92"/>
                    <a:pt x="88" y="88"/>
                    <a:pt x="88" y="88"/>
                  </a:cubicBezTo>
                  <a:cubicBezTo>
                    <a:pt x="68" y="28"/>
                    <a:pt x="68" y="28"/>
                    <a:pt x="68" y="28"/>
                  </a:cubicBezTo>
                  <a:cubicBezTo>
                    <a:pt x="68" y="28"/>
                    <a:pt x="68" y="28"/>
                    <a:pt x="68" y="28"/>
                  </a:cubicBezTo>
                  <a:cubicBezTo>
                    <a:pt x="68" y="28"/>
                    <a:pt x="59"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7" y="60"/>
                    <a:pt x="97" y="60"/>
                    <a:pt x="97" y="60"/>
                  </a:cubicBezTo>
                  <a:cubicBezTo>
                    <a:pt x="97" y="60"/>
                    <a:pt x="97" y="60"/>
                    <a:pt x="97" y="60"/>
                  </a:cubicBezTo>
                  <a:cubicBezTo>
                    <a:pt x="115" y="0"/>
                    <a:pt x="115" y="0"/>
                    <a:pt x="115" y="0"/>
                  </a:cubicBezTo>
                  <a:cubicBezTo>
                    <a:pt x="137" y="0"/>
                    <a:pt x="137" y="0"/>
                    <a:pt x="137" y="0"/>
                  </a:cubicBezTo>
                  <a:cubicBezTo>
                    <a:pt x="137"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7" name="Freeform 16"/>
            <p:cNvSpPr>
              <a:spLocks noEditPoints="1"/>
            </p:cNvSpPr>
            <p:nvPr userDrawn="1"/>
          </p:nvSpPr>
          <p:spPr bwMode="auto">
            <a:xfrm>
              <a:off x="8423168" y="4892699"/>
              <a:ext cx="65844" cy="95129"/>
            </a:xfrm>
            <a:custGeom>
              <a:avLst/>
              <a:gdLst>
                <a:gd name="T0" fmla="*/ 1 w 87"/>
                <a:gd name="T1" fmla="*/ 0 h 131"/>
                <a:gd name="T2" fmla="*/ 0 w 87"/>
                <a:gd name="T3" fmla="*/ 131 h 131"/>
                <a:gd name="T4" fmla="*/ 41 w 87"/>
                <a:gd name="T5" fmla="*/ 131 h 131"/>
                <a:gd name="T6" fmla="*/ 87 w 87"/>
                <a:gd name="T7" fmla="*/ 92 h 131"/>
                <a:gd name="T8" fmla="*/ 65 w 87"/>
                <a:gd name="T9" fmla="*/ 61 h 131"/>
                <a:gd name="T10" fmla="*/ 62 w 87"/>
                <a:gd name="T11" fmla="*/ 60 h 131"/>
                <a:gd name="T12" fmla="*/ 64 w 87"/>
                <a:gd name="T13" fmla="*/ 59 h 131"/>
                <a:gd name="T14" fmla="*/ 79 w 87"/>
                <a:gd name="T15" fmla="*/ 32 h 131"/>
                <a:gd name="T16" fmla="*/ 42 w 87"/>
                <a:gd name="T17" fmla="*/ 0 h 131"/>
                <a:gd name="T18" fmla="*/ 1 w 87"/>
                <a:gd name="T19" fmla="*/ 0 h 131"/>
                <a:gd name="T20" fmla="*/ 23 w 87"/>
                <a:gd name="T21" fmla="*/ 17 h 131"/>
                <a:gd name="T22" fmla="*/ 36 w 87"/>
                <a:gd name="T23" fmla="*/ 17 h 131"/>
                <a:gd name="T24" fmla="*/ 56 w 87"/>
                <a:gd name="T25" fmla="*/ 35 h 131"/>
                <a:gd name="T26" fmla="*/ 38 w 87"/>
                <a:gd name="T27" fmla="*/ 55 h 131"/>
                <a:gd name="T28" fmla="*/ 22 w 87"/>
                <a:gd name="T29" fmla="*/ 55 h 131"/>
                <a:gd name="T30" fmla="*/ 23 w 87"/>
                <a:gd name="T31" fmla="*/ 17 h 131"/>
                <a:gd name="T32" fmla="*/ 22 w 87"/>
                <a:gd name="T33" fmla="*/ 74 h 131"/>
                <a:gd name="T34" fmla="*/ 40 w 87"/>
                <a:gd name="T35" fmla="*/ 74 h 131"/>
                <a:gd name="T36" fmla="*/ 64 w 87"/>
                <a:gd name="T37" fmla="*/ 92 h 131"/>
                <a:gd name="T38" fmla="*/ 39 w 87"/>
                <a:gd name="T39" fmla="*/ 113 h 131"/>
                <a:gd name="T40" fmla="*/ 22 w 87"/>
                <a:gd name="T41" fmla="*/ 113 h 131"/>
                <a:gd name="T42" fmla="*/ 22 w 87"/>
                <a:gd name="T43" fmla="*/ 7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131">
                  <a:moveTo>
                    <a:pt x="1" y="0"/>
                  </a:moveTo>
                  <a:cubicBezTo>
                    <a:pt x="1" y="3"/>
                    <a:pt x="0" y="129"/>
                    <a:pt x="0" y="131"/>
                  </a:cubicBezTo>
                  <a:cubicBezTo>
                    <a:pt x="2" y="131"/>
                    <a:pt x="41" y="131"/>
                    <a:pt x="41" y="131"/>
                  </a:cubicBezTo>
                  <a:cubicBezTo>
                    <a:pt x="73" y="131"/>
                    <a:pt x="87" y="111"/>
                    <a:pt x="87" y="92"/>
                  </a:cubicBezTo>
                  <a:cubicBezTo>
                    <a:pt x="87" y="77"/>
                    <a:pt x="79" y="65"/>
                    <a:pt x="65" y="61"/>
                  </a:cubicBezTo>
                  <a:cubicBezTo>
                    <a:pt x="62" y="60"/>
                    <a:pt x="62" y="60"/>
                    <a:pt x="62" y="60"/>
                  </a:cubicBezTo>
                  <a:cubicBezTo>
                    <a:pt x="64" y="59"/>
                    <a:pt x="64" y="59"/>
                    <a:pt x="64" y="59"/>
                  </a:cubicBezTo>
                  <a:cubicBezTo>
                    <a:pt x="74" y="54"/>
                    <a:pt x="79" y="44"/>
                    <a:pt x="79" y="32"/>
                  </a:cubicBezTo>
                  <a:cubicBezTo>
                    <a:pt x="79" y="17"/>
                    <a:pt x="68" y="0"/>
                    <a:pt x="42" y="0"/>
                  </a:cubicBezTo>
                  <a:cubicBezTo>
                    <a:pt x="42" y="0"/>
                    <a:pt x="3" y="0"/>
                    <a:pt x="1" y="0"/>
                  </a:cubicBezTo>
                  <a:close/>
                  <a:moveTo>
                    <a:pt x="23" y="17"/>
                  </a:moveTo>
                  <a:cubicBezTo>
                    <a:pt x="36" y="17"/>
                    <a:pt x="36" y="17"/>
                    <a:pt x="36" y="17"/>
                  </a:cubicBezTo>
                  <a:cubicBezTo>
                    <a:pt x="49" y="17"/>
                    <a:pt x="56" y="24"/>
                    <a:pt x="56" y="35"/>
                  </a:cubicBezTo>
                  <a:cubicBezTo>
                    <a:pt x="56" y="47"/>
                    <a:pt x="47" y="55"/>
                    <a:pt x="38" y="55"/>
                  </a:cubicBezTo>
                  <a:cubicBezTo>
                    <a:pt x="22" y="55"/>
                    <a:pt x="22" y="55"/>
                    <a:pt x="22" y="55"/>
                  </a:cubicBezTo>
                  <a:lnTo>
                    <a:pt x="23" y="17"/>
                  </a:lnTo>
                  <a:close/>
                  <a:moveTo>
                    <a:pt x="22" y="74"/>
                  </a:moveTo>
                  <a:cubicBezTo>
                    <a:pt x="40" y="74"/>
                    <a:pt x="40" y="74"/>
                    <a:pt x="40" y="74"/>
                  </a:cubicBezTo>
                  <a:cubicBezTo>
                    <a:pt x="55" y="74"/>
                    <a:pt x="64" y="81"/>
                    <a:pt x="64" y="92"/>
                  </a:cubicBezTo>
                  <a:cubicBezTo>
                    <a:pt x="64" y="105"/>
                    <a:pt x="55" y="113"/>
                    <a:pt x="39" y="113"/>
                  </a:cubicBezTo>
                  <a:cubicBezTo>
                    <a:pt x="22" y="113"/>
                    <a:pt x="22" y="113"/>
                    <a:pt x="22" y="113"/>
                  </a:cubicBezTo>
                  <a:lnTo>
                    <a:pt x="22" y="74"/>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8" name="Freeform 17"/>
            <p:cNvSpPr>
              <a:spLocks noEditPoints="1"/>
            </p:cNvSpPr>
            <p:nvPr userDrawn="1"/>
          </p:nvSpPr>
          <p:spPr bwMode="auto">
            <a:xfrm>
              <a:off x="8546184" y="4923177"/>
              <a:ext cx="66486" cy="66190"/>
            </a:xfrm>
            <a:custGeom>
              <a:avLst/>
              <a:gdLst>
                <a:gd name="T0" fmla="*/ 75 w 88"/>
                <a:gd name="T1" fmla="*/ 78 h 91"/>
                <a:gd name="T2" fmla="*/ 44 w 88"/>
                <a:gd name="T3" fmla="*/ 91 h 91"/>
                <a:gd name="T4" fmla="*/ 14 w 88"/>
                <a:gd name="T5" fmla="*/ 80 h 91"/>
                <a:gd name="T6" fmla="*/ 0 w 88"/>
                <a:gd name="T7" fmla="*/ 46 h 91"/>
                <a:gd name="T8" fmla="*/ 13 w 88"/>
                <a:gd name="T9" fmla="*/ 12 h 91"/>
                <a:gd name="T10" fmla="*/ 44 w 88"/>
                <a:gd name="T11" fmla="*/ 0 h 91"/>
                <a:gd name="T12" fmla="*/ 76 w 88"/>
                <a:gd name="T13" fmla="*/ 12 h 91"/>
                <a:gd name="T14" fmla="*/ 88 w 88"/>
                <a:gd name="T15" fmla="*/ 45 h 91"/>
                <a:gd name="T16" fmla="*/ 75 w 88"/>
                <a:gd name="T17" fmla="*/ 78 h 91"/>
                <a:gd name="T18" fmla="*/ 44 w 88"/>
                <a:gd name="T19" fmla="*/ 17 h 91"/>
                <a:gd name="T20" fmla="*/ 23 w 88"/>
                <a:gd name="T21" fmla="*/ 45 h 91"/>
                <a:gd name="T22" fmla="*/ 44 w 88"/>
                <a:gd name="T23" fmla="*/ 73 h 91"/>
                <a:gd name="T24" fmla="*/ 65 w 88"/>
                <a:gd name="T25" fmla="*/ 45 h 91"/>
                <a:gd name="T26" fmla="*/ 44 w 88"/>
                <a:gd name="T27"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91">
                  <a:moveTo>
                    <a:pt x="75" y="78"/>
                  </a:moveTo>
                  <a:cubicBezTo>
                    <a:pt x="68" y="86"/>
                    <a:pt x="57" y="91"/>
                    <a:pt x="44" y="91"/>
                  </a:cubicBezTo>
                  <a:cubicBezTo>
                    <a:pt x="32" y="91"/>
                    <a:pt x="21" y="87"/>
                    <a:pt x="14" y="80"/>
                  </a:cubicBezTo>
                  <a:cubicBezTo>
                    <a:pt x="5" y="72"/>
                    <a:pt x="0" y="60"/>
                    <a:pt x="0" y="46"/>
                  </a:cubicBezTo>
                  <a:cubicBezTo>
                    <a:pt x="0" y="32"/>
                    <a:pt x="5" y="20"/>
                    <a:pt x="13" y="12"/>
                  </a:cubicBezTo>
                  <a:cubicBezTo>
                    <a:pt x="21" y="4"/>
                    <a:pt x="31" y="0"/>
                    <a:pt x="44" y="0"/>
                  </a:cubicBezTo>
                  <a:cubicBezTo>
                    <a:pt x="57" y="0"/>
                    <a:pt x="68" y="4"/>
                    <a:pt x="76" y="12"/>
                  </a:cubicBezTo>
                  <a:cubicBezTo>
                    <a:pt x="84" y="20"/>
                    <a:pt x="88" y="32"/>
                    <a:pt x="88" y="45"/>
                  </a:cubicBezTo>
                  <a:cubicBezTo>
                    <a:pt x="88" y="58"/>
                    <a:pt x="83" y="70"/>
                    <a:pt x="75" y="78"/>
                  </a:cubicBezTo>
                  <a:close/>
                  <a:moveTo>
                    <a:pt x="44" y="17"/>
                  </a:moveTo>
                  <a:cubicBezTo>
                    <a:pt x="30" y="17"/>
                    <a:pt x="23" y="29"/>
                    <a:pt x="23" y="45"/>
                  </a:cubicBezTo>
                  <a:cubicBezTo>
                    <a:pt x="23" y="62"/>
                    <a:pt x="31" y="73"/>
                    <a:pt x="44" y="73"/>
                  </a:cubicBezTo>
                  <a:cubicBezTo>
                    <a:pt x="58" y="73"/>
                    <a:pt x="65" y="61"/>
                    <a:pt x="65" y="45"/>
                  </a:cubicBezTo>
                  <a:cubicBezTo>
                    <a:pt x="65" y="28"/>
                    <a:pt x="57" y="17"/>
                    <a:pt x="44" y="1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9" name="Freeform 18"/>
            <p:cNvSpPr>
              <a:spLocks/>
            </p:cNvSpPr>
            <p:nvPr userDrawn="1"/>
          </p:nvSpPr>
          <p:spPr bwMode="auto">
            <a:xfrm>
              <a:off x="8728298" y="4923177"/>
              <a:ext cx="60705" cy="65574"/>
            </a:xfrm>
            <a:custGeom>
              <a:avLst/>
              <a:gdLst>
                <a:gd name="T0" fmla="*/ 58 w 80"/>
                <a:gd name="T1" fmla="*/ 90 h 90"/>
                <a:gd name="T2" fmla="*/ 58 w 80"/>
                <a:gd name="T3" fmla="*/ 38 h 90"/>
                <a:gd name="T4" fmla="*/ 45 w 80"/>
                <a:gd name="T5" fmla="*/ 19 h 90"/>
                <a:gd name="T6" fmla="*/ 23 w 80"/>
                <a:gd name="T7" fmla="*/ 28 h 90"/>
                <a:gd name="T8" fmla="*/ 23 w 80"/>
                <a:gd name="T9" fmla="*/ 74 h 90"/>
                <a:gd name="T10" fmla="*/ 0 w 80"/>
                <a:gd name="T11" fmla="*/ 90 h 90"/>
                <a:gd name="T12" fmla="*/ 0 w 80"/>
                <a:gd name="T13" fmla="*/ 2 h 90"/>
                <a:gd name="T14" fmla="*/ 19 w 80"/>
                <a:gd name="T15" fmla="*/ 2 h 90"/>
                <a:gd name="T16" fmla="*/ 22 w 80"/>
                <a:gd name="T17" fmla="*/ 11 h 90"/>
                <a:gd name="T18" fmla="*/ 52 w 80"/>
                <a:gd name="T19" fmla="*/ 0 h 90"/>
                <a:gd name="T20" fmla="*/ 80 w 80"/>
                <a:gd name="T21" fmla="*/ 31 h 90"/>
                <a:gd name="T22" fmla="*/ 80 w 80"/>
                <a:gd name="T23" fmla="*/ 74 h 90"/>
                <a:gd name="T24" fmla="*/ 58 w 80"/>
                <a:gd name="T2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90">
                  <a:moveTo>
                    <a:pt x="58" y="90"/>
                  </a:moveTo>
                  <a:cubicBezTo>
                    <a:pt x="58" y="38"/>
                    <a:pt x="58" y="38"/>
                    <a:pt x="58" y="38"/>
                  </a:cubicBezTo>
                  <a:cubicBezTo>
                    <a:pt x="58" y="29"/>
                    <a:pt x="56" y="19"/>
                    <a:pt x="45" y="19"/>
                  </a:cubicBezTo>
                  <a:cubicBezTo>
                    <a:pt x="37" y="19"/>
                    <a:pt x="29" y="23"/>
                    <a:pt x="23" y="28"/>
                  </a:cubicBezTo>
                  <a:cubicBezTo>
                    <a:pt x="23" y="28"/>
                    <a:pt x="23" y="57"/>
                    <a:pt x="23" y="74"/>
                  </a:cubicBezTo>
                  <a:cubicBezTo>
                    <a:pt x="23" y="90"/>
                    <a:pt x="0" y="90"/>
                    <a:pt x="0" y="90"/>
                  </a:cubicBezTo>
                  <a:cubicBezTo>
                    <a:pt x="0" y="2"/>
                    <a:pt x="0" y="2"/>
                    <a:pt x="0" y="2"/>
                  </a:cubicBezTo>
                  <a:cubicBezTo>
                    <a:pt x="19" y="2"/>
                    <a:pt x="19" y="2"/>
                    <a:pt x="19" y="2"/>
                  </a:cubicBezTo>
                  <a:cubicBezTo>
                    <a:pt x="22" y="11"/>
                    <a:pt x="22" y="11"/>
                    <a:pt x="22" y="11"/>
                  </a:cubicBezTo>
                  <a:cubicBezTo>
                    <a:pt x="31" y="4"/>
                    <a:pt x="40" y="0"/>
                    <a:pt x="52" y="0"/>
                  </a:cubicBezTo>
                  <a:cubicBezTo>
                    <a:pt x="65" y="0"/>
                    <a:pt x="80" y="8"/>
                    <a:pt x="80" y="31"/>
                  </a:cubicBezTo>
                  <a:cubicBezTo>
                    <a:pt x="80" y="31"/>
                    <a:pt x="80" y="57"/>
                    <a:pt x="80" y="74"/>
                  </a:cubicBezTo>
                  <a:cubicBezTo>
                    <a:pt x="80" y="90"/>
                    <a:pt x="58" y="90"/>
                    <a:pt x="58" y="9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0" name="Freeform 19"/>
            <p:cNvSpPr>
              <a:spLocks/>
            </p:cNvSpPr>
            <p:nvPr userDrawn="1"/>
          </p:nvSpPr>
          <p:spPr bwMode="auto">
            <a:xfrm>
              <a:off x="8501217" y="4923177"/>
              <a:ext cx="43361" cy="65574"/>
            </a:xfrm>
            <a:custGeom>
              <a:avLst/>
              <a:gdLst>
                <a:gd name="T0" fmla="*/ 49 w 57"/>
                <a:gd name="T1" fmla="*/ 22 h 90"/>
                <a:gd name="T2" fmla="*/ 39 w 57"/>
                <a:gd name="T3" fmla="*/ 20 h 90"/>
                <a:gd name="T4" fmla="*/ 22 w 57"/>
                <a:gd name="T5" fmla="*/ 27 h 90"/>
                <a:gd name="T6" fmla="*/ 22 w 57"/>
                <a:gd name="T7" fmla="*/ 74 h 90"/>
                <a:gd name="T8" fmla="*/ 0 w 57"/>
                <a:gd name="T9" fmla="*/ 90 h 90"/>
                <a:gd name="T10" fmla="*/ 0 w 57"/>
                <a:gd name="T11" fmla="*/ 2 h 90"/>
                <a:gd name="T12" fmla="*/ 19 w 57"/>
                <a:gd name="T13" fmla="*/ 2 h 90"/>
                <a:gd name="T14" fmla="*/ 21 w 57"/>
                <a:gd name="T15" fmla="*/ 11 h 90"/>
                <a:gd name="T16" fmla="*/ 45 w 57"/>
                <a:gd name="T17" fmla="*/ 0 h 90"/>
                <a:gd name="T18" fmla="*/ 57 w 57"/>
                <a:gd name="T19" fmla="*/ 4 h 90"/>
                <a:gd name="T20" fmla="*/ 49 w 57"/>
                <a:gd name="T21" fmla="*/ 2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0">
                  <a:moveTo>
                    <a:pt x="49" y="22"/>
                  </a:moveTo>
                  <a:cubicBezTo>
                    <a:pt x="46" y="20"/>
                    <a:pt x="42" y="20"/>
                    <a:pt x="39" y="20"/>
                  </a:cubicBezTo>
                  <a:cubicBezTo>
                    <a:pt x="34" y="20"/>
                    <a:pt x="28" y="22"/>
                    <a:pt x="22" y="27"/>
                  </a:cubicBezTo>
                  <a:cubicBezTo>
                    <a:pt x="22" y="27"/>
                    <a:pt x="22" y="57"/>
                    <a:pt x="22" y="74"/>
                  </a:cubicBezTo>
                  <a:cubicBezTo>
                    <a:pt x="22" y="90"/>
                    <a:pt x="0" y="90"/>
                    <a:pt x="0" y="90"/>
                  </a:cubicBezTo>
                  <a:cubicBezTo>
                    <a:pt x="0" y="2"/>
                    <a:pt x="0" y="2"/>
                    <a:pt x="0" y="2"/>
                  </a:cubicBezTo>
                  <a:cubicBezTo>
                    <a:pt x="19" y="2"/>
                    <a:pt x="19" y="2"/>
                    <a:pt x="19"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1" name="Freeform 20"/>
            <p:cNvSpPr>
              <a:spLocks/>
            </p:cNvSpPr>
            <p:nvPr userDrawn="1"/>
          </p:nvSpPr>
          <p:spPr bwMode="auto">
            <a:xfrm>
              <a:off x="7766657" y="4864376"/>
              <a:ext cx="100211" cy="148389"/>
            </a:xfrm>
            <a:custGeom>
              <a:avLst/>
              <a:gdLst>
                <a:gd name="T0" fmla="*/ 0 w 132"/>
                <a:gd name="T1" fmla="*/ 23 h 204"/>
                <a:gd name="T2" fmla="*/ 1 w 132"/>
                <a:gd name="T3" fmla="*/ 22 h 204"/>
                <a:gd name="T4" fmla="*/ 67 w 132"/>
                <a:gd name="T5" fmla="*/ 20 h 204"/>
                <a:gd name="T6" fmla="*/ 80 w 132"/>
                <a:gd name="T7" fmla="*/ 52 h 204"/>
                <a:gd name="T8" fmla="*/ 113 w 132"/>
                <a:gd name="T9" fmla="*/ 65 h 204"/>
                <a:gd name="T10" fmla="*/ 111 w 132"/>
                <a:gd name="T11" fmla="*/ 132 h 204"/>
                <a:gd name="T12" fmla="*/ 38 w 132"/>
                <a:gd name="T13" fmla="*/ 204 h 204"/>
                <a:gd name="T14" fmla="*/ 16 w 132"/>
                <a:gd name="T15" fmla="*/ 182 h 204"/>
                <a:gd name="T16" fmla="*/ 88 w 132"/>
                <a:gd name="T17" fmla="*/ 110 h 204"/>
                <a:gd name="T18" fmla="*/ 91 w 132"/>
                <a:gd name="T19" fmla="*/ 86 h 204"/>
                <a:gd name="T20" fmla="*/ 67 w 132"/>
                <a:gd name="T21" fmla="*/ 88 h 204"/>
                <a:gd name="T22" fmla="*/ 0 w 132"/>
                <a:gd name="T23" fmla="*/ 155 h 204"/>
                <a:gd name="T24" fmla="*/ 0 w 132"/>
                <a:gd name="T25" fmla="*/ 111 h 204"/>
                <a:gd name="T26" fmla="*/ 45 w 132"/>
                <a:gd name="T27" fmla="*/ 66 h 204"/>
                <a:gd name="T28" fmla="*/ 46 w 132"/>
                <a:gd name="T29" fmla="*/ 42 h 204"/>
                <a:gd name="T30" fmla="*/ 22 w 132"/>
                <a:gd name="T31" fmla="*/ 44 h 204"/>
                <a:gd name="T32" fmla="*/ 0 w 132"/>
                <a:gd name="T33" fmla="*/ 66 h 204"/>
                <a:gd name="T34" fmla="*/ 0 w 132"/>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204">
                  <a:moveTo>
                    <a:pt x="0" y="23"/>
                  </a:moveTo>
                  <a:cubicBezTo>
                    <a:pt x="1" y="22"/>
                    <a:pt x="1" y="22"/>
                    <a:pt x="1" y="22"/>
                  </a:cubicBezTo>
                  <a:cubicBezTo>
                    <a:pt x="23" y="0"/>
                    <a:pt x="50" y="2"/>
                    <a:pt x="67" y="20"/>
                  </a:cubicBezTo>
                  <a:cubicBezTo>
                    <a:pt x="80" y="32"/>
                    <a:pt x="81" y="46"/>
                    <a:pt x="80" y="52"/>
                  </a:cubicBezTo>
                  <a:cubicBezTo>
                    <a:pt x="86" y="51"/>
                    <a:pt x="100" y="52"/>
                    <a:pt x="113" y="65"/>
                  </a:cubicBezTo>
                  <a:cubicBezTo>
                    <a:pt x="130" y="82"/>
                    <a:pt x="132" y="110"/>
                    <a:pt x="111" y="132"/>
                  </a:cubicBezTo>
                  <a:cubicBezTo>
                    <a:pt x="38" y="204"/>
                    <a:pt x="38" y="204"/>
                    <a:pt x="38" y="204"/>
                  </a:cubicBezTo>
                  <a:cubicBezTo>
                    <a:pt x="16" y="182"/>
                    <a:pt x="16" y="182"/>
                    <a:pt x="16" y="182"/>
                  </a:cubicBezTo>
                  <a:cubicBezTo>
                    <a:pt x="88" y="110"/>
                    <a:pt x="88" y="110"/>
                    <a:pt x="88" y="110"/>
                  </a:cubicBezTo>
                  <a:cubicBezTo>
                    <a:pt x="97" y="101"/>
                    <a:pt x="96" y="91"/>
                    <a:pt x="91" y="86"/>
                  </a:cubicBezTo>
                  <a:cubicBezTo>
                    <a:pt x="85" y="80"/>
                    <a:pt x="75" y="79"/>
                    <a:pt x="67" y="88"/>
                  </a:cubicBezTo>
                  <a:cubicBezTo>
                    <a:pt x="0" y="155"/>
                    <a:pt x="0" y="155"/>
                    <a:pt x="0" y="155"/>
                  </a:cubicBezTo>
                  <a:cubicBezTo>
                    <a:pt x="0" y="111"/>
                    <a:pt x="0" y="111"/>
                    <a:pt x="0" y="111"/>
                  </a:cubicBezTo>
                  <a:cubicBezTo>
                    <a:pt x="45" y="66"/>
                    <a:pt x="45" y="66"/>
                    <a:pt x="45" y="66"/>
                  </a:cubicBezTo>
                  <a:cubicBezTo>
                    <a:pt x="53" y="57"/>
                    <a:pt x="52" y="47"/>
                    <a:pt x="46" y="42"/>
                  </a:cubicBezTo>
                  <a:cubicBezTo>
                    <a:pt x="41" y="36"/>
                    <a:pt x="31" y="35"/>
                    <a:pt x="22" y="44"/>
                  </a:cubicBezTo>
                  <a:cubicBezTo>
                    <a:pt x="0" y="66"/>
                    <a:pt x="0" y="66"/>
                    <a:pt x="0" y="66"/>
                  </a:cubicBezTo>
                  <a:lnTo>
                    <a:pt x="0"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2" name="Freeform 21"/>
            <p:cNvSpPr>
              <a:spLocks noEditPoints="1"/>
            </p:cNvSpPr>
            <p:nvPr userDrawn="1"/>
          </p:nvSpPr>
          <p:spPr bwMode="auto">
            <a:xfrm>
              <a:off x="7980890" y="5040472"/>
              <a:ext cx="51390" cy="57878"/>
            </a:xfrm>
            <a:custGeom>
              <a:avLst/>
              <a:gdLst>
                <a:gd name="T0" fmla="*/ 0 w 68"/>
                <a:gd name="T1" fmla="*/ 40 h 80"/>
                <a:gd name="T2" fmla="*/ 35 w 68"/>
                <a:gd name="T3" fmla="*/ 0 h 80"/>
                <a:gd name="T4" fmla="*/ 68 w 68"/>
                <a:gd name="T5" fmla="*/ 41 h 80"/>
                <a:gd name="T6" fmla="*/ 68 w 68"/>
                <a:gd name="T7" fmla="*/ 46 h 80"/>
                <a:gd name="T8" fmla="*/ 20 w 68"/>
                <a:gd name="T9" fmla="*/ 46 h 80"/>
                <a:gd name="T10" fmla="*/ 41 w 68"/>
                <a:gd name="T11" fmla="*/ 65 h 80"/>
                <a:gd name="T12" fmla="*/ 60 w 68"/>
                <a:gd name="T13" fmla="*/ 60 h 80"/>
                <a:gd name="T14" fmla="*/ 66 w 68"/>
                <a:gd name="T15" fmla="*/ 73 h 80"/>
                <a:gd name="T16" fmla="*/ 39 w 68"/>
                <a:gd name="T17" fmla="*/ 80 h 80"/>
                <a:gd name="T18" fmla="*/ 0 w 68"/>
                <a:gd name="T19" fmla="*/ 40 h 80"/>
                <a:gd name="T20" fmla="*/ 49 w 68"/>
                <a:gd name="T21" fmla="*/ 32 h 80"/>
                <a:gd name="T22" fmla="*/ 34 w 68"/>
                <a:gd name="T23" fmla="*/ 15 h 80"/>
                <a:gd name="T24" fmla="*/ 19 w 68"/>
                <a:gd name="T25" fmla="*/ 32 h 80"/>
                <a:gd name="T26" fmla="*/ 49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3" y="0"/>
                    <a:pt x="35" y="0"/>
                  </a:cubicBezTo>
                  <a:cubicBezTo>
                    <a:pt x="56" y="0"/>
                    <a:pt x="68" y="16"/>
                    <a:pt x="68" y="41"/>
                  </a:cubicBezTo>
                  <a:cubicBezTo>
                    <a:pt x="68" y="46"/>
                    <a:pt x="68" y="46"/>
                    <a:pt x="68" y="46"/>
                  </a:cubicBezTo>
                  <a:cubicBezTo>
                    <a:pt x="20" y="46"/>
                    <a:pt x="20" y="46"/>
                    <a:pt x="20" y="46"/>
                  </a:cubicBezTo>
                  <a:cubicBezTo>
                    <a:pt x="20" y="57"/>
                    <a:pt x="28" y="65"/>
                    <a:pt x="41" y="65"/>
                  </a:cubicBezTo>
                  <a:cubicBezTo>
                    <a:pt x="49" y="65"/>
                    <a:pt x="55" y="63"/>
                    <a:pt x="60" y="60"/>
                  </a:cubicBezTo>
                  <a:cubicBezTo>
                    <a:pt x="66" y="73"/>
                    <a:pt x="66" y="73"/>
                    <a:pt x="66" y="73"/>
                  </a:cubicBezTo>
                  <a:cubicBezTo>
                    <a:pt x="58" y="78"/>
                    <a:pt x="49" y="80"/>
                    <a:pt x="39" y="80"/>
                  </a:cubicBezTo>
                  <a:cubicBezTo>
                    <a:pt x="11" y="80"/>
                    <a:pt x="0" y="61"/>
                    <a:pt x="0" y="40"/>
                  </a:cubicBezTo>
                  <a:close/>
                  <a:moveTo>
                    <a:pt x="49" y="32"/>
                  </a:moveTo>
                  <a:cubicBezTo>
                    <a:pt x="49" y="23"/>
                    <a:pt x="44" y="15"/>
                    <a:pt x="34" y="15"/>
                  </a:cubicBezTo>
                  <a:cubicBezTo>
                    <a:pt x="25" y="15"/>
                    <a:pt x="19" y="23"/>
                    <a:pt x="19" y="32"/>
                  </a:cubicBezTo>
                  <a:lnTo>
                    <a:pt x="49"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3" name="Freeform 22"/>
            <p:cNvSpPr>
              <a:spLocks/>
            </p:cNvSpPr>
            <p:nvPr userDrawn="1"/>
          </p:nvSpPr>
          <p:spPr bwMode="auto">
            <a:xfrm>
              <a:off x="8295656" y="5041088"/>
              <a:ext cx="37258" cy="56031"/>
            </a:xfrm>
            <a:custGeom>
              <a:avLst/>
              <a:gdLst>
                <a:gd name="T0" fmla="*/ 42 w 49"/>
                <a:gd name="T1" fmla="*/ 19 h 77"/>
                <a:gd name="T2" fmla="*/ 33 w 49"/>
                <a:gd name="T3" fmla="*/ 16 h 77"/>
                <a:gd name="T4" fmla="*/ 19 w 49"/>
                <a:gd name="T5" fmla="*/ 23 h 77"/>
                <a:gd name="T6" fmla="*/ 19 w 49"/>
                <a:gd name="T7" fmla="*/ 63 h 77"/>
                <a:gd name="T8" fmla="*/ 0 w 49"/>
                <a:gd name="T9" fmla="*/ 77 h 77"/>
                <a:gd name="T10" fmla="*/ 0 w 49"/>
                <a:gd name="T11" fmla="*/ 1 h 77"/>
                <a:gd name="T12" fmla="*/ 16 w 49"/>
                <a:gd name="T13" fmla="*/ 1 h 77"/>
                <a:gd name="T14" fmla="*/ 18 w 49"/>
                <a:gd name="T15" fmla="*/ 9 h 77"/>
                <a:gd name="T16" fmla="*/ 39 w 49"/>
                <a:gd name="T17" fmla="*/ 0 h 77"/>
                <a:gd name="T18" fmla="*/ 49 w 49"/>
                <a:gd name="T19" fmla="*/ 3 h 77"/>
                <a:gd name="T20" fmla="*/ 42 w 49"/>
                <a:gd name="T21"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77">
                  <a:moveTo>
                    <a:pt x="42" y="19"/>
                  </a:moveTo>
                  <a:cubicBezTo>
                    <a:pt x="39" y="17"/>
                    <a:pt x="36" y="16"/>
                    <a:pt x="33" y="16"/>
                  </a:cubicBezTo>
                  <a:cubicBezTo>
                    <a:pt x="29" y="16"/>
                    <a:pt x="24" y="18"/>
                    <a:pt x="19" y="23"/>
                  </a:cubicBezTo>
                  <a:cubicBezTo>
                    <a:pt x="19" y="2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2"/>
                    <a:pt x="32" y="0"/>
                    <a:pt x="39" y="0"/>
                  </a:cubicBezTo>
                  <a:cubicBezTo>
                    <a:pt x="42" y="0"/>
                    <a:pt x="46" y="1"/>
                    <a:pt x="49" y="3"/>
                  </a:cubicBezTo>
                  <a:lnTo>
                    <a:pt x="42" y="1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4" name="Freeform 23"/>
            <p:cNvSpPr>
              <a:spLocks noEditPoints="1"/>
            </p:cNvSpPr>
            <p:nvPr userDrawn="1"/>
          </p:nvSpPr>
          <p:spPr bwMode="auto">
            <a:xfrm>
              <a:off x="8178743" y="5040472"/>
              <a:ext cx="51712" cy="57878"/>
            </a:xfrm>
            <a:custGeom>
              <a:avLst/>
              <a:gdLst>
                <a:gd name="T0" fmla="*/ 0 w 68"/>
                <a:gd name="T1" fmla="*/ 40 h 80"/>
                <a:gd name="T2" fmla="*/ 34 w 68"/>
                <a:gd name="T3" fmla="*/ 0 h 80"/>
                <a:gd name="T4" fmla="*/ 68 w 68"/>
                <a:gd name="T5" fmla="*/ 41 h 80"/>
                <a:gd name="T6" fmla="*/ 68 w 68"/>
                <a:gd name="T7" fmla="*/ 46 h 80"/>
                <a:gd name="T8" fmla="*/ 19 w 68"/>
                <a:gd name="T9" fmla="*/ 46 h 80"/>
                <a:gd name="T10" fmla="*/ 41 w 68"/>
                <a:gd name="T11" fmla="*/ 65 h 80"/>
                <a:gd name="T12" fmla="*/ 60 w 68"/>
                <a:gd name="T13" fmla="*/ 60 h 80"/>
                <a:gd name="T14" fmla="*/ 66 w 68"/>
                <a:gd name="T15" fmla="*/ 73 h 80"/>
                <a:gd name="T16" fmla="*/ 39 w 68"/>
                <a:gd name="T17" fmla="*/ 80 h 80"/>
                <a:gd name="T18" fmla="*/ 0 w 68"/>
                <a:gd name="T19" fmla="*/ 40 h 80"/>
                <a:gd name="T20" fmla="*/ 49 w 68"/>
                <a:gd name="T21" fmla="*/ 32 h 80"/>
                <a:gd name="T22" fmla="*/ 34 w 68"/>
                <a:gd name="T23" fmla="*/ 15 h 80"/>
                <a:gd name="T24" fmla="*/ 19 w 68"/>
                <a:gd name="T25" fmla="*/ 32 h 80"/>
                <a:gd name="T26" fmla="*/ 49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3" y="0"/>
                    <a:pt x="34" y="0"/>
                  </a:cubicBezTo>
                  <a:cubicBezTo>
                    <a:pt x="56" y="0"/>
                    <a:pt x="68" y="16"/>
                    <a:pt x="68" y="41"/>
                  </a:cubicBezTo>
                  <a:cubicBezTo>
                    <a:pt x="68" y="46"/>
                    <a:pt x="68" y="46"/>
                    <a:pt x="68" y="46"/>
                  </a:cubicBezTo>
                  <a:cubicBezTo>
                    <a:pt x="19" y="46"/>
                    <a:pt x="19" y="46"/>
                    <a:pt x="19" y="46"/>
                  </a:cubicBezTo>
                  <a:cubicBezTo>
                    <a:pt x="20" y="57"/>
                    <a:pt x="28" y="65"/>
                    <a:pt x="41" y="65"/>
                  </a:cubicBezTo>
                  <a:cubicBezTo>
                    <a:pt x="49" y="65"/>
                    <a:pt x="55" y="63"/>
                    <a:pt x="60" y="60"/>
                  </a:cubicBezTo>
                  <a:cubicBezTo>
                    <a:pt x="66" y="73"/>
                    <a:pt x="66" y="73"/>
                    <a:pt x="66" y="73"/>
                  </a:cubicBezTo>
                  <a:cubicBezTo>
                    <a:pt x="58" y="78"/>
                    <a:pt x="48" y="80"/>
                    <a:pt x="39" y="80"/>
                  </a:cubicBezTo>
                  <a:cubicBezTo>
                    <a:pt x="11" y="80"/>
                    <a:pt x="0" y="61"/>
                    <a:pt x="0" y="40"/>
                  </a:cubicBezTo>
                  <a:close/>
                  <a:moveTo>
                    <a:pt x="49" y="32"/>
                  </a:moveTo>
                  <a:cubicBezTo>
                    <a:pt x="48" y="23"/>
                    <a:pt x="44" y="15"/>
                    <a:pt x="34" y="15"/>
                  </a:cubicBezTo>
                  <a:cubicBezTo>
                    <a:pt x="25" y="15"/>
                    <a:pt x="19" y="23"/>
                    <a:pt x="19" y="32"/>
                  </a:cubicBezTo>
                  <a:lnTo>
                    <a:pt x="49"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5" name="Freeform 24"/>
            <p:cNvSpPr>
              <a:spLocks noEditPoints="1"/>
            </p:cNvSpPr>
            <p:nvPr userDrawn="1"/>
          </p:nvSpPr>
          <p:spPr bwMode="auto">
            <a:xfrm>
              <a:off x="8236557" y="5040472"/>
              <a:ext cx="51390" cy="57878"/>
            </a:xfrm>
            <a:custGeom>
              <a:avLst/>
              <a:gdLst>
                <a:gd name="T0" fmla="*/ 0 w 68"/>
                <a:gd name="T1" fmla="*/ 40 h 80"/>
                <a:gd name="T2" fmla="*/ 34 w 68"/>
                <a:gd name="T3" fmla="*/ 0 h 80"/>
                <a:gd name="T4" fmla="*/ 68 w 68"/>
                <a:gd name="T5" fmla="*/ 41 h 80"/>
                <a:gd name="T6" fmla="*/ 68 w 68"/>
                <a:gd name="T7" fmla="*/ 46 h 80"/>
                <a:gd name="T8" fmla="*/ 19 w 68"/>
                <a:gd name="T9" fmla="*/ 46 h 80"/>
                <a:gd name="T10" fmla="*/ 40 w 68"/>
                <a:gd name="T11" fmla="*/ 65 h 80"/>
                <a:gd name="T12" fmla="*/ 60 w 68"/>
                <a:gd name="T13" fmla="*/ 60 h 80"/>
                <a:gd name="T14" fmla="*/ 65 w 68"/>
                <a:gd name="T15" fmla="*/ 73 h 80"/>
                <a:gd name="T16" fmla="*/ 39 w 68"/>
                <a:gd name="T17" fmla="*/ 80 h 80"/>
                <a:gd name="T18" fmla="*/ 0 w 68"/>
                <a:gd name="T19" fmla="*/ 40 h 80"/>
                <a:gd name="T20" fmla="*/ 48 w 68"/>
                <a:gd name="T21" fmla="*/ 32 h 80"/>
                <a:gd name="T22" fmla="*/ 34 w 68"/>
                <a:gd name="T23" fmla="*/ 15 h 80"/>
                <a:gd name="T24" fmla="*/ 19 w 68"/>
                <a:gd name="T25" fmla="*/ 32 h 80"/>
                <a:gd name="T26" fmla="*/ 48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2" y="0"/>
                    <a:pt x="34" y="0"/>
                  </a:cubicBezTo>
                  <a:cubicBezTo>
                    <a:pt x="55" y="0"/>
                    <a:pt x="68" y="16"/>
                    <a:pt x="68" y="41"/>
                  </a:cubicBezTo>
                  <a:cubicBezTo>
                    <a:pt x="68" y="46"/>
                    <a:pt x="68" y="46"/>
                    <a:pt x="68" y="46"/>
                  </a:cubicBezTo>
                  <a:cubicBezTo>
                    <a:pt x="19" y="46"/>
                    <a:pt x="19" y="46"/>
                    <a:pt x="19" y="46"/>
                  </a:cubicBezTo>
                  <a:cubicBezTo>
                    <a:pt x="19" y="57"/>
                    <a:pt x="28" y="65"/>
                    <a:pt x="40" y="65"/>
                  </a:cubicBezTo>
                  <a:cubicBezTo>
                    <a:pt x="48" y="65"/>
                    <a:pt x="54" y="63"/>
                    <a:pt x="60" y="60"/>
                  </a:cubicBezTo>
                  <a:cubicBezTo>
                    <a:pt x="65" y="73"/>
                    <a:pt x="65" y="73"/>
                    <a:pt x="65" y="73"/>
                  </a:cubicBezTo>
                  <a:cubicBezTo>
                    <a:pt x="57" y="78"/>
                    <a:pt x="48" y="80"/>
                    <a:pt x="39" y="80"/>
                  </a:cubicBezTo>
                  <a:cubicBezTo>
                    <a:pt x="11" y="80"/>
                    <a:pt x="0" y="61"/>
                    <a:pt x="0" y="40"/>
                  </a:cubicBezTo>
                  <a:close/>
                  <a:moveTo>
                    <a:pt x="48" y="32"/>
                  </a:moveTo>
                  <a:cubicBezTo>
                    <a:pt x="48" y="23"/>
                    <a:pt x="44" y="15"/>
                    <a:pt x="34" y="15"/>
                  </a:cubicBezTo>
                  <a:cubicBezTo>
                    <a:pt x="24" y="15"/>
                    <a:pt x="19" y="23"/>
                    <a:pt x="19" y="32"/>
                  </a:cubicBezTo>
                  <a:lnTo>
                    <a:pt x="48"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6" name="Freeform 25"/>
            <p:cNvSpPr>
              <a:spLocks/>
            </p:cNvSpPr>
            <p:nvPr userDrawn="1"/>
          </p:nvSpPr>
          <p:spPr bwMode="auto">
            <a:xfrm>
              <a:off x="8040631" y="5041088"/>
              <a:ext cx="37258" cy="56031"/>
            </a:xfrm>
            <a:custGeom>
              <a:avLst/>
              <a:gdLst>
                <a:gd name="T0" fmla="*/ 42 w 49"/>
                <a:gd name="T1" fmla="*/ 19 h 77"/>
                <a:gd name="T2" fmla="*/ 33 w 49"/>
                <a:gd name="T3" fmla="*/ 16 h 77"/>
                <a:gd name="T4" fmla="*/ 19 w 49"/>
                <a:gd name="T5" fmla="*/ 23 h 77"/>
                <a:gd name="T6" fmla="*/ 19 w 49"/>
                <a:gd name="T7" fmla="*/ 63 h 77"/>
                <a:gd name="T8" fmla="*/ 0 w 49"/>
                <a:gd name="T9" fmla="*/ 77 h 77"/>
                <a:gd name="T10" fmla="*/ 0 w 49"/>
                <a:gd name="T11" fmla="*/ 1 h 77"/>
                <a:gd name="T12" fmla="*/ 16 w 49"/>
                <a:gd name="T13" fmla="*/ 1 h 77"/>
                <a:gd name="T14" fmla="*/ 18 w 49"/>
                <a:gd name="T15" fmla="*/ 9 h 77"/>
                <a:gd name="T16" fmla="*/ 38 w 49"/>
                <a:gd name="T17" fmla="*/ 0 h 77"/>
                <a:gd name="T18" fmla="*/ 49 w 49"/>
                <a:gd name="T19" fmla="*/ 3 h 77"/>
                <a:gd name="T20" fmla="*/ 42 w 49"/>
                <a:gd name="T21"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77">
                  <a:moveTo>
                    <a:pt x="42" y="19"/>
                  </a:moveTo>
                  <a:cubicBezTo>
                    <a:pt x="39" y="17"/>
                    <a:pt x="35" y="16"/>
                    <a:pt x="33" y="16"/>
                  </a:cubicBezTo>
                  <a:cubicBezTo>
                    <a:pt x="29" y="16"/>
                    <a:pt x="24" y="18"/>
                    <a:pt x="19" y="23"/>
                  </a:cubicBezTo>
                  <a:cubicBezTo>
                    <a:pt x="19" y="2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2"/>
                    <a:pt x="31" y="0"/>
                    <a:pt x="38" y="0"/>
                  </a:cubicBezTo>
                  <a:cubicBezTo>
                    <a:pt x="42" y="0"/>
                    <a:pt x="46" y="1"/>
                    <a:pt x="49" y="3"/>
                  </a:cubicBezTo>
                  <a:lnTo>
                    <a:pt x="42" y="1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7" name="Freeform 26"/>
            <p:cNvSpPr>
              <a:spLocks/>
            </p:cNvSpPr>
            <p:nvPr userDrawn="1"/>
          </p:nvSpPr>
          <p:spPr bwMode="auto">
            <a:xfrm>
              <a:off x="8083992" y="5041088"/>
              <a:ext cx="86400" cy="56031"/>
            </a:xfrm>
            <a:custGeom>
              <a:avLst/>
              <a:gdLst>
                <a:gd name="T0" fmla="*/ 114 w 114"/>
                <a:gd name="T1" fmla="*/ 25 h 77"/>
                <a:gd name="T2" fmla="*/ 114 w 114"/>
                <a:gd name="T3" fmla="*/ 63 h 77"/>
                <a:gd name="T4" fmla="*/ 95 w 114"/>
                <a:gd name="T5" fmla="*/ 77 h 77"/>
                <a:gd name="T6" fmla="*/ 95 w 114"/>
                <a:gd name="T7" fmla="*/ 31 h 77"/>
                <a:gd name="T8" fmla="*/ 84 w 114"/>
                <a:gd name="T9" fmla="*/ 16 h 77"/>
                <a:gd name="T10" fmla="*/ 66 w 114"/>
                <a:gd name="T11" fmla="*/ 23 h 77"/>
                <a:gd name="T12" fmla="*/ 66 w 114"/>
                <a:gd name="T13" fmla="*/ 63 h 77"/>
                <a:gd name="T14" fmla="*/ 66 w 114"/>
                <a:gd name="T15" fmla="*/ 63 h 77"/>
                <a:gd name="T16" fmla="*/ 47 w 114"/>
                <a:gd name="T17" fmla="*/ 77 h 77"/>
                <a:gd name="T18" fmla="*/ 47 w 114"/>
                <a:gd name="T19" fmla="*/ 31 h 77"/>
                <a:gd name="T20" fmla="*/ 37 w 114"/>
                <a:gd name="T21" fmla="*/ 16 h 77"/>
                <a:gd name="T22" fmla="*/ 19 w 114"/>
                <a:gd name="T23" fmla="*/ 23 h 77"/>
                <a:gd name="T24" fmla="*/ 19 w 114"/>
                <a:gd name="T25" fmla="*/ 63 h 77"/>
                <a:gd name="T26" fmla="*/ 19 w 114"/>
                <a:gd name="T27" fmla="*/ 63 h 77"/>
                <a:gd name="T28" fmla="*/ 0 w 114"/>
                <a:gd name="T29" fmla="*/ 77 h 77"/>
                <a:gd name="T30" fmla="*/ 0 w 114"/>
                <a:gd name="T31" fmla="*/ 1 h 77"/>
                <a:gd name="T32" fmla="*/ 16 w 114"/>
                <a:gd name="T33" fmla="*/ 1 h 77"/>
                <a:gd name="T34" fmla="*/ 18 w 114"/>
                <a:gd name="T35" fmla="*/ 9 h 77"/>
                <a:gd name="T36" fmla="*/ 43 w 114"/>
                <a:gd name="T37" fmla="*/ 0 h 77"/>
                <a:gd name="T38" fmla="*/ 63 w 114"/>
                <a:gd name="T39" fmla="*/ 11 h 77"/>
                <a:gd name="T40" fmla="*/ 89 w 114"/>
                <a:gd name="T41" fmla="*/ 0 h 77"/>
                <a:gd name="T42" fmla="*/ 114 w 114"/>
                <a:gd name="T43" fmla="*/ 2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77">
                  <a:moveTo>
                    <a:pt x="114" y="25"/>
                  </a:moveTo>
                  <a:cubicBezTo>
                    <a:pt x="114" y="63"/>
                    <a:pt x="114" y="63"/>
                    <a:pt x="114" y="63"/>
                  </a:cubicBezTo>
                  <a:cubicBezTo>
                    <a:pt x="114" y="77"/>
                    <a:pt x="95" y="77"/>
                    <a:pt x="95" y="77"/>
                  </a:cubicBezTo>
                  <a:cubicBezTo>
                    <a:pt x="95" y="31"/>
                    <a:pt x="95" y="31"/>
                    <a:pt x="95" y="31"/>
                  </a:cubicBezTo>
                  <a:cubicBezTo>
                    <a:pt x="95" y="22"/>
                    <a:pt x="93" y="16"/>
                    <a:pt x="84" y="16"/>
                  </a:cubicBezTo>
                  <a:cubicBezTo>
                    <a:pt x="77" y="16"/>
                    <a:pt x="71" y="19"/>
                    <a:pt x="66" y="23"/>
                  </a:cubicBezTo>
                  <a:cubicBezTo>
                    <a:pt x="66" y="63"/>
                    <a:pt x="66" y="63"/>
                    <a:pt x="66" y="63"/>
                  </a:cubicBezTo>
                  <a:cubicBezTo>
                    <a:pt x="66" y="63"/>
                    <a:pt x="66" y="49"/>
                    <a:pt x="66" y="63"/>
                  </a:cubicBezTo>
                  <a:cubicBezTo>
                    <a:pt x="66" y="77"/>
                    <a:pt x="47" y="77"/>
                    <a:pt x="47" y="77"/>
                  </a:cubicBezTo>
                  <a:cubicBezTo>
                    <a:pt x="47" y="31"/>
                    <a:pt x="47" y="31"/>
                    <a:pt x="47" y="31"/>
                  </a:cubicBezTo>
                  <a:cubicBezTo>
                    <a:pt x="47" y="23"/>
                    <a:pt x="46" y="16"/>
                    <a:pt x="37" y="16"/>
                  </a:cubicBezTo>
                  <a:cubicBezTo>
                    <a:pt x="30" y="16"/>
                    <a:pt x="19" y="23"/>
                    <a:pt x="19" y="23"/>
                  </a:cubicBezTo>
                  <a:cubicBezTo>
                    <a:pt x="19" y="63"/>
                    <a:pt x="19" y="63"/>
                    <a:pt x="19" y="63"/>
                  </a:cubicBezTo>
                  <a:cubicBezTo>
                    <a:pt x="19" y="6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3"/>
                    <a:pt x="34" y="0"/>
                    <a:pt x="43" y="0"/>
                  </a:cubicBezTo>
                  <a:cubicBezTo>
                    <a:pt x="52" y="0"/>
                    <a:pt x="59" y="4"/>
                    <a:pt x="63" y="11"/>
                  </a:cubicBezTo>
                  <a:cubicBezTo>
                    <a:pt x="71" y="3"/>
                    <a:pt x="81" y="0"/>
                    <a:pt x="89" y="0"/>
                  </a:cubicBezTo>
                  <a:cubicBezTo>
                    <a:pt x="102" y="0"/>
                    <a:pt x="114" y="6"/>
                    <a:pt x="114" y="25"/>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8" name="Freeform 27"/>
            <p:cNvSpPr>
              <a:spLocks/>
            </p:cNvSpPr>
            <p:nvPr userDrawn="1"/>
          </p:nvSpPr>
          <p:spPr bwMode="auto">
            <a:xfrm>
              <a:off x="7908622" y="5019846"/>
              <a:ext cx="77407" cy="77889"/>
            </a:xfrm>
            <a:custGeom>
              <a:avLst/>
              <a:gdLst>
                <a:gd name="T0" fmla="*/ 43 w 102"/>
                <a:gd name="T1" fmla="*/ 107 h 107"/>
                <a:gd name="T2" fmla="*/ 65 w 102"/>
                <a:gd name="T3" fmla="*/ 91 h 107"/>
                <a:gd name="T4" fmla="*/ 102 w 102"/>
                <a:gd name="T5" fmla="*/ 0 h 107"/>
                <a:gd name="T6" fmla="*/ 81 w 102"/>
                <a:gd name="T7" fmla="*/ 0 h 107"/>
                <a:gd name="T8" fmla="*/ 51 w 102"/>
                <a:gd name="T9" fmla="*/ 78 h 107"/>
                <a:gd name="T10" fmla="*/ 51 w 102"/>
                <a:gd name="T11" fmla="*/ 78 h 107"/>
                <a:gd name="T12" fmla="*/ 21 w 102"/>
                <a:gd name="T13" fmla="*/ 0 h 107"/>
                <a:gd name="T14" fmla="*/ 0 w 102"/>
                <a:gd name="T15" fmla="*/ 0 h 107"/>
                <a:gd name="T16" fmla="*/ 43 w 102"/>
                <a:gd name="T17"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107">
                  <a:moveTo>
                    <a:pt x="43" y="107"/>
                  </a:moveTo>
                  <a:cubicBezTo>
                    <a:pt x="57" y="107"/>
                    <a:pt x="61" y="101"/>
                    <a:pt x="65" y="91"/>
                  </a:cubicBezTo>
                  <a:cubicBezTo>
                    <a:pt x="102" y="0"/>
                    <a:pt x="102" y="0"/>
                    <a:pt x="102" y="0"/>
                  </a:cubicBezTo>
                  <a:cubicBezTo>
                    <a:pt x="81" y="0"/>
                    <a:pt x="81" y="0"/>
                    <a:pt x="81" y="0"/>
                  </a:cubicBezTo>
                  <a:cubicBezTo>
                    <a:pt x="51" y="78"/>
                    <a:pt x="51" y="78"/>
                    <a:pt x="51" y="78"/>
                  </a:cubicBezTo>
                  <a:cubicBezTo>
                    <a:pt x="51" y="78"/>
                    <a:pt x="51" y="78"/>
                    <a:pt x="51" y="78"/>
                  </a:cubicBezTo>
                  <a:cubicBezTo>
                    <a:pt x="21" y="0"/>
                    <a:pt x="21" y="0"/>
                    <a:pt x="21" y="0"/>
                  </a:cubicBezTo>
                  <a:cubicBezTo>
                    <a:pt x="0" y="0"/>
                    <a:pt x="0" y="0"/>
                    <a:pt x="0" y="0"/>
                  </a:cubicBezTo>
                  <a:cubicBezTo>
                    <a:pt x="43" y="107"/>
                    <a:pt x="43" y="107"/>
                    <a:pt x="43" y="10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pic>
        <p:nvPicPr>
          <p:cNvPr id="233" name="Picture 23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68466" y="4829728"/>
            <a:ext cx="288000" cy="288000"/>
          </a:xfrm>
          <a:prstGeom prst="rect">
            <a:avLst/>
          </a:prstGeom>
        </p:spPr>
      </p:pic>
      <p:sp>
        <p:nvSpPr>
          <p:cNvPr id="235" name="Text Placeholder 2"/>
          <p:cNvSpPr>
            <a:spLocks noGrp="1"/>
          </p:cNvSpPr>
          <p:nvPr>
            <p:ph type="body" sz="quarter" idx="25" hasCustomPrompt="1"/>
          </p:nvPr>
        </p:nvSpPr>
        <p:spPr>
          <a:xfrm>
            <a:off x="3342796" y="4807465"/>
            <a:ext cx="1160462" cy="341313"/>
          </a:xfrm>
          <a:prstGeom prst="rect">
            <a:avLst/>
          </a:prstGeom>
        </p:spPr>
        <p:txBody>
          <a:bodyPr anchor="ctr"/>
          <a:lstStyle>
            <a:lvl1pPr marL="0" indent="0" algn="ctr">
              <a:buNone/>
              <a:defRPr sz="800">
                <a:solidFill>
                  <a:schemeClr val="bg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grpSp>
        <p:nvGrpSpPr>
          <p:cNvPr id="51" name="Group 50"/>
          <p:cNvGrpSpPr/>
          <p:nvPr userDrawn="1"/>
        </p:nvGrpSpPr>
        <p:grpSpPr>
          <a:xfrm>
            <a:off x="7686461" y="4906654"/>
            <a:ext cx="1124815" cy="151147"/>
            <a:chOff x="7686461" y="4581466"/>
            <a:chExt cx="1124815" cy="151147"/>
          </a:xfrm>
          <a:solidFill>
            <a:schemeClr val="bg1"/>
          </a:solidFill>
        </p:grpSpPr>
        <p:sp>
          <p:nvSpPr>
            <p:cNvPr id="52"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3"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4"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5"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6"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7"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8"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9"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0"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1"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2"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3"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4"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5"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6"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grpSp>
      <p:sp>
        <p:nvSpPr>
          <p:cNvPr id="68"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solidFill>
                  <a:schemeClr val="tx2">
                    <a:lumMod val="75000"/>
                  </a:schemeClr>
                </a:solidFill>
                <a:latin typeface="+mn-lt"/>
              </a:rPr>
              <a:t>Private and Confidental</a:t>
            </a:r>
            <a:endParaRPr lang="pt-BR" sz="500" dirty="0">
              <a:solidFill>
                <a:schemeClr val="tx2">
                  <a:lumMod val="75000"/>
                </a:schemeClr>
              </a:solidFill>
              <a:latin typeface="+mn-lt"/>
            </a:endParaRPr>
          </a:p>
        </p:txBody>
      </p:sp>
    </p:spTree>
    <p:extLst>
      <p:ext uri="{BB962C8B-B14F-4D97-AF65-F5344CB8AC3E}">
        <p14:creationId xmlns:p14="http://schemas.microsoft.com/office/powerpoint/2010/main" val="1036685919"/>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FF_V_MB_Orange">
    <p:bg>
      <p:bgPr>
        <a:solidFill>
          <a:schemeClr val="bg1"/>
        </a:solidFill>
        <a:effectLst/>
      </p:bgPr>
    </p:bg>
    <p:spTree>
      <p:nvGrpSpPr>
        <p:cNvPr id="1" name=""/>
        <p:cNvGrpSpPr/>
        <p:nvPr/>
      </p:nvGrpSpPr>
      <p:grpSpPr>
        <a:xfrm>
          <a:off x="0" y="0"/>
          <a:ext cx="0" cy="0"/>
          <a:chOff x="0" y="0"/>
          <a:chExt cx="0" cy="0"/>
        </a:xfrm>
      </p:grpSpPr>
      <p:sp>
        <p:nvSpPr>
          <p:cNvPr id="31" name="Rectangle 30"/>
          <p:cNvSpPr/>
          <p:nvPr userDrawn="1"/>
        </p:nvSpPr>
        <p:spPr>
          <a:xfrm>
            <a:off x="0" y="0"/>
            <a:ext cx="9144000" cy="5148263"/>
          </a:xfrm>
          <a:prstGeom prst="rect">
            <a:avLst/>
          </a:prstGeom>
          <a:solidFill>
            <a:schemeClr val="accent4">
              <a:lumMod val="75000"/>
            </a:schemeClr>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en-GB" sz="1050" smtClean="0">
              <a:solidFill>
                <a:schemeClr val="bg1"/>
              </a:solidFill>
              <a:latin typeface="Arial" panose="020B0604020202020204" pitchFamily="34" charset="0"/>
              <a:cs typeface="Arial" panose="020B0604020202020204" pitchFamily="34" charset="0"/>
            </a:endParaRPr>
          </a:p>
        </p:txBody>
      </p:sp>
      <p:pic>
        <p:nvPicPr>
          <p:cNvPr id="33" name="Picture 32" descr="cookie_white.png"/>
          <p:cNvPicPr>
            <a:picLocks noChangeAspect="1"/>
          </p:cNvPicPr>
          <p:nvPr userDrawn="1"/>
        </p:nvPicPr>
        <p:blipFill rotWithShape="1">
          <a:blip r:embed="rId2" cstate="screen">
            <a:alphaModFix amt="16000"/>
            <a:extLst>
              <a:ext uri="{28A0092B-C50C-407E-A947-70E740481C1C}">
                <a14:useLocalDpi xmlns:a14="http://schemas.microsoft.com/office/drawing/2010/main"/>
              </a:ext>
            </a:extLst>
          </a:blip>
          <a:srcRect/>
          <a:stretch/>
        </p:blipFill>
        <p:spPr>
          <a:xfrm flipH="1">
            <a:off x="5149029" y="2289839"/>
            <a:ext cx="4020091" cy="2880000"/>
          </a:xfrm>
          <a:prstGeom prst="rect">
            <a:avLst/>
          </a:prstGeom>
        </p:spPr>
      </p:pic>
      <p:cxnSp>
        <p:nvCxnSpPr>
          <p:cNvPr id="32" name="Straight Connector 31"/>
          <p:cNvCxnSpPr/>
          <p:nvPr userDrawn="1"/>
        </p:nvCxnSpPr>
        <p:spPr>
          <a:xfrm>
            <a:off x="343365" y="470176"/>
            <a:ext cx="8460000" cy="0"/>
          </a:xfrm>
          <a:prstGeom prst="line">
            <a:avLst/>
          </a:prstGeom>
          <a:ln w="6350" cmpd="sng">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343365" y="4801146"/>
            <a:ext cx="8460000" cy="0"/>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sp>
        <p:nvSpPr>
          <p:cNvPr id="67"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rgbClr val="FFFFFF"/>
                </a:solidFill>
                <a:latin typeface="+mn-lt"/>
              </a:defRPr>
            </a:lvl1pPr>
          </a:lstStyle>
          <a:p>
            <a:fld id="{19AB4E72-7858-48F1-A40D-12FF09E4BFB8}" type="slidenum">
              <a:rPr lang="en-GB" smtClean="0"/>
              <a:pPr/>
              <a:t>‹Nº›</a:t>
            </a:fld>
            <a:endParaRPr lang="en-GB"/>
          </a:p>
        </p:txBody>
      </p:sp>
      <p:sp>
        <p:nvSpPr>
          <p:cNvPr id="36" name="Title 1"/>
          <p:cNvSpPr>
            <a:spLocks noGrp="1"/>
          </p:cNvSpPr>
          <p:nvPr>
            <p:ph type="ctrTitle" hasCustomPrompt="1"/>
          </p:nvPr>
        </p:nvSpPr>
        <p:spPr>
          <a:xfrm>
            <a:off x="343365" y="2867487"/>
            <a:ext cx="8460000" cy="443198"/>
          </a:xfrm>
          <a:prstGeom prst="rect">
            <a:avLst/>
          </a:prstGeom>
        </p:spPr>
        <p:txBody>
          <a:bodyPr lIns="0" tIns="0" rIns="0" bIns="0" anchor="b"/>
          <a:lstStyle>
            <a:lvl1pPr>
              <a:lnSpc>
                <a:spcPct val="90000"/>
              </a:lnSpc>
              <a:defRPr sz="3200" b="0">
                <a:solidFill>
                  <a:schemeClr val="bg1"/>
                </a:solidFill>
              </a:defRPr>
            </a:lvl1pPr>
          </a:lstStyle>
          <a:p>
            <a:r>
              <a:rPr lang="en-US" dirty="0" smtClean="0"/>
              <a:t>Click to edit Master title Style</a:t>
            </a:r>
            <a:endParaRPr lang="en-US" dirty="0"/>
          </a:p>
        </p:txBody>
      </p:sp>
      <p:sp>
        <p:nvSpPr>
          <p:cNvPr id="37" name="Subtitle 2"/>
          <p:cNvSpPr>
            <a:spLocks noGrp="1"/>
          </p:cNvSpPr>
          <p:nvPr>
            <p:ph type="subTitle" idx="1" hasCustomPrompt="1"/>
          </p:nvPr>
        </p:nvSpPr>
        <p:spPr>
          <a:xfrm>
            <a:off x="343364" y="3474100"/>
            <a:ext cx="8460000" cy="202165"/>
          </a:xfrm>
          <a:prstGeom prst="rect">
            <a:avLst/>
          </a:prstGeom>
        </p:spPr>
        <p:txBody>
          <a:bodyPr lIns="0" tIns="0" rIns="0" bIns="0">
            <a:noAutofit/>
          </a:bodyPr>
          <a:lstStyle>
            <a:lvl1pPr marL="0" indent="0" algn="l">
              <a:buNone/>
              <a:defRPr sz="14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cxnSp>
        <p:nvCxnSpPr>
          <p:cNvPr id="38" name="Straight Connector 37"/>
          <p:cNvCxnSpPr/>
          <p:nvPr userDrawn="1"/>
        </p:nvCxnSpPr>
        <p:spPr>
          <a:xfrm>
            <a:off x="346086" y="3395058"/>
            <a:ext cx="8460000" cy="0"/>
          </a:xfrm>
          <a:prstGeom prst="line">
            <a:avLst/>
          </a:prstGeom>
          <a:ln w="12700" cmpd="sng">
            <a:solidFill>
              <a:schemeClr val="bg1"/>
            </a:solidFill>
          </a:ln>
        </p:spPr>
        <p:style>
          <a:lnRef idx="1">
            <a:schemeClr val="accent1"/>
          </a:lnRef>
          <a:fillRef idx="0">
            <a:schemeClr val="accent1"/>
          </a:fillRef>
          <a:effectRef idx="0">
            <a:schemeClr val="accent1"/>
          </a:effectRef>
          <a:fontRef idx="minor">
            <a:schemeClr val="tx1"/>
          </a:fontRef>
        </p:style>
      </p:cxnSp>
      <p:grpSp>
        <p:nvGrpSpPr>
          <p:cNvPr id="50" name="Group 49"/>
          <p:cNvGrpSpPr/>
          <p:nvPr userDrawn="1"/>
        </p:nvGrpSpPr>
        <p:grpSpPr>
          <a:xfrm>
            <a:off x="6219557" y="4840100"/>
            <a:ext cx="1123200" cy="233974"/>
            <a:chOff x="7665803" y="4864376"/>
            <a:chExt cx="1123200" cy="233974"/>
          </a:xfrm>
          <a:solidFill>
            <a:schemeClr val="bg1"/>
          </a:solidFill>
        </p:grpSpPr>
        <p:sp>
          <p:nvSpPr>
            <p:cNvPr id="52" name="Freeform 6"/>
            <p:cNvSpPr>
              <a:spLocks/>
            </p:cNvSpPr>
            <p:nvPr userDrawn="1"/>
          </p:nvSpPr>
          <p:spPr bwMode="auto">
            <a:xfrm>
              <a:off x="8119644" y="4924717"/>
              <a:ext cx="103102" cy="66806"/>
            </a:xfrm>
            <a:custGeom>
              <a:avLst/>
              <a:gdLst>
                <a:gd name="T0" fmla="*/ 111 w 136"/>
                <a:gd name="T1" fmla="*/ 72 h 92"/>
                <a:gd name="T2" fmla="*/ 87 w 136"/>
                <a:gd name="T3" fmla="*/ 88 h 92"/>
                <a:gd name="T4" fmla="*/ 68 w 136"/>
                <a:gd name="T5" fmla="*/ 28 h 92"/>
                <a:gd name="T6" fmla="*/ 67 w 136"/>
                <a:gd name="T7" fmla="*/ 28 h 92"/>
                <a:gd name="T8" fmla="*/ 53 w 136"/>
                <a:gd name="T9" fmla="*/ 72 h 92"/>
                <a:gd name="T10" fmla="*/ 31 w 136"/>
                <a:gd name="T11" fmla="*/ 88 h 92"/>
                <a:gd name="T12" fmla="*/ 0 w 136"/>
                <a:gd name="T13" fmla="*/ 0 h 92"/>
                <a:gd name="T14" fmla="*/ 22 w 136"/>
                <a:gd name="T15" fmla="*/ 0 h 92"/>
                <a:gd name="T16" fmla="*/ 41 w 136"/>
                <a:gd name="T17" fmla="*/ 60 h 92"/>
                <a:gd name="T18" fmla="*/ 41 w 136"/>
                <a:gd name="T19" fmla="*/ 60 h 92"/>
                <a:gd name="T20" fmla="*/ 60 w 136"/>
                <a:gd name="T21" fmla="*/ 0 h 92"/>
                <a:gd name="T22" fmla="*/ 77 w 136"/>
                <a:gd name="T23" fmla="*/ 0 h 92"/>
                <a:gd name="T24" fmla="*/ 96 w 136"/>
                <a:gd name="T25" fmla="*/ 60 h 92"/>
                <a:gd name="T26" fmla="*/ 97 w 136"/>
                <a:gd name="T27" fmla="*/ 60 h 92"/>
                <a:gd name="T28" fmla="*/ 115 w 136"/>
                <a:gd name="T29" fmla="*/ 0 h 92"/>
                <a:gd name="T30" fmla="*/ 136 w 136"/>
                <a:gd name="T31" fmla="*/ 0 h 92"/>
                <a:gd name="T32" fmla="*/ 111 w 136"/>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 h="92">
                  <a:moveTo>
                    <a:pt x="111" y="72"/>
                  </a:moveTo>
                  <a:cubicBezTo>
                    <a:pt x="103" y="92"/>
                    <a:pt x="87" y="88"/>
                    <a:pt x="87" y="88"/>
                  </a:cubicBezTo>
                  <a:cubicBezTo>
                    <a:pt x="68" y="28"/>
                    <a:pt x="68" y="28"/>
                    <a:pt x="68" y="28"/>
                  </a:cubicBezTo>
                  <a:cubicBezTo>
                    <a:pt x="67" y="28"/>
                    <a:pt x="67" y="28"/>
                    <a:pt x="67" y="28"/>
                  </a:cubicBezTo>
                  <a:cubicBezTo>
                    <a:pt x="67" y="28"/>
                    <a:pt x="58"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6" y="60"/>
                    <a:pt x="96" y="60"/>
                    <a:pt x="96" y="60"/>
                  </a:cubicBezTo>
                  <a:cubicBezTo>
                    <a:pt x="97" y="60"/>
                    <a:pt x="97" y="60"/>
                    <a:pt x="97" y="60"/>
                  </a:cubicBezTo>
                  <a:cubicBezTo>
                    <a:pt x="115" y="0"/>
                    <a:pt x="115" y="0"/>
                    <a:pt x="115" y="0"/>
                  </a:cubicBezTo>
                  <a:cubicBezTo>
                    <a:pt x="136" y="0"/>
                    <a:pt x="136" y="0"/>
                    <a:pt x="136" y="0"/>
                  </a:cubicBezTo>
                  <a:cubicBezTo>
                    <a:pt x="136"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53" name="Freeform 7"/>
            <p:cNvSpPr>
              <a:spLocks noEditPoints="1"/>
            </p:cNvSpPr>
            <p:nvPr userDrawn="1"/>
          </p:nvSpPr>
          <p:spPr bwMode="auto">
            <a:xfrm>
              <a:off x="8225958" y="4923177"/>
              <a:ext cx="57493" cy="66190"/>
            </a:xfrm>
            <a:custGeom>
              <a:avLst/>
              <a:gdLst>
                <a:gd name="T0" fmla="*/ 57 w 76"/>
                <a:gd name="T1" fmla="*/ 90 h 91"/>
                <a:gd name="T2" fmla="*/ 53 w 76"/>
                <a:gd name="T3" fmla="*/ 81 h 91"/>
                <a:gd name="T4" fmla="*/ 28 w 76"/>
                <a:gd name="T5" fmla="*/ 91 h 91"/>
                <a:gd name="T6" fmla="*/ 0 w 76"/>
                <a:gd name="T7" fmla="*/ 63 h 91"/>
                <a:gd name="T8" fmla="*/ 36 w 76"/>
                <a:gd name="T9" fmla="*/ 34 h 91"/>
                <a:gd name="T10" fmla="*/ 51 w 76"/>
                <a:gd name="T11" fmla="*/ 34 h 91"/>
                <a:gd name="T12" fmla="*/ 51 w 76"/>
                <a:gd name="T13" fmla="*/ 31 h 91"/>
                <a:gd name="T14" fmla="*/ 35 w 76"/>
                <a:gd name="T15" fmla="*/ 17 h 91"/>
                <a:gd name="T16" fmla="*/ 12 w 76"/>
                <a:gd name="T17" fmla="*/ 23 h 91"/>
                <a:gd name="T18" fmla="*/ 5 w 76"/>
                <a:gd name="T19" fmla="*/ 9 h 91"/>
                <a:gd name="T20" fmla="*/ 39 w 76"/>
                <a:gd name="T21" fmla="*/ 0 h 91"/>
                <a:gd name="T22" fmla="*/ 74 w 76"/>
                <a:gd name="T23" fmla="*/ 31 h 91"/>
                <a:gd name="T24" fmla="*/ 74 w 76"/>
                <a:gd name="T25" fmla="*/ 66 h 91"/>
                <a:gd name="T26" fmla="*/ 76 w 76"/>
                <a:gd name="T27" fmla="*/ 90 h 91"/>
                <a:gd name="T28" fmla="*/ 57 w 76"/>
                <a:gd name="T29" fmla="*/ 90 h 91"/>
                <a:gd name="T30" fmla="*/ 51 w 76"/>
                <a:gd name="T31" fmla="*/ 49 h 91"/>
                <a:gd name="T32" fmla="*/ 39 w 76"/>
                <a:gd name="T33" fmla="*/ 49 h 91"/>
                <a:gd name="T34" fmla="*/ 22 w 76"/>
                <a:gd name="T35" fmla="*/ 61 h 91"/>
                <a:gd name="T36" fmla="*/ 36 w 76"/>
                <a:gd name="T37" fmla="*/ 73 h 91"/>
                <a:gd name="T38" fmla="*/ 51 w 76"/>
                <a:gd name="T39" fmla="*/ 68 h 91"/>
                <a:gd name="T40" fmla="*/ 51 w 76"/>
                <a:gd name="T41" fmla="*/ 4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91">
                  <a:moveTo>
                    <a:pt x="57" y="90"/>
                  </a:moveTo>
                  <a:cubicBezTo>
                    <a:pt x="53" y="81"/>
                    <a:pt x="53" y="81"/>
                    <a:pt x="53" y="81"/>
                  </a:cubicBezTo>
                  <a:cubicBezTo>
                    <a:pt x="48" y="86"/>
                    <a:pt x="40" y="91"/>
                    <a:pt x="28" y="91"/>
                  </a:cubicBezTo>
                  <a:cubicBezTo>
                    <a:pt x="12" y="91"/>
                    <a:pt x="0" y="80"/>
                    <a:pt x="0" y="63"/>
                  </a:cubicBezTo>
                  <a:cubicBezTo>
                    <a:pt x="0" y="45"/>
                    <a:pt x="14" y="35"/>
                    <a:pt x="36" y="34"/>
                  </a:cubicBezTo>
                  <a:cubicBezTo>
                    <a:pt x="51" y="34"/>
                    <a:pt x="51" y="34"/>
                    <a:pt x="51" y="34"/>
                  </a:cubicBezTo>
                  <a:cubicBezTo>
                    <a:pt x="51" y="33"/>
                    <a:pt x="51" y="32"/>
                    <a:pt x="51" y="31"/>
                  </a:cubicBezTo>
                  <a:cubicBezTo>
                    <a:pt x="51" y="21"/>
                    <a:pt x="44" y="17"/>
                    <a:pt x="35" y="17"/>
                  </a:cubicBezTo>
                  <a:cubicBezTo>
                    <a:pt x="25" y="17"/>
                    <a:pt x="18" y="20"/>
                    <a:pt x="12" y="23"/>
                  </a:cubicBezTo>
                  <a:cubicBezTo>
                    <a:pt x="5" y="9"/>
                    <a:pt x="5" y="9"/>
                    <a:pt x="5" y="9"/>
                  </a:cubicBezTo>
                  <a:cubicBezTo>
                    <a:pt x="17" y="2"/>
                    <a:pt x="28" y="0"/>
                    <a:pt x="39" y="0"/>
                  </a:cubicBezTo>
                  <a:cubicBezTo>
                    <a:pt x="61" y="0"/>
                    <a:pt x="74" y="9"/>
                    <a:pt x="74" y="31"/>
                  </a:cubicBezTo>
                  <a:cubicBezTo>
                    <a:pt x="74" y="66"/>
                    <a:pt x="74" y="66"/>
                    <a:pt x="74" y="66"/>
                  </a:cubicBezTo>
                  <a:cubicBezTo>
                    <a:pt x="74" y="78"/>
                    <a:pt x="75" y="86"/>
                    <a:pt x="76" y="90"/>
                  </a:cubicBezTo>
                  <a:lnTo>
                    <a:pt x="57" y="90"/>
                  </a:lnTo>
                  <a:close/>
                  <a:moveTo>
                    <a:pt x="51" y="49"/>
                  </a:moveTo>
                  <a:cubicBezTo>
                    <a:pt x="39" y="49"/>
                    <a:pt x="39" y="49"/>
                    <a:pt x="39" y="49"/>
                  </a:cubicBezTo>
                  <a:cubicBezTo>
                    <a:pt x="27" y="50"/>
                    <a:pt x="22" y="54"/>
                    <a:pt x="22" y="61"/>
                  </a:cubicBezTo>
                  <a:cubicBezTo>
                    <a:pt x="22" y="68"/>
                    <a:pt x="27" y="73"/>
                    <a:pt x="36" y="73"/>
                  </a:cubicBezTo>
                  <a:cubicBezTo>
                    <a:pt x="44" y="73"/>
                    <a:pt x="49" y="70"/>
                    <a:pt x="51" y="68"/>
                  </a:cubicBezTo>
                  <a:lnTo>
                    <a:pt x="51" y="4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54" name="Freeform 8"/>
            <p:cNvSpPr>
              <a:spLocks noEditPoints="1"/>
            </p:cNvSpPr>
            <p:nvPr userDrawn="1"/>
          </p:nvSpPr>
          <p:spPr bwMode="auto">
            <a:xfrm>
              <a:off x="8342550" y="4892699"/>
              <a:ext cx="62311" cy="96668"/>
            </a:xfrm>
            <a:custGeom>
              <a:avLst/>
              <a:gdLst>
                <a:gd name="T0" fmla="*/ 47 w 82"/>
                <a:gd name="T1" fmla="*/ 133 h 133"/>
                <a:gd name="T2" fmla="*/ 0 w 82"/>
                <a:gd name="T3" fmla="*/ 88 h 133"/>
                <a:gd name="T4" fmla="*/ 48 w 82"/>
                <a:gd name="T5" fmla="*/ 42 h 133"/>
                <a:gd name="T6" fmla="*/ 59 w 82"/>
                <a:gd name="T7" fmla="*/ 42 h 133"/>
                <a:gd name="T8" fmla="*/ 60 w 82"/>
                <a:gd name="T9" fmla="*/ 0 h 133"/>
                <a:gd name="T10" fmla="*/ 82 w 82"/>
                <a:gd name="T11" fmla="*/ 0 h 133"/>
                <a:gd name="T12" fmla="*/ 81 w 82"/>
                <a:gd name="T13" fmla="*/ 126 h 133"/>
                <a:gd name="T14" fmla="*/ 47 w 82"/>
                <a:gd name="T15" fmla="*/ 133 h 133"/>
                <a:gd name="T16" fmla="*/ 59 w 82"/>
                <a:gd name="T17" fmla="*/ 60 h 133"/>
                <a:gd name="T18" fmla="*/ 49 w 82"/>
                <a:gd name="T19" fmla="*/ 59 h 133"/>
                <a:gd name="T20" fmla="*/ 22 w 82"/>
                <a:gd name="T21" fmla="*/ 87 h 133"/>
                <a:gd name="T22" fmla="*/ 49 w 82"/>
                <a:gd name="T23" fmla="*/ 114 h 133"/>
                <a:gd name="T24" fmla="*/ 59 w 82"/>
                <a:gd name="T25" fmla="*/ 113 h 133"/>
                <a:gd name="T26" fmla="*/ 59 w 82"/>
                <a:gd name="T27" fmla="*/ 6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3">
                  <a:moveTo>
                    <a:pt x="47" y="133"/>
                  </a:moveTo>
                  <a:cubicBezTo>
                    <a:pt x="21" y="133"/>
                    <a:pt x="0" y="117"/>
                    <a:pt x="0" y="88"/>
                  </a:cubicBezTo>
                  <a:cubicBezTo>
                    <a:pt x="0" y="61"/>
                    <a:pt x="20" y="42"/>
                    <a:pt x="48" y="42"/>
                  </a:cubicBezTo>
                  <a:cubicBezTo>
                    <a:pt x="52" y="42"/>
                    <a:pt x="56" y="42"/>
                    <a:pt x="59" y="42"/>
                  </a:cubicBezTo>
                  <a:cubicBezTo>
                    <a:pt x="60" y="0"/>
                    <a:pt x="60" y="0"/>
                    <a:pt x="60" y="0"/>
                  </a:cubicBezTo>
                  <a:cubicBezTo>
                    <a:pt x="82" y="0"/>
                    <a:pt x="82" y="0"/>
                    <a:pt x="82" y="0"/>
                  </a:cubicBezTo>
                  <a:cubicBezTo>
                    <a:pt x="81" y="126"/>
                    <a:pt x="81" y="126"/>
                    <a:pt x="81" y="126"/>
                  </a:cubicBezTo>
                  <a:cubicBezTo>
                    <a:pt x="73" y="130"/>
                    <a:pt x="62" y="133"/>
                    <a:pt x="47" y="133"/>
                  </a:cubicBezTo>
                  <a:close/>
                  <a:moveTo>
                    <a:pt x="59" y="60"/>
                  </a:moveTo>
                  <a:cubicBezTo>
                    <a:pt x="56" y="60"/>
                    <a:pt x="54" y="59"/>
                    <a:pt x="49" y="59"/>
                  </a:cubicBezTo>
                  <a:cubicBezTo>
                    <a:pt x="33" y="59"/>
                    <a:pt x="22" y="70"/>
                    <a:pt x="22" y="87"/>
                  </a:cubicBezTo>
                  <a:cubicBezTo>
                    <a:pt x="22" y="103"/>
                    <a:pt x="32" y="114"/>
                    <a:pt x="49" y="114"/>
                  </a:cubicBezTo>
                  <a:cubicBezTo>
                    <a:pt x="53" y="114"/>
                    <a:pt x="57" y="114"/>
                    <a:pt x="59" y="113"/>
                  </a:cubicBezTo>
                  <a:lnTo>
                    <a:pt x="59" y="60"/>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55" name="Freeform 9"/>
            <p:cNvSpPr>
              <a:spLocks/>
            </p:cNvSpPr>
            <p:nvPr userDrawn="1"/>
          </p:nvSpPr>
          <p:spPr bwMode="auto">
            <a:xfrm>
              <a:off x="8093949"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8" name="Freeform 10"/>
            <p:cNvSpPr>
              <a:spLocks/>
            </p:cNvSpPr>
            <p:nvPr userDrawn="1"/>
          </p:nvSpPr>
          <p:spPr bwMode="auto">
            <a:xfrm>
              <a:off x="8060545"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4" name="Freeform 11"/>
            <p:cNvSpPr>
              <a:spLocks/>
            </p:cNvSpPr>
            <p:nvPr userDrawn="1"/>
          </p:nvSpPr>
          <p:spPr bwMode="auto">
            <a:xfrm>
              <a:off x="8297262" y="4923177"/>
              <a:ext cx="43039" cy="66190"/>
            </a:xfrm>
            <a:custGeom>
              <a:avLst/>
              <a:gdLst>
                <a:gd name="T0" fmla="*/ 49 w 57"/>
                <a:gd name="T1" fmla="*/ 22 h 91"/>
                <a:gd name="T2" fmla="*/ 39 w 57"/>
                <a:gd name="T3" fmla="*/ 20 h 91"/>
                <a:gd name="T4" fmla="*/ 22 w 57"/>
                <a:gd name="T5" fmla="*/ 27 h 91"/>
                <a:gd name="T6" fmla="*/ 22 w 57"/>
                <a:gd name="T7" fmla="*/ 74 h 91"/>
                <a:gd name="T8" fmla="*/ 0 w 57"/>
                <a:gd name="T9" fmla="*/ 90 h 91"/>
                <a:gd name="T10" fmla="*/ 0 w 57"/>
                <a:gd name="T11" fmla="*/ 2 h 91"/>
                <a:gd name="T12" fmla="*/ 18 w 57"/>
                <a:gd name="T13" fmla="*/ 2 h 91"/>
                <a:gd name="T14" fmla="*/ 21 w 57"/>
                <a:gd name="T15" fmla="*/ 11 h 91"/>
                <a:gd name="T16" fmla="*/ 45 w 57"/>
                <a:gd name="T17" fmla="*/ 0 h 91"/>
                <a:gd name="T18" fmla="*/ 57 w 57"/>
                <a:gd name="T19" fmla="*/ 4 h 91"/>
                <a:gd name="T20" fmla="*/ 49 w 57"/>
                <a:gd name="T21" fmla="*/ 2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1">
                  <a:moveTo>
                    <a:pt x="49" y="22"/>
                  </a:moveTo>
                  <a:cubicBezTo>
                    <a:pt x="45" y="20"/>
                    <a:pt x="41" y="20"/>
                    <a:pt x="39" y="20"/>
                  </a:cubicBezTo>
                  <a:cubicBezTo>
                    <a:pt x="34" y="20"/>
                    <a:pt x="28" y="22"/>
                    <a:pt x="22" y="27"/>
                  </a:cubicBezTo>
                  <a:cubicBezTo>
                    <a:pt x="22" y="27"/>
                    <a:pt x="22" y="57"/>
                    <a:pt x="22" y="74"/>
                  </a:cubicBezTo>
                  <a:cubicBezTo>
                    <a:pt x="22" y="91"/>
                    <a:pt x="0" y="90"/>
                    <a:pt x="0" y="90"/>
                  </a:cubicBezTo>
                  <a:cubicBezTo>
                    <a:pt x="0" y="2"/>
                    <a:pt x="0" y="2"/>
                    <a:pt x="0" y="2"/>
                  </a:cubicBezTo>
                  <a:cubicBezTo>
                    <a:pt x="18" y="2"/>
                    <a:pt x="18" y="2"/>
                    <a:pt x="18"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8" name="Freeform 12"/>
            <p:cNvSpPr>
              <a:spLocks/>
            </p:cNvSpPr>
            <p:nvPr userDrawn="1"/>
          </p:nvSpPr>
          <p:spPr bwMode="auto">
            <a:xfrm>
              <a:off x="7907980" y="4892699"/>
              <a:ext cx="98605" cy="95129"/>
            </a:xfrm>
            <a:custGeom>
              <a:avLst/>
              <a:gdLst>
                <a:gd name="T0" fmla="*/ 106 w 130"/>
                <a:gd name="T1" fmla="*/ 131 h 131"/>
                <a:gd name="T2" fmla="*/ 106 w 130"/>
                <a:gd name="T3" fmla="*/ 53 h 131"/>
                <a:gd name="T4" fmla="*/ 107 w 130"/>
                <a:gd name="T5" fmla="*/ 39 h 131"/>
                <a:gd name="T6" fmla="*/ 106 w 130"/>
                <a:gd name="T7" fmla="*/ 39 h 131"/>
                <a:gd name="T8" fmla="*/ 99 w 130"/>
                <a:gd name="T9" fmla="*/ 52 h 131"/>
                <a:gd name="T10" fmla="*/ 72 w 130"/>
                <a:gd name="T11" fmla="*/ 93 h 131"/>
                <a:gd name="T12" fmla="*/ 60 w 130"/>
                <a:gd name="T13" fmla="*/ 93 h 131"/>
                <a:gd name="T14" fmla="*/ 32 w 130"/>
                <a:gd name="T15" fmla="*/ 51 h 131"/>
                <a:gd name="T16" fmla="*/ 24 w 130"/>
                <a:gd name="T17" fmla="*/ 39 h 131"/>
                <a:gd name="T18" fmla="*/ 23 w 130"/>
                <a:gd name="T19" fmla="*/ 39 h 131"/>
                <a:gd name="T20" fmla="*/ 24 w 130"/>
                <a:gd name="T21" fmla="*/ 52 h 131"/>
                <a:gd name="T22" fmla="*/ 24 w 130"/>
                <a:gd name="T23" fmla="*/ 131 h 131"/>
                <a:gd name="T24" fmla="*/ 0 w 130"/>
                <a:gd name="T25" fmla="*/ 131 h 131"/>
                <a:gd name="T26" fmla="*/ 0 w 130"/>
                <a:gd name="T27" fmla="*/ 0 h 131"/>
                <a:gd name="T28" fmla="*/ 22 w 130"/>
                <a:gd name="T29" fmla="*/ 0 h 131"/>
                <a:gd name="T30" fmla="*/ 58 w 130"/>
                <a:gd name="T31" fmla="*/ 52 h 131"/>
                <a:gd name="T32" fmla="*/ 66 w 130"/>
                <a:gd name="T33" fmla="*/ 66 h 131"/>
                <a:gd name="T34" fmla="*/ 67 w 130"/>
                <a:gd name="T35" fmla="*/ 66 h 131"/>
                <a:gd name="T36" fmla="*/ 75 w 130"/>
                <a:gd name="T37" fmla="*/ 52 h 131"/>
                <a:gd name="T38" fmla="*/ 108 w 130"/>
                <a:gd name="T39" fmla="*/ 0 h 131"/>
                <a:gd name="T40" fmla="*/ 130 w 130"/>
                <a:gd name="T41" fmla="*/ 0 h 131"/>
                <a:gd name="T42" fmla="*/ 130 w 130"/>
                <a:gd name="T43" fmla="*/ 131 h 131"/>
                <a:gd name="T44" fmla="*/ 106 w 130"/>
                <a:gd name="T45"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0" h="131">
                  <a:moveTo>
                    <a:pt x="106" y="131"/>
                  </a:moveTo>
                  <a:cubicBezTo>
                    <a:pt x="106" y="53"/>
                    <a:pt x="106" y="53"/>
                    <a:pt x="106" y="53"/>
                  </a:cubicBezTo>
                  <a:cubicBezTo>
                    <a:pt x="106" y="48"/>
                    <a:pt x="106" y="44"/>
                    <a:pt x="107" y="39"/>
                  </a:cubicBezTo>
                  <a:cubicBezTo>
                    <a:pt x="106" y="39"/>
                    <a:pt x="106" y="39"/>
                    <a:pt x="106" y="39"/>
                  </a:cubicBezTo>
                  <a:cubicBezTo>
                    <a:pt x="105" y="43"/>
                    <a:pt x="101" y="49"/>
                    <a:pt x="99" y="52"/>
                  </a:cubicBezTo>
                  <a:cubicBezTo>
                    <a:pt x="72" y="93"/>
                    <a:pt x="72" y="93"/>
                    <a:pt x="72" y="93"/>
                  </a:cubicBezTo>
                  <a:cubicBezTo>
                    <a:pt x="60" y="93"/>
                    <a:pt x="60" y="93"/>
                    <a:pt x="60" y="93"/>
                  </a:cubicBezTo>
                  <a:cubicBezTo>
                    <a:pt x="32" y="51"/>
                    <a:pt x="32" y="51"/>
                    <a:pt x="32" y="51"/>
                  </a:cubicBezTo>
                  <a:cubicBezTo>
                    <a:pt x="29" y="48"/>
                    <a:pt x="26" y="44"/>
                    <a:pt x="24" y="39"/>
                  </a:cubicBezTo>
                  <a:cubicBezTo>
                    <a:pt x="23" y="39"/>
                    <a:pt x="23" y="39"/>
                    <a:pt x="23" y="39"/>
                  </a:cubicBezTo>
                  <a:cubicBezTo>
                    <a:pt x="24" y="44"/>
                    <a:pt x="24" y="48"/>
                    <a:pt x="24" y="52"/>
                  </a:cubicBezTo>
                  <a:cubicBezTo>
                    <a:pt x="24" y="131"/>
                    <a:pt x="24" y="131"/>
                    <a:pt x="24" y="131"/>
                  </a:cubicBezTo>
                  <a:cubicBezTo>
                    <a:pt x="0" y="131"/>
                    <a:pt x="0" y="131"/>
                    <a:pt x="0" y="131"/>
                  </a:cubicBezTo>
                  <a:cubicBezTo>
                    <a:pt x="0" y="0"/>
                    <a:pt x="0" y="0"/>
                    <a:pt x="0" y="0"/>
                  </a:cubicBezTo>
                  <a:cubicBezTo>
                    <a:pt x="22" y="0"/>
                    <a:pt x="22" y="0"/>
                    <a:pt x="22" y="0"/>
                  </a:cubicBezTo>
                  <a:cubicBezTo>
                    <a:pt x="58" y="52"/>
                    <a:pt x="58" y="52"/>
                    <a:pt x="58" y="52"/>
                  </a:cubicBezTo>
                  <a:cubicBezTo>
                    <a:pt x="61" y="57"/>
                    <a:pt x="64" y="61"/>
                    <a:pt x="66" y="66"/>
                  </a:cubicBezTo>
                  <a:cubicBezTo>
                    <a:pt x="67" y="66"/>
                    <a:pt x="67" y="66"/>
                    <a:pt x="67" y="66"/>
                  </a:cubicBezTo>
                  <a:cubicBezTo>
                    <a:pt x="69" y="61"/>
                    <a:pt x="71" y="57"/>
                    <a:pt x="75" y="52"/>
                  </a:cubicBezTo>
                  <a:cubicBezTo>
                    <a:pt x="108" y="0"/>
                    <a:pt x="108" y="0"/>
                    <a:pt x="108" y="0"/>
                  </a:cubicBezTo>
                  <a:cubicBezTo>
                    <a:pt x="130" y="0"/>
                    <a:pt x="130" y="0"/>
                    <a:pt x="130" y="0"/>
                  </a:cubicBezTo>
                  <a:cubicBezTo>
                    <a:pt x="130" y="131"/>
                    <a:pt x="130" y="131"/>
                    <a:pt x="130" y="131"/>
                  </a:cubicBezTo>
                  <a:lnTo>
                    <a:pt x="106" y="131"/>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9" name="Freeform 13"/>
            <p:cNvSpPr>
              <a:spLocks/>
            </p:cNvSpPr>
            <p:nvPr userDrawn="1"/>
          </p:nvSpPr>
          <p:spPr bwMode="auto">
            <a:xfrm>
              <a:off x="7665803" y="4864376"/>
              <a:ext cx="100854" cy="148389"/>
            </a:xfrm>
            <a:custGeom>
              <a:avLst/>
              <a:gdLst>
                <a:gd name="T0" fmla="*/ 133 w 133"/>
                <a:gd name="T1" fmla="*/ 23 h 204"/>
                <a:gd name="T2" fmla="*/ 132 w 133"/>
                <a:gd name="T3" fmla="*/ 22 h 204"/>
                <a:gd name="T4" fmla="*/ 65 w 133"/>
                <a:gd name="T5" fmla="*/ 20 h 204"/>
                <a:gd name="T6" fmla="*/ 52 w 133"/>
                <a:gd name="T7" fmla="*/ 52 h 204"/>
                <a:gd name="T8" fmla="*/ 20 w 133"/>
                <a:gd name="T9" fmla="*/ 65 h 204"/>
                <a:gd name="T10" fmla="*/ 22 w 133"/>
                <a:gd name="T11" fmla="*/ 132 h 204"/>
                <a:gd name="T12" fmla="*/ 95 w 133"/>
                <a:gd name="T13" fmla="*/ 204 h 204"/>
                <a:gd name="T14" fmla="*/ 117 w 133"/>
                <a:gd name="T15" fmla="*/ 182 h 204"/>
                <a:gd name="T16" fmla="*/ 44 w 133"/>
                <a:gd name="T17" fmla="*/ 110 h 204"/>
                <a:gd name="T18" fmla="*/ 42 w 133"/>
                <a:gd name="T19" fmla="*/ 86 h 204"/>
                <a:gd name="T20" fmla="*/ 66 w 133"/>
                <a:gd name="T21" fmla="*/ 88 h 204"/>
                <a:gd name="T22" fmla="*/ 133 w 133"/>
                <a:gd name="T23" fmla="*/ 155 h 204"/>
                <a:gd name="T24" fmla="*/ 133 w 133"/>
                <a:gd name="T25" fmla="*/ 111 h 204"/>
                <a:gd name="T26" fmla="*/ 88 w 133"/>
                <a:gd name="T27" fmla="*/ 66 h 204"/>
                <a:gd name="T28" fmla="*/ 86 w 133"/>
                <a:gd name="T29" fmla="*/ 42 h 204"/>
                <a:gd name="T30" fmla="*/ 110 w 133"/>
                <a:gd name="T31" fmla="*/ 44 h 204"/>
                <a:gd name="T32" fmla="*/ 133 w 133"/>
                <a:gd name="T33" fmla="*/ 66 h 204"/>
                <a:gd name="T34" fmla="*/ 133 w 133"/>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204">
                  <a:moveTo>
                    <a:pt x="133" y="23"/>
                  </a:moveTo>
                  <a:cubicBezTo>
                    <a:pt x="132" y="22"/>
                    <a:pt x="132" y="22"/>
                    <a:pt x="132" y="22"/>
                  </a:cubicBezTo>
                  <a:cubicBezTo>
                    <a:pt x="110" y="0"/>
                    <a:pt x="82" y="2"/>
                    <a:pt x="65" y="20"/>
                  </a:cubicBezTo>
                  <a:cubicBezTo>
                    <a:pt x="53" y="32"/>
                    <a:pt x="51" y="46"/>
                    <a:pt x="52" y="52"/>
                  </a:cubicBezTo>
                  <a:cubicBezTo>
                    <a:pt x="47" y="51"/>
                    <a:pt x="32" y="52"/>
                    <a:pt x="20" y="65"/>
                  </a:cubicBezTo>
                  <a:cubicBezTo>
                    <a:pt x="3" y="82"/>
                    <a:pt x="0" y="110"/>
                    <a:pt x="22" y="132"/>
                  </a:cubicBezTo>
                  <a:cubicBezTo>
                    <a:pt x="95" y="204"/>
                    <a:pt x="95" y="204"/>
                    <a:pt x="95" y="204"/>
                  </a:cubicBezTo>
                  <a:cubicBezTo>
                    <a:pt x="117" y="182"/>
                    <a:pt x="117" y="182"/>
                    <a:pt x="117" y="182"/>
                  </a:cubicBezTo>
                  <a:cubicBezTo>
                    <a:pt x="44" y="110"/>
                    <a:pt x="44" y="110"/>
                    <a:pt x="44" y="110"/>
                  </a:cubicBezTo>
                  <a:cubicBezTo>
                    <a:pt x="35" y="101"/>
                    <a:pt x="36" y="91"/>
                    <a:pt x="42" y="86"/>
                  </a:cubicBezTo>
                  <a:cubicBezTo>
                    <a:pt x="47" y="80"/>
                    <a:pt x="58" y="79"/>
                    <a:pt x="66" y="88"/>
                  </a:cubicBezTo>
                  <a:cubicBezTo>
                    <a:pt x="133" y="155"/>
                    <a:pt x="133" y="155"/>
                    <a:pt x="133" y="155"/>
                  </a:cubicBezTo>
                  <a:cubicBezTo>
                    <a:pt x="133" y="111"/>
                    <a:pt x="133" y="111"/>
                    <a:pt x="133" y="111"/>
                  </a:cubicBezTo>
                  <a:cubicBezTo>
                    <a:pt x="88" y="66"/>
                    <a:pt x="88" y="66"/>
                    <a:pt x="88" y="66"/>
                  </a:cubicBezTo>
                  <a:cubicBezTo>
                    <a:pt x="80" y="57"/>
                    <a:pt x="80" y="47"/>
                    <a:pt x="86" y="42"/>
                  </a:cubicBezTo>
                  <a:cubicBezTo>
                    <a:pt x="92" y="36"/>
                    <a:pt x="102" y="35"/>
                    <a:pt x="110" y="44"/>
                  </a:cubicBezTo>
                  <a:cubicBezTo>
                    <a:pt x="133" y="66"/>
                    <a:pt x="133" y="66"/>
                    <a:pt x="133" y="66"/>
                  </a:cubicBezTo>
                  <a:lnTo>
                    <a:pt x="133"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0" name="Freeform 14"/>
            <p:cNvSpPr>
              <a:spLocks noEditPoints="1"/>
            </p:cNvSpPr>
            <p:nvPr userDrawn="1"/>
          </p:nvSpPr>
          <p:spPr bwMode="auto">
            <a:xfrm>
              <a:off x="8023287" y="4895470"/>
              <a:ext cx="20556" cy="93282"/>
            </a:xfrm>
            <a:custGeom>
              <a:avLst/>
              <a:gdLst>
                <a:gd name="T0" fmla="*/ 14 w 27"/>
                <a:gd name="T1" fmla="*/ 26 h 128"/>
                <a:gd name="T2" fmla="*/ 0 w 27"/>
                <a:gd name="T3" fmla="*/ 13 h 128"/>
                <a:gd name="T4" fmla="*/ 14 w 27"/>
                <a:gd name="T5" fmla="*/ 0 h 128"/>
                <a:gd name="T6" fmla="*/ 27 w 27"/>
                <a:gd name="T7" fmla="*/ 13 h 128"/>
                <a:gd name="T8" fmla="*/ 14 w 27"/>
                <a:gd name="T9" fmla="*/ 26 h 128"/>
                <a:gd name="T10" fmla="*/ 3 w 27"/>
                <a:gd name="T11" fmla="*/ 128 h 128"/>
                <a:gd name="T12" fmla="*/ 3 w 27"/>
                <a:gd name="T13" fmla="*/ 40 h 128"/>
                <a:gd name="T14" fmla="*/ 25 w 27"/>
                <a:gd name="T15" fmla="*/ 40 h 128"/>
                <a:gd name="T16" fmla="*/ 25 w 27"/>
                <a:gd name="T17" fmla="*/ 112 h 128"/>
                <a:gd name="T18" fmla="*/ 3 w 27"/>
                <a:gd name="T1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128">
                  <a:moveTo>
                    <a:pt x="14" y="26"/>
                  </a:moveTo>
                  <a:cubicBezTo>
                    <a:pt x="6" y="26"/>
                    <a:pt x="0" y="20"/>
                    <a:pt x="0" y="13"/>
                  </a:cubicBezTo>
                  <a:cubicBezTo>
                    <a:pt x="0" y="6"/>
                    <a:pt x="6" y="0"/>
                    <a:pt x="14" y="0"/>
                  </a:cubicBezTo>
                  <a:cubicBezTo>
                    <a:pt x="21" y="0"/>
                    <a:pt x="27" y="5"/>
                    <a:pt x="27" y="13"/>
                  </a:cubicBezTo>
                  <a:cubicBezTo>
                    <a:pt x="27" y="20"/>
                    <a:pt x="21" y="26"/>
                    <a:pt x="14" y="26"/>
                  </a:cubicBezTo>
                  <a:close/>
                  <a:moveTo>
                    <a:pt x="3" y="128"/>
                  </a:moveTo>
                  <a:cubicBezTo>
                    <a:pt x="3" y="40"/>
                    <a:pt x="3" y="40"/>
                    <a:pt x="3" y="40"/>
                  </a:cubicBezTo>
                  <a:cubicBezTo>
                    <a:pt x="25" y="40"/>
                    <a:pt x="25" y="40"/>
                    <a:pt x="25" y="40"/>
                  </a:cubicBezTo>
                  <a:cubicBezTo>
                    <a:pt x="25" y="40"/>
                    <a:pt x="25" y="95"/>
                    <a:pt x="25" y="112"/>
                  </a:cubicBezTo>
                  <a:cubicBezTo>
                    <a:pt x="25" y="128"/>
                    <a:pt x="3" y="128"/>
                    <a:pt x="3" y="1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1" name="Freeform 15"/>
            <p:cNvSpPr>
              <a:spLocks/>
            </p:cNvSpPr>
            <p:nvPr userDrawn="1"/>
          </p:nvSpPr>
          <p:spPr bwMode="auto">
            <a:xfrm>
              <a:off x="8615239" y="4924717"/>
              <a:ext cx="103744" cy="66806"/>
            </a:xfrm>
            <a:custGeom>
              <a:avLst/>
              <a:gdLst>
                <a:gd name="T0" fmla="*/ 111 w 137"/>
                <a:gd name="T1" fmla="*/ 72 h 92"/>
                <a:gd name="T2" fmla="*/ 88 w 137"/>
                <a:gd name="T3" fmla="*/ 88 h 92"/>
                <a:gd name="T4" fmla="*/ 68 w 137"/>
                <a:gd name="T5" fmla="*/ 28 h 92"/>
                <a:gd name="T6" fmla="*/ 68 w 137"/>
                <a:gd name="T7" fmla="*/ 28 h 92"/>
                <a:gd name="T8" fmla="*/ 53 w 137"/>
                <a:gd name="T9" fmla="*/ 72 h 92"/>
                <a:gd name="T10" fmla="*/ 31 w 137"/>
                <a:gd name="T11" fmla="*/ 88 h 92"/>
                <a:gd name="T12" fmla="*/ 0 w 137"/>
                <a:gd name="T13" fmla="*/ 0 h 92"/>
                <a:gd name="T14" fmla="*/ 22 w 137"/>
                <a:gd name="T15" fmla="*/ 0 h 92"/>
                <a:gd name="T16" fmla="*/ 41 w 137"/>
                <a:gd name="T17" fmla="*/ 60 h 92"/>
                <a:gd name="T18" fmla="*/ 41 w 137"/>
                <a:gd name="T19" fmla="*/ 60 h 92"/>
                <a:gd name="T20" fmla="*/ 60 w 137"/>
                <a:gd name="T21" fmla="*/ 0 h 92"/>
                <a:gd name="T22" fmla="*/ 77 w 137"/>
                <a:gd name="T23" fmla="*/ 0 h 92"/>
                <a:gd name="T24" fmla="*/ 97 w 137"/>
                <a:gd name="T25" fmla="*/ 60 h 92"/>
                <a:gd name="T26" fmla="*/ 97 w 137"/>
                <a:gd name="T27" fmla="*/ 60 h 92"/>
                <a:gd name="T28" fmla="*/ 115 w 137"/>
                <a:gd name="T29" fmla="*/ 0 h 92"/>
                <a:gd name="T30" fmla="*/ 137 w 137"/>
                <a:gd name="T31" fmla="*/ 0 h 92"/>
                <a:gd name="T32" fmla="*/ 111 w 137"/>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 h="92">
                  <a:moveTo>
                    <a:pt x="111" y="72"/>
                  </a:moveTo>
                  <a:cubicBezTo>
                    <a:pt x="104" y="92"/>
                    <a:pt x="88" y="88"/>
                    <a:pt x="88" y="88"/>
                  </a:cubicBezTo>
                  <a:cubicBezTo>
                    <a:pt x="68" y="28"/>
                    <a:pt x="68" y="28"/>
                    <a:pt x="68" y="28"/>
                  </a:cubicBezTo>
                  <a:cubicBezTo>
                    <a:pt x="68" y="28"/>
                    <a:pt x="68" y="28"/>
                    <a:pt x="68" y="28"/>
                  </a:cubicBezTo>
                  <a:cubicBezTo>
                    <a:pt x="68" y="28"/>
                    <a:pt x="59"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7" y="60"/>
                    <a:pt x="97" y="60"/>
                    <a:pt x="97" y="60"/>
                  </a:cubicBezTo>
                  <a:cubicBezTo>
                    <a:pt x="97" y="60"/>
                    <a:pt x="97" y="60"/>
                    <a:pt x="97" y="60"/>
                  </a:cubicBezTo>
                  <a:cubicBezTo>
                    <a:pt x="115" y="0"/>
                    <a:pt x="115" y="0"/>
                    <a:pt x="115" y="0"/>
                  </a:cubicBezTo>
                  <a:cubicBezTo>
                    <a:pt x="137" y="0"/>
                    <a:pt x="137" y="0"/>
                    <a:pt x="137" y="0"/>
                  </a:cubicBezTo>
                  <a:cubicBezTo>
                    <a:pt x="137"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2" name="Freeform 16"/>
            <p:cNvSpPr>
              <a:spLocks noEditPoints="1"/>
            </p:cNvSpPr>
            <p:nvPr userDrawn="1"/>
          </p:nvSpPr>
          <p:spPr bwMode="auto">
            <a:xfrm>
              <a:off x="8423168" y="4892699"/>
              <a:ext cx="65844" cy="95129"/>
            </a:xfrm>
            <a:custGeom>
              <a:avLst/>
              <a:gdLst>
                <a:gd name="T0" fmla="*/ 1 w 87"/>
                <a:gd name="T1" fmla="*/ 0 h 131"/>
                <a:gd name="T2" fmla="*/ 0 w 87"/>
                <a:gd name="T3" fmla="*/ 131 h 131"/>
                <a:gd name="T4" fmla="*/ 41 w 87"/>
                <a:gd name="T5" fmla="*/ 131 h 131"/>
                <a:gd name="T6" fmla="*/ 87 w 87"/>
                <a:gd name="T7" fmla="*/ 92 h 131"/>
                <a:gd name="T8" fmla="*/ 65 w 87"/>
                <a:gd name="T9" fmla="*/ 61 h 131"/>
                <a:gd name="T10" fmla="*/ 62 w 87"/>
                <a:gd name="T11" fmla="*/ 60 h 131"/>
                <a:gd name="T12" fmla="*/ 64 w 87"/>
                <a:gd name="T13" fmla="*/ 59 h 131"/>
                <a:gd name="T14" fmla="*/ 79 w 87"/>
                <a:gd name="T15" fmla="*/ 32 h 131"/>
                <a:gd name="T16" fmla="*/ 42 w 87"/>
                <a:gd name="T17" fmla="*/ 0 h 131"/>
                <a:gd name="T18" fmla="*/ 1 w 87"/>
                <a:gd name="T19" fmla="*/ 0 h 131"/>
                <a:gd name="T20" fmla="*/ 23 w 87"/>
                <a:gd name="T21" fmla="*/ 17 h 131"/>
                <a:gd name="T22" fmla="*/ 36 w 87"/>
                <a:gd name="T23" fmla="*/ 17 h 131"/>
                <a:gd name="T24" fmla="*/ 56 w 87"/>
                <a:gd name="T25" fmla="*/ 35 h 131"/>
                <a:gd name="T26" fmla="*/ 38 w 87"/>
                <a:gd name="T27" fmla="*/ 55 h 131"/>
                <a:gd name="T28" fmla="*/ 22 w 87"/>
                <a:gd name="T29" fmla="*/ 55 h 131"/>
                <a:gd name="T30" fmla="*/ 23 w 87"/>
                <a:gd name="T31" fmla="*/ 17 h 131"/>
                <a:gd name="T32" fmla="*/ 22 w 87"/>
                <a:gd name="T33" fmla="*/ 74 h 131"/>
                <a:gd name="T34" fmla="*/ 40 w 87"/>
                <a:gd name="T35" fmla="*/ 74 h 131"/>
                <a:gd name="T36" fmla="*/ 64 w 87"/>
                <a:gd name="T37" fmla="*/ 92 h 131"/>
                <a:gd name="T38" fmla="*/ 39 w 87"/>
                <a:gd name="T39" fmla="*/ 113 h 131"/>
                <a:gd name="T40" fmla="*/ 22 w 87"/>
                <a:gd name="T41" fmla="*/ 113 h 131"/>
                <a:gd name="T42" fmla="*/ 22 w 87"/>
                <a:gd name="T43" fmla="*/ 7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131">
                  <a:moveTo>
                    <a:pt x="1" y="0"/>
                  </a:moveTo>
                  <a:cubicBezTo>
                    <a:pt x="1" y="3"/>
                    <a:pt x="0" y="129"/>
                    <a:pt x="0" y="131"/>
                  </a:cubicBezTo>
                  <a:cubicBezTo>
                    <a:pt x="2" y="131"/>
                    <a:pt x="41" y="131"/>
                    <a:pt x="41" y="131"/>
                  </a:cubicBezTo>
                  <a:cubicBezTo>
                    <a:pt x="73" y="131"/>
                    <a:pt x="87" y="111"/>
                    <a:pt x="87" y="92"/>
                  </a:cubicBezTo>
                  <a:cubicBezTo>
                    <a:pt x="87" y="77"/>
                    <a:pt x="79" y="65"/>
                    <a:pt x="65" y="61"/>
                  </a:cubicBezTo>
                  <a:cubicBezTo>
                    <a:pt x="62" y="60"/>
                    <a:pt x="62" y="60"/>
                    <a:pt x="62" y="60"/>
                  </a:cubicBezTo>
                  <a:cubicBezTo>
                    <a:pt x="64" y="59"/>
                    <a:pt x="64" y="59"/>
                    <a:pt x="64" y="59"/>
                  </a:cubicBezTo>
                  <a:cubicBezTo>
                    <a:pt x="74" y="54"/>
                    <a:pt x="79" y="44"/>
                    <a:pt x="79" y="32"/>
                  </a:cubicBezTo>
                  <a:cubicBezTo>
                    <a:pt x="79" y="17"/>
                    <a:pt x="68" y="0"/>
                    <a:pt x="42" y="0"/>
                  </a:cubicBezTo>
                  <a:cubicBezTo>
                    <a:pt x="42" y="0"/>
                    <a:pt x="3" y="0"/>
                    <a:pt x="1" y="0"/>
                  </a:cubicBezTo>
                  <a:close/>
                  <a:moveTo>
                    <a:pt x="23" y="17"/>
                  </a:moveTo>
                  <a:cubicBezTo>
                    <a:pt x="36" y="17"/>
                    <a:pt x="36" y="17"/>
                    <a:pt x="36" y="17"/>
                  </a:cubicBezTo>
                  <a:cubicBezTo>
                    <a:pt x="49" y="17"/>
                    <a:pt x="56" y="24"/>
                    <a:pt x="56" y="35"/>
                  </a:cubicBezTo>
                  <a:cubicBezTo>
                    <a:pt x="56" y="47"/>
                    <a:pt x="47" y="55"/>
                    <a:pt x="38" y="55"/>
                  </a:cubicBezTo>
                  <a:cubicBezTo>
                    <a:pt x="22" y="55"/>
                    <a:pt x="22" y="55"/>
                    <a:pt x="22" y="55"/>
                  </a:cubicBezTo>
                  <a:lnTo>
                    <a:pt x="23" y="17"/>
                  </a:lnTo>
                  <a:close/>
                  <a:moveTo>
                    <a:pt x="22" y="74"/>
                  </a:moveTo>
                  <a:cubicBezTo>
                    <a:pt x="40" y="74"/>
                    <a:pt x="40" y="74"/>
                    <a:pt x="40" y="74"/>
                  </a:cubicBezTo>
                  <a:cubicBezTo>
                    <a:pt x="55" y="74"/>
                    <a:pt x="64" y="81"/>
                    <a:pt x="64" y="92"/>
                  </a:cubicBezTo>
                  <a:cubicBezTo>
                    <a:pt x="64" y="105"/>
                    <a:pt x="55" y="113"/>
                    <a:pt x="39" y="113"/>
                  </a:cubicBezTo>
                  <a:cubicBezTo>
                    <a:pt x="22" y="113"/>
                    <a:pt x="22" y="113"/>
                    <a:pt x="22" y="113"/>
                  </a:cubicBezTo>
                  <a:lnTo>
                    <a:pt x="22" y="74"/>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3" name="Freeform 17"/>
            <p:cNvSpPr>
              <a:spLocks noEditPoints="1"/>
            </p:cNvSpPr>
            <p:nvPr userDrawn="1"/>
          </p:nvSpPr>
          <p:spPr bwMode="auto">
            <a:xfrm>
              <a:off x="8546184" y="4923177"/>
              <a:ext cx="66486" cy="66190"/>
            </a:xfrm>
            <a:custGeom>
              <a:avLst/>
              <a:gdLst>
                <a:gd name="T0" fmla="*/ 75 w 88"/>
                <a:gd name="T1" fmla="*/ 78 h 91"/>
                <a:gd name="T2" fmla="*/ 44 w 88"/>
                <a:gd name="T3" fmla="*/ 91 h 91"/>
                <a:gd name="T4" fmla="*/ 14 w 88"/>
                <a:gd name="T5" fmla="*/ 80 h 91"/>
                <a:gd name="T6" fmla="*/ 0 w 88"/>
                <a:gd name="T7" fmla="*/ 46 h 91"/>
                <a:gd name="T8" fmla="*/ 13 w 88"/>
                <a:gd name="T9" fmla="*/ 12 h 91"/>
                <a:gd name="T10" fmla="*/ 44 w 88"/>
                <a:gd name="T11" fmla="*/ 0 h 91"/>
                <a:gd name="T12" fmla="*/ 76 w 88"/>
                <a:gd name="T13" fmla="*/ 12 h 91"/>
                <a:gd name="T14" fmla="*/ 88 w 88"/>
                <a:gd name="T15" fmla="*/ 45 h 91"/>
                <a:gd name="T16" fmla="*/ 75 w 88"/>
                <a:gd name="T17" fmla="*/ 78 h 91"/>
                <a:gd name="T18" fmla="*/ 44 w 88"/>
                <a:gd name="T19" fmla="*/ 17 h 91"/>
                <a:gd name="T20" fmla="*/ 23 w 88"/>
                <a:gd name="T21" fmla="*/ 45 h 91"/>
                <a:gd name="T22" fmla="*/ 44 w 88"/>
                <a:gd name="T23" fmla="*/ 73 h 91"/>
                <a:gd name="T24" fmla="*/ 65 w 88"/>
                <a:gd name="T25" fmla="*/ 45 h 91"/>
                <a:gd name="T26" fmla="*/ 44 w 88"/>
                <a:gd name="T27"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91">
                  <a:moveTo>
                    <a:pt x="75" y="78"/>
                  </a:moveTo>
                  <a:cubicBezTo>
                    <a:pt x="68" y="86"/>
                    <a:pt x="57" y="91"/>
                    <a:pt x="44" y="91"/>
                  </a:cubicBezTo>
                  <a:cubicBezTo>
                    <a:pt x="32" y="91"/>
                    <a:pt x="21" y="87"/>
                    <a:pt x="14" y="80"/>
                  </a:cubicBezTo>
                  <a:cubicBezTo>
                    <a:pt x="5" y="72"/>
                    <a:pt x="0" y="60"/>
                    <a:pt x="0" y="46"/>
                  </a:cubicBezTo>
                  <a:cubicBezTo>
                    <a:pt x="0" y="32"/>
                    <a:pt x="5" y="20"/>
                    <a:pt x="13" y="12"/>
                  </a:cubicBezTo>
                  <a:cubicBezTo>
                    <a:pt x="21" y="4"/>
                    <a:pt x="31" y="0"/>
                    <a:pt x="44" y="0"/>
                  </a:cubicBezTo>
                  <a:cubicBezTo>
                    <a:pt x="57" y="0"/>
                    <a:pt x="68" y="4"/>
                    <a:pt x="76" y="12"/>
                  </a:cubicBezTo>
                  <a:cubicBezTo>
                    <a:pt x="84" y="20"/>
                    <a:pt x="88" y="32"/>
                    <a:pt x="88" y="45"/>
                  </a:cubicBezTo>
                  <a:cubicBezTo>
                    <a:pt x="88" y="58"/>
                    <a:pt x="83" y="70"/>
                    <a:pt x="75" y="78"/>
                  </a:cubicBezTo>
                  <a:close/>
                  <a:moveTo>
                    <a:pt x="44" y="17"/>
                  </a:moveTo>
                  <a:cubicBezTo>
                    <a:pt x="30" y="17"/>
                    <a:pt x="23" y="29"/>
                    <a:pt x="23" y="45"/>
                  </a:cubicBezTo>
                  <a:cubicBezTo>
                    <a:pt x="23" y="62"/>
                    <a:pt x="31" y="73"/>
                    <a:pt x="44" y="73"/>
                  </a:cubicBezTo>
                  <a:cubicBezTo>
                    <a:pt x="58" y="73"/>
                    <a:pt x="65" y="61"/>
                    <a:pt x="65" y="45"/>
                  </a:cubicBezTo>
                  <a:cubicBezTo>
                    <a:pt x="65" y="28"/>
                    <a:pt x="57" y="17"/>
                    <a:pt x="44" y="1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4" name="Freeform 18"/>
            <p:cNvSpPr>
              <a:spLocks/>
            </p:cNvSpPr>
            <p:nvPr userDrawn="1"/>
          </p:nvSpPr>
          <p:spPr bwMode="auto">
            <a:xfrm>
              <a:off x="8728298" y="4923177"/>
              <a:ext cx="60705" cy="65574"/>
            </a:xfrm>
            <a:custGeom>
              <a:avLst/>
              <a:gdLst>
                <a:gd name="T0" fmla="*/ 58 w 80"/>
                <a:gd name="T1" fmla="*/ 90 h 90"/>
                <a:gd name="T2" fmla="*/ 58 w 80"/>
                <a:gd name="T3" fmla="*/ 38 h 90"/>
                <a:gd name="T4" fmla="*/ 45 w 80"/>
                <a:gd name="T5" fmla="*/ 19 h 90"/>
                <a:gd name="T6" fmla="*/ 23 w 80"/>
                <a:gd name="T7" fmla="*/ 28 h 90"/>
                <a:gd name="T8" fmla="*/ 23 w 80"/>
                <a:gd name="T9" fmla="*/ 74 h 90"/>
                <a:gd name="T10" fmla="*/ 0 w 80"/>
                <a:gd name="T11" fmla="*/ 90 h 90"/>
                <a:gd name="T12" fmla="*/ 0 w 80"/>
                <a:gd name="T13" fmla="*/ 2 h 90"/>
                <a:gd name="T14" fmla="*/ 19 w 80"/>
                <a:gd name="T15" fmla="*/ 2 h 90"/>
                <a:gd name="T16" fmla="*/ 22 w 80"/>
                <a:gd name="T17" fmla="*/ 11 h 90"/>
                <a:gd name="T18" fmla="*/ 52 w 80"/>
                <a:gd name="T19" fmla="*/ 0 h 90"/>
                <a:gd name="T20" fmla="*/ 80 w 80"/>
                <a:gd name="T21" fmla="*/ 31 h 90"/>
                <a:gd name="T22" fmla="*/ 80 w 80"/>
                <a:gd name="T23" fmla="*/ 74 h 90"/>
                <a:gd name="T24" fmla="*/ 58 w 80"/>
                <a:gd name="T2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90">
                  <a:moveTo>
                    <a:pt x="58" y="90"/>
                  </a:moveTo>
                  <a:cubicBezTo>
                    <a:pt x="58" y="38"/>
                    <a:pt x="58" y="38"/>
                    <a:pt x="58" y="38"/>
                  </a:cubicBezTo>
                  <a:cubicBezTo>
                    <a:pt x="58" y="29"/>
                    <a:pt x="56" y="19"/>
                    <a:pt x="45" y="19"/>
                  </a:cubicBezTo>
                  <a:cubicBezTo>
                    <a:pt x="37" y="19"/>
                    <a:pt x="29" y="23"/>
                    <a:pt x="23" y="28"/>
                  </a:cubicBezTo>
                  <a:cubicBezTo>
                    <a:pt x="23" y="28"/>
                    <a:pt x="23" y="57"/>
                    <a:pt x="23" y="74"/>
                  </a:cubicBezTo>
                  <a:cubicBezTo>
                    <a:pt x="23" y="90"/>
                    <a:pt x="0" y="90"/>
                    <a:pt x="0" y="90"/>
                  </a:cubicBezTo>
                  <a:cubicBezTo>
                    <a:pt x="0" y="2"/>
                    <a:pt x="0" y="2"/>
                    <a:pt x="0" y="2"/>
                  </a:cubicBezTo>
                  <a:cubicBezTo>
                    <a:pt x="19" y="2"/>
                    <a:pt x="19" y="2"/>
                    <a:pt x="19" y="2"/>
                  </a:cubicBezTo>
                  <a:cubicBezTo>
                    <a:pt x="22" y="11"/>
                    <a:pt x="22" y="11"/>
                    <a:pt x="22" y="11"/>
                  </a:cubicBezTo>
                  <a:cubicBezTo>
                    <a:pt x="31" y="4"/>
                    <a:pt x="40" y="0"/>
                    <a:pt x="52" y="0"/>
                  </a:cubicBezTo>
                  <a:cubicBezTo>
                    <a:pt x="65" y="0"/>
                    <a:pt x="80" y="8"/>
                    <a:pt x="80" y="31"/>
                  </a:cubicBezTo>
                  <a:cubicBezTo>
                    <a:pt x="80" y="31"/>
                    <a:pt x="80" y="57"/>
                    <a:pt x="80" y="74"/>
                  </a:cubicBezTo>
                  <a:cubicBezTo>
                    <a:pt x="80" y="90"/>
                    <a:pt x="58" y="90"/>
                    <a:pt x="58" y="9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5" name="Freeform 19"/>
            <p:cNvSpPr>
              <a:spLocks/>
            </p:cNvSpPr>
            <p:nvPr userDrawn="1"/>
          </p:nvSpPr>
          <p:spPr bwMode="auto">
            <a:xfrm>
              <a:off x="8501217" y="4923177"/>
              <a:ext cx="43361" cy="65574"/>
            </a:xfrm>
            <a:custGeom>
              <a:avLst/>
              <a:gdLst>
                <a:gd name="T0" fmla="*/ 49 w 57"/>
                <a:gd name="T1" fmla="*/ 22 h 90"/>
                <a:gd name="T2" fmla="*/ 39 w 57"/>
                <a:gd name="T3" fmla="*/ 20 h 90"/>
                <a:gd name="T4" fmla="*/ 22 w 57"/>
                <a:gd name="T5" fmla="*/ 27 h 90"/>
                <a:gd name="T6" fmla="*/ 22 w 57"/>
                <a:gd name="T7" fmla="*/ 74 h 90"/>
                <a:gd name="T8" fmla="*/ 0 w 57"/>
                <a:gd name="T9" fmla="*/ 90 h 90"/>
                <a:gd name="T10" fmla="*/ 0 w 57"/>
                <a:gd name="T11" fmla="*/ 2 h 90"/>
                <a:gd name="T12" fmla="*/ 19 w 57"/>
                <a:gd name="T13" fmla="*/ 2 h 90"/>
                <a:gd name="T14" fmla="*/ 21 w 57"/>
                <a:gd name="T15" fmla="*/ 11 h 90"/>
                <a:gd name="T16" fmla="*/ 45 w 57"/>
                <a:gd name="T17" fmla="*/ 0 h 90"/>
                <a:gd name="T18" fmla="*/ 57 w 57"/>
                <a:gd name="T19" fmla="*/ 4 h 90"/>
                <a:gd name="T20" fmla="*/ 49 w 57"/>
                <a:gd name="T21" fmla="*/ 2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0">
                  <a:moveTo>
                    <a:pt x="49" y="22"/>
                  </a:moveTo>
                  <a:cubicBezTo>
                    <a:pt x="46" y="20"/>
                    <a:pt x="42" y="20"/>
                    <a:pt x="39" y="20"/>
                  </a:cubicBezTo>
                  <a:cubicBezTo>
                    <a:pt x="34" y="20"/>
                    <a:pt x="28" y="22"/>
                    <a:pt x="22" y="27"/>
                  </a:cubicBezTo>
                  <a:cubicBezTo>
                    <a:pt x="22" y="27"/>
                    <a:pt x="22" y="57"/>
                    <a:pt x="22" y="74"/>
                  </a:cubicBezTo>
                  <a:cubicBezTo>
                    <a:pt x="22" y="90"/>
                    <a:pt x="0" y="90"/>
                    <a:pt x="0" y="90"/>
                  </a:cubicBezTo>
                  <a:cubicBezTo>
                    <a:pt x="0" y="2"/>
                    <a:pt x="0" y="2"/>
                    <a:pt x="0" y="2"/>
                  </a:cubicBezTo>
                  <a:cubicBezTo>
                    <a:pt x="19" y="2"/>
                    <a:pt x="19" y="2"/>
                    <a:pt x="19"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6" name="Freeform 20"/>
            <p:cNvSpPr>
              <a:spLocks/>
            </p:cNvSpPr>
            <p:nvPr userDrawn="1"/>
          </p:nvSpPr>
          <p:spPr bwMode="auto">
            <a:xfrm>
              <a:off x="7766657" y="4864376"/>
              <a:ext cx="100211" cy="148389"/>
            </a:xfrm>
            <a:custGeom>
              <a:avLst/>
              <a:gdLst>
                <a:gd name="T0" fmla="*/ 0 w 132"/>
                <a:gd name="T1" fmla="*/ 23 h 204"/>
                <a:gd name="T2" fmla="*/ 1 w 132"/>
                <a:gd name="T3" fmla="*/ 22 h 204"/>
                <a:gd name="T4" fmla="*/ 67 w 132"/>
                <a:gd name="T5" fmla="*/ 20 h 204"/>
                <a:gd name="T6" fmla="*/ 80 w 132"/>
                <a:gd name="T7" fmla="*/ 52 h 204"/>
                <a:gd name="T8" fmla="*/ 113 w 132"/>
                <a:gd name="T9" fmla="*/ 65 h 204"/>
                <a:gd name="T10" fmla="*/ 111 w 132"/>
                <a:gd name="T11" fmla="*/ 132 h 204"/>
                <a:gd name="T12" fmla="*/ 38 w 132"/>
                <a:gd name="T13" fmla="*/ 204 h 204"/>
                <a:gd name="T14" fmla="*/ 16 w 132"/>
                <a:gd name="T15" fmla="*/ 182 h 204"/>
                <a:gd name="T16" fmla="*/ 88 w 132"/>
                <a:gd name="T17" fmla="*/ 110 h 204"/>
                <a:gd name="T18" fmla="*/ 91 w 132"/>
                <a:gd name="T19" fmla="*/ 86 h 204"/>
                <a:gd name="T20" fmla="*/ 67 w 132"/>
                <a:gd name="T21" fmla="*/ 88 h 204"/>
                <a:gd name="T22" fmla="*/ 0 w 132"/>
                <a:gd name="T23" fmla="*/ 155 h 204"/>
                <a:gd name="T24" fmla="*/ 0 w 132"/>
                <a:gd name="T25" fmla="*/ 111 h 204"/>
                <a:gd name="T26" fmla="*/ 45 w 132"/>
                <a:gd name="T27" fmla="*/ 66 h 204"/>
                <a:gd name="T28" fmla="*/ 46 w 132"/>
                <a:gd name="T29" fmla="*/ 42 h 204"/>
                <a:gd name="T30" fmla="*/ 22 w 132"/>
                <a:gd name="T31" fmla="*/ 44 h 204"/>
                <a:gd name="T32" fmla="*/ 0 w 132"/>
                <a:gd name="T33" fmla="*/ 66 h 204"/>
                <a:gd name="T34" fmla="*/ 0 w 132"/>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204">
                  <a:moveTo>
                    <a:pt x="0" y="23"/>
                  </a:moveTo>
                  <a:cubicBezTo>
                    <a:pt x="1" y="22"/>
                    <a:pt x="1" y="22"/>
                    <a:pt x="1" y="22"/>
                  </a:cubicBezTo>
                  <a:cubicBezTo>
                    <a:pt x="23" y="0"/>
                    <a:pt x="50" y="2"/>
                    <a:pt x="67" y="20"/>
                  </a:cubicBezTo>
                  <a:cubicBezTo>
                    <a:pt x="80" y="32"/>
                    <a:pt x="81" y="46"/>
                    <a:pt x="80" y="52"/>
                  </a:cubicBezTo>
                  <a:cubicBezTo>
                    <a:pt x="86" y="51"/>
                    <a:pt x="100" y="52"/>
                    <a:pt x="113" y="65"/>
                  </a:cubicBezTo>
                  <a:cubicBezTo>
                    <a:pt x="130" y="82"/>
                    <a:pt x="132" y="110"/>
                    <a:pt x="111" y="132"/>
                  </a:cubicBezTo>
                  <a:cubicBezTo>
                    <a:pt x="38" y="204"/>
                    <a:pt x="38" y="204"/>
                    <a:pt x="38" y="204"/>
                  </a:cubicBezTo>
                  <a:cubicBezTo>
                    <a:pt x="16" y="182"/>
                    <a:pt x="16" y="182"/>
                    <a:pt x="16" y="182"/>
                  </a:cubicBezTo>
                  <a:cubicBezTo>
                    <a:pt x="88" y="110"/>
                    <a:pt x="88" y="110"/>
                    <a:pt x="88" y="110"/>
                  </a:cubicBezTo>
                  <a:cubicBezTo>
                    <a:pt x="97" y="101"/>
                    <a:pt x="96" y="91"/>
                    <a:pt x="91" y="86"/>
                  </a:cubicBezTo>
                  <a:cubicBezTo>
                    <a:pt x="85" y="80"/>
                    <a:pt x="75" y="79"/>
                    <a:pt x="67" y="88"/>
                  </a:cubicBezTo>
                  <a:cubicBezTo>
                    <a:pt x="0" y="155"/>
                    <a:pt x="0" y="155"/>
                    <a:pt x="0" y="155"/>
                  </a:cubicBezTo>
                  <a:cubicBezTo>
                    <a:pt x="0" y="111"/>
                    <a:pt x="0" y="111"/>
                    <a:pt x="0" y="111"/>
                  </a:cubicBezTo>
                  <a:cubicBezTo>
                    <a:pt x="45" y="66"/>
                    <a:pt x="45" y="66"/>
                    <a:pt x="45" y="66"/>
                  </a:cubicBezTo>
                  <a:cubicBezTo>
                    <a:pt x="53" y="57"/>
                    <a:pt x="52" y="47"/>
                    <a:pt x="46" y="42"/>
                  </a:cubicBezTo>
                  <a:cubicBezTo>
                    <a:pt x="41" y="36"/>
                    <a:pt x="31" y="35"/>
                    <a:pt x="22" y="44"/>
                  </a:cubicBezTo>
                  <a:cubicBezTo>
                    <a:pt x="0" y="66"/>
                    <a:pt x="0" y="66"/>
                    <a:pt x="0" y="66"/>
                  </a:cubicBezTo>
                  <a:lnTo>
                    <a:pt x="0"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7" name="Freeform 21"/>
            <p:cNvSpPr>
              <a:spLocks noEditPoints="1"/>
            </p:cNvSpPr>
            <p:nvPr userDrawn="1"/>
          </p:nvSpPr>
          <p:spPr bwMode="auto">
            <a:xfrm>
              <a:off x="7980890" y="5040472"/>
              <a:ext cx="51390" cy="57878"/>
            </a:xfrm>
            <a:custGeom>
              <a:avLst/>
              <a:gdLst>
                <a:gd name="T0" fmla="*/ 0 w 68"/>
                <a:gd name="T1" fmla="*/ 40 h 80"/>
                <a:gd name="T2" fmla="*/ 35 w 68"/>
                <a:gd name="T3" fmla="*/ 0 h 80"/>
                <a:gd name="T4" fmla="*/ 68 w 68"/>
                <a:gd name="T5" fmla="*/ 41 h 80"/>
                <a:gd name="T6" fmla="*/ 68 w 68"/>
                <a:gd name="T7" fmla="*/ 46 h 80"/>
                <a:gd name="T8" fmla="*/ 20 w 68"/>
                <a:gd name="T9" fmla="*/ 46 h 80"/>
                <a:gd name="T10" fmla="*/ 41 w 68"/>
                <a:gd name="T11" fmla="*/ 65 h 80"/>
                <a:gd name="T12" fmla="*/ 60 w 68"/>
                <a:gd name="T13" fmla="*/ 60 h 80"/>
                <a:gd name="T14" fmla="*/ 66 w 68"/>
                <a:gd name="T15" fmla="*/ 73 h 80"/>
                <a:gd name="T16" fmla="*/ 39 w 68"/>
                <a:gd name="T17" fmla="*/ 80 h 80"/>
                <a:gd name="T18" fmla="*/ 0 w 68"/>
                <a:gd name="T19" fmla="*/ 40 h 80"/>
                <a:gd name="T20" fmla="*/ 49 w 68"/>
                <a:gd name="T21" fmla="*/ 32 h 80"/>
                <a:gd name="T22" fmla="*/ 34 w 68"/>
                <a:gd name="T23" fmla="*/ 15 h 80"/>
                <a:gd name="T24" fmla="*/ 19 w 68"/>
                <a:gd name="T25" fmla="*/ 32 h 80"/>
                <a:gd name="T26" fmla="*/ 49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3" y="0"/>
                    <a:pt x="35" y="0"/>
                  </a:cubicBezTo>
                  <a:cubicBezTo>
                    <a:pt x="56" y="0"/>
                    <a:pt x="68" y="16"/>
                    <a:pt x="68" y="41"/>
                  </a:cubicBezTo>
                  <a:cubicBezTo>
                    <a:pt x="68" y="46"/>
                    <a:pt x="68" y="46"/>
                    <a:pt x="68" y="46"/>
                  </a:cubicBezTo>
                  <a:cubicBezTo>
                    <a:pt x="20" y="46"/>
                    <a:pt x="20" y="46"/>
                    <a:pt x="20" y="46"/>
                  </a:cubicBezTo>
                  <a:cubicBezTo>
                    <a:pt x="20" y="57"/>
                    <a:pt x="28" y="65"/>
                    <a:pt x="41" y="65"/>
                  </a:cubicBezTo>
                  <a:cubicBezTo>
                    <a:pt x="49" y="65"/>
                    <a:pt x="55" y="63"/>
                    <a:pt x="60" y="60"/>
                  </a:cubicBezTo>
                  <a:cubicBezTo>
                    <a:pt x="66" y="73"/>
                    <a:pt x="66" y="73"/>
                    <a:pt x="66" y="73"/>
                  </a:cubicBezTo>
                  <a:cubicBezTo>
                    <a:pt x="58" y="78"/>
                    <a:pt x="49" y="80"/>
                    <a:pt x="39" y="80"/>
                  </a:cubicBezTo>
                  <a:cubicBezTo>
                    <a:pt x="11" y="80"/>
                    <a:pt x="0" y="61"/>
                    <a:pt x="0" y="40"/>
                  </a:cubicBezTo>
                  <a:close/>
                  <a:moveTo>
                    <a:pt x="49" y="32"/>
                  </a:moveTo>
                  <a:cubicBezTo>
                    <a:pt x="49" y="23"/>
                    <a:pt x="44" y="15"/>
                    <a:pt x="34" y="15"/>
                  </a:cubicBezTo>
                  <a:cubicBezTo>
                    <a:pt x="25" y="15"/>
                    <a:pt x="19" y="23"/>
                    <a:pt x="19" y="32"/>
                  </a:cubicBezTo>
                  <a:lnTo>
                    <a:pt x="49"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8" name="Freeform 22"/>
            <p:cNvSpPr>
              <a:spLocks/>
            </p:cNvSpPr>
            <p:nvPr userDrawn="1"/>
          </p:nvSpPr>
          <p:spPr bwMode="auto">
            <a:xfrm>
              <a:off x="8295656" y="5041088"/>
              <a:ext cx="37258" cy="56031"/>
            </a:xfrm>
            <a:custGeom>
              <a:avLst/>
              <a:gdLst>
                <a:gd name="T0" fmla="*/ 42 w 49"/>
                <a:gd name="T1" fmla="*/ 19 h 77"/>
                <a:gd name="T2" fmla="*/ 33 w 49"/>
                <a:gd name="T3" fmla="*/ 16 h 77"/>
                <a:gd name="T4" fmla="*/ 19 w 49"/>
                <a:gd name="T5" fmla="*/ 23 h 77"/>
                <a:gd name="T6" fmla="*/ 19 w 49"/>
                <a:gd name="T7" fmla="*/ 63 h 77"/>
                <a:gd name="T8" fmla="*/ 0 w 49"/>
                <a:gd name="T9" fmla="*/ 77 h 77"/>
                <a:gd name="T10" fmla="*/ 0 w 49"/>
                <a:gd name="T11" fmla="*/ 1 h 77"/>
                <a:gd name="T12" fmla="*/ 16 w 49"/>
                <a:gd name="T13" fmla="*/ 1 h 77"/>
                <a:gd name="T14" fmla="*/ 18 w 49"/>
                <a:gd name="T15" fmla="*/ 9 h 77"/>
                <a:gd name="T16" fmla="*/ 39 w 49"/>
                <a:gd name="T17" fmla="*/ 0 h 77"/>
                <a:gd name="T18" fmla="*/ 49 w 49"/>
                <a:gd name="T19" fmla="*/ 3 h 77"/>
                <a:gd name="T20" fmla="*/ 42 w 49"/>
                <a:gd name="T21"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77">
                  <a:moveTo>
                    <a:pt x="42" y="19"/>
                  </a:moveTo>
                  <a:cubicBezTo>
                    <a:pt x="39" y="17"/>
                    <a:pt x="36" y="16"/>
                    <a:pt x="33" y="16"/>
                  </a:cubicBezTo>
                  <a:cubicBezTo>
                    <a:pt x="29" y="16"/>
                    <a:pt x="24" y="18"/>
                    <a:pt x="19" y="23"/>
                  </a:cubicBezTo>
                  <a:cubicBezTo>
                    <a:pt x="19" y="2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2"/>
                    <a:pt x="32" y="0"/>
                    <a:pt x="39" y="0"/>
                  </a:cubicBezTo>
                  <a:cubicBezTo>
                    <a:pt x="42" y="0"/>
                    <a:pt x="46" y="1"/>
                    <a:pt x="49" y="3"/>
                  </a:cubicBezTo>
                  <a:lnTo>
                    <a:pt x="42" y="1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9" name="Freeform 23"/>
            <p:cNvSpPr>
              <a:spLocks noEditPoints="1"/>
            </p:cNvSpPr>
            <p:nvPr userDrawn="1"/>
          </p:nvSpPr>
          <p:spPr bwMode="auto">
            <a:xfrm>
              <a:off x="8178743" y="5040472"/>
              <a:ext cx="51712" cy="57878"/>
            </a:xfrm>
            <a:custGeom>
              <a:avLst/>
              <a:gdLst>
                <a:gd name="T0" fmla="*/ 0 w 68"/>
                <a:gd name="T1" fmla="*/ 40 h 80"/>
                <a:gd name="T2" fmla="*/ 34 w 68"/>
                <a:gd name="T3" fmla="*/ 0 h 80"/>
                <a:gd name="T4" fmla="*/ 68 w 68"/>
                <a:gd name="T5" fmla="*/ 41 h 80"/>
                <a:gd name="T6" fmla="*/ 68 w 68"/>
                <a:gd name="T7" fmla="*/ 46 h 80"/>
                <a:gd name="T8" fmla="*/ 19 w 68"/>
                <a:gd name="T9" fmla="*/ 46 h 80"/>
                <a:gd name="T10" fmla="*/ 41 w 68"/>
                <a:gd name="T11" fmla="*/ 65 h 80"/>
                <a:gd name="T12" fmla="*/ 60 w 68"/>
                <a:gd name="T13" fmla="*/ 60 h 80"/>
                <a:gd name="T14" fmla="*/ 66 w 68"/>
                <a:gd name="T15" fmla="*/ 73 h 80"/>
                <a:gd name="T16" fmla="*/ 39 w 68"/>
                <a:gd name="T17" fmla="*/ 80 h 80"/>
                <a:gd name="T18" fmla="*/ 0 w 68"/>
                <a:gd name="T19" fmla="*/ 40 h 80"/>
                <a:gd name="T20" fmla="*/ 49 w 68"/>
                <a:gd name="T21" fmla="*/ 32 h 80"/>
                <a:gd name="T22" fmla="*/ 34 w 68"/>
                <a:gd name="T23" fmla="*/ 15 h 80"/>
                <a:gd name="T24" fmla="*/ 19 w 68"/>
                <a:gd name="T25" fmla="*/ 32 h 80"/>
                <a:gd name="T26" fmla="*/ 49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3" y="0"/>
                    <a:pt x="34" y="0"/>
                  </a:cubicBezTo>
                  <a:cubicBezTo>
                    <a:pt x="56" y="0"/>
                    <a:pt x="68" y="16"/>
                    <a:pt x="68" y="41"/>
                  </a:cubicBezTo>
                  <a:cubicBezTo>
                    <a:pt x="68" y="46"/>
                    <a:pt x="68" y="46"/>
                    <a:pt x="68" y="46"/>
                  </a:cubicBezTo>
                  <a:cubicBezTo>
                    <a:pt x="19" y="46"/>
                    <a:pt x="19" y="46"/>
                    <a:pt x="19" y="46"/>
                  </a:cubicBezTo>
                  <a:cubicBezTo>
                    <a:pt x="20" y="57"/>
                    <a:pt x="28" y="65"/>
                    <a:pt x="41" y="65"/>
                  </a:cubicBezTo>
                  <a:cubicBezTo>
                    <a:pt x="49" y="65"/>
                    <a:pt x="55" y="63"/>
                    <a:pt x="60" y="60"/>
                  </a:cubicBezTo>
                  <a:cubicBezTo>
                    <a:pt x="66" y="73"/>
                    <a:pt x="66" y="73"/>
                    <a:pt x="66" y="73"/>
                  </a:cubicBezTo>
                  <a:cubicBezTo>
                    <a:pt x="58" y="78"/>
                    <a:pt x="48" y="80"/>
                    <a:pt x="39" y="80"/>
                  </a:cubicBezTo>
                  <a:cubicBezTo>
                    <a:pt x="11" y="80"/>
                    <a:pt x="0" y="61"/>
                    <a:pt x="0" y="40"/>
                  </a:cubicBezTo>
                  <a:close/>
                  <a:moveTo>
                    <a:pt x="49" y="32"/>
                  </a:moveTo>
                  <a:cubicBezTo>
                    <a:pt x="48" y="23"/>
                    <a:pt x="44" y="15"/>
                    <a:pt x="34" y="15"/>
                  </a:cubicBezTo>
                  <a:cubicBezTo>
                    <a:pt x="25" y="15"/>
                    <a:pt x="19" y="23"/>
                    <a:pt x="19" y="32"/>
                  </a:cubicBezTo>
                  <a:lnTo>
                    <a:pt x="49"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0" name="Freeform 24"/>
            <p:cNvSpPr>
              <a:spLocks noEditPoints="1"/>
            </p:cNvSpPr>
            <p:nvPr userDrawn="1"/>
          </p:nvSpPr>
          <p:spPr bwMode="auto">
            <a:xfrm>
              <a:off x="8236557" y="5040472"/>
              <a:ext cx="51390" cy="57878"/>
            </a:xfrm>
            <a:custGeom>
              <a:avLst/>
              <a:gdLst>
                <a:gd name="T0" fmla="*/ 0 w 68"/>
                <a:gd name="T1" fmla="*/ 40 h 80"/>
                <a:gd name="T2" fmla="*/ 34 w 68"/>
                <a:gd name="T3" fmla="*/ 0 h 80"/>
                <a:gd name="T4" fmla="*/ 68 w 68"/>
                <a:gd name="T5" fmla="*/ 41 h 80"/>
                <a:gd name="T6" fmla="*/ 68 w 68"/>
                <a:gd name="T7" fmla="*/ 46 h 80"/>
                <a:gd name="T8" fmla="*/ 19 w 68"/>
                <a:gd name="T9" fmla="*/ 46 h 80"/>
                <a:gd name="T10" fmla="*/ 40 w 68"/>
                <a:gd name="T11" fmla="*/ 65 h 80"/>
                <a:gd name="T12" fmla="*/ 60 w 68"/>
                <a:gd name="T13" fmla="*/ 60 h 80"/>
                <a:gd name="T14" fmla="*/ 65 w 68"/>
                <a:gd name="T15" fmla="*/ 73 h 80"/>
                <a:gd name="T16" fmla="*/ 39 w 68"/>
                <a:gd name="T17" fmla="*/ 80 h 80"/>
                <a:gd name="T18" fmla="*/ 0 w 68"/>
                <a:gd name="T19" fmla="*/ 40 h 80"/>
                <a:gd name="T20" fmla="*/ 48 w 68"/>
                <a:gd name="T21" fmla="*/ 32 h 80"/>
                <a:gd name="T22" fmla="*/ 34 w 68"/>
                <a:gd name="T23" fmla="*/ 15 h 80"/>
                <a:gd name="T24" fmla="*/ 19 w 68"/>
                <a:gd name="T25" fmla="*/ 32 h 80"/>
                <a:gd name="T26" fmla="*/ 48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2" y="0"/>
                    <a:pt x="34" y="0"/>
                  </a:cubicBezTo>
                  <a:cubicBezTo>
                    <a:pt x="55" y="0"/>
                    <a:pt x="68" y="16"/>
                    <a:pt x="68" y="41"/>
                  </a:cubicBezTo>
                  <a:cubicBezTo>
                    <a:pt x="68" y="46"/>
                    <a:pt x="68" y="46"/>
                    <a:pt x="68" y="46"/>
                  </a:cubicBezTo>
                  <a:cubicBezTo>
                    <a:pt x="19" y="46"/>
                    <a:pt x="19" y="46"/>
                    <a:pt x="19" y="46"/>
                  </a:cubicBezTo>
                  <a:cubicBezTo>
                    <a:pt x="19" y="57"/>
                    <a:pt x="28" y="65"/>
                    <a:pt x="40" y="65"/>
                  </a:cubicBezTo>
                  <a:cubicBezTo>
                    <a:pt x="48" y="65"/>
                    <a:pt x="54" y="63"/>
                    <a:pt x="60" y="60"/>
                  </a:cubicBezTo>
                  <a:cubicBezTo>
                    <a:pt x="65" y="73"/>
                    <a:pt x="65" y="73"/>
                    <a:pt x="65" y="73"/>
                  </a:cubicBezTo>
                  <a:cubicBezTo>
                    <a:pt x="57" y="78"/>
                    <a:pt x="48" y="80"/>
                    <a:pt x="39" y="80"/>
                  </a:cubicBezTo>
                  <a:cubicBezTo>
                    <a:pt x="11" y="80"/>
                    <a:pt x="0" y="61"/>
                    <a:pt x="0" y="40"/>
                  </a:cubicBezTo>
                  <a:close/>
                  <a:moveTo>
                    <a:pt x="48" y="32"/>
                  </a:moveTo>
                  <a:cubicBezTo>
                    <a:pt x="48" y="23"/>
                    <a:pt x="44" y="15"/>
                    <a:pt x="34" y="15"/>
                  </a:cubicBezTo>
                  <a:cubicBezTo>
                    <a:pt x="24" y="15"/>
                    <a:pt x="19" y="23"/>
                    <a:pt x="19" y="32"/>
                  </a:cubicBezTo>
                  <a:lnTo>
                    <a:pt x="48"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1" name="Freeform 25"/>
            <p:cNvSpPr>
              <a:spLocks/>
            </p:cNvSpPr>
            <p:nvPr userDrawn="1"/>
          </p:nvSpPr>
          <p:spPr bwMode="auto">
            <a:xfrm>
              <a:off x="8040631" y="5041088"/>
              <a:ext cx="37258" cy="56031"/>
            </a:xfrm>
            <a:custGeom>
              <a:avLst/>
              <a:gdLst>
                <a:gd name="T0" fmla="*/ 42 w 49"/>
                <a:gd name="T1" fmla="*/ 19 h 77"/>
                <a:gd name="T2" fmla="*/ 33 w 49"/>
                <a:gd name="T3" fmla="*/ 16 h 77"/>
                <a:gd name="T4" fmla="*/ 19 w 49"/>
                <a:gd name="T5" fmla="*/ 23 h 77"/>
                <a:gd name="T6" fmla="*/ 19 w 49"/>
                <a:gd name="T7" fmla="*/ 63 h 77"/>
                <a:gd name="T8" fmla="*/ 0 w 49"/>
                <a:gd name="T9" fmla="*/ 77 h 77"/>
                <a:gd name="T10" fmla="*/ 0 w 49"/>
                <a:gd name="T11" fmla="*/ 1 h 77"/>
                <a:gd name="T12" fmla="*/ 16 w 49"/>
                <a:gd name="T13" fmla="*/ 1 h 77"/>
                <a:gd name="T14" fmla="*/ 18 w 49"/>
                <a:gd name="T15" fmla="*/ 9 h 77"/>
                <a:gd name="T16" fmla="*/ 38 w 49"/>
                <a:gd name="T17" fmla="*/ 0 h 77"/>
                <a:gd name="T18" fmla="*/ 49 w 49"/>
                <a:gd name="T19" fmla="*/ 3 h 77"/>
                <a:gd name="T20" fmla="*/ 42 w 49"/>
                <a:gd name="T21"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77">
                  <a:moveTo>
                    <a:pt x="42" y="19"/>
                  </a:moveTo>
                  <a:cubicBezTo>
                    <a:pt x="39" y="17"/>
                    <a:pt x="35" y="16"/>
                    <a:pt x="33" y="16"/>
                  </a:cubicBezTo>
                  <a:cubicBezTo>
                    <a:pt x="29" y="16"/>
                    <a:pt x="24" y="18"/>
                    <a:pt x="19" y="23"/>
                  </a:cubicBezTo>
                  <a:cubicBezTo>
                    <a:pt x="19" y="2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2"/>
                    <a:pt x="31" y="0"/>
                    <a:pt x="38" y="0"/>
                  </a:cubicBezTo>
                  <a:cubicBezTo>
                    <a:pt x="42" y="0"/>
                    <a:pt x="46" y="1"/>
                    <a:pt x="49" y="3"/>
                  </a:cubicBezTo>
                  <a:lnTo>
                    <a:pt x="42" y="1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2" name="Freeform 26"/>
            <p:cNvSpPr>
              <a:spLocks/>
            </p:cNvSpPr>
            <p:nvPr userDrawn="1"/>
          </p:nvSpPr>
          <p:spPr bwMode="auto">
            <a:xfrm>
              <a:off x="8083992" y="5041088"/>
              <a:ext cx="86400" cy="56031"/>
            </a:xfrm>
            <a:custGeom>
              <a:avLst/>
              <a:gdLst>
                <a:gd name="T0" fmla="*/ 114 w 114"/>
                <a:gd name="T1" fmla="*/ 25 h 77"/>
                <a:gd name="T2" fmla="*/ 114 w 114"/>
                <a:gd name="T3" fmla="*/ 63 h 77"/>
                <a:gd name="T4" fmla="*/ 95 w 114"/>
                <a:gd name="T5" fmla="*/ 77 h 77"/>
                <a:gd name="T6" fmla="*/ 95 w 114"/>
                <a:gd name="T7" fmla="*/ 31 h 77"/>
                <a:gd name="T8" fmla="*/ 84 w 114"/>
                <a:gd name="T9" fmla="*/ 16 h 77"/>
                <a:gd name="T10" fmla="*/ 66 w 114"/>
                <a:gd name="T11" fmla="*/ 23 h 77"/>
                <a:gd name="T12" fmla="*/ 66 w 114"/>
                <a:gd name="T13" fmla="*/ 63 h 77"/>
                <a:gd name="T14" fmla="*/ 66 w 114"/>
                <a:gd name="T15" fmla="*/ 63 h 77"/>
                <a:gd name="T16" fmla="*/ 47 w 114"/>
                <a:gd name="T17" fmla="*/ 77 h 77"/>
                <a:gd name="T18" fmla="*/ 47 w 114"/>
                <a:gd name="T19" fmla="*/ 31 h 77"/>
                <a:gd name="T20" fmla="*/ 37 w 114"/>
                <a:gd name="T21" fmla="*/ 16 h 77"/>
                <a:gd name="T22" fmla="*/ 19 w 114"/>
                <a:gd name="T23" fmla="*/ 23 h 77"/>
                <a:gd name="T24" fmla="*/ 19 w 114"/>
                <a:gd name="T25" fmla="*/ 63 h 77"/>
                <a:gd name="T26" fmla="*/ 19 w 114"/>
                <a:gd name="T27" fmla="*/ 63 h 77"/>
                <a:gd name="T28" fmla="*/ 0 w 114"/>
                <a:gd name="T29" fmla="*/ 77 h 77"/>
                <a:gd name="T30" fmla="*/ 0 w 114"/>
                <a:gd name="T31" fmla="*/ 1 h 77"/>
                <a:gd name="T32" fmla="*/ 16 w 114"/>
                <a:gd name="T33" fmla="*/ 1 h 77"/>
                <a:gd name="T34" fmla="*/ 18 w 114"/>
                <a:gd name="T35" fmla="*/ 9 h 77"/>
                <a:gd name="T36" fmla="*/ 43 w 114"/>
                <a:gd name="T37" fmla="*/ 0 h 77"/>
                <a:gd name="T38" fmla="*/ 63 w 114"/>
                <a:gd name="T39" fmla="*/ 11 h 77"/>
                <a:gd name="T40" fmla="*/ 89 w 114"/>
                <a:gd name="T41" fmla="*/ 0 h 77"/>
                <a:gd name="T42" fmla="*/ 114 w 114"/>
                <a:gd name="T43" fmla="*/ 2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77">
                  <a:moveTo>
                    <a:pt x="114" y="25"/>
                  </a:moveTo>
                  <a:cubicBezTo>
                    <a:pt x="114" y="63"/>
                    <a:pt x="114" y="63"/>
                    <a:pt x="114" y="63"/>
                  </a:cubicBezTo>
                  <a:cubicBezTo>
                    <a:pt x="114" y="77"/>
                    <a:pt x="95" y="77"/>
                    <a:pt x="95" y="77"/>
                  </a:cubicBezTo>
                  <a:cubicBezTo>
                    <a:pt x="95" y="31"/>
                    <a:pt x="95" y="31"/>
                    <a:pt x="95" y="31"/>
                  </a:cubicBezTo>
                  <a:cubicBezTo>
                    <a:pt x="95" y="22"/>
                    <a:pt x="93" y="16"/>
                    <a:pt x="84" y="16"/>
                  </a:cubicBezTo>
                  <a:cubicBezTo>
                    <a:pt x="77" y="16"/>
                    <a:pt x="71" y="19"/>
                    <a:pt x="66" y="23"/>
                  </a:cubicBezTo>
                  <a:cubicBezTo>
                    <a:pt x="66" y="63"/>
                    <a:pt x="66" y="63"/>
                    <a:pt x="66" y="63"/>
                  </a:cubicBezTo>
                  <a:cubicBezTo>
                    <a:pt x="66" y="63"/>
                    <a:pt x="66" y="49"/>
                    <a:pt x="66" y="63"/>
                  </a:cubicBezTo>
                  <a:cubicBezTo>
                    <a:pt x="66" y="77"/>
                    <a:pt x="47" y="77"/>
                    <a:pt x="47" y="77"/>
                  </a:cubicBezTo>
                  <a:cubicBezTo>
                    <a:pt x="47" y="31"/>
                    <a:pt x="47" y="31"/>
                    <a:pt x="47" y="31"/>
                  </a:cubicBezTo>
                  <a:cubicBezTo>
                    <a:pt x="47" y="23"/>
                    <a:pt x="46" y="16"/>
                    <a:pt x="37" y="16"/>
                  </a:cubicBezTo>
                  <a:cubicBezTo>
                    <a:pt x="30" y="16"/>
                    <a:pt x="19" y="23"/>
                    <a:pt x="19" y="23"/>
                  </a:cubicBezTo>
                  <a:cubicBezTo>
                    <a:pt x="19" y="63"/>
                    <a:pt x="19" y="63"/>
                    <a:pt x="19" y="63"/>
                  </a:cubicBezTo>
                  <a:cubicBezTo>
                    <a:pt x="19" y="6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3"/>
                    <a:pt x="34" y="0"/>
                    <a:pt x="43" y="0"/>
                  </a:cubicBezTo>
                  <a:cubicBezTo>
                    <a:pt x="52" y="0"/>
                    <a:pt x="59" y="4"/>
                    <a:pt x="63" y="11"/>
                  </a:cubicBezTo>
                  <a:cubicBezTo>
                    <a:pt x="71" y="3"/>
                    <a:pt x="81" y="0"/>
                    <a:pt x="89" y="0"/>
                  </a:cubicBezTo>
                  <a:cubicBezTo>
                    <a:pt x="102" y="0"/>
                    <a:pt x="114" y="6"/>
                    <a:pt x="114" y="25"/>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3" name="Freeform 27"/>
            <p:cNvSpPr>
              <a:spLocks/>
            </p:cNvSpPr>
            <p:nvPr userDrawn="1"/>
          </p:nvSpPr>
          <p:spPr bwMode="auto">
            <a:xfrm>
              <a:off x="7908622" y="5019846"/>
              <a:ext cx="77407" cy="77889"/>
            </a:xfrm>
            <a:custGeom>
              <a:avLst/>
              <a:gdLst>
                <a:gd name="T0" fmla="*/ 43 w 102"/>
                <a:gd name="T1" fmla="*/ 107 h 107"/>
                <a:gd name="T2" fmla="*/ 65 w 102"/>
                <a:gd name="T3" fmla="*/ 91 h 107"/>
                <a:gd name="T4" fmla="*/ 102 w 102"/>
                <a:gd name="T5" fmla="*/ 0 h 107"/>
                <a:gd name="T6" fmla="*/ 81 w 102"/>
                <a:gd name="T7" fmla="*/ 0 h 107"/>
                <a:gd name="T8" fmla="*/ 51 w 102"/>
                <a:gd name="T9" fmla="*/ 78 h 107"/>
                <a:gd name="T10" fmla="*/ 51 w 102"/>
                <a:gd name="T11" fmla="*/ 78 h 107"/>
                <a:gd name="T12" fmla="*/ 21 w 102"/>
                <a:gd name="T13" fmla="*/ 0 h 107"/>
                <a:gd name="T14" fmla="*/ 0 w 102"/>
                <a:gd name="T15" fmla="*/ 0 h 107"/>
                <a:gd name="T16" fmla="*/ 43 w 102"/>
                <a:gd name="T17"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107">
                  <a:moveTo>
                    <a:pt x="43" y="107"/>
                  </a:moveTo>
                  <a:cubicBezTo>
                    <a:pt x="57" y="107"/>
                    <a:pt x="61" y="101"/>
                    <a:pt x="65" y="91"/>
                  </a:cubicBezTo>
                  <a:cubicBezTo>
                    <a:pt x="102" y="0"/>
                    <a:pt x="102" y="0"/>
                    <a:pt x="102" y="0"/>
                  </a:cubicBezTo>
                  <a:cubicBezTo>
                    <a:pt x="81" y="0"/>
                    <a:pt x="81" y="0"/>
                    <a:pt x="81" y="0"/>
                  </a:cubicBezTo>
                  <a:cubicBezTo>
                    <a:pt x="51" y="78"/>
                    <a:pt x="51" y="78"/>
                    <a:pt x="51" y="78"/>
                  </a:cubicBezTo>
                  <a:cubicBezTo>
                    <a:pt x="51" y="78"/>
                    <a:pt x="51" y="78"/>
                    <a:pt x="51" y="78"/>
                  </a:cubicBezTo>
                  <a:cubicBezTo>
                    <a:pt x="21" y="0"/>
                    <a:pt x="21" y="0"/>
                    <a:pt x="21" y="0"/>
                  </a:cubicBezTo>
                  <a:cubicBezTo>
                    <a:pt x="0" y="0"/>
                    <a:pt x="0" y="0"/>
                    <a:pt x="0" y="0"/>
                  </a:cubicBezTo>
                  <a:cubicBezTo>
                    <a:pt x="43" y="107"/>
                    <a:pt x="43" y="107"/>
                    <a:pt x="43" y="10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pic>
        <p:nvPicPr>
          <p:cNvPr id="114" name="Picture 1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68466" y="4829728"/>
            <a:ext cx="288000" cy="288000"/>
          </a:xfrm>
          <a:prstGeom prst="rect">
            <a:avLst/>
          </a:prstGeom>
        </p:spPr>
      </p:pic>
      <p:sp>
        <p:nvSpPr>
          <p:cNvPr id="115" name="Text Placeholder 2"/>
          <p:cNvSpPr>
            <a:spLocks noGrp="1"/>
          </p:cNvSpPr>
          <p:nvPr>
            <p:ph type="body" sz="quarter" idx="25" hasCustomPrompt="1"/>
          </p:nvPr>
        </p:nvSpPr>
        <p:spPr>
          <a:xfrm>
            <a:off x="3342796" y="4807465"/>
            <a:ext cx="1160462" cy="341313"/>
          </a:xfrm>
          <a:prstGeom prst="rect">
            <a:avLst/>
          </a:prstGeom>
        </p:spPr>
        <p:txBody>
          <a:bodyPr anchor="ctr"/>
          <a:lstStyle>
            <a:lvl1pPr marL="0" indent="0" algn="ctr">
              <a:buNone/>
              <a:defRPr sz="800">
                <a:solidFill>
                  <a:schemeClr val="bg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grpSp>
        <p:nvGrpSpPr>
          <p:cNvPr id="116" name="Group 115"/>
          <p:cNvGrpSpPr/>
          <p:nvPr userDrawn="1"/>
        </p:nvGrpSpPr>
        <p:grpSpPr>
          <a:xfrm>
            <a:off x="7686461" y="4906654"/>
            <a:ext cx="1124815" cy="151147"/>
            <a:chOff x="7686461" y="4581466"/>
            <a:chExt cx="1124815" cy="151147"/>
          </a:xfrm>
          <a:solidFill>
            <a:schemeClr val="bg1"/>
          </a:solidFill>
        </p:grpSpPr>
        <p:sp>
          <p:nvSpPr>
            <p:cNvPr id="117"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18"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19"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20"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21"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22"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23"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24"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25"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26"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27"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28"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29"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30"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31"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grpSp>
      <p:sp>
        <p:nvSpPr>
          <p:cNvPr id="51"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solidFill>
                  <a:schemeClr val="accent4">
                    <a:lumMod val="50000"/>
                  </a:schemeClr>
                </a:solidFill>
                <a:latin typeface="+mn-lt"/>
              </a:rPr>
              <a:t>Private and Confidental</a:t>
            </a:r>
            <a:endParaRPr lang="pt-BR" sz="500" dirty="0">
              <a:solidFill>
                <a:schemeClr val="accent4">
                  <a:lumMod val="50000"/>
                </a:schemeClr>
              </a:solidFill>
              <a:latin typeface="+mn-lt"/>
            </a:endParaRPr>
          </a:p>
        </p:txBody>
      </p:sp>
    </p:spTree>
    <p:extLst>
      <p:ext uri="{BB962C8B-B14F-4D97-AF65-F5344CB8AC3E}">
        <p14:creationId xmlns:p14="http://schemas.microsoft.com/office/powerpoint/2010/main" val="1787634475"/>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F_V_MB_Slate3">
    <p:bg>
      <p:bgPr>
        <a:solidFill>
          <a:schemeClr val="bg1"/>
        </a:solidFill>
        <a:effectLst/>
      </p:bgPr>
    </p:bg>
    <p:spTree>
      <p:nvGrpSpPr>
        <p:cNvPr id="1" name=""/>
        <p:cNvGrpSpPr/>
        <p:nvPr/>
      </p:nvGrpSpPr>
      <p:grpSpPr>
        <a:xfrm>
          <a:off x="0" y="0"/>
          <a:ext cx="0" cy="0"/>
          <a:chOff x="0" y="0"/>
          <a:chExt cx="0" cy="0"/>
        </a:xfrm>
      </p:grpSpPr>
      <p:sp>
        <p:nvSpPr>
          <p:cNvPr id="31" name="Rectangle 30"/>
          <p:cNvSpPr/>
          <p:nvPr userDrawn="1"/>
        </p:nvSpPr>
        <p:spPr>
          <a:xfrm>
            <a:off x="0" y="0"/>
            <a:ext cx="9144000" cy="5148263"/>
          </a:xfrm>
          <a:prstGeom prst="rect">
            <a:avLst/>
          </a:prstGeom>
          <a:solidFill>
            <a:srgbClr val="4B4E53"/>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en-GB" sz="1050" smtClean="0">
              <a:solidFill>
                <a:schemeClr val="bg1"/>
              </a:solidFill>
              <a:latin typeface="Arial" panose="020B0604020202020204" pitchFamily="34" charset="0"/>
              <a:cs typeface="Arial" panose="020B0604020202020204" pitchFamily="34" charset="0"/>
            </a:endParaRPr>
          </a:p>
        </p:txBody>
      </p:sp>
      <p:pic>
        <p:nvPicPr>
          <p:cNvPr id="33" name="Picture 32" descr="cookie_white.png"/>
          <p:cNvPicPr>
            <a:picLocks noChangeAspect="1"/>
          </p:cNvPicPr>
          <p:nvPr userDrawn="1"/>
        </p:nvPicPr>
        <p:blipFill rotWithShape="1">
          <a:blip r:embed="rId2" cstate="screen">
            <a:alphaModFix amt="16000"/>
            <a:extLst>
              <a:ext uri="{28A0092B-C50C-407E-A947-70E740481C1C}">
                <a14:useLocalDpi xmlns:a14="http://schemas.microsoft.com/office/drawing/2010/main"/>
              </a:ext>
            </a:extLst>
          </a:blip>
          <a:srcRect/>
          <a:stretch/>
        </p:blipFill>
        <p:spPr>
          <a:xfrm flipH="1">
            <a:off x="5149029" y="2289839"/>
            <a:ext cx="4020091" cy="2880000"/>
          </a:xfrm>
          <a:prstGeom prst="rect">
            <a:avLst/>
          </a:prstGeom>
        </p:spPr>
      </p:pic>
      <p:cxnSp>
        <p:nvCxnSpPr>
          <p:cNvPr id="32" name="Straight Connector 31"/>
          <p:cNvCxnSpPr/>
          <p:nvPr userDrawn="1"/>
        </p:nvCxnSpPr>
        <p:spPr>
          <a:xfrm>
            <a:off x="343365" y="470176"/>
            <a:ext cx="8460000" cy="0"/>
          </a:xfrm>
          <a:prstGeom prst="line">
            <a:avLst/>
          </a:prstGeom>
          <a:ln w="6350" cmpd="sng">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343365" y="4801146"/>
            <a:ext cx="8460000" cy="0"/>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sp>
        <p:nvSpPr>
          <p:cNvPr id="67"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rgbClr val="FFFFFF"/>
                </a:solidFill>
                <a:latin typeface="+mn-lt"/>
              </a:defRPr>
            </a:lvl1pPr>
          </a:lstStyle>
          <a:p>
            <a:fld id="{19AB4E72-7858-48F1-A40D-12FF09E4BFB8}" type="slidenum">
              <a:rPr lang="en-GB" smtClean="0"/>
              <a:pPr/>
              <a:t>‹Nº›</a:t>
            </a:fld>
            <a:endParaRPr lang="en-GB"/>
          </a:p>
        </p:txBody>
      </p:sp>
      <p:sp>
        <p:nvSpPr>
          <p:cNvPr id="36" name="Title 1"/>
          <p:cNvSpPr>
            <a:spLocks noGrp="1"/>
          </p:cNvSpPr>
          <p:nvPr>
            <p:ph type="ctrTitle" hasCustomPrompt="1"/>
          </p:nvPr>
        </p:nvSpPr>
        <p:spPr>
          <a:xfrm>
            <a:off x="343365" y="2867487"/>
            <a:ext cx="8460000" cy="443198"/>
          </a:xfrm>
          <a:prstGeom prst="rect">
            <a:avLst/>
          </a:prstGeom>
        </p:spPr>
        <p:txBody>
          <a:bodyPr lIns="0" tIns="0" rIns="0" bIns="0" anchor="b"/>
          <a:lstStyle>
            <a:lvl1pPr>
              <a:lnSpc>
                <a:spcPct val="90000"/>
              </a:lnSpc>
              <a:defRPr sz="3200" b="0">
                <a:solidFill>
                  <a:schemeClr val="bg1"/>
                </a:solidFill>
              </a:defRPr>
            </a:lvl1pPr>
          </a:lstStyle>
          <a:p>
            <a:r>
              <a:rPr lang="en-US" dirty="0" smtClean="0"/>
              <a:t>Click to edit Master title Style</a:t>
            </a:r>
            <a:endParaRPr lang="en-US" dirty="0"/>
          </a:p>
        </p:txBody>
      </p:sp>
      <p:sp>
        <p:nvSpPr>
          <p:cNvPr id="37" name="Subtitle 2"/>
          <p:cNvSpPr>
            <a:spLocks noGrp="1"/>
          </p:cNvSpPr>
          <p:nvPr>
            <p:ph type="subTitle" idx="1" hasCustomPrompt="1"/>
          </p:nvPr>
        </p:nvSpPr>
        <p:spPr>
          <a:xfrm>
            <a:off x="343364" y="3474100"/>
            <a:ext cx="8460000" cy="202165"/>
          </a:xfrm>
          <a:prstGeom prst="rect">
            <a:avLst/>
          </a:prstGeom>
        </p:spPr>
        <p:txBody>
          <a:bodyPr lIns="0" tIns="0" rIns="0" bIns="0">
            <a:noAutofit/>
          </a:bodyPr>
          <a:lstStyle>
            <a:lvl1pPr marL="0" indent="0" algn="l">
              <a:buNone/>
              <a:defRPr sz="1400">
                <a:solidFill>
                  <a:schemeClr val="tx2"/>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cxnSp>
        <p:nvCxnSpPr>
          <p:cNvPr id="38" name="Straight Connector 37"/>
          <p:cNvCxnSpPr/>
          <p:nvPr userDrawn="1"/>
        </p:nvCxnSpPr>
        <p:spPr>
          <a:xfrm>
            <a:off x="346086" y="3395058"/>
            <a:ext cx="8460000" cy="0"/>
          </a:xfrm>
          <a:prstGeom prst="line">
            <a:avLst/>
          </a:prstGeom>
          <a:ln w="12700" cmpd="sng">
            <a:solidFill>
              <a:schemeClr val="bg1"/>
            </a:solidFill>
          </a:ln>
        </p:spPr>
        <p:style>
          <a:lnRef idx="1">
            <a:schemeClr val="accent1"/>
          </a:lnRef>
          <a:fillRef idx="0">
            <a:schemeClr val="accent1"/>
          </a:fillRef>
          <a:effectRef idx="0">
            <a:schemeClr val="accent1"/>
          </a:effectRef>
          <a:fontRef idx="minor">
            <a:schemeClr val="tx1"/>
          </a:fontRef>
        </p:style>
      </p:cxnSp>
      <p:grpSp>
        <p:nvGrpSpPr>
          <p:cNvPr id="51" name="Group 50"/>
          <p:cNvGrpSpPr/>
          <p:nvPr userDrawn="1"/>
        </p:nvGrpSpPr>
        <p:grpSpPr>
          <a:xfrm>
            <a:off x="6219557" y="4840100"/>
            <a:ext cx="1123200" cy="233974"/>
            <a:chOff x="7665803" y="4864376"/>
            <a:chExt cx="1123200" cy="233974"/>
          </a:xfrm>
          <a:solidFill>
            <a:schemeClr val="bg1"/>
          </a:solidFill>
        </p:grpSpPr>
        <p:sp>
          <p:nvSpPr>
            <p:cNvPr id="56" name="Freeform 6"/>
            <p:cNvSpPr>
              <a:spLocks/>
            </p:cNvSpPr>
            <p:nvPr userDrawn="1"/>
          </p:nvSpPr>
          <p:spPr bwMode="auto">
            <a:xfrm>
              <a:off x="8119644" y="4924717"/>
              <a:ext cx="103102" cy="66806"/>
            </a:xfrm>
            <a:custGeom>
              <a:avLst/>
              <a:gdLst>
                <a:gd name="T0" fmla="*/ 111 w 136"/>
                <a:gd name="T1" fmla="*/ 72 h 92"/>
                <a:gd name="T2" fmla="*/ 87 w 136"/>
                <a:gd name="T3" fmla="*/ 88 h 92"/>
                <a:gd name="T4" fmla="*/ 68 w 136"/>
                <a:gd name="T5" fmla="*/ 28 h 92"/>
                <a:gd name="T6" fmla="*/ 67 w 136"/>
                <a:gd name="T7" fmla="*/ 28 h 92"/>
                <a:gd name="T8" fmla="*/ 53 w 136"/>
                <a:gd name="T9" fmla="*/ 72 h 92"/>
                <a:gd name="T10" fmla="*/ 31 w 136"/>
                <a:gd name="T11" fmla="*/ 88 h 92"/>
                <a:gd name="T12" fmla="*/ 0 w 136"/>
                <a:gd name="T13" fmla="*/ 0 h 92"/>
                <a:gd name="T14" fmla="*/ 22 w 136"/>
                <a:gd name="T15" fmla="*/ 0 h 92"/>
                <a:gd name="T16" fmla="*/ 41 w 136"/>
                <a:gd name="T17" fmla="*/ 60 h 92"/>
                <a:gd name="T18" fmla="*/ 41 w 136"/>
                <a:gd name="T19" fmla="*/ 60 h 92"/>
                <a:gd name="T20" fmla="*/ 60 w 136"/>
                <a:gd name="T21" fmla="*/ 0 h 92"/>
                <a:gd name="T22" fmla="*/ 77 w 136"/>
                <a:gd name="T23" fmla="*/ 0 h 92"/>
                <a:gd name="T24" fmla="*/ 96 w 136"/>
                <a:gd name="T25" fmla="*/ 60 h 92"/>
                <a:gd name="T26" fmla="*/ 97 w 136"/>
                <a:gd name="T27" fmla="*/ 60 h 92"/>
                <a:gd name="T28" fmla="*/ 115 w 136"/>
                <a:gd name="T29" fmla="*/ 0 h 92"/>
                <a:gd name="T30" fmla="*/ 136 w 136"/>
                <a:gd name="T31" fmla="*/ 0 h 92"/>
                <a:gd name="T32" fmla="*/ 111 w 136"/>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 h="92">
                  <a:moveTo>
                    <a:pt x="111" y="72"/>
                  </a:moveTo>
                  <a:cubicBezTo>
                    <a:pt x="103" y="92"/>
                    <a:pt x="87" y="88"/>
                    <a:pt x="87" y="88"/>
                  </a:cubicBezTo>
                  <a:cubicBezTo>
                    <a:pt x="68" y="28"/>
                    <a:pt x="68" y="28"/>
                    <a:pt x="68" y="28"/>
                  </a:cubicBezTo>
                  <a:cubicBezTo>
                    <a:pt x="67" y="28"/>
                    <a:pt x="67" y="28"/>
                    <a:pt x="67" y="28"/>
                  </a:cubicBezTo>
                  <a:cubicBezTo>
                    <a:pt x="67" y="28"/>
                    <a:pt x="58"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6" y="60"/>
                    <a:pt x="96" y="60"/>
                    <a:pt x="96" y="60"/>
                  </a:cubicBezTo>
                  <a:cubicBezTo>
                    <a:pt x="97" y="60"/>
                    <a:pt x="97" y="60"/>
                    <a:pt x="97" y="60"/>
                  </a:cubicBezTo>
                  <a:cubicBezTo>
                    <a:pt x="115" y="0"/>
                    <a:pt x="115" y="0"/>
                    <a:pt x="115" y="0"/>
                  </a:cubicBezTo>
                  <a:cubicBezTo>
                    <a:pt x="136" y="0"/>
                    <a:pt x="136" y="0"/>
                    <a:pt x="136" y="0"/>
                  </a:cubicBezTo>
                  <a:cubicBezTo>
                    <a:pt x="136"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57" name="Freeform 7"/>
            <p:cNvSpPr>
              <a:spLocks noEditPoints="1"/>
            </p:cNvSpPr>
            <p:nvPr userDrawn="1"/>
          </p:nvSpPr>
          <p:spPr bwMode="auto">
            <a:xfrm>
              <a:off x="8225958" y="4923177"/>
              <a:ext cx="57493" cy="66190"/>
            </a:xfrm>
            <a:custGeom>
              <a:avLst/>
              <a:gdLst>
                <a:gd name="T0" fmla="*/ 57 w 76"/>
                <a:gd name="T1" fmla="*/ 90 h 91"/>
                <a:gd name="T2" fmla="*/ 53 w 76"/>
                <a:gd name="T3" fmla="*/ 81 h 91"/>
                <a:gd name="T4" fmla="*/ 28 w 76"/>
                <a:gd name="T5" fmla="*/ 91 h 91"/>
                <a:gd name="T6" fmla="*/ 0 w 76"/>
                <a:gd name="T7" fmla="*/ 63 h 91"/>
                <a:gd name="T8" fmla="*/ 36 w 76"/>
                <a:gd name="T9" fmla="*/ 34 h 91"/>
                <a:gd name="T10" fmla="*/ 51 w 76"/>
                <a:gd name="T11" fmla="*/ 34 h 91"/>
                <a:gd name="T12" fmla="*/ 51 w 76"/>
                <a:gd name="T13" fmla="*/ 31 h 91"/>
                <a:gd name="T14" fmla="*/ 35 w 76"/>
                <a:gd name="T15" fmla="*/ 17 h 91"/>
                <a:gd name="T16" fmla="*/ 12 w 76"/>
                <a:gd name="T17" fmla="*/ 23 h 91"/>
                <a:gd name="T18" fmla="*/ 5 w 76"/>
                <a:gd name="T19" fmla="*/ 9 h 91"/>
                <a:gd name="T20" fmla="*/ 39 w 76"/>
                <a:gd name="T21" fmla="*/ 0 h 91"/>
                <a:gd name="T22" fmla="*/ 74 w 76"/>
                <a:gd name="T23" fmla="*/ 31 h 91"/>
                <a:gd name="T24" fmla="*/ 74 w 76"/>
                <a:gd name="T25" fmla="*/ 66 h 91"/>
                <a:gd name="T26" fmla="*/ 76 w 76"/>
                <a:gd name="T27" fmla="*/ 90 h 91"/>
                <a:gd name="T28" fmla="*/ 57 w 76"/>
                <a:gd name="T29" fmla="*/ 90 h 91"/>
                <a:gd name="T30" fmla="*/ 51 w 76"/>
                <a:gd name="T31" fmla="*/ 49 h 91"/>
                <a:gd name="T32" fmla="*/ 39 w 76"/>
                <a:gd name="T33" fmla="*/ 49 h 91"/>
                <a:gd name="T34" fmla="*/ 22 w 76"/>
                <a:gd name="T35" fmla="*/ 61 h 91"/>
                <a:gd name="T36" fmla="*/ 36 w 76"/>
                <a:gd name="T37" fmla="*/ 73 h 91"/>
                <a:gd name="T38" fmla="*/ 51 w 76"/>
                <a:gd name="T39" fmla="*/ 68 h 91"/>
                <a:gd name="T40" fmla="*/ 51 w 76"/>
                <a:gd name="T41" fmla="*/ 4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91">
                  <a:moveTo>
                    <a:pt x="57" y="90"/>
                  </a:moveTo>
                  <a:cubicBezTo>
                    <a:pt x="53" y="81"/>
                    <a:pt x="53" y="81"/>
                    <a:pt x="53" y="81"/>
                  </a:cubicBezTo>
                  <a:cubicBezTo>
                    <a:pt x="48" y="86"/>
                    <a:pt x="40" y="91"/>
                    <a:pt x="28" y="91"/>
                  </a:cubicBezTo>
                  <a:cubicBezTo>
                    <a:pt x="12" y="91"/>
                    <a:pt x="0" y="80"/>
                    <a:pt x="0" y="63"/>
                  </a:cubicBezTo>
                  <a:cubicBezTo>
                    <a:pt x="0" y="45"/>
                    <a:pt x="14" y="35"/>
                    <a:pt x="36" y="34"/>
                  </a:cubicBezTo>
                  <a:cubicBezTo>
                    <a:pt x="51" y="34"/>
                    <a:pt x="51" y="34"/>
                    <a:pt x="51" y="34"/>
                  </a:cubicBezTo>
                  <a:cubicBezTo>
                    <a:pt x="51" y="33"/>
                    <a:pt x="51" y="32"/>
                    <a:pt x="51" y="31"/>
                  </a:cubicBezTo>
                  <a:cubicBezTo>
                    <a:pt x="51" y="21"/>
                    <a:pt x="44" y="17"/>
                    <a:pt x="35" y="17"/>
                  </a:cubicBezTo>
                  <a:cubicBezTo>
                    <a:pt x="25" y="17"/>
                    <a:pt x="18" y="20"/>
                    <a:pt x="12" y="23"/>
                  </a:cubicBezTo>
                  <a:cubicBezTo>
                    <a:pt x="5" y="9"/>
                    <a:pt x="5" y="9"/>
                    <a:pt x="5" y="9"/>
                  </a:cubicBezTo>
                  <a:cubicBezTo>
                    <a:pt x="17" y="2"/>
                    <a:pt x="28" y="0"/>
                    <a:pt x="39" y="0"/>
                  </a:cubicBezTo>
                  <a:cubicBezTo>
                    <a:pt x="61" y="0"/>
                    <a:pt x="74" y="9"/>
                    <a:pt x="74" y="31"/>
                  </a:cubicBezTo>
                  <a:cubicBezTo>
                    <a:pt x="74" y="66"/>
                    <a:pt x="74" y="66"/>
                    <a:pt x="74" y="66"/>
                  </a:cubicBezTo>
                  <a:cubicBezTo>
                    <a:pt x="74" y="78"/>
                    <a:pt x="75" y="86"/>
                    <a:pt x="76" y="90"/>
                  </a:cubicBezTo>
                  <a:lnTo>
                    <a:pt x="57" y="90"/>
                  </a:lnTo>
                  <a:close/>
                  <a:moveTo>
                    <a:pt x="51" y="49"/>
                  </a:moveTo>
                  <a:cubicBezTo>
                    <a:pt x="39" y="49"/>
                    <a:pt x="39" y="49"/>
                    <a:pt x="39" y="49"/>
                  </a:cubicBezTo>
                  <a:cubicBezTo>
                    <a:pt x="27" y="50"/>
                    <a:pt x="22" y="54"/>
                    <a:pt x="22" y="61"/>
                  </a:cubicBezTo>
                  <a:cubicBezTo>
                    <a:pt x="22" y="68"/>
                    <a:pt x="27" y="73"/>
                    <a:pt x="36" y="73"/>
                  </a:cubicBezTo>
                  <a:cubicBezTo>
                    <a:pt x="44" y="73"/>
                    <a:pt x="49" y="70"/>
                    <a:pt x="51" y="68"/>
                  </a:cubicBezTo>
                  <a:lnTo>
                    <a:pt x="51" y="4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8"/>
            <p:cNvSpPr>
              <a:spLocks noEditPoints="1"/>
            </p:cNvSpPr>
            <p:nvPr userDrawn="1"/>
          </p:nvSpPr>
          <p:spPr bwMode="auto">
            <a:xfrm>
              <a:off x="8342550" y="4892699"/>
              <a:ext cx="62311" cy="96668"/>
            </a:xfrm>
            <a:custGeom>
              <a:avLst/>
              <a:gdLst>
                <a:gd name="T0" fmla="*/ 47 w 82"/>
                <a:gd name="T1" fmla="*/ 133 h 133"/>
                <a:gd name="T2" fmla="*/ 0 w 82"/>
                <a:gd name="T3" fmla="*/ 88 h 133"/>
                <a:gd name="T4" fmla="*/ 48 w 82"/>
                <a:gd name="T5" fmla="*/ 42 h 133"/>
                <a:gd name="T6" fmla="*/ 59 w 82"/>
                <a:gd name="T7" fmla="*/ 42 h 133"/>
                <a:gd name="T8" fmla="*/ 60 w 82"/>
                <a:gd name="T9" fmla="*/ 0 h 133"/>
                <a:gd name="T10" fmla="*/ 82 w 82"/>
                <a:gd name="T11" fmla="*/ 0 h 133"/>
                <a:gd name="T12" fmla="*/ 81 w 82"/>
                <a:gd name="T13" fmla="*/ 126 h 133"/>
                <a:gd name="T14" fmla="*/ 47 w 82"/>
                <a:gd name="T15" fmla="*/ 133 h 133"/>
                <a:gd name="T16" fmla="*/ 59 w 82"/>
                <a:gd name="T17" fmla="*/ 60 h 133"/>
                <a:gd name="T18" fmla="*/ 49 w 82"/>
                <a:gd name="T19" fmla="*/ 59 h 133"/>
                <a:gd name="T20" fmla="*/ 22 w 82"/>
                <a:gd name="T21" fmla="*/ 87 h 133"/>
                <a:gd name="T22" fmla="*/ 49 w 82"/>
                <a:gd name="T23" fmla="*/ 114 h 133"/>
                <a:gd name="T24" fmla="*/ 59 w 82"/>
                <a:gd name="T25" fmla="*/ 113 h 133"/>
                <a:gd name="T26" fmla="*/ 59 w 82"/>
                <a:gd name="T27" fmla="*/ 6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3">
                  <a:moveTo>
                    <a:pt x="47" y="133"/>
                  </a:moveTo>
                  <a:cubicBezTo>
                    <a:pt x="21" y="133"/>
                    <a:pt x="0" y="117"/>
                    <a:pt x="0" y="88"/>
                  </a:cubicBezTo>
                  <a:cubicBezTo>
                    <a:pt x="0" y="61"/>
                    <a:pt x="20" y="42"/>
                    <a:pt x="48" y="42"/>
                  </a:cubicBezTo>
                  <a:cubicBezTo>
                    <a:pt x="52" y="42"/>
                    <a:pt x="56" y="42"/>
                    <a:pt x="59" y="42"/>
                  </a:cubicBezTo>
                  <a:cubicBezTo>
                    <a:pt x="60" y="0"/>
                    <a:pt x="60" y="0"/>
                    <a:pt x="60" y="0"/>
                  </a:cubicBezTo>
                  <a:cubicBezTo>
                    <a:pt x="82" y="0"/>
                    <a:pt x="82" y="0"/>
                    <a:pt x="82" y="0"/>
                  </a:cubicBezTo>
                  <a:cubicBezTo>
                    <a:pt x="81" y="126"/>
                    <a:pt x="81" y="126"/>
                    <a:pt x="81" y="126"/>
                  </a:cubicBezTo>
                  <a:cubicBezTo>
                    <a:pt x="73" y="130"/>
                    <a:pt x="62" y="133"/>
                    <a:pt x="47" y="133"/>
                  </a:cubicBezTo>
                  <a:close/>
                  <a:moveTo>
                    <a:pt x="59" y="60"/>
                  </a:moveTo>
                  <a:cubicBezTo>
                    <a:pt x="56" y="60"/>
                    <a:pt x="54" y="59"/>
                    <a:pt x="49" y="59"/>
                  </a:cubicBezTo>
                  <a:cubicBezTo>
                    <a:pt x="33" y="59"/>
                    <a:pt x="22" y="70"/>
                    <a:pt x="22" y="87"/>
                  </a:cubicBezTo>
                  <a:cubicBezTo>
                    <a:pt x="22" y="103"/>
                    <a:pt x="32" y="114"/>
                    <a:pt x="49" y="114"/>
                  </a:cubicBezTo>
                  <a:cubicBezTo>
                    <a:pt x="53" y="114"/>
                    <a:pt x="57" y="114"/>
                    <a:pt x="59" y="113"/>
                  </a:cubicBezTo>
                  <a:lnTo>
                    <a:pt x="59" y="60"/>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59" name="Freeform 9"/>
            <p:cNvSpPr>
              <a:spLocks/>
            </p:cNvSpPr>
            <p:nvPr userDrawn="1"/>
          </p:nvSpPr>
          <p:spPr bwMode="auto">
            <a:xfrm>
              <a:off x="8093949"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0" name="Freeform 10"/>
            <p:cNvSpPr>
              <a:spLocks/>
            </p:cNvSpPr>
            <p:nvPr userDrawn="1"/>
          </p:nvSpPr>
          <p:spPr bwMode="auto">
            <a:xfrm>
              <a:off x="8060545"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1" name="Freeform 11"/>
            <p:cNvSpPr>
              <a:spLocks/>
            </p:cNvSpPr>
            <p:nvPr userDrawn="1"/>
          </p:nvSpPr>
          <p:spPr bwMode="auto">
            <a:xfrm>
              <a:off x="8297262" y="4923177"/>
              <a:ext cx="43039" cy="66190"/>
            </a:xfrm>
            <a:custGeom>
              <a:avLst/>
              <a:gdLst>
                <a:gd name="T0" fmla="*/ 49 w 57"/>
                <a:gd name="T1" fmla="*/ 22 h 91"/>
                <a:gd name="T2" fmla="*/ 39 w 57"/>
                <a:gd name="T3" fmla="*/ 20 h 91"/>
                <a:gd name="T4" fmla="*/ 22 w 57"/>
                <a:gd name="T5" fmla="*/ 27 h 91"/>
                <a:gd name="T6" fmla="*/ 22 w 57"/>
                <a:gd name="T7" fmla="*/ 74 h 91"/>
                <a:gd name="T8" fmla="*/ 0 w 57"/>
                <a:gd name="T9" fmla="*/ 90 h 91"/>
                <a:gd name="T10" fmla="*/ 0 w 57"/>
                <a:gd name="T11" fmla="*/ 2 h 91"/>
                <a:gd name="T12" fmla="*/ 18 w 57"/>
                <a:gd name="T13" fmla="*/ 2 h 91"/>
                <a:gd name="T14" fmla="*/ 21 w 57"/>
                <a:gd name="T15" fmla="*/ 11 h 91"/>
                <a:gd name="T16" fmla="*/ 45 w 57"/>
                <a:gd name="T17" fmla="*/ 0 h 91"/>
                <a:gd name="T18" fmla="*/ 57 w 57"/>
                <a:gd name="T19" fmla="*/ 4 h 91"/>
                <a:gd name="T20" fmla="*/ 49 w 57"/>
                <a:gd name="T21" fmla="*/ 2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1">
                  <a:moveTo>
                    <a:pt x="49" y="22"/>
                  </a:moveTo>
                  <a:cubicBezTo>
                    <a:pt x="45" y="20"/>
                    <a:pt x="41" y="20"/>
                    <a:pt x="39" y="20"/>
                  </a:cubicBezTo>
                  <a:cubicBezTo>
                    <a:pt x="34" y="20"/>
                    <a:pt x="28" y="22"/>
                    <a:pt x="22" y="27"/>
                  </a:cubicBezTo>
                  <a:cubicBezTo>
                    <a:pt x="22" y="27"/>
                    <a:pt x="22" y="57"/>
                    <a:pt x="22" y="74"/>
                  </a:cubicBezTo>
                  <a:cubicBezTo>
                    <a:pt x="22" y="91"/>
                    <a:pt x="0" y="90"/>
                    <a:pt x="0" y="90"/>
                  </a:cubicBezTo>
                  <a:cubicBezTo>
                    <a:pt x="0" y="2"/>
                    <a:pt x="0" y="2"/>
                    <a:pt x="0" y="2"/>
                  </a:cubicBezTo>
                  <a:cubicBezTo>
                    <a:pt x="18" y="2"/>
                    <a:pt x="18" y="2"/>
                    <a:pt x="18"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2" name="Freeform 12"/>
            <p:cNvSpPr>
              <a:spLocks/>
            </p:cNvSpPr>
            <p:nvPr userDrawn="1"/>
          </p:nvSpPr>
          <p:spPr bwMode="auto">
            <a:xfrm>
              <a:off x="7907980" y="4892699"/>
              <a:ext cx="98605" cy="95129"/>
            </a:xfrm>
            <a:custGeom>
              <a:avLst/>
              <a:gdLst>
                <a:gd name="T0" fmla="*/ 106 w 130"/>
                <a:gd name="T1" fmla="*/ 131 h 131"/>
                <a:gd name="T2" fmla="*/ 106 w 130"/>
                <a:gd name="T3" fmla="*/ 53 h 131"/>
                <a:gd name="T4" fmla="*/ 107 w 130"/>
                <a:gd name="T5" fmla="*/ 39 h 131"/>
                <a:gd name="T6" fmla="*/ 106 w 130"/>
                <a:gd name="T7" fmla="*/ 39 h 131"/>
                <a:gd name="T8" fmla="*/ 99 w 130"/>
                <a:gd name="T9" fmla="*/ 52 h 131"/>
                <a:gd name="T10" fmla="*/ 72 w 130"/>
                <a:gd name="T11" fmla="*/ 93 h 131"/>
                <a:gd name="T12" fmla="*/ 60 w 130"/>
                <a:gd name="T13" fmla="*/ 93 h 131"/>
                <a:gd name="T14" fmla="*/ 32 w 130"/>
                <a:gd name="T15" fmla="*/ 51 h 131"/>
                <a:gd name="T16" fmla="*/ 24 w 130"/>
                <a:gd name="T17" fmla="*/ 39 h 131"/>
                <a:gd name="T18" fmla="*/ 23 w 130"/>
                <a:gd name="T19" fmla="*/ 39 h 131"/>
                <a:gd name="T20" fmla="*/ 24 w 130"/>
                <a:gd name="T21" fmla="*/ 52 h 131"/>
                <a:gd name="T22" fmla="*/ 24 w 130"/>
                <a:gd name="T23" fmla="*/ 131 h 131"/>
                <a:gd name="T24" fmla="*/ 0 w 130"/>
                <a:gd name="T25" fmla="*/ 131 h 131"/>
                <a:gd name="T26" fmla="*/ 0 w 130"/>
                <a:gd name="T27" fmla="*/ 0 h 131"/>
                <a:gd name="T28" fmla="*/ 22 w 130"/>
                <a:gd name="T29" fmla="*/ 0 h 131"/>
                <a:gd name="T30" fmla="*/ 58 w 130"/>
                <a:gd name="T31" fmla="*/ 52 h 131"/>
                <a:gd name="T32" fmla="*/ 66 w 130"/>
                <a:gd name="T33" fmla="*/ 66 h 131"/>
                <a:gd name="T34" fmla="*/ 67 w 130"/>
                <a:gd name="T35" fmla="*/ 66 h 131"/>
                <a:gd name="T36" fmla="*/ 75 w 130"/>
                <a:gd name="T37" fmla="*/ 52 h 131"/>
                <a:gd name="T38" fmla="*/ 108 w 130"/>
                <a:gd name="T39" fmla="*/ 0 h 131"/>
                <a:gd name="T40" fmla="*/ 130 w 130"/>
                <a:gd name="T41" fmla="*/ 0 h 131"/>
                <a:gd name="T42" fmla="*/ 130 w 130"/>
                <a:gd name="T43" fmla="*/ 131 h 131"/>
                <a:gd name="T44" fmla="*/ 106 w 130"/>
                <a:gd name="T45"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0" h="131">
                  <a:moveTo>
                    <a:pt x="106" y="131"/>
                  </a:moveTo>
                  <a:cubicBezTo>
                    <a:pt x="106" y="53"/>
                    <a:pt x="106" y="53"/>
                    <a:pt x="106" y="53"/>
                  </a:cubicBezTo>
                  <a:cubicBezTo>
                    <a:pt x="106" y="48"/>
                    <a:pt x="106" y="44"/>
                    <a:pt x="107" y="39"/>
                  </a:cubicBezTo>
                  <a:cubicBezTo>
                    <a:pt x="106" y="39"/>
                    <a:pt x="106" y="39"/>
                    <a:pt x="106" y="39"/>
                  </a:cubicBezTo>
                  <a:cubicBezTo>
                    <a:pt x="105" y="43"/>
                    <a:pt x="101" y="49"/>
                    <a:pt x="99" y="52"/>
                  </a:cubicBezTo>
                  <a:cubicBezTo>
                    <a:pt x="72" y="93"/>
                    <a:pt x="72" y="93"/>
                    <a:pt x="72" y="93"/>
                  </a:cubicBezTo>
                  <a:cubicBezTo>
                    <a:pt x="60" y="93"/>
                    <a:pt x="60" y="93"/>
                    <a:pt x="60" y="93"/>
                  </a:cubicBezTo>
                  <a:cubicBezTo>
                    <a:pt x="32" y="51"/>
                    <a:pt x="32" y="51"/>
                    <a:pt x="32" y="51"/>
                  </a:cubicBezTo>
                  <a:cubicBezTo>
                    <a:pt x="29" y="48"/>
                    <a:pt x="26" y="44"/>
                    <a:pt x="24" y="39"/>
                  </a:cubicBezTo>
                  <a:cubicBezTo>
                    <a:pt x="23" y="39"/>
                    <a:pt x="23" y="39"/>
                    <a:pt x="23" y="39"/>
                  </a:cubicBezTo>
                  <a:cubicBezTo>
                    <a:pt x="24" y="44"/>
                    <a:pt x="24" y="48"/>
                    <a:pt x="24" y="52"/>
                  </a:cubicBezTo>
                  <a:cubicBezTo>
                    <a:pt x="24" y="131"/>
                    <a:pt x="24" y="131"/>
                    <a:pt x="24" y="131"/>
                  </a:cubicBezTo>
                  <a:cubicBezTo>
                    <a:pt x="0" y="131"/>
                    <a:pt x="0" y="131"/>
                    <a:pt x="0" y="131"/>
                  </a:cubicBezTo>
                  <a:cubicBezTo>
                    <a:pt x="0" y="0"/>
                    <a:pt x="0" y="0"/>
                    <a:pt x="0" y="0"/>
                  </a:cubicBezTo>
                  <a:cubicBezTo>
                    <a:pt x="22" y="0"/>
                    <a:pt x="22" y="0"/>
                    <a:pt x="22" y="0"/>
                  </a:cubicBezTo>
                  <a:cubicBezTo>
                    <a:pt x="58" y="52"/>
                    <a:pt x="58" y="52"/>
                    <a:pt x="58" y="52"/>
                  </a:cubicBezTo>
                  <a:cubicBezTo>
                    <a:pt x="61" y="57"/>
                    <a:pt x="64" y="61"/>
                    <a:pt x="66" y="66"/>
                  </a:cubicBezTo>
                  <a:cubicBezTo>
                    <a:pt x="67" y="66"/>
                    <a:pt x="67" y="66"/>
                    <a:pt x="67" y="66"/>
                  </a:cubicBezTo>
                  <a:cubicBezTo>
                    <a:pt x="69" y="61"/>
                    <a:pt x="71" y="57"/>
                    <a:pt x="75" y="52"/>
                  </a:cubicBezTo>
                  <a:cubicBezTo>
                    <a:pt x="108" y="0"/>
                    <a:pt x="108" y="0"/>
                    <a:pt x="108" y="0"/>
                  </a:cubicBezTo>
                  <a:cubicBezTo>
                    <a:pt x="130" y="0"/>
                    <a:pt x="130" y="0"/>
                    <a:pt x="130" y="0"/>
                  </a:cubicBezTo>
                  <a:cubicBezTo>
                    <a:pt x="130" y="131"/>
                    <a:pt x="130" y="131"/>
                    <a:pt x="130" y="131"/>
                  </a:cubicBezTo>
                  <a:lnTo>
                    <a:pt x="106" y="131"/>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3" name="Freeform 13"/>
            <p:cNvSpPr>
              <a:spLocks/>
            </p:cNvSpPr>
            <p:nvPr userDrawn="1"/>
          </p:nvSpPr>
          <p:spPr bwMode="auto">
            <a:xfrm>
              <a:off x="7665803" y="4864376"/>
              <a:ext cx="100854" cy="148389"/>
            </a:xfrm>
            <a:custGeom>
              <a:avLst/>
              <a:gdLst>
                <a:gd name="T0" fmla="*/ 133 w 133"/>
                <a:gd name="T1" fmla="*/ 23 h 204"/>
                <a:gd name="T2" fmla="*/ 132 w 133"/>
                <a:gd name="T3" fmla="*/ 22 h 204"/>
                <a:gd name="T4" fmla="*/ 65 w 133"/>
                <a:gd name="T5" fmla="*/ 20 h 204"/>
                <a:gd name="T6" fmla="*/ 52 w 133"/>
                <a:gd name="T7" fmla="*/ 52 h 204"/>
                <a:gd name="T8" fmla="*/ 20 w 133"/>
                <a:gd name="T9" fmla="*/ 65 h 204"/>
                <a:gd name="T10" fmla="*/ 22 w 133"/>
                <a:gd name="T11" fmla="*/ 132 h 204"/>
                <a:gd name="T12" fmla="*/ 95 w 133"/>
                <a:gd name="T13" fmla="*/ 204 h 204"/>
                <a:gd name="T14" fmla="*/ 117 w 133"/>
                <a:gd name="T15" fmla="*/ 182 h 204"/>
                <a:gd name="T16" fmla="*/ 44 w 133"/>
                <a:gd name="T17" fmla="*/ 110 h 204"/>
                <a:gd name="T18" fmla="*/ 42 w 133"/>
                <a:gd name="T19" fmla="*/ 86 h 204"/>
                <a:gd name="T20" fmla="*/ 66 w 133"/>
                <a:gd name="T21" fmla="*/ 88 h 204"/>
                <a:gd name="T22" fmla="*/ 133 w 133"/>
                <a:gd name="T23" fmla="*/ 155 h 204"/>
                <a:gd name="T24" fmla="*/ 133 w 133"/>
                <a:gd name="T25" fmla="*/ 111 h 204"/>
                <a:gd name="T26" fmla="*/ 88 w 133"/>
                <a:gd name="T27" fmla="*/ 66 h 204"/>
                <a:gd name="T28" fmla="*/ 86 w 133"/>
                <a:gd name="T29" fmla="*/ 42 h 204"/>
                <a:gd name="T30" fmla="*/ 110 w 133"/>
                <a:gd name="T31" fmla="*/ 44 h 204"/>
                <a:gd name="T32" fmla="*/ 133 w 133"/>
                <a:gd name="T33" fmla="*/ 66 h 204"/>
                <a:gd name="T34" fmla="*/ 133 w 133"/>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204">
                  <a:moveTo>
                    <a:pt x="133" y="23"/>
                  </a:moveTo>
                  <a:cubicBezTo>
                    <a:pt x="132" y="22"/>
                    <a:pt x="132" y="22"/>
                    <a:pt x="132" y="22"/>
                  </a:cubicBezTo>
                  <a:cubicBezTo>
                    <a:pt x="110" y="0"/>
                    <a:pt x="82" y="2"/>
                    <a:pt x="65" y="20"/>
                  </a:cubicBezTo>
                  <a:cubicBezTo>
                    <a:pt x="53" y="32"/>
                    <a:pt x="51" y="46"/>
                    <a:pt x="52" y="52"/>
                  </a:cubicBezTo>
                  <a:cubicBezTo>
                    <a:pt x="47" y="51"/>
                    <a:pt x="32" y="52"/>
                    <a:pt x="20" y="65"/>
                  </a:cubicBezTo>
                  <a:cubicBezTo>
                    <a:pt x="3" y="82"/>
                    <a:pt x="0" y="110"/>
                    <a:pt x="22" y="132"/>
                  </a:cubicBezTo>
                  <a:cubicBezTo>
                    <a:pt x="95" y="204"/>
                    <a:pt x="95" y="204"/>
                    <a:pt x="95" y="204"/>
                  </a:cubicBezTo>
                  <a:cubicBezTo>
                    <a:pt x="117" y="182"/>
                    <a:pt x="117" y="182"/>
                    <a:pt x="117" y="182"/>
                  </a:cubicBezTo>
                  <a:cubicBezTo>
                    <a:pt x="44" y="110"/>
                    <a:pt x="44" y="110"/>
                    <a:pt x="44" y="110"/>
                  </a:cubicBezTo>
                  <a:cubicBezTo>
                    <a:pt x="35" y="101"/>
                    <a:pt x="36" y="91"/>
                    <a:pt x="42" y="86"/>
                  </a:cubicBezTo>
                  <a:cubicBezTo>
                    <a:pt x="47" y="80"/>
                    <a:pt x="58" y="79"/>
                    <a:pt x="66" y="88"/>
                  </a:cubicBezTo>
                  <a:cubicBezTo>
                    <a:pt x="133" y="155"/>
                    <a:pt x="133" y="155"/>
                    <a:pt x="133" y="155"/>
                  </a:cubicBezTo>
                  <a:cubicBezTo>
                    <a:pt x="133" y="111"/>
                    <a:pt x="133" y="111"/>
                    <a:pt x="133" y="111"/>
                  </a:cubicBezTo>
                  <a:cubicBezTo>
                    <a:pt x="88" y="66"/>
                    <a:pt x="88" y="66"/>
                    <a:pt x="88" y="66"/>
                  </a:cubicBezTo>
                  <a:cubicBezTo>
                    <a:pt x="80" y="57"/>
                    <a:pt x="80" y="47"/>
                    <a:pt x="86" y="42"/>
                  </a:cubicBezTo>
                  <a:cubicBezTo>
                    <a:pt x="92" y="36"/>
                    <a:pt x="102" y="35"/>
                    <a:pt x="110" y="44"/>
                  </a:cubicBezTo>
                  <a:cubicBezTo>
                    <a:pt x="133" y="66"/>
                    <a:pt x="133" y="66"/>
                    <a:pt x="133" y="66"/>
                  </a:cubicBezTo>
                  <a:lnTo>
                    <a:pt x="133"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4" name="Freeform 14"/>
            <p:cNvSpPr>
              <a:spLocks noEditPoints="1"/>
            </p:cNvSpPr>
            <p:nvPr userDrawn="1"/>
          </p:nvSpPr>
          <p:spPr bwMode="auto">
            <a:xfrm>
              <a:off x="8023287" y="4895470"/>
              <a:ext cx="20556" cy="93282"/>
            </a:xfrm>
            <a:custGeom>
              <a:avLst/>
              <a:gdLst>
                <a:gd name="T0" fmla="*/ 14 w 27"/>
                <a:gd name="T1" fmla="*/ 26 h 128"/>
                <a:gd name="T2" fmla="*/ 0 w 27"/>
                <a:gd name="T3" fmla="*/ 13 h 128"/>
                <a:gd name="T4" fmla="*/ 14 w 27"/>
                <a:gd name="T5" fmla="*/ 0 h 128"/>
                <a:gd name="T6" fmla="*/ 27 w 27"/>
                <a:gd name="T7" fmla="*/ 13 h 128"/>
                <a:gd name="T8" fmla="*/ 14 w 27"/>
                <a:gd name="T9" fmla="*/ 26 h 128"/>
                <a:gd name="T10" fmla="*/ 3 w 27"/>
                <a:gd name="T11" fmla="*/ 128 h 128"/>
                <a:gd name="T12" fmla="*/ 3 w 27"/>
                <a:gd name="T13" fmla="*/ 40 h 128"/>
                <a:gd name="T14" fmla="*/ 25 w 27"/>
                <a:gd name="T15" fmla="*/ 40 h 128"/>
                <a:gd name="T16" fmla="*/ 25 w 27"/>
                <a:gd name="T17" fmla="*/ 112 h 128"/>
                <a:gd name="T18" fmla="*/ 3 w 27"/>
                <a:gd name="T1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128">
                  <a:moveTo>
                    <a:pt x="14" y="26"/>
                  </a:moveTo>
                  <a:cubicBezTo>
                    <a:pt x="6" y="26"/>
                    <a:pt x="0" y="20"/>
                    <a:pt x="0" y="13"/>
                  </a:cubicBezTo>
                  <a:cubicBezTo>
                    <a:pt x="0" y="6"/>
                    <a:pt x="6" y="0"/>
                    <a:pt x="14" y="0"/>
                  </a:cubicBezTo>
                  <a:cubicBezTo>
                    <a:pt x="21" y="0"/>
                    <a:pt x="27" y="5"/>
                    <a:pt x="27" y="13"/>
                  </a:cubicBezTo>
                  <a:cubicBezTo>
                    <a:pt x="27" y="20"/>
                    <a:pt x="21" y="26"/>
                    <a:pt x="14" y="26"/>
                  </a:cubicBezTo>
                  <a:close/>
                  <a:moveTo>
                    <a:pt x="3" y="128"/>
                  </a:moveTo>
                  <a:cubicBezTo>
                    <a:pt x="3" y="40"/>
                    <a:pt x="3" y="40"/>
                    <a:pt x="3" y="40"/>
                  </a:cubicBezTo>
                  <a:cubicBezTo>
                    <a:pt x="25" y="40"/>
                    <a:pt x="25" y="40"/>
                    <a:pt x="25" y="40"/>
                  </a:cubicBezTo>
                  <a:cubicBezTo>
                    <a:pt x="25" y="40"/>
                    <a:pt x="25" y="95"/>
                    <a:pt x="25" y="112"/>
                  </a:cubicBezTo>
                  <a:cubicBezTo>
                    <a:pt x="25" y="128"/>
                    <a:pt x="3" y="128"/>
                    <a:pt x="3" y="1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5" name="Freeform 15"/>
            <p:cNvSpPr>
              <a:spLocks/>
            </p:cNvSpPr>
            <p:nvPr userDrawn="1"/>
          </p:nvSpPr>
          <p:spPr bwMode="auto">
            <a:xfrm>
              <a:off x="8615239" y="4924717"/>
              <a:ext cx="103744" cy="66806"/>
            </a:xfrm>
            <a:custGeom>
              <a:avLst/>
              <a:gdLst>
                <a:gd name="T0" fmla="*/ 111 w 137"/>
                <a:gd name="T1" fmla="*/ 72 h 92"/>
                <a:gd name="T2" fmla="*/ 88 w 137"/>
                <a:gd name="T3" fmla="*/ 88 h 92"/>
                <a:gd name="T4" fmla="*/ 68 w 137"/>
                <a:gd name="T5" fmla="*/ 28 h 92"/>
                <a:gd name="T6" fmla="*/ 68 w 137"/>
                <a:gd name="T7" fmla="*/ 28 h 92"/>
                <a:gd name="T8" fmla="*/ 53 w 137"/>
                <a:gd name="T9" fmla="*/ 72 h 92"/>
                <a:gd name="T10" fmla="*/ 31 w 137"/>
                <a:gd name="T11" fmla="*/ 88 h 92"/>
                <a:gd name="T12" fmla="*/ 0 w 137"/>
                <a:gd name="T13" fmla="*/ 0 h 92"/>
                <a:gd name="T14" fmla="*/ 22 w 137"/>
                <a:gd name="T15" fmla="*/ 0 h 92"/>
                <a:gd name="T16" fmla="*/ 41 w 137"/>
                <a:gd name="T17" fmla="*/ 60 h 92"/>
                <a:gd name="T18" fmla="*/ 41 w 137"/>
                <a:gd name="T19" fmla="*/ 60 h 92"/>
                <a:gd name="T20" fmla="*/ 60 w 137"/>
                <a:gd name="T21" fmla="*/ 0 h 92"/>
                <a:gd name="T22" fmla="*/ 77 w 137"/>
                <a:gd name="T23" fmla="*/ 0 h 92"/>
                <a:gd name="T24" fmla="*/ 97 w 137"/>
                <a:gd name="T25" fmla="*/ 60 h 92"/>
                <a:gd name="T26" fmla="*/ 97 w 137"/>
                <a:gd name="T27" fmla="*/ 60 h 92"/>
                <a:gd name="T28" fmla="*/ 115 w 137"/>
                <a:gd name="T29" fmla="*/ 0 h 92"/>
                <a:gd name="T30" fmla="*/ 137 w 137"/>
                <a:gd name="T31" fmla="*/ 0 h 92"/>
                <a:gd name="T32" fmla="*/ 111 w 137"/>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 h="92">
                  <a:moveTo>
                    <a:pt x="111" y="72"/>
                  </a:moveTo>
                  <a:cubicBezTo>
                    <a:pt x="104" y="92"/>
                    <a:pt x="88" y="88"/>
                    <a:pt x="88" y="88"/>
                  </a:cubicBezTo>
                  <a:cubicBezTo>
                    <a:pt x="68" y="28"/>
                    <a:pt x="68" y="28"/>
                    <a:pt x="68" y="28"/>
                  </a:cubicBezTo>
                  <a:cubicBezTo>
                    <a:pt x="68" y="28"/>
                    <a:pt x="68" y="28"/>
                    <a:pt x="68" y="28"/>
                  </a:cubicBezTo>
                  <a:cubicBezTo>
                    <a:pt x="68" y="28"/>
                    <a:pt x="59"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7" y="60"/>
                    <a:pt x="97" y="60"/>
                    <a:pt x="97" y="60"/>
                  </a:cubicBezTo>
                  <a:cubicBezTo>
                    <a:pt x="97" y="60"/>
                    <a:pt x="97" y="60"/>
                    <a:pt x="97" y="60"/>
                  </a:cubicBezTo>
                  <a:cubicBezTo>
                    <a:pt x="115" y="0"/>
                    <a:pt x="115" y="0"/>
                    <a:pt x="115" y="0"/>
                  </a:cubicBezTo>
                  <a:cubicBezTo>
                    <a:pt x="137" y="0"/>
                    <a:pt x="137" y="0"/>
                    <a:pt x="137" y="0"/>
                  </a:cubicBezTo>
                  <a:cubicBezTo>
                    <a:pt x="137"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6" name="Freeform 16"/>
            <p:cNvSpPr>
              <a:spLocks noEditPoints="1"/>
            </p:cNvSpPr>
            <p:nvPr userDrawn="1"/>
          </p:nvSpPr>
          <p:spPr bwMode="auto">
            <a:xfrm>
              <a:off x="8423168" y="4892699"/>
              <a:ext cx="65844" cy="95129"/>
            </a:xfrm>
            <a:custGeom>
              <a:avLst/>
              <a:gdLst>
                <a:gd name="T0" fmla="*/ 1 w 87"/>
                <a:gd name="T1" fmla="*/ 0 h 131"/>
                <a:gd name="T2" fmla="*/ 0 w 87"/>
                <a:gd name="T3" fmla="*/ 131 h 131"/>
                <a:gd name="T4" fmla="*/ 41 w 87"/>
                <a:gd name="T5" fmla="*/ 131 h 131"/>
                <a:gd name="T6" fmla="*/ 87 w 87"/>
                <a:gd name="T7" fmla="*/ 92 h 131"/>
                <a:gd name="T8" fmla="*/ 65 w 87"/>
                <a:gd name="T9" fmla="*/ 61 h 131"/>
                <a:gd name="T10" fmla="*/ 62 w 87"/>
                <a:gd name="T11" fmla="*/ 60 h 131"/>
                <a:gd name="T12" fmla="*/ 64 w 87"/>
                <a:gd name="T13" fmla="*/ 59 h 131"/>
                <a:gd name="T14" fmla="*/ 79 w 87"/>
                <a:gd name="T15" fmla="*/ 32 h 131"/>
                <a:gd name="T16" fmla="*/ 42 w 87"/>
                <a:gd name="T17" fmla="*/ 0 h 131"/>
                <a:gd name="T18" fmla="*/ 1 w 87"/>
                <a:gd name="T19" fmla="*/ 0 h 131"/>
                <a:gd name="T20" fmla="*/ 23 w 87"/>
                <a:gd name="T21" fmla="*/ 17 h 131"/>
                <a:gd name="T22" fmla="*/ 36 w 87"/>
                <a:gd name="T23" fmla="*/ 17 h 131"/>
                <a:gd name="T24" fmla="*/ 56 w 87"/>
                <a:gd name="T25" fmla="*/ 35 h 131"/>
                <a:gd name="T26" fmla="*/ 38 w 87"/>
                <a:gd name="T27" fmla="*/ 55 h 131"/>
                <a:gd name="T28" fmla="*/ 22 w 87"/>
                <a:gd name="T29" fmla="*/ 55 h 131"/>
                <a:gd name="T30" fmla="*/ 23 w 87"/>
                <a:gd name="T31" fmla="*/ 17 h 131"/>
                <a:gd name="T32" fmla="*/ 22 w 87"/>
                <a:gd name="T33" fmla="*/ 74 h 131"/>
                <a:gd name="T34" fmla="*/ 40 w 87"/>
                <a:gd name="T35" fmla="*/ 74 h 131"/>
                <a:gd name="T36" fmla="*/ 64 w 87"/>
                <a:gd name="T37" fmla="*/ 92 h 131"/>
                <a:gd name="T38" fmla="*/ 39 w 87"/>
                <a:gd name="T39" fmla="*/ 113 h 131"/>
                <a:gd name="T40" fmla="*/ 22 w 87"/>
                <a:gd name="T41" fmla="*/ 113 h 131"/>
                <a:gd name="T42" fmla="*/ 22 w 87"/>
                <a:gd name="T43" fmla="*/ 7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131">
                  <a:moveTo>
                    <a:pt x="1" y="0"/>
                  </a:moveTo>
                  <a:cubicBezTo>
                    <a:pt x="1" y="3"/>
                    <a:pt x="0" y="129"/>
                    <a:pt x="0" y="131"/>
                  </a:cubicBezTo>
                  <a:cubicBezTo>
                    <a:pt x="2" y="131"/>
                    <a:pt x="41" y="131"/>
                    <a:pt x="41" y="131"/>
                  </a:cubicBezTo>
                  <a:cubicBezTo>
                    <a:pt x="73" y="131"/>
                    <a:pt x="87" y="111"/>
                    <a:pt x="87" y="92"/>
                  </a:cubicBezTo>
                  <a:cubicBezTo>
                    <a:pt x="87" y="77"/>
                    <a:pt x="79" y="65"/>
                    <a:pt x="65" y="61"/>
                  </a:cubicBezTo>
                  <a:cubicBezTo>
                    <a:pt x="62" y="60"/>
                    <a:pt x="62" y="60"/>
                    <a:pt x="62" y="60"/>
                  </a:cubicBezTo>
                  <a:cubicBezTo>
                    <a:pt x="64" y="59"/>
                    <a:pt x="64" y="59"/>
                    <a:pt x="64" y="59"/>
                  </a:cubicBezTo>
                  <a:cubicBezTo>
                    <a:pt x="74" y="54"/>
                    <a:pt x="79" y="44"/>
                    <a:pt x="79" y="32"/>
                  </a:cubicBezTo>
                  <a:cubicBezTo>
                    <a:pt x="79" y="17"/>
                    <a:pt x="68" y="0"/>
                    <a:pt x="42" y="0"/>
                  </a:cubicBezTo>
                  <a:cubicBezTo>
                    <a:pt x="42" y="0"/>
                    <a:pt x="3" y="0"/>
                    <a:pt x="1" y="0"/>
                  </a:cubicBezTo>
                  <a:close/>
                  <a:moveTo>
                    <a:pt x="23" y="17"/>
                  </a:moveTo>
                  <a:cubicBezTo>
                    <a:pt x="36" y="17"/>
                    <a:pt x="36" y="17"/>
                    <a:pt x="36" y="17"/>
                  </a:cubicBezTo>
                  <a:cubicBezTo>
                    <a:pt x="49" y="17"/>
                    <a:pt x="56" y="24"/>
                    <a:pt x="56" y="35"/>
                  </a:cubicBezTo>
                  <a:cubicBezTo>
                    <a:pt x="56" y="47"/>
                    <a:pt x="47" y="55"/>
                    <a:pt x="38" y="55"/>
                  </a:cubicBezTo>
                  <a:cubicBezTo>
                    <a:pt x="22" y="55"/>
                    <a:pt x="22" y="55"/>
                    <a:pt x="22" y="55"/>
                  </a:cubicBezTo>
                  <a:lnTo>
                    <a:pt x="23" y="17"/>
                  </a:lnTo>
                  <a:close/>
                  <a:moveTo>
                    <a:pt x="22" y="74"/>
                  </a:moveTo>
                  <a:cubicBezTo>
                    <a:pt x="40" y="74"/>
                    <a:pt x="40" y="74"/>
                    <a:pt x="40" y="74"/>
                  </a:cubicBezTo>
                  <a:cubicBezTo>
                    <a:pt x="55" y="74"/>
                    <a:pt x="64" y="81"/>
                    <a:pt x="64" y="92"/>
                  </a:cubicBezTo>
                  <a:cubicBezTo>
                    <a:pt x="64" y="105"/>
                    <a:pt x="55" y="113"/>
                    <a:pt x="39" y="113"/>
                  </a:cubicBezTo>
                  <a:cubicBezTo>
                    <a:pt x="22" y="113"/>
                    <a:pt x="22" y="113"/>
                    <a:pt x="22" y="113"/>
                  </a:cubicBezTo>
                  <a:lnTo>
                    <a:pt x="22" y="74"/>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7" name="Freeform 17"/>
            <p:cNvSpPr>
              <a:spLocks noEditPoints="1"/>
            </p:cNvSpPr>
            <p:nvPr userDrawn="1"/>
          </p:nvSpPr>
          <p:spPr bwMode="auto">
            <a:xfrm>
              <a:off x="8546184" y="4923177"/>
              <a:ext cx="66486" cy="66190"/>
            </a:xfrm>
            <a:custGeom>
              <a:avLst/>
              <a:gdLst>
                <a:gd name="T0" fmla="*/ 75 w 88"/>
                <a:gd name="T1" fmla="*/ 78 h 91"/>
                <a:gd name="T2" fmla="*/ 44 w 88"/>
                <a:gd name="T3" fmla="*/ 91 h 91"/>
                <a:gd name="T4" fmla="*/ 14 w 88"/>
                <a:gd name="T5" fmla="*/ 80 h 91"/>
                <a:gd name="T6" fmla="*/ 0 w 88"/>
                <a:gd name="T7" fmla="*/ 46 h 91"/>
                <a:gd name="T8" fmla="*/ 13 w 88"/>
                <a:gd name="T9" fmla="*/ 12 h 91"/>
                <a:gd name="T10" fmla="*/ 44 w 88"/>
                <a:gd name="T11" fmla="*/ 0 h 91"/>
                <a:gd name="T12" fmla="*/ 76 w 88"/>
                <a:gd name="T13" fmla="*/ 12 h 91"/>
                <a:gd name="T14" fmla="*/ 88 w 88"/>
                <a:gd name="T15" fmla="*/ 45 h 91"/>
                <a:gd name="T16" fmla="*/ 75 w 88"/>
                <a:gd name="T17" fmla="*/ 78 h 91"/>
                <a:gd name="T18" fmla="*/ 44 w 88"/>
                <a:gd name="T19" fmla="*/ 17 h 91"/>
                <a:gd name="T20" fmla="*/ 23 w 88"/>
                <a:gd name="T21" fmla="*/ 45 h 91"/>
                <a:gd name="T22" fmla="*/ 44 w 88"/>
                <a:gd name="T23" fmla="*/ 73 h 91"/>
                <a:gd name="T24" fmla="*/ 65 w 88"/>
                <a:gd name="T25" fmla="*/ 45 h 91"/>
                <a:gd name="T26" fmla="*/ 44 w 88"/>
                <a:gd name="T27"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91">
                  <a:moveTo>
                    <a:pt x="75" y="78"/>
                  </a:moveTo>
                  <a:cubicBezTo>
                    <a:pt x="68" y="86"/>
                    <a:pt x="57" y="91"/>
                    <a:pt x="44" y="91"/>
                  </a:cubicBezTo>
                  <a:cubicBezTo>
                    <a:pt x="32" y="91"/>
                    <a:pt x="21" y="87"/>
                    <a:pt x="14" y="80"/>
                  </a:cubicBezTo>
                  <a:cubicBezTo>
                    <a:pt x="5" y="72"/>
                    <a:pt x="0" y="60"/>
                    <a:pt x="0" y="46"/>
                  </a:cubicBezTo>
                  <a:cubicBezTo>
                    <a:pt x="0" y="32"/>
                    <a:pt x="5" y="20"/>
                    <a:pt x="13" y="12"/>
                  </a:cubicBezTo>
                  <a:cubicBezTo>
                    <a:pt x="21" y="4"/>
                    <a:pt x="31" y="0"/>
                    <a:pt x="44" y="0"/>
                  </a:cubicBezTo>
                  <a:cubicBezTo>
                    <a:pt x="57" y="0"/>
                    <a:pt x="68" y="4"/>
                    <a:pt x="76" y="12"/>
                  </a:cubicBezTo>
                  <a:cubicBezTo>
                    <a:pt x="84" y="20"/>
                    <a:pt x="88" y="32"/>
                    <a:pt x="88" y="45"/>
                  </a:cubicBezTo>
                  <a:cubicBezTo>
                    <a:pt x="88" y="58"/>
                    <a:pt x="83" y="70"/>
                    <a:pt x="75" y="78"/>
                  </a:cubicBezTo>
                  <a:close/>
                  <a:moveTo>
                    <a:pt x="44" y="17"/>
                  </a:moveTo>
                  <a:cubicBezTo>
                    <a:pt x="30" y="17"/>
                    <a:pt x="23" y="29"/>
                    <a:pt x="23" y="45"/>
                  </a:cubicBezTo>
                  <a:cubicBezTo>
                    <a:pt x="23" y="62"/>
                    <a:pt x="31" y="73"/>
                    <a:pt x="44" y="73"/>
                  </a:cubicBezTo>
                  <a:cubicBezTo>
                    <a:pt x="58" y="73"/>
                    <a:pt x="65" y="61"/>
                    <a:pt x="65" y="45"/>
                  </a:cubicBezTo>
                  <a:cubicBezTo>
                    <a:pt x="65" y="28"/>
                    <a:pt x="57" y="17"/>
                    <a:pt x="44" y="1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8" name="Freeform 18"/>
            <p:cNvSpPr>
              <a:spLocks/>
            </p:cNvSpPr>
            <p:nvPr userDrawn="1"/>
          </p:nvSpPr>
          <p:spPr bwMode="auto">
            <a:xfrm>
              <a:off x="8728298" y="4923177"/>
              <a:ext cx="60705" cy="65574"/>
            </a:xfrm>
            <a:custGeom>
              <a:avLst/>
              <a:gdLst>
                <a:gd name="T0" fmla="*/ 58 w 80"/>
                <a:gd name="T1" fmla="*/ 90 h 90"/>
                <a:gd name="T2" fmla="*/ 58 w 80"/>
                <a:gd name="T3" fmla="*/ 38 h 90"/>
                <a:gd name="T4" fmla="*/ 45 w 80"/>
                <a:gd name="T5" fmla="*/ 19 h 90"/>
                <a:gd name="T6" fmla="*/ 23 w 80"/>
                <a:gd name="T7" fmla="*/ 28 h 90"/>
                <a:gd name="T8" fmla="*/ 23 w 80"/>
                <a:gd name="T9" fmla="*/ 74 h 90"/>
                <a:gd name="T10" fmla="*/ 0 w 80"/>
                <a:gd name="T11" fmla="*/ 90 h 90"/>
                <a:gd name="T12" fmla="*/ 0 w 80"/>
                <a:gd name="T13" fmla="*/ 2 h 90"/>
                <a:gd name="T14" fmla="*/ 19 w 80"/>
                <a:gd name="T15" fmla="*/ 2 h 90"/>
                <a:gd name="T16" fmla="*/ 22 w 80"/>
                <a:gd name="T17" fmla="*/ 11 h 90"/>
                <a:gd name="T18" fmla="*/ 52 w 80"/>
                <a:gd name="T19" fmla="*/ 0 h 90"/>
                <a:gd name="T20" fmla="*/ 80 w 80"/>
                <a:gd name="T21" fmla="*/ 31 h 90"/>
                <a:gd name="T22" fmla="*/ 80 w 80"/>
                <a:gd name="T23" fmla="*/ 74 h 90"/>
                <a:gd name="T24" fmla="*/ 58 w 80"/>
                <a:gd name="T2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90">
                  <a:moveTo>
                    <a:pt x="58" y="90"/>
                  </a:moveTo>
                  <a:cubicBezTo>
                    <a:pt x="58" y="38"/>
                    <a:pt x="58" y="38"/>
                    <a:pt x="58" y="38"/>
                  </a:cubicBezTo>
                  <a:cubicBezTo>
                    <a:pt x="58" y="29"/>
                    <a:pt x="56" y="19"/>
                    <a:pt x="45" y="19"/>
                  </a:cubicBezTo>
                  <a:cubicBezTo>
                    <a:pt x="37" y="19"/>
                    <a:pt x="29" y="23"/>
                    <a:pt x="23" y="28"/>
                  </a:cubicBezTo>
                  <a:cubicBezTo>
                    <a:pt x="23" y="28"/>
                    <a:pt x="23" y="57"/>
                    <a:pt x="23" y="74"/>
                  </a:cubicBezTo>
                  <a:cubicBezTo>
                    <a:pt x="23" y="90"/>
                    <a:pt x="0" y="90"/>
                    <a:pt x="0" y="90"/>
                  </a:cubicBezTo>
                  <a:cubicBezTo>
                    <a:pt x="0" y="2"/>
                    <a:pt x="0" y="2"/>
                    <a:pt x="0" y="2"/>
                  </a:cubicBezTo>
                  <a:cubicBezTo>
                    <a:pt x="19" y="2"/>
                    <a:pt x="19" y="2"/>
                    <a:pt x="19" y="2"/>
                  </a:cubicBezTo>
                  <a:cubicBezTo>
                    <a:pt x="22" y="11"/>
                    <a:pt x="22" y="11"/>
                    <a:pt x="22" y="11"/>
                  </a:cubicBezTo>
                  <a:cubicBezTo>
                    <a:pt x="31" y="4"/>
                    <a:pt x="40" y="0"/>
                    <a:pt x="52" y="0"/>
                  </a:cubicBezTo>
                  <a:cubicBezTo>
                    <a:pt x="65" y="0"/>
                    <a:pt x="80" y="8"/>
                    <a:pt x="80" y="31"/>
                  </a:cubicBezTo>
                  <a:cubicBezTo>
                    <a:pt x="80" y="31"/>
                    <a:pt x="80" y="57"/>
                    <a:pt x="80" y="74"/>
                  </a:cubicBezTo>
                  <a:cubicBezTo>
                    <a:pt x="80" y="90"/>
                    <a:pt x="58" y="90"/>
                    <a:pt x="58" y="9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9" name="Freeform 19"/>
            <p:cNvSpPr>
              <a:spLocks/>
            </p:cNvSpPr>
            <p:nvPr userDrawn="1"/>
          </p:nvSpPr>
          <p:spPr bwMode="auto">
            <a:xfrm>
              <a:off x="8501217" y="4923177"/>
              <a:ext cx="43361" cy="65574"/>
            </a:xfrm>
            <a:custGeom>
              <a:avLst/>
              <a:gdLst>
                <a:gd name="T0" fmla="*/ 49 w 57"/>
                <a:gd name="T1" fmla="*/ 22 h 90"/>
                <a:gd name="T2" fmla="*/ 39 w 57"/>
                <a:gd name="T3" fmla="*/ 20 h 90"/>
                <a:gd name="T4" fmla="*/ 22 w 57"/>
                <a:gd name="T5" fmla="*/ 27 h 90"/>
                <a:gd name="T6" fmla="*/ 22 w 57"/>
                <a:gd name="T7" fmla="*/ 74 h 90"/>
                <a:gd name="T8" fmla="*/ 0 w 57"/>
                <a:gd name="T9" fmla="*/ 90 h 90"/>
                <a:gd name="T10" fmla="*/ 0 w 57"/>
                <a:gd name="T11" fmla="*/ 2 h 90"/>
                <a:gd name="T12" fmla="*/ 19 w 57"/>
                <a:gd name="T13" fmla="*/ 2 h 90"/>
                <a:gd name="T14" fmla="*/ 21 w 57"/>
                <a:gd name="T15" fmla="*/ 11 h 90"/>
                <a:gd name="T16" fmla="*/ 45 w 57"/>
                <a:gd name="T17" fmla="*/ 0 h 90"/>
                <a:gd name="T18" fmla="*/ 57 w 57"/>
                <a:gd name="T19" fmla="*/ 4 h 90"/>
                <a:gd name="T20" fmla="*/ 49 w 57"/>
                <a:gd name="T21" fmla="*/ 2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0">
                  <a:moveTo>
                    <a:pt x="49" y="22"/>
                  </a:moveTo>
                  <a:cubicBezTo>
                    <a:pt x="46" y="20"/>
                    <a:pt x="42" y="20"/>
                    <a:pt x="39" y="20"/>
                  </a:cubicBezTo>
                  <a:cubicBezTo>
                    <a:pt x="34" y="20"/>
                    <a:pt x="28" y="22"/>
                    <a:pt x="22" y="27"/>
                  </a:cubicBezTo>
                  <a:cubicBezTo>
                    <a:pt x="22" y="27"/>
                    <a:pt x="22" y="57"/>
                    <a:pt x="22" y="74"/>
                  </a:cubicBezTo>
                  <a:cubicBezTo>
                    <a:pt x="22" y="90"/>
                    <a:pt x="0" y="90"/>
                    <a:pt x="0" y="90"/>
                  </a:cubicBezTo>
                  <a:cubicBezTo>
                    <a:pt x="0" y="2"/>
                    <a:pt x="0" y="2"/>
                    <a:pt x="0" y="2"/>
                  </a:cubicBezTo>
                  <a:cubicBezTo>
                    <a:pt x="19" y="2"/>
                    <a:pt x="19" y="2"/>
                    <a:pt x="19"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0" name="Freeform 20"/>
            <p:cNvSpPr>
              <a:spLocks/>
            </p:cNvSpPr>
            <p:nvPr userDrawn="1"/>
          </p:nvSpPr>
          <p:spPr bwMode="auto">
            <a:xfrm>
              <a:off x="7766657" y="4864376"/>
              <a:ext cx="100211" cy="148389"/>
            </a:xfrm>
            <a:custGeom>
              <a:avLst/>
              <a:gdLst>
                <a:gd name="T0" fmla="*/ 0 w 132"/>
                <a:gd name="T1" fmla="*/ 23 h 204"/>
                <a:gd name="T2" fmla="*/ 1 w 132"/>
                <a:gd name="T3" fmla="*/ 22 h 204"/>
                <a:gd name="T4" fmla="*/ 67 w 132"/>
                <a:gd name="T5" fmla="*/ 20 h 204"/>
                <a:gd name="T6" fmla="*/ 80 w 132"/>
                <a:gd name="T7" fmla="*/ 52 h 204"/>
                <a:gd name="T8" fmla="*/ 113 w 132"/>
                <a:gd name="T9" fmla="*/ 65 h 204"/>
                <a:gd name="T10" fmla="*/ 111 w 132"/>
                <a:gd name="T11" fmla="*/ 132 h 204"/>
                <a:gd name="T12" fmla="*/ 38 w 132"/>
                <a:gd name="T13" fmla="*/ 204 h 204"/>
                <a:gd name="T14" fmla="*/ 16 w 132"/>
                <a:gd name="T15" fmla="*/ 182 h 204"/>
                <a:gd name="T16" fmla="*/ 88 w 132"/>
                <a:gd name="T17" fmla="*/ 110 h 204"/>
                <a:gd name="T18" fmla="*/ 91 w 132"/>
                <a:gd name="T19" fmla="*/ 86 h 204"/>
                <a:gd name="T20" fmla="*/ 67 w 132"/>
                <a:gd name="T21" fmla="*/ 88 h 204"/>
                <a:gd name="T22" fmla="*/ 0 w 132"/>
                <a:gd name="T23" fmla="*/ 155 h 204"/>
                <a:gd name="T24" fmla="*/ 0 w 132"/>
                <a:gd name="T25" fmla="*/ 111 h 204"/>
                <a:gd name="T26" fmla="*/ 45 w 132"/>
                <a:gd name="T27" fmla="*/ 66 h 204"/>
                <a:gd name="T28" fmla="*/ 46 w 132"/>
                <a:gd name="T29" fmla="*/ 42 h 204"/>
                <a:gd name="T30" fmla="*/ 22 w 132"/>
                <a:gd name="T31" fmla="*/ 44 h 204"/>
                <a:gd name="T32" fmla="*/ 0 w 132"/>
                <a:gd name="T33" fmla="*/ 66 h 204"/>
                <a:gd name="T34" fmla="*/ 0 w 132"/>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204">
                  <a:moveTo>
                    <a:pt x="0" y="23"/>
                  </a:moveTo>
                  <a:cubicBezTo>
                    <a:pt x="1" y="22"/>
                    <a:pt x="1" y="22"/>
                    <a:pt x="1" y="22"/>
                  </a:cubicBezTo>
                  <a:cubicBezTo>
                    <a:pt x="23" y="0"/>
                    <a:pt x="50" y="2"/>
                    <a:pt x="67" y="20"/>
                  </a:cubicBezTo>
                  <a:cubicBezTo>
                    <a:pt x="80" y="32"/>
                    <a:pt x="81" y="46"/>
                    <a:pt x="80" y="52"/>
                  </a:cubicBezTo>
                  <a:cubicBezTo>
                    <a:pt x="86" y="51"/>
                    <a:pt x="100" y="52"/>
                    <a:pt x="113" y="65"/>
                  </a:cubicBezTo>
                  <a:cubicBezTo>
                    <a:pt x="130" y="82"/>
                    <a:pt x="132" y="110"/>
                    <a:pt x="111" y="132"/>
                  </a:cubicBezTo>
                  <a:cubicBezTo>
                    <a:pt x="38" y="204"/>
                    <a:pt x="38" y="204"/>
                    <a:pt x="38" y="204"/>
                  </a:cubicBezTo>
                  <a:cubicBezTo>
                    <a:pt x="16" y="182"/>
                    <a:pt x="16" y="182"/>
                    <a:pt x="16" y="182"/>
                  </a:cubicBezTo>
                  <a:cubicBezTo>
                    <a:pt x="88" y="110"/>
                    <a:pt x="88" y="110"/>
                    <a:pt x="88" y="110"/>
                  </a:cubicBezTo>
                  <a:cubicBezTo>
                    <a:pt x="97" y="101"/>
                    <a:pt x="96" y="91"/>
                    <a:pt x="91" y="86"/>
                  </a:cubicBezTo>
                  <a:cubicBezTo>
                    <a:pt x="85" y="80"/>
                    <a:pt x="75" y="79"/>
                    <a:pt x="67" y="88"/>
                  </a:cubicBezTo>
                  <a:cubicBezTo>
                    <a:pt x="0" y="155"/>
                    <a:pt x="0" y="155"/>
                    <a:pt x="0" y="155"/>
                  </a:cubicBezTo>
                  <a:cubicBezTo>
                    <a:pt x="0" y="111"/>
                    <a:pt x="0" y="111"/>
                    <a:pt x="0" y="111"/>
                  </a:cubicBezTo>
                  <a:cubicBezTo>
                    <a:pt x="45" y="66"/>
                    <a:pt x="45" y="66"/>
                    <a:pt x="45" y="66"/>
                  </a:cubicBezTo>
                  <a:cubicBezTo>
                    <a:pt x="53" y="57"/>
                    <a:pt x="52" y="47"/>
                    <a:pt x="46" y="42"/>
                  </a:cubicBezTo>
                  <a:cubicBezTo>
                    <a:pt x="41" y="36"/>
                    <a:pt x="31" y="35"/>
                    <a:pt x="22" y="44"/>
                  </a:cubicBezTo>
                  <a:cubicBezTo>
                    <a:pt x="0" y="66"/>
                    <a:pt x="0" y="66"/>
                    <a:pt x="0" y="66"/>
                  </a:cubicBezTo>
                  <a:lnTo>
                    <a:pt x="0"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1" name="Freeform 21"/>
            <p:cNvSpPr>
              <a:spLocks noEditPoints="1"/>
            </p:cNvSpPr>
            <p:nvPr userDrawn="1"/>
          </p:nvSpPr>
          <p:spPr bwMode="auto">
            <a:xfrm>
              <a:off x="7980890" y="5040472"/>
              <a:ext cx="51390" cy="57878"/>
            </a:xfrm>
            <a:custGeom>
              <a:avLst/>
              <a:gdLst>
                <a:gd name="T0" fmla="*/ 0 w 68"/>
                <a:gd name="T1" fmla="*/ 40 h 80"/>
                <a:gd name="T2" fmla="*/ 35 w 68"/>
                <a:gd name="T3" fmla="*/ 0 h 80"/>
                <a:gd name="T4" fmla="*/ 68 w 68"/>
                <a:gd name="T5" fmla="*/ 41 h 80"/>
                <a:gd name="T6" fmla="*/ 68 w 68"/>
                <a:gd name="T7" fmla="*/ 46 h 80"/>
                <a:gd name="T8" fmla="*/ 20 w 68"/>
                <a:gd name="T9" fmla="*/ 46 h 80"/>
                <a:gd name="T10" fmla="*/ 41 w 68"/>
                <a:gd name="T11" fmla="*/ 65 h 80"/>
                <a:gd name="T12" fmla="*/ 60 w 68"/>
                <a:gd name="T13" fmla="*/ 60 h 80"/>
                <a:gd name="T14" fmla="*/ 66 w 68"/>
                <a:gd name="T15" fmla="*/ 73 h 80"/>
                <a:gd name="T16" fmla="*/ 39 w 68"/>
                <a:gd name="T17" fmla="*/ 80 h 80"/>
                <a:gd name="T18" fmla="*/ 0 w 68"/>
                <a:gd name="T19" fmla="*/ 40 h 80"/>
                <a:gd name="T20" fmla="*/ 49 w 68"/>
                <a:gd name="T21" fmla="*/ 32 h 80"/>
                <a:gd name="T22" fmla="*/ 34 w 68"/>
                <a:gd name="T23" fmla="*/ 15 h 80"/>
                <a:gd name="T24" fmla="*/ 19 w 68"/>
                <a:gd name="T25" fmla="*/ 32 h 80"/>
                <a:gd name="T26" fmla="*/ 49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3" y="0"/>
                    <a:pt x="35" y="0"/>
                  </a:cubicBezTo>
                  <a:cubicBezTo>
                    <a:pt x="56" y="0"/>
                    <a:pt x="68" y="16"/>
                    <a:pt x="68" y="41"/>
                  </a:cubicBezTo>
                  <a:cubicBezTo>
                    <a:pt x="68" y="46"/>
                    <a:pt x="68" y="46"/>
                    <a:pt x="68" y="46"/>
                  </a:cubicBezTo>
                  <a:cubicBezTo>
                    <a:pt x="20" y="46"/>
                    <a:pt x="20" y="46"/>
                    <a:pt x="20" y="46"/>
                  </a:cubicBezTo>
                  <a:cubicBezTo>
                    <a:pt x="20" y="57"/>
                    <a:pt x="28" y="65"/>
                    <a:pt x="41" y="65"/>
                  </a:cubicBezTo>
                  <a:cubicBezTo>
                    <a:pt x="49" y="65"/>
                    <a:pt x="55" y="63"/>
                    <a:pt x="60" y="60"/>
                  </a:cubicBezTo>
                  <a:cubicBezTo>
                    <a:pt x="66" y="73"/>
                    <a:pt x="66" y="73"/>
                    <a:pt x="66" y="73"/>
                  </a:cubicBezTo>
                  <a:cubicBezTo>
                    <a:pt x="58" y="78"/>
                    <a:pt x="49" y="80"/>
                    <a:pt x="39" y="80"/>
                  </a:cubicBezTo>
                  <a:cubicBezTo>
                    <a:pt x="11" y="80"/>
                    <a:pt x="0" y="61"/>
                    <a:pt x="0" y="40"/>
                  </a:cubicBezTo>
                  <a:close/>
                  <a:moveTo>
                    <a:pt x="49" y="32"/>
                  </a:moveTo>
                  <a:cubicBezTo>
                    <a:pt x="49" y="23"/>
                    <a:pt x="44" y="15"/>
                    <a:pt x="34" y="15"/>
                  </a:cubicBezTo>
                  <a:cubicBezTo>
                    <a:pt x="25" y="15"/>
                    <a:pt x="19" y="23"/>
                    <a:pt x="19" y="32"/>
                  </a:cubicBezTo>
                  <a:lnTo>
                    <a:pt x="49"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2" name="Freeform 22"/>
            <p:cNvSpPr>
              <a:spLocks/>
            </p:cNvSpPr>
            <p:nvPr userDrawn="1"/>
          </p:nvSpPr>
          <p:spPr bwMode="auto">
            <a:xfrm>
              <a:off x="8295656" y="5041088"/>
              <a:ext cx="37258" cy="56031"/>
            </a:xfrm>
            <a:custGeom>
              <a:avLst/>
              <a:gdLst>
                <a:gd name="T0" fmla="*/ 42 w 49"/>
                <a:gd name="T1" fmla="*/ 19 h 77"/>
                <a:gd name="T2" fmla="*/ 33 w 49"/>
                <a:gd name="T3" fmla="*/ 16 h 77"/>
                <a:gd name="T4" fmla="*/ 19 w 49"/>
                <a:gd name="T5" fmla="*/ 23 h 77"/>
                <a:gd name="T6" fmla="*/ 19 w 49"/>
                <a:gd name="T7" fmla="*/ 63 h 77"/>
                <a:gd name="T8" fmla="*/ 0 w 49"/>
                <a:gd name="T9" fmla="*/ 77 h 77"/>
                <a:gd name="T10" fmla="*/ 0 w 49"/>
                <a:gd name="T11" fmla="*/ 1 h 77"/>
                <a:gd name="T12" fmla="*/ 16 w 49"/>
                <a:gd name="T13" fmla="*/ 1 h 77"/>
                <a:gd name="T14" fmla="*/ 18 w 49"/>
                <a:gd name="T15" fmla="*/ 9 h 77"/>
                <a:gd name="T16" fmla="*/ 39 w 49"/>
                <a:gd name="T17" fmla="*/ 0 h 77"/>
                <a:gd name="T18" fmla="*/ 49 w 49"/>
                <a:gd name="T19" fmla="*/ 3 h 77"/>
                <a:gd name="T20" fmla="*/ 42 w 49"/>
                <a:gd name="T21"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77">
                  <a:moveTo>
                    <a:pt x="42" y="19"/>
                  </a:moveTo>
                  <a:cubicBezTo>
                    <a:pt x="39" y="17"/>
                    <a:pt x="36" y="16"/>
                    <a:pt x="33" y="16"/>
                  </a:cubicBezTo>
                  <a:cubicBezTo>
                    <a:pt x="29" y="16"/>
                    <a:pt x="24" y="18"/>
                    <a:pt x="19" y="23"/>
                  </a:cubicBezTo>
                  <a:cubicBezTo>
                    <a:pt x="19" y="2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2"/>
                    <a:pt x="32" y="0"/>
                    <a:pt x="39" y="0"/>
                  </a:cubicBezTo>
                  <a:cubicBezTo>
                    <a:pt x="42" y="0"/>
                    <a:pt x="46" y="1"/>
                    <a:pt x="49" y="3"/>
                  </a:cubicBezTo>
                  <a:lnTo>
                    <a:pt x="42" y="1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3" name="Freeform 23"/>
            <p:cNvSpPr>
              <a:spLocks noEditPoints="1"/>
            </p:cNvSpPr>
            <p:nvPr userDrawn="1"/>
          </p:nvSpPr>
          <p:spPr bwMode="auto">
            <a:xfrm>
              <a:off x="8178743" y="5040472"/>
              <a:ext cx="51712" cy="57878"/>
            </a:xfrm>
            <a:custGeom>
              <a:avLst/>
              <a:gdLst>
                <a:gd name="T0" fmla="*/ 0 w 68"/>
                <a:gd name="T1" fmla="*/ 40 h 80"/>
                <a:gd name="T2" fmla="*/ 34 w 68"/>
                <a:gd name="T3" fmla="*/ 0 h 80"/>
                <a:gd name="T4" fmla="*/ 68 w 68"/>
                <a:gd name="T5" fmla="*/ 41 h 80"/>
                <a:gd name="T6" fmla="*/ 68 w 68"/>
                <a:gd name="T7" fmla="*/ 46 h 80"/>
                <a:gd name="T8" fmla="*/ 19 w 68"/>
                <a:gd name="T9" fmla="*/ 46 h 80"/>
                <a:gd name="T10" fmla="*/ 41 w 68"/>
                <a:gd name="T11" fmla="*/ 65 h 80"/>
                <a:gd name="T12" fmla="*/ 60 w 68"/>
                <a:gd name="T13" fmla="*/ 60 h 80"/>
                <a:gd name="T14" fmla="*/ 66 w 68"/>
                <a:gd name="T15" fmla="*/ 73 h 80"/>
                <a:gd name="T16" fmla="*/ 39 w 68"/>
                <a:gd name="T17" fmla="*/ 80 h 80"/>
                <a:gd name="T18" fmla="*/ 0 w 68"/>
                <a:gd name="T19" fmla="*/ 40 h 80"/>
                <a:gd name="T20" fmla="*/ 49 w 68"/>
                <a:gd name="T21" fmla="*/ 32 h 80"/>
                <a:gd name="T22" fmla="*/ 34 w 68"/>
                <a:gd name="T23" fmla="*/ 15 h 80"/>
                <a:gd name="T24" fmla="*/ 19 w 68"/>
                <a:gd name="T25" fmla="*/ 32 h 80"/>
                <a:gd name="T26" fmla="*/ 49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3" y="0"/>
                    <a:pt x="34" y="0"/>
                  </a:cubicBezTo>
                  <a:cubicBezTo>
                    <a:pt x="56" y="0"/>
                    <a:pt x="68" y="16"/>
                    <a:pt x="68" y="41"/>
                  </a:cubicBezTo>
                  <a:cubicBezTo>
                    <a:pt x="68" y="46"/>
                    <a:pt x="68" y="46"/>
                    <a:pt x="68" y="46"/>
                  </a:cubicBezTo>
                  <a:cubicBezTo>
                    <a:pt x="19" y="46"/>
                    <a:pt x="19" y="46"/>
                    <a:pt x="19" y="46"/>
                  </a:cubicBezTo>
                  <a:cubicBezTo>
                    <a:pt x="20" y="57"/>
                    <a:pt x="28" y="65"/>
                    <a:pt x="41" y="65"/>
                  </a:cubicBezTo>
                  <a:cubicBezTo>
                    <a:pt x="49" y="65"/>
                    <a:pt x="55" y="63"/>
                    <a:pt x="60" y="60"/>
                  </a:cubicBezTo>
                  <a:cubicBezTo>
                    <a:pt x="66" y="73"/>
                    <a:pt x="66" y="73"/>
                    <a:pt x="66" y="73"/>
                  </a:cubicBezTo>
                  <a:cubicBezTo>
                    <a:pt x="58" y="78"/>
                    <a:pt x="48" y="80"/>
                    <a:pt x="39" y="80"/>
                  </a:cubicBezTo>
                  <a:cubicBezTo>
                    <a:pt x="11" y="80"/>
                    <a:pt x="0" y="61"/>
                    <a:pt x="0" y="40"/>
                  </a:cubicBezTo>
                  <a:close/>
                  <a:moveTo>
                    <a:pt x="49" y="32"/>
                  </a:moveTo>
                  <a:cubicBezTo>
                    <a:pt x="48" y="23"/>
                    <a:pt x="44" y="15"/>
                    <a:pt x="34" y="15"/>
                  </a:cubicBezTo>
                  <a:cubicBezTo>
                    <a:pt x="25" y="15"/>
                    <a:pt x="19" y="23"/>
                    <a:pt x="19" y="32"/>
                  </a:cubicBezTo>
                  <a:lnTo>
                    <a:pt x="49"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4" name="Freeform 24"/>
            <p:cNvSpPr>
              <a:spLocks noEditPoints="1"/>
            </p:cNvSpPr>
            <p:nvPr userDrawn="1"/>
          </p:nvSpPr>
          <p:spPr bwMode="auto">
            <a:xfrm>
              <a:off x="8236557" y="5040472"/>
              <a:ext cx="51390" cy="57878"/>
            </a:xfrm>
            <a:custGeom>
              <a:avLst/>
              <a:gdLst>
                <a:gd name="T0" fmla="*/ 0 w 68"/>
                <a:gd name="T1" fmla="*/ 40 h 80"/>
                <a:gd name="T2" fmla="*/ 34 w 68"/>
                <a:gd name="T3" fmla="*/ 0 h 80"/>
                <a:gd name="T4" fmla="*/ 68 w 68"/>
                <a:gd name="T5" fmla="*/ 41 h 80"/>
                <a:gd name="T6" fmla="*/ 68 w 68"/>
                <a:gd name="T7" fmla="*/ 46 h 80"/>
                <a:gd name="T8" fmla="*/ 19 w 68"/>
                <a:gd name="T9" fmla="*/ 46 h 80"/>
                <a:gd name="T10" fmla="*/ 40 w 68"/>
                <a:gd name="T11" fmla="*/ 65 h 80"/>
                <a:gd name="T12" fmla="*/ 60 w 68"/>
                <a:gd name="T13" fmla="*/ 60 h 80"/>
                <a:gd name="T14" fmla="*/ 65 w 68"/>
                <a:gd name="T15" fmla="*/ 73 h 80"/>
                <a:gd name="T16" fmla="*/ 39 w 68"/>
                <a:gd name="T17" fmla="*/ 80 h 80"/>
                <a:gd name="T18" fmla="*/ 0 w 68"/>
                <a:gd name="T19" fmla="*/ 40 h 80"/>
                <a:gd name="T20" fmla="*/ 48 w 68"/>
                <a:gd name="T21" fmla="*/ 32 h 80"/>
                <a:gd name="T22" fmla="*/ 34 w 68"/>
                <a:gd name="T23" fmla="*/ 15 h 80"/>
                <a:gd name="T24" fmla="*/ 19 w 68"/>
                <a:gd name="T25" fmla="*/ 32 h 80"/>
                <a:gd name="T26" fmla="*/ 48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2" y="0"/>
                    <a:pt x="34" y="0"/>
                  </a:cubicBezTo>
                  <a:cubicBezTo>
                    <a:pt x="55" y="0"/>
                    <a:pt x="68" y="16"/>
                    <a:pt x="68" y="41"/>
                  </a:cubicBezTo>
                  <a:cubicBezTo>
                    <a:pt x="68" y="46"/>
                    <a:pt x="68" y="46"/>
                    <a:pt x="68" y="46"/>
                  </a:cubicBezTo>
                  <a:cubicBezTo>
                    <a:pt x="19" y="46"/>
                    <a:pt x="19" y="46"/>
                    <a:pt x="19" y="46"/>
                  </a:cubicBezTo>
                  <a:cubicBezTo>
                    <a:pt x="19" y="57"/>
                    <a:pt x="28" y="65"/>
                    <a:pt x="40" y="65"/>
                  </a:cubicBezTo>
                  <a:cubicBezTo>
                    <a:pt x="48" y="65"/>
                    <a:pt x="54" y="63"/>
                    <a:pt x="60" y="60"/>
                  </a:cubicBezTo>
                  <a:cubicBezTo>
                    <a:pt x="65" y="73"/>
                    <a:pt x="65" y="73"/>
                    <a:pt x="65" y="73"/>
                  </a:cubicBezTo>
                  <a:cubicBezTo>
                    <a:pt x="57" y="78"/>
                    <a:pt x="48" y="80"/>
                    <a:pt x="39" y="80"/>
                  </a:cubicBezTo>
                  <a:cubicBezTo>
                    <a:pt x="11" y="80"/>
                    <a:pt x="0" y="61"/>
                    <a:pt x="0" y="40"/>
                  </a:cubicBezTo>
                  <a:close/>
                  <a:moveTo>
                    <a:pt x="48" y="32"/>
                  </a:moveTo>
                  <a:cubicBezTo>
                    <a:pt x="48" y="23"/>
                    <a:pt x="44" y="15"/>
                    <a:pt x="34" y="15"/>
                  </a:cubicBezTo>
                  <a:cubicBezTo>
                    <a:pt x="24" y="15"/>
                    <a:pt x="19" y="23"/>
                    <a:pt x="19" y="32"/>
                  </a:cubicBezTo>
                  <a:lnTo>
                    <a:pt x="48"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5" name="Freeform 25"/>
            <p:cNvSpPr>
              <a:spLocks/>
            </p:cNvSpPr>
            <p:nvPr userDrawn="1"/>
          </p:nvSpPr>
          <p:spPr bwMode="auto">
            <a:xfrm>
              <a:off x="8040631" y="5041088"/>
              <a:ext cx="37258" cy="56031"/>
            </a:xfrm>
            <a:custGeom>
              <a:avLst/>
              <a:gdLst>
                <a:gd name="T0" fmla="*/ 42 w 49"/>
                <a:gd name="T1" fmla="*/ 19 h 77"/>
                <a:gd name="T2" fmla="*/ 33 w 49"/>
                <a:gd name="T3" fmla="*/ 16 h 77"/>
                <a:gd name="T4" fmla="*/ 19 w 49"/>
                <a:gd name="T5" fmla="*/ 23 h 77"/>
                <a:gd name="T6" fmla="*/ 19 w 49"/>
                <a:gd name="T7" fmla="*/ 63 h 77"/>
                <a:gd name="T8" fmla="*/ 0 w 49"/>
                <a:gd name="T9" fmla="*/ 77 h 77"/>
                <a:gd name="T10" fmla="*/ 0 w 49"/>
                <a:gd name="T11" fmla="*/ 1 h 77"/>
                <a:gd name="T12" fmla="*/ 16 w 49"/>
                <a:gd name="T13" fmla="*/ 1 h 77"/>
                <a:gd name="T14" fmla="*/ 18 w 49"/>
                <a:gd name="T15" fmla="*/ 9 h 77"/>
                <a:gd name="T16" fmla="*/ 38 w 49"/>
                <a:gd name="T17" fmla="*/ 0 h 77"/>
                <a:gd name="T18" fmla="*/ 49 w 49"/>
                <a:gd name="T19" fmla="*/ 3 h 77"/>
                <a:gd name="T20" fmla="*/ 42 w 49"/>
                <a:gd name="T21"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77">
                  <a:moveTo>
                    <a:pt x="42" y="19"/>
                  </a:moveTo>
                  <a:cubicBezTo>
                    <a:pt x="39" y="17"/>
                    <a:pt x="35" y="16"/>
                    <a:pt x="33" y="16"/>
                  </a:cubicBezTo>
                  <a:cubicBezTo>
                    <a:pt x="29" y="16"/>
                    <a:pt x="24" y="18"/>
                    <a:pt x="19" y="23"/>
                  </a:cubicBezTo>
                  <a:cubicBezTo>
                    <a:pt x="19" y="2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2"/>
                    <a:pt x="31" y="0"/>
                    <a:pt x="38" y="0"/>
                  </a:cubicBezTo>
                  <a:cubicBezTo>
                    <a:pt x="42" y="0"/>
                    <a:pt x="46" y="1"/>
                    <a:pt x="49" y="3"/>
                  </a:cubicBezTo>
                  <a:lnTo>
                    <a:pt x="42" y="1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6" name="Freeform 26"/>
            <p:cNvSpPr>
              <a:spLocks/>
            </p:cNvSpPr>
            <p:nvPr userDrawn="1"/>
          </p:nvSpPr>
          <p:spPr bwMode="auto">
            <a:xfrm>
              <a:off x="8083992" y="5041088"/>
              <a:ext cx="86400" cy="56031"/>
            </a:xfrm>
            <a:custGeom>
              <a:avLst/>
              <a:gdLst>
                <a:gd name="T0" fmla="*/ 114 w 114"/>
                <a:gd name="T1" fmla="*/ 25 h 77"/>
                <a:gd name="T2" fmla="*/ 114 w 114"/>
                <a:gd name="T3" fmla="*/ 63 h 77"/>
                <a:gd name="T4" fmla="*/ 95 w 114"/>
                <a:gd name="T5" fmla="*/ 77 h 77"/>
                <a:gd name="T6" fmla="*/ 95 w 114"/>
                <a:gd name="T7" fmla="*/ 31 h 77"/>
                <a:gd name="T8" fmla="*/ 84 w 114"/>
                <a:gd name="T9" fmla="*/ 16 h 77"/>
                <a:gd name="T10" fmla="*/ 66 w 114"/>
                <a:gd name="T11" fmla="*/ 23 h 77"/>
                <a:gd name="T12" fmla="*/ 66 w 114"/>
                <a:gd name="T13" fmla="*/ 63 h 77"/>
                <a:gd name="T14" fmla="*/ 66 w 114"/>
                <a:gd name="T15" fmla="*/ 63 h 77"/>
                <a:gd name="T16" fmla="*/ 47 w 114"/>
                <a:gd name="T17" fmla="*/ 77 h 77"/>
                <a:gd name="T18" fmla="*/ 47 w 114"/>
                <a:gd name="T19" fmla="*/ 31 h 77"/>
                <a:gd name="T20" fmla="*/ 37 w 114"/>
                <a:gd name="T21" fmla="*/ 16 h 77"/>
                <a:gd name="T22" fmla="*/ 19 w 114"/>
                <a:gd name="T23" fmla="*/ 23 h 77"/>
                <a:gd name="T24" fmla="*/ 19 w 114"/>
                <a:gd name="T25" fmla="*/ 63 h 77"/>
                <a:gd name="T26" fmla="*/ 19 w 114"/>
                <a:gd name="T27" fmla="*/ 63 h 77"/>
                <a:gd name="T28" fmla="*/ 0 w 114"/>
                <a:gd name="T29" fmla="*/ 77 h 77"/>
                <a:gd name="T30" fmla="*/ 0 w 114"/>
                <a:gd name="T31" fmla="*/ 1 h 77"/>
                <a:gd name="T32" fmla="*/ 16 w 114"/>
                <a:gd name="T33" fmla="*/ 1 h 77"/>
                <a:gd name="T34" fmla="*/ 18 w 114"/>
                <a:gd name="T35" fmla="*/ 9 h 77"/>
                <a:gd name="T36" fmla="*/ 43 w 114"/>
                <a:gd name="T37" fmla="*/ 0 h 77"/>
                <a:gd name="T38" fmla="*/ 63 w 114"/>
                <a:gd name="T39" fmla="*/ 11 h 77"/>
                <a:gd name="T40" fmla="*/ 89 w 114"/>
                <a:gd name="T41" fmla="*/ 0 h 77"/>
                <a:gd name="T42" fmla="*/ 114 w 114"/>
                <a:gd name="T43" fmla="*/ 2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77">
                  <a:moveTo>
                    <a:pt x="114" y="25"/>
                  </a:moveTo>
                  <a:cubicBezTo>
                    <a:pt x="114" y="63"/>
                    <a:pt x="114" y="63"/>
                    <a:pt x="114" y="63"/>
                  </a:cubicBezTo>
                  <a:cubicBezTo>
                    <a:pt x="114" y="77"/>
                    <a:pt x="95" y="77"/>
                    <a:pt x="95" y="77"/>
                  </a:cubicBezTo>
                  <a:cubicBezTo>
                    <a:pt x="95" y="31"/>
                    <a:pt x="95" y="31"/>
                    <a:pt x="95" y="31"/>
                  </a:cubicBezTo>
                  <a:cubicBezTo>
                    <a:pt x="95" y="22"/>
                    <a:pt x="93" y="16"/>
                    <a:pt x="84" y="16"/>
                  </a:cubicBezTo>
                  <a:cubicBezTo>
                    <a:pt x="77" y="16"/>
                    <a:pt x="71" y="19"/>
                    <a:pt x="66" y="23"/>
                  </a:cubicBezTo>
                  <a:cubicBezTo>
                    <a:pt x="66" y="63"/>
                    <a:pt x="66" y="63"/>
                    <a:pt x="66" y="63"/>
                  </a:cubicBezTo>
                  <a:cubicBezTo>
                    <a:pt x="66" y="63"/>
                    <a:pt x="66" y="49"/>
                    <a:pt x="66" y="63"/>
                  </a:cubicBezTo>
                  <a:cubicBezTo>
                    <a:pt x="66" y="77"/>
                    <a:pt x="47" y="77"/>
                    <a:pt x="47" y="77"/>
                  </a:cubicBezTo>
                  <a:cubicBezTo>
                    <a:pt x="47" y="31"/>
                    <a:pt x="47" y="31"/>
                    <a:pt x="47" y="31"/>
                  </a:cubicBezTo>
                  <a:cubicBezTo>
                    <a:pt x="47" y="23"/>
                    <a:pt x="46" y="16"/>
                    <a:pt x="37" y="16"/>
                  </a:cubicBezTo>
                  <a:cubicBezTo>
                    <a:pt x="30" y="16"/>
                    <a:pt x="19" y="23"/>
                    <a:pt x="19" y="23"/>
                  </a:cubicBezTo>
                  <a:cubicBezTo>
                    <a:pt x="19" y="63"/>
                    <a:pt x="19" y="63"/>
                    <a:pt x="19" y="63"/>
                  </a:cubicBezTo>
                  <a:cubicBezTo>
                    <a:pt x="19" y="6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3"/>
                    <a:pt x="34" y="0"/>
                    <a:pt x="43" y="0"/>
                  </a:cubicBezTo>
                  <a:cubicBezTo>
                    <a:pt x="52" y="0"/>
                    <a:pt x="59" y="4"/>
                    <a:pt x="63" y="11"/>
                  </a:cubicBezTo>
                  <a:cubicBezTo>
                    <a:pt x="71" y="3"/>
                    <a:pt x="81" y="0"/>
                    <a:pt x="89" y="0"/>
                  </a:cubicBezTo>
                  <a:cubicBezTo>
                    <a:pt x="102" y="0"/>
                    <a:pt x="114" y="6"/>
                    <a:pt x="114" y="25"/>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7" name="Freeform 27"/>
            <p:cNvSpPr>
              <a:spLocks/>
            </p:cNvSpPr>
            <p:nvPr userDrawn="1"/>
          </p:nvSpPr>
          <p:spPr bwMode="auto">
            <a:xfrm>
              <a:off x="7908622" y="5019846"/>
              <a:ext cx="77407" cy="77889"/>
            </a:xfrm>
            <a:custGeom>
              <a:avLst/>
              <a:gdLst>
                <a:gd name="T0" fmla="*/ 43 w 102"/>
                <a:gd name="T1" fmla="*/ 107 h 107"/>
                <a:gd name="T2" fmla="*/ 65 w 102"/>
                <a:gd name="T3" fmla="*/ 91 h 107"/>
                <a:gd name="T4" fmla="*/ 102 w 102"/>
                <a:gd name="T5" fmla="*/ 0 h 107"/>
                <a:gd name="T6" fmla="*/ 81 w 102"/>
                <a:gd name="T7" fmla="*/ 0 h 107"/>
                <a:gd name="T8" fmla="*/ 51 w 102"/>
                <a:gd name="T9" fmla="*/ 78 h 107"/>
                <a:gd name="T10" fmla="*/ 51 w 102"/>
                <a:gd name="T11" fmla="*/ 78 h 107"/>
                <a:gd name="T12" fmla="*/ 21 w 102"/>
                <a:gd name="T13" fmla="*/ 0 h 107"/>
                <a:gd name="T14" fmla="*/ 0 w 102"/>
                <a:gd name="T15" fmla="*/ 0 h 107"/>
                <a:gd name="T16" fmla="*/ 43 w 102"/>
                <a:gd name="T17"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107">
                  <a:moveTo>
                    <a:pt x="43" y="107"/>
                  </a:moveTo>
                  <a:cubicBezTo>
                    <a:pt x="57" y="107"/>
                    <a:pt x="61" y="101"/>
                    <a:pt x="65" y="91"/>
                  </a:cubicBezTo>
                  <a:cubicBezTo>
                    <a:pt x="102" y="0"/>
                    <a:pt x="102" y="0"/>
                    <a:pt x="102" y="0"/>
                  </a:cubicBezTo>
                  <a:cubicBezTo>
                    <a:pt x="81" y="0"/>
                    <a:pt x="81" y="0"/>
                    <a:pt x="81" y="0"/>
                  </a:cubicBezTo>
                  <a:cubicBezTo>
                    <a:pt x="51" y="78"/>
                    <a:pt x="51" y="78"/>
                    <a:pt x="51" y="78"/>
                  </a:cubicBezTo>
                  <a:cubicBezTo>
                    <a:pt x="51" y="78"/>
                    <a:pt x="51" y="78"/>
                    <a:pt x="51" y="78"/>
                  </a:cubicBezTo>
                  <a:cubicBezTo>
                    <a:pt x="21" y="0"/>
                    <a:pt x="21" y="0"/>
                    <a:pt x="21" y="0"/>
                  </a:cubicBezTo>
                  <a:cubicBezTo>
                    <a:pt x="0" y="0"/>
                    <a:pt x="0" y="0"/>
                    <a:pt x="0" y="0"/>
                  </a:cubicBezTo>
                  <a:cubicBezTo>
                    <a:pt x="43" y="107"/>
                    <a:pt x="43" y="107"/>
                    <a:pt x="43" y="10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pic>
        <p:nvPicPr>
          <p:cNvPr id="98" name="Picture 9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68466" y="4829728"/>
            <a:ext cx="288000" cy="288000"/>
          </a:xfrm>
          <a:prstGeom prst="rect">
            <a:avLst/>
          </a:prstGeom>
        </p:spPr>
      </p:pic>
      <p:sp>
        <p:nvSpPr>
          <p:cNvPr id="99" name="Text Placeholder 2"/>
          <p:cNvSpPr>
            <a:spLocks noGrp="1"/>
          </p:cNvSpPr>
          <p:nvPr>
            <p:ph type="body" sz="quarter" idx="25" hasCustomPrompt="1"/>
          </p:nvPr>
        </p:nvSpPr>
        <p:spPr>
          <a:xfrm>
            <a:off x="3342796" y="4807465"/>
            <a:ext cx="1160462" cy="341313"/>
          </a:xfrm>
          <a:prstGeom prst="rect">
            <a:avLst/>
          </a:prstGeom>
        </p:spPr>
        <p:txBody>
          <a:bodyPr anchor="ctr"/>
          <a:lstStyle>
            <a:lvl1pPr marL="0" indent="0" algn="ctr">
              <a:buNone/>
              <a:defRPr sz="800">
                <a:solidFill>
                  <a:schemeClr val="bg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grpSp>
        <p:nvGrpSpPr>
          <p:cNvPr id="100" name="Group 99"/>
          <p:cNvGrpSpPr/>
          <p:nvPr userDrawn="1"/>
        </p:nvGrpSpPr>
        <p:grpSpPr>
          <a:xfrm>
            <a:off x="7686461" y="4906654"/>
            <a:ext cx="1124815" cy="151147"/>
            <a:chOff x="7686461" y="4581466"/>
            <a:chExt cx="1124815" cy="151147"/>
          </a:xfrm>
          <a:solidFill>
            <a:schemeClr val="bg1"/>
          </a:solidFill>
        </p:grpSpPr>
        <p:sp>
          <p:nvSpPr>
            <p:cNvPr id="101"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02"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03"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04"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05"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06"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07"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08"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09"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10"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11"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12"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13"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14"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15"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grpSp>
      <p:sp>
        <p:nvSpPr>
          <p:cNvPr id="52"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solidFill>
                  <a:schemeClr val="tx1">
                    <a:lumMod val="50000"/>
                    <a:lumOff val="50000"/>
                  </a:schemeClr>
                </a:solidFill>
                <a:latin typeface="+mn-lt"/>
              </a:rPr>
              <a:t>Private and Confidental</a:t>
            </a:r>
            <a:endParaRPr lang="pt-BR" sz="500" dirty="0">
              <a:solidFill>
                <a:schemeClr val="tx1">
                  <a:lumMod val="50000"/>
                  <a:lumOff val="50000"/>
                </a:schemeClr>
              </a:solidFill>
              <a:latin typeface="+mn-lt"/>
            </a:endParaRPr>
          </a:p>
        </p:txBody>
      </p:sp>
    </p:spTree>
    <p:extLst>
      <p:ext uri="{BB962C8B-B14F-4D97-AF65-F5344CB8AC3E}">
        <p14:creationId xmlns:p14="http://schemas.microsoft.com/office/powerpoint/2010/main" val="4173581542"/>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F_D_MB_Leaf">
    <p:bg>
      <p:bgPr>
        <a:solidFill>
          <a:schemeClr val="bg1"/>
        </a:solidFill>
        <a:effectLst/>
      </p:bgPr>
    </p:bg>
    <p:spTree>
      <p:nvGrpSpPr>
        <p:cNvPr id="1" name=""/>
        <p:cNvGrpSpPr/>
        <p:nvPr/>
      </p:nvGrpSpPr>
      <p:grpSpPr>
        <a:xfrm>
          <a:off x="0" y="0"/>
          <a:ext cx="0" cy="0"/>
          <a:chOff x="0" y="0"/>
          <a:chExt cx="0" cy="0"/>
        </a:xfrm>
      </p:grpSpPr>
      <p:sp>
        <p:nvSpPr>
          <p:cNvPr id="31" name="Rectangle 30"/>
          <p:cNvSpPr/>
          <p:nvPr userDrawn="1"/>
        </p:nvSpPr>
        <p:spPr>
          <a:xfrm>
            <a:off x="0" y="0"/>
            <a:ext cx="9144000" cy="5148263"/>
          </a:xfrm>
          <a:prstGeom prst="rect">
            <a:avLst/>
          </a:prstGeom>
          <a:solidFill>
            <a:schemeClr val="tx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en-GB" sz="1050" smtClean="0">
              <a:solidFill>
                <a:schemeClr val="bg1"/>
              </a:solidFill>
              <a:latin typeface="Arial" panose="020B0604020202020204" pitchFamily="34" charset="0"/>
              <a:cs typeface="Arial" panose="020B0604020202020204" pitchFamily="34" charset="0"/>
            </a:endParaRPr>
          </a:p>
        </p:txBody>
      </p:sp>
      <p:pic>
        <p:nvPicPr>
          <p:cNvPr id="33" name="Picture 32" descr="cookie_white.png"/>
          <p:cNvPicPr>
            <a:picLocks noChangeAspect="1"/>
          </p:cNvPicPr>
          <p:nvPr userDrawn="1"/>
        </p:nvPicPr>
        <p:blipFill rotWithShape="1">
          <a:blip r:embed="rId2" cstate="screen">
            <a:alphaModFix amt="16000"/>
            <a:extLst>
              <a:ext uri="{28A0092B-C50C-407E-A947-70E740481C1C}">
                <a14:useLocalDpi xmlns:a14="http://schemas.microsoft.com/office/drawing/2010/main"/>
              </a:ext>
            </a:extLst>
          </a:blip>
          <a:srcRect/>
          <a:stretch/>
        </p:blipFill>
        <p:spPr>
          <a:xfrm flipH="1">
            <a:off x="5149029" y="2289839"/>
            <a:ext cx="4020091" cy="2880000"/>
          </a:xfrm>
          <a:prstGeom prst="rect">
            <a:avLst/>
          </a:prstGeom>
        </p:spPr>
      </p:pic>
      <p:cxnSp>
        <p:nvCxnSpPr>
          <p:cNvPr id="32" name="Straight Connector 31"/>
          <p:cNvCxnSpPr/>
          <p:nvPr userDrawn="1"/>
        </p:nvCxnSpPr>
        <p:spPr>
          <a:xfrm>
            <a:off x="343365" y="470176"/>
            <a:ext cx="8460000" cy="0"/>
          </a:xfrm>
          <a:prstGeom prst="line">
            <a:avLst/>
          </a:prstGeom>
          <a:ln w="6350" cmpd="sng">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343365" y="4801146"/>
            <a:ext cx="8460000" cy="0"/>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sp>
        <p:nvSpPr>
          <p:cNvPr id="67"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rgbClr val="FFFFFF"/>
                </a:solidFill>
                <a:latin typeface="+mn-lt"/>
              </a:defRPr>
            </a:lvl1pPr>
          </a:lstStyle>
          <a:p>
            <a:fld id="{19AB4E72-7858-48F1-A40D-12FF09E4BFB8}" type="slidenum">
              <a:rPr lang="en-GB" smtClean="0"/>
              <a:pPr/>
              <a:t>‹Nº›</a:t>
            </a:fld>
            <a:endParaRPr lang="en-GB"/>
          </a:p>
        </p:txBody>
      </p:sp>
      <p:sp>
        <p:nvSpPr>
          <p:cNvPr id="36" name="Title 1"/>
          <p:cNvSpPr>
            <a:spLocks noGrp="1"/>
          </p:cNvSpPr>
          <p:nvPr>
            <p:ph type="ctrTitle" hasCustomPrompt="1"/>
          </p:nvPr>
        </p:nvSpPr>
        <p:spPr>
          <a:xfrm>
            <a:off x="343365" y="2867487"/>
            <a:ext cx="8460000" cy="443198"/>
          </a:xfrm>
          <a:prstGeom prst="rect">
            <a:avLst/>
          </a:prstGeom>
        </p:spPr>
        <p:txBody>
          <a:bodyPr lIns="0" tIns="0" rIns="0" bIns="0" anchor="b"/>
          <a:lstStyle>
            <a:lvl1pPr>
              <a:lnSpc>
                <a:spcPct val="90000"/>
              </a:lnSpc>
              <a:defRPr sz="3200" b="0">
                <a:solidFill>
                  <a:schemeClr val="bg1"/>
                </a:solidFill>
              </a:defRPr>
            </a:lvl1pPr>
          </a:lstStyle>
          <a:p>
            <a:r>
              <a:rPr lang="en-US" dirty="0" smtClean="0"/>
              <a:t>Click to edit Master title Style</a:t>
            </a:r>
            <a:endParaRPr lang="en-US" dirty="0"/>
          </a:p>
        </p:txBody>
      </p:sp>
      <p:sp>
        <p:nvSpPr>
          <p:cNvPr id="37" name="Subtitle 2"/>
          <p:cNvSpPr>
            <a:spLocks noGrp="1"/>
          </p:cNvSpPr>
          <p:nvPr>
            <p:ph type="subTitle" idx="1" hasCustomPrompt="1"/>
          </p:nvPr>
        </p:nvSpPr>
        <p:spPr>
          <a:xfrm>
            <a:off x="343364" y="3474100"/>
            <a:ext cx="8460000" cy="202165"/>
          </a:xfrm>
          <a:prstGeom prst="rect">
            <a:avLst/>
          </a:prstGeom>
        </p:spPr>
        <p:txBody>
          <a:bodyPr lIns="0" tIns="0" rIns="0" bIns="0">
            <a:noAutofit/>
          </a:bodyPr>
          <a:lstStyle>
            <a:lvl1pPr marL="0" indent="0" algn="l">
              <a:buNone/>
              <a:defRPr sz="14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cxnSp>
        <p:nvCxnSpPr>
          <p:cNvPr id="38" name="Straight Connector 37"/>
          <p:cNvCxnSpPr/>
          <p:nvPr userDrawn="1"/>
        </p:nvCxnSpPr>
        <p:spPr>
          <a:xfrm>
            <a:off x="346086" y="3395058"/>
            <a:ext cx="8460000" cy="0"/>
          </a:xfrm>
          <a:prstGeom prst="line">
            <a:avLst/>
          </a:prstGeom>
          <a:ln w="12700" cmpd="sng">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52" name="Group 151"/>
          <p:cNvGrpSpPr/>
          <p:nvPr userDrawn="1"/>
        </p:nvGrpSpPr>
        <p:grpSpPr>
          <a:xfrm>
            <a:off x="6226041" y="4843403"/>
            <a:ext cx="1123200" cy="262117"/>
            <a:chOff x="7686782" y="4354553"/>
            <a:chExt cx="1123200" cy="262117"/>
          </a:xfrm>
          <a:solidFill>
            <a:schemeClr val="bg1"/>
          </a:solidFill>
        </p:grpSpPr>
        <p:sp>
          <p:nvSpPr>
            <p:cNvPr id="153" name="Freeform 152"/>
            <p:cNvSpPr>
              <a:spLocks/>
            </p:cNvSpPr>
            <p:nvPr/>
          </p:nvSpPr>
          <p:spPr bwMode="auto">
            <a:xfrm>
              <a:off x="8637817" y="4415076"/>
              <a:ext cx="103629" cy="66531"/>
            </a:xfrm>
            <a:custGeom>
              <a:avLst/>
              <a:gdLst>
                <a:gd name="T0" fmla="*/ 50 w 62"/>
                <a:gd name="T1" fmla="*/ 33 h 42"/>
                <a:gd name="T2" fmla="*/ 39 w 62"/>
                <a:gd name="T3" fmla="*/ 40 h 42"/>
                <a:gd name="T4" fmla="*/ 31 w 62"/>
                <a:gd name="T5" fmla="*/ 13 h 42"/>
                <a:gd name="T6" fmla="*/ 30 w 62"/>
                <a:gd name="T7" fmla="*/ 13 h 42"/>
                <a:gd name="T8" fmla="*/ 24 w 62"/>
                <a:gd name="T9" fmla="*/ 33 h 42"/>
                <a:gd name="T10" fmla="*/ 14 w 62"/>
                <a:gd name="T11" fmla="*/ 40 h 42"/>
                <a:gd name="T12" fmla="*/ 0 w 62"/>
                <a:gd name="T13" fmla="*/ 0 h 42"/>
                <a:gd name="T14" fmla="*/ 10 w 62"/>
                <a:gd name="T15" fmla="*/ 0 h 42"/>
                <a:gd name="T16" fmla="*/ 18 w 62"/>
                <a:gd name="T17" fmla="*/ 27 h 42"/>
                <a:gd name="T18" fmla="*/ 18 w 62"/>
                <a:gd name="T19" fmla="*/ 27 h 42"/>
                <a:gd name="T20" fmla="*/ 27 w 62"/>
                <a:gd name="T21" fmla="*/ 0 h 42"/>
                <a:gd name="T22" fmla="*/ 35 w 62"/>
                <a:gd name="T23" fmla="*/ 0 h 42"/>
                <a:gd name="T24" fmla="*/ 43 w 62"/>
                <a:gd name="T25" fmla="*/ 27 h 42"/>
                <a:gd name="T26" fmla="*/ 44 w 62"/>
                <a:gd name="T27" fmla="*/ 27 h 42"/>
                <a:gd name="T28" fmla="*/ 52 w 62"/>
                <a:gd name="T29" fmla="*/ 0 h 42"/>
                <a:gd name="T30" fmla="*/ 62 w 62"/>
                <a:gd name="T31" fmla="*/ 0 h 42"/>
                <a:gd name="T32" fmla="*/ 50 w 62"/>
                <a:gd name="T33" fmla="*/ 3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 h="42">
                  <a:moveTo>
                    <a:pt x="50" y="33"/>
                  </a:moveTo>
                  <a:cubicBezTo>
                    <a:pt x="47" y="42"/>
                    <a:pt x="39" y="40"/>
                    <a:pt x="39" y="40"/>
                  </a:cubicBezTo>
                  <a:cubicBezTo>
                    <a:pt x="31" y="13"/>
                    <a:pt x="31" y="13"/>
                    <a:pt x="31" y="13"/>
                  </a:cubicBezTo>
                  <a:cubicBezTo>
                    <a:pt x="30" y="13"/>
                    <a:pt x="30" y="13"/>
                    <a:pt x="30" y="13"/>
                  </a:cubicBezTo>
                  <a:cubicBezTo>
                    <a:pt x="30" y="13"/>
                    <a:pt x="26" y="26"/>
                    <a:pt x="24" y="33"/>
                  </a:cubicBezTo>
                  <a:cubicBezTo>
                    <a:pt x="21" y="42"/>
                    <a:pt x="14" y="40"/>
                    <a:pt x="14" y="40"/>
                  </a:cubicBezTo>
                  <a:cubicBezTo>
                    <a:pt x="0" y="0"/>
                    <a:pt x="0" y="0"/>
                    <a:pt x="0" y="0"/>
                  </a:cubicBezTo>
                  <a:cubicBezTo>
                    <a:pt x="10" y="0"/>
                    <a:pt x="10" y="0"/>
                    <a:pt x="10" y="0"/>
                  </a:cubicBezTo>
                  <a:cubicBezTo>
                    <a:pt x="18" y="27"/>
                    <a:pt x="18" y="27"/>
                    <a:pt x="18" y="27"/>
                  </a:cubicBezTo>
                  <a:cubicBezTo>
                    <a:pt x="18" y="27"/>
                    <a:pt x="18" y="27"/>
                    <a:pt x="18" y="27"/>
                  </a:cubicBezTo>
                  <a:cubicBezTo>
                    <a:pt x="27" y="0"/>
                    <a:pt x="27" y="0"/>
                    <a:pt x="27" y="0"/>
                  </a:cubicBezTo>
                  <a:cubicBezTo>
                    <a:pt x="35" y="0"/>
                    <a:pt x="35" y="0"/>
                    <a:pt x="35" y="0"/>
                  </a:cubicBezTo>
                  <a:cubicBezTo>
                    <a:pt x="43" y="27"/>
                    <a:pt x="43" y="27"/>
                    <a:pt x="43" y="27"/>
                  </a:cubicBezTo>
                  <a:cubicBezTo>
                    <a:pt x="44" y="27"/>
                    <a:pt x="44" y="27"/>
                    <a:pt x="44" y="27"/>
                  </a:cubicBezTo>
                  <a:cubicBezTo>
                    <a:pt x="52" y="0"/>
                    <a:pt x="52" y="0"/>
                    <a:pt x="52" y="0"/>
                  </a:cubicBezTo>
                  <a:cubicBezTo>
                    <a:pt x="62" y="0"/>
                    <a:pt x="62" y="0"/>
                    <a:pt x="62" y="0"/>
                  </a:cubicBezTo>
                  <a:cubicBezTo>
                    <a:pt x="62" y="0"/>
                    <a:pt x="52" y="26"/>
                    <a:pt x="5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4" name="Freeform 153"/>
            <p:cNvSpPr>
              <a:spLocks noEditPoints="1"/>
            </p:cNvSpPr>
            <p:nvPr/>
          </p:nvSpPr>
          <p:spPr bwMode="auto">
            <a:xfrm>
              <a:off x="8445631" y="4383257"/>
              <a:ext cx="65239" cy="93677"/>
            </a:xfrm>
            <a:custGeom>
              <a:avLst/>
              <a:gdLst>
                <a:gd name="T0" fmla="*/ 0 w 39"/>
                <a:gd name="T1" fmla="*/ 0 h 59"/>
                <a:gd name="T2" fmla="*/ 0 w 39"/>
                <a:gd name="T3" fmla="*/ 59 h 59"/>
                <a:gd name="T4" fmla="*/ 18 w 39"/>
                <a:gd name="T5" fmla="*/ 59 h 59"/>
                <a:gd name="T6" fmla="*/ 39 w 39"/>
                <a:gd name="T7" fmla="*/ 42 h 59"/>
                <a:gd name="T8" fmla="*/ 29 w 39"/>
                <a:gd name="T9" fmla="*/ 28 h 59"/>
                <a:gd name="T10" fmla="*/ 28 w 39"/>
                <a:gd name="T11" fmla="*/ 27 h 59"/>
                <a:gd name="T12" fmla="*/ 29 w 39"/>
                <a:gd name="T13" fmla="*/ 27 h 59"/>
                <a:gd name="T14" fmla="*/ 35 w 39"/>
                <a:gd name="T15" fmla="*/ 15 h 59"/>
                <a:gd name="T16" fmla="*/ 19 w 39"/>
                <a:gd name="T17" fmla="*/ 0 h 59"/>
                <a:gd name="T18" fmla="*/ 0 w 39"/>
                <a:gd name="T19" fmla="*/ 0 h 59"/>
                <a:gd name="T20" fmla="*/ 10 w 39"/>
                <a:gd name="T21" fmla="*/ 8 h 59"/>
                <a:gd name="T22" fmla="*/ 16 w 39"/>
                <a:gd name="T23" fmla="*/ 8 h 59"/>
                <a:gd name="T24" fmla="*/ 25 w 39"/>
                <a:gd name="T25" fmla="*/ 16 h 59"/>
                <a:gd name="T26" fmla="*/ 17 w 39"/>
                <a:gd name="T27" fmla="*/ 25 h 59"/>
                <a:gd name="T28" fmla="*/ 10 w 39"/>
                <a:gd name="T29" fmla="*/ 25 h 59"/>
                <a:gd name="T30" fmla="*/ 10 w 39"/>
                <a:gd name="T31" fmla="*/ 8 h 59"/>
                <a:gd name="T32" fmla="*/ 10 w 39"/>
                <a:gd name="T33" fmla="*/ 33 h 59"/>
                <a:gd name="T34" fmla="*/ 18 w 39"/>
                <a:gd name="T35" fmla="*/ 33 h 59"/>
                <a:gd name="T36" fmla="*/ 29 w 39"/>
                <a:gd name="T37" fmla="*/ 42 h 59"/>
                <a:gd name="T38" fmla="*/ 17 w 39"/>
                <a:gd name="T39" fmla="*/ 51 h 59"/>
                <a:gd name="T40" fmla="*/ 10 w 39"/>
                <a:gd name="T41" fmla="*/ 51 h 59"/>
                <a:gd name="T42" fmla="*/ 10 w 39"/>
                <a:gd name="T43"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9">
                  <a:moveTo>
                    <a:pt x="0" y="0"/>
                  </a:moveTo>
                  <a:cubicBezTo>
                    <a:pt x="0" y="1"/>
                    <a:pt x="0" y="59"/>
                    <a:pt x="0" y="59"/>
                  </a:cubicBezTo>
                  <a:cubicBezTo>
                    <a:pt x="1" y="59"/>
                    <a:pt x="18" y="59"/>
                    <a:pt x="18" y="59"/>
                  </a:cubicBezTo>
                  <a:cubicBezTo>
                    <a:pt x="33" y="59"/>
                    <a:pt x="39" y="51"/>
                    <a:pt x="39" y="42"/>
                  </a:cubicBezTo>
                  <a:cubicBezTo>
                    <a:pt x="39" y="35"/>
                    <a:pt x="36" y="29"/>
                    <a:pt x="29" y="28"/>
                  </a:cubicBezTo>
                  <a:cubicBezTo>
                    <a:pt x="28" y="27"/>
                    <a:pt x="28" y="27"/>
                    <a:pt x="28" y="27"/>
                  </a:cubicBezTo>
                  <a:cubicBezTo>
                    <a:pt x="29" y="27"/>
                    <a:pt x="29" y="27"/>
                    <a:pt x="29" y="27"/>
                  </a:cubicBezTo>
                  <a:cubicBezTo>
                    <a:pt x="33" y="24"/>
                    <a:pt x="35" y="20"/>
                    <a:pt x="35" y="15"/>
                  </a:cubicBezTo>
                  <a:cubicBezTo>
                    <a:pt x="35" y="8"/>
                    <a:pt x="30" y="0"/>
                    <a:pt x="19" y="0"/>
                  </a:cubicBezTo>
                  <a:cubicBezTo>
                    <a:pt x="19" y="0"/>
                    <a:pt x="1" y="0"/>
                    <a:pt x="0" y="0"/>
                  </a:cubicBezTo>
                  <a:close/>
                  <a:moveTo>
                    <a:pt x="10" y="8"/>
                  </a:moveTo>
                  <a:cubicBezTo>
                    <a:pt x="16" y="8"/>
                    <a:pt x="16" y="8"/>
                    <a:pt x="16" y="8"/>
                  </a:cubicBezTo>
                  <a:cubicBezTo>
                    <a:pt x="22" y="8"/>
                    <a:pt x="25" y="11"/>
                    <a:pt x="25" y="16"/>
                  </a:cubicBezTo>
                  <a:cubicBezTo>
                    <a:pt x="25" y="21"/>
                    <a:pt x="21" y="25"/>
                    <a:pt x="17" y="25"/>
                  </a:cubicBezTo>
                  <a:cubicBezTo>
                    <a:pt x="10" y="25"/>
                    <a:pt x="10" y="25"/>
                    <a:pt x="10" y="25"/>
                  </a:cubicBezTo>
                  <a:lnTo>
                    <a:pt x="10" y="8"/>
                  </a:lnTo>
                  <a:close/>
                  <a:moveTo>
                    <a:pt x="10" y="33"/>
                  </a:moveTo>
                  <a:cubicBezTo>
                    <a:pt x="18" y="33"/>
                    <a:pt x="18" y="33"/>
                    <a:pt x="18" y="33"/>
                  </a:cubicBezTo>
                  <a:cubicBezTo>
                    <a:pt x="25" y="33"/>
                    <a:pt x="29" y="37"/>
                    <a:pt x="29" y="42"/>
                  </a:cubicBezTo>
                  <a:cubicBezTo>
                    <a:pt x="29" y="48"/>
                    <a:pt x="25" y="51"/>
                    <a:pt x="17" y="51"/>
                  </a:cubicBezTo>
                  <a:cubicBezTo>
                    <a:pt x="10" y="51"/>
                    <a:pt x="10" y="51"/>
                    <a:pt x="10" y="51"/>
                  </a:cubicBezTo>
                  <a:lnTo>
                    <a:pt x="1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5" name="Freeform 154"/>
            <p:cNvSpPr>
              <a:spLocks noEditPoints="1"/>
            </p:cNvSpPr>
            <p:nvPr/>
          </p:nvSpPr>
          <p:spPr bwMode="auto">
            <a:xfrm>
              <a:off x="8567631" y="4413518"/>
              <a:ext cx="66888" cy="64973"/>
            </a:xfrm>
            <a:custGeom>
              <a:avLst/>
              <a:gdLst>
                <a:gd name="T0" fmla="*/ 34 w 40"/>
                <a:gd name="T1" fmla="*/ 36 h 41"/>
                <a:gd name="T2" fmla="*/ 20 w 40"/>
                <a:gd name="T3" fmla="*/ 41 h 41"/>
                <a:gd name="T4" fmla="*/ 7 w 40"/>
                <a:gd name="T5" fmla="*/ 36 h 41"/>
                <a:gd name="T6" fmla="*/ 0 w 40"/>
                <a:gd name="T7" fmla="*/ 21 h 41"/>
                <a:gd name="T8" fmla="*/ 6 w 40"/>
                <a:gd name="T9" fmla="*/ 6 h 41"/>
                <a:gd name="T10" fmla="*/ 20 w 40"/>
                <a:gd name="T11" fmla="*/ 0 h 41"/>
                <a:gd name="T12" fmla="*/ 35 w 40"/>
                <a:gd name="T13" fmla="*/ 6 h 41"/>
                <a:gd name="T14" fmla="*/ 40 w 40"/>
                <a:gd name="T15" fmla="*/ 20 h 41"/>
                <a:gd name="T16" fmla="*/ 34 w 40"/>
                <a:gd name="T17" fmla="*/ 36 h 41"/>
                <a:gd name="T18" fmla="*/ 20 w 40"/>
                <a:gd name="T19" fmla="*/ 8 h 41"/>
                <a:gd name="T20" fmla="*/ 11 w 40"/>
                <a:gd name="T21" fmla="*/ 21 h 41"/>
                <a:gd name="T22" fmla="*/ 20 w 40"/>
                <a:gd name="T23" fmla="*/ 33 h 41"/>
                <a:gd name="T24" fmla="*/ 30 w 40"/>
                <a:gd name="T25" fmla="*/ 21 h 41"/>
                <a:gd name="T26" fmla="*/ 20 w 40"/>
                <a:gd name="T27" fmla="*/ 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4" y="36"/>
                  </a:moveTo>
                  <a:cubicBezTo>
                    <a:pt x="31" y="39"/>
                    <a:pt x="26" y="41"/>
                    <a:pt x="20" y="41"/>
                  </a:cubicBezTo>
                  <a:cubicBezTo>
                    <a:pt x="15" y="41"/>
                    <a:pt x="10" y="39"/>
                    <a:pt x="7" y="36"/>
                  </a:cubicBezTo>
                  <a:cubicBezTo>
                    <a:pt x="3" y="33"/>
                    <a:pt x="0" y="27"/>
                    <a:pt x="0" y="21"/>
                  </a:cubicBezTo>
                  <a:cubicBezTo>
                    <a:pt x="0" y="15"/>
                    <a:pt x="2" y="9"/>
                    <a:pt x="6" y="6"/>
                  </a:cubicBezTo>
                  <a:cubicBezTo>
                    <a:pt x="10" y="2"/>
                    <a:pt x="14" y="0"/>
                    <a:pt x="20" y="0"/>
                  </a:cubicBezTo>
                  <a:cubicBezTo>
                    <a:pt x="26" y="0"/>
                    <a:pt x="31" y="2"/>
                    <a:pt x="35" y="6"/>
                  </a:cubicBezTo>
                  <a:cubicBezTo>
                    <a:pt x="38" y="9"/>
                    <a:pt x="40" y="14"/>
                    <a:pt x="40" y="20"/>
                  </a:cubicBezTo>
                  <a:cubicBezTo>
                    <a:pt x="40" y="26"/>
                    <a:pt x="38" y="32"/>
                    <a:pt x="34" y="36"/>
                  </a:cubicBezTo>
                  <a:close/>
                  <a:moveTo>
                    <a:pt x="20" y="8"/>
                  </a:moveTo>
                  <a:cubicBezTo>
                    <a:pt x="14" y="8"/>
                    <a:pt x="11" y="13"/>
                    <a:pt x="11" y="21"/>
                  </a:cubicBezTo>
                  <a:cubicBezTo>
                    <a:pt x="11" y="28"/>
                    <a:pt x="14" y="33"/>
                    <a:pt x="20" y="33"/>
                  </a:cubicBezTo>
                  <a:cubicBezTo>
                    <a:pt x="27" y="33"/>
                    <a:pt x="30" y="28"/>
                    <a:pt x="30" y="21"/>
                  </a:cubicBezTo>
                  <a:cubicBezTo>
                    <a:pt x="30" y="13"/>
                    <a:pt x="26" y="8"/>
                    <a:pt x="2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6" name="Freeform 155"/>
            <p:cNvSpPr>
              <a:spLocks/>
            </p:cNvSpPr>
            <p:nvPr/>
          </p:nvSpPr>
          <p:spPr bwMode="auto">
            <a:xfrm>
              <a:off x="8751573" y="4413518"/>
              <a:ext cx="58409" cy="64973"/>
            </a:xfrm>
            <a:custGeom>
              <a:avLst/>
              <a:gdLst>
                <a:gd name="T0" fmla="*/ 25 w 35"/>
                <a:gd name="T1" fmla="*/ 41 h 41"/>
                <a:gd name="T2" fmla="*/ 25 w 35"/>
                <a:gd name="T3" fmla="*/ 17 h 41"/>
                <a:gd name="T4" fmla="*/ 20 w 35"/>
                <a:gd name="T5" fmla="*/ 9 h 41"/>
                <a:gd name="T6" fmla="*/ 10 w 35"/>
                <a:gd name="T7" fmla="*/ 13 h 41"/>
                <a:gd name="T8" fmla="*/ 10 w 35"/>
                <a:gd name="T9" fmla="*/ 34 h 41"/>
                <a:gd name="T10" fmla="*/ 0 w 35"/>
                <a:gd name="T11" fmla="*/ 41 h 41"/>
                <a:gd name="T12" fmla="*/ 0 w 35"/>
                <a:gd name="T13" fmla="*/ 1 h 41"/>
                <a:gd name="T14" fmla="*/ 8 w 35"/>
                <a:gd name="T15" fmla="*/ 1 h 41"/>
                <a:gd name="T16" fmla="*/ 9 w 35"/>
                <a:gd name="T17" fmla="*/ 5 h 41"/>
                <a:gd name="T18" fmla="*/ 23 w 35"/>
                <a:gd name="T19" fmla="*/ 0 h 41"/>
                <a:gd name="T20" fmla="*/ 35 w 35"/>
                <a:gd name="T21" fmla="*/ 14 h 41"/>
                <a:gd name="T22" fmla="*/ 35 w 35"/>
                <a:gd name="T23" fmla="*/ 34 h 41"/>
                <a:gd name="T24" fmla="*/ 25 w 35"/>
                <a:gd name="T25"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41">
                  <a:moveTo>
                    <a:pt x="25" y="41"/>
                  </a:moveTo>
                  <a:cubicBezTo>
                    <a:pt x="25" y="17"/>
                    <a:pt x="25" y="17"/>
                    <a:pt x="25" y="17"/>
                  </a:cubicBezTo>
                  <a:cubicBezTo>
                    <a:pt x="25" y="13"/>
                    <a:pt x="25" y="9"/>
                    <a:pt x="20" y="9"/>
                  </a:cubicBezTo>
                  <a:cubicBezTo>
                    <a:pt x="16" y="9"/>
                    <a:pt x="13" y="10"/>
                    <a:pt x="10" y="13"/>
                  </a:cubicBezTo>
                  <a:cubicBezTo>
                    <a:pt x="10" y="13"/>
                    <a:pt x="10" y="26"/>
                    <a:pt x="10" y="34"/>
                  </a:cubicBezTo>
                  <a:cubicBezTo>
                    <a:pt x="10" y="41"/>
                    <a:pt x="0" y="41"/>
                    <a:pt x="0" y="41"/>
                  </a:cubicBezTo>
                  <a:cubicBezTo>
                    <a:pt x="0" y="1"/>
                    <a:pt x="0" y="1"/>
                    <a:pt x="0" y="1"/>
                  </a:cubicBezTo>
                  <a:cubicBezTo>
                    <a:pt x="8" y="1"/>
                    <a:pt x="8" y="1"/>
                    <a:pt x="8" y="1"/>
                  </a:cubicBezTo>
                  <a:cubicBezTo>
                    <a:pt x="9" y="5"/>
                    <a:pt x="9" y="5"/>
                    <a:pt x="9" y="5"/>
                  </a:cubicBezTo>
                  <a:cubicBezTo>
                    <a:pt x="13" y="2"/>
                    <a:pt x="18" y="0"/>
                    <a:pt x="23" y="0"/>
                  </a:cubicBezTo>
                  <a:cubicBezTo>
                    <a:pt x="29" y="0"/>
                    <a:pt x="35" y="3"/>
                    <a:pt x="35" y="14"/>
                  </a:cubicBezTo>
                  <a:cubicBezTo>
                    <a:pt x="35" y="14"/>
                    <a:pt x="35" y="26"/>
                    <a:pt x="35" y="34"/>
                  </a:cubicBezTo>
                  <a:cubicBezTo>
                    <a:pt x="35" y="41"/>
                    <a:pt x="25" y="41"/>
                    <a:pt x="2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7" name="Freeform 156"/>
            <p:cNvSpPr>
              <a:spLocks/>
            </p:cNvSpPr>
            <p:nvPr/>
          </p:nvSpPr>
          <p:spPr bwMode="auto">
            <a:xfrm>
              <a:off x="8522411" y="4413518"/>
              <a:ext cx="43571" cy="64973"/>
            </a:xfrm>
            <a:custGeom>
              <a:avLst/>
              <a:gdLst>
                <a:gd name="T0" fmla="*/ 23 w 26"/>
                <a:gd name="T1" fmla="*/ 10 h 41"/>
                <a:gd name="T2" fmla="*/ 18 w 26"/>
                <a:gd name="T3" fmla="*/ 9 h 41"/>
                <a:gd name="T4" fmla="*/ 11 w 26"/>
                <a:gd name="T5" fmla="*/ 12 h 41"/>
                <a:gd name="T6" fmla="*/ 11 w 26"/>
                <a:gd name="T7" fmla="*/ 34 h 41"/>
                <a:gd name="T8" fmla="*/ 0 w 26"/>
                <a:gd name="T9" fmla="*/ 41 h 41"/>
                <a:gd name="T10" fmla="*/ 0 w 26"/>
                <a:gd name="T11" fmla="*/ 1 h 41"/>
                <a:gd name="T12" fmla="*/ 9 w 26"/>
                <a:gd name="T13" fmla="*/ 1 h 41"/>
                <a:gd name="T14" fmla="*/ 10 w 26"/>
                <a:gd name="T15" fmla="*/ 5 h 41"/>
                <a:gd name="T16" fmla="*/ 21 w 26"/>
                <a:gd name="T17" fmla="*/ 0 h 41"/>
                <a:gd name="T18" fmla="*/ 26 w 26"/>
                <a:gd name="T19" fmla="*/ 2 h 41"/>
                <a:gd name="T20" fmla="*/ 23 w 26"/>
                <a:gd name="T21" fmla="*/ 1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41">
                  <a:moveTo>
                    <a:pt x="23" y="10"/>
                  </a:moveTo>
                  <a:cubicBezTo>
                    <a:pt x="21" y="9"/>
                    <a:pt x="19" y="9"/>
                    <a:pt x="18" y="9"/>
                  </a:cubicBezTo>
                  <a:cubicBezTo>
                    <a:pt x="16" y="9"/>
                    <a:pt x="13" y="10"/>
                    <a:pt x="11" y="12"/>
                  </a:cubicBezTo>
                  <a:cubicBezTo>
                    <a:pt x="11" y="12"/>
                    <a:pt x="11" y="26"/>
                    <a:pt x="11" y="34"/>
                  </a:cubicBezTo>
                  <a:cubicBezTo>
                    <a:pt x="11" y="41"/>
                    <a:pt x="0" y="41"/>
                    <a:pt x="0" y="41"/>
                  </a:cubicBezTo>
                  <a:cubicBezTo>
                    <a:pt x="0" y="1"/>
                    <a:pt x="0" y="1"/>
                    <a:pt x="0" y="1"/>
                  </a:cubicBezTo>
                  <a:cubicBezTo>
                    <a:pt x="9" y="1"/>
                    <a:pt x="9" y="1"/>
                    <a:pt x="9" y="1"/>
                  </a:cubicBezTo>
                  <a:cubicBezTo>
                    <a:pt x="10" y="5"/>
                    <a:pt x="10" y="5"/>
                    <a:pt x="10" y="5"/>
                  </a:cubicBezTo>
                  <a:cubicBezTo>
                    <a:pt x="14" y="2"/>
                    <a:pt x="17" y="0"/>
                    <a:pt x="21" y="0"/>
                  </a:cubicBezTo>
                  <a:cubicBezTo>
                    <a:pt x="23" y="0"/>
                    <a:pt x="25" y="1"/>
                    <a:pt x="26" y="2"/>
                  </a:cubicBezTo>
                  <a:lnTo>
                    <a:pt x="23"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8" name="Freeform 157"/>
            <p:cNvSpPr>
              <a:spLocks/>
            </p:cNvSpPr>
            <p:nvPr/>
          </p:nvSpPr>
          <p:spPr bwMode="auto">
            <a:xfrm>
              <a:off x="7787114" y="4354553"/>
              <a:ext cx="101745" cy="147747"/>
            </a:xfrm>
            <a:custGeom>
              <a:avLst/>
              <a:gdLst>
                <a:gd name="T0" fmla="*/ 0 w 61"/>
                <a:gd name="T1" fmla="*/ 11 h 93"/>
                <a:gd name="T2" fmla="*/ 1 w 61"/>
                <a:gd name="T3" fmla="*/ 10 h 93"/>
                <a:gd name="T4" fmla="*/ 31 w 61"/>
                <a:gd name="T5" fmla="*/ 9 h 93"/>
                <a:gd name="T6" fmla="*/ 37 w 61"/>
                <a:gd name="T7" fmla="*/ 24 h 93"/>
                <a:gd name="T8" fmla="*/ 52 w 61"/>
                <a:gd name="T9" fmla="*/ 30 h 93"/>
                <a:gd name="T10" fmla="*/ 51 w 61"/>
                <a:gd name="T11" fmla="*/ 60 h 93"/>
                <a:gd name="T12" fmla="*/ 18 w 61"/>
                <a:gd name="T13" fmla="*/ 93 h 93"/>
                <a:gd name="T14" fmla="*/ 8 w 61"/>
                <a:gd name="T15" fmla="*/ 83 h 93"/>
                <a:gd name="T16" fmla="*/ 41 w 61"/>
                <a:gd name="T17" fmla="*/ 50 h 93"/>
                <a:gd name="T18" fmla="*/ 42 w 61"/>
                <a:gd name="T19" fmla="*/ 39 h 93"/>
                <a:gd name="T20" fmla="*/ 31 w 61"/>
                <a:gd name="T21" fmla="*/ 40 h 93"/>
                <a:gd name="T22" fmla="*/ 0 w 61"/>
                <a:gd name="T23" fmla="*/ 70 h 93"/>
                <a:gd name="T24" fmla="*/ 0 w 61"/>
                <a:gd name="T25" fmla="*/ 50 h 93"/>
                <a:gd name="T26" fmla="*/ 21 w 61"/>
                <a:gd name="T27" fmla="*/ 30 h 93"/>
                <a:gd name="T28" fmla="*/ 22 w 61"/>
                <a:gd name="T29" fmla="*/ 19 h 93"/>
                <a:gd name="T30" fmla="*/ 11 w 61"/>
                <a:gd name="T31" fmla="*/ 20 h 93"/>
                <a:gd name="T32" fmla="*/ 0 w 61"/>
                <a:gd name="T33" fmla="*/ 30 h 93"/>
                <a:gd name="T34" fmla="*/ 0 w 61"/>
                <a:gd name="T35" fmla="*/ 1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 h="93">
                  <a:moveTo>
                    <a:pt x="0" y="11"/>
                  </a:moveTo>
                  <a:cubicBezTo>
                    <a:pt x="1" y="10"/>
                    <a:pt x="1" y="10"/>
                    <a:pt x="1" y="10"/>
                  </a:cubicBezTo>
                  <a:cubicBezTo>
                    <a:pt x="11" y="0"/>
                    <a:pt x="23" y="1"/>
                    <a:pt x="31" y="9"/>
                  </a:cubicBezTo>
                  <a:cubicBezTo>
                    <a:pt x="37" y="15"/>
                    <a:pt x="37" y="21"/>
                    <a:pt x="37" y="24"/>
                  </a:cubicBezTo>
                  <a:cubicBezTo>
                    <a:pt x="40" y="24"/>
                    <a:pt x="46" y="24"/>
                    <a:pt x="52" y="30"/>
                  </a:cubicBezTo>
                  <a:cubicBezTo>
                    <a:pt x="60" y="38"/>
                    <a:pt x="61" y="50"/>
                    <a:pt x="51" y="60"/>
                  </a:cubicBezTo>
                  <a:cubicBezTo>
                    <a:pt x="18" y="93"/>
                    <a:pt x="18" y="93"/>
                    <a:pt x="18" y="93"/>
                  </a:cubicBezTo>
                  <a:cubicBezTo>
                    <a:pt x="8" y="83"/>
                    <a:pt x="8" y="83"/>
                    <a:pt x="8" y="83"/>
                  </a:cubicBezTo>
                  <a:cubicBezTo>
                    <a:pt x="41" y="50"/>
                    <a:pt x="41" y="50"/>
                    <a:pt x="41" y="50"/>
                  </a:cubicBezTo>
                  <a:cubicBezTo>
                    <a:pt x="45" y="46"/>
                    <a:pt x="44" y="42"/>
                    <a:pt x="42" y="39"/>
                  </a:cubicBezTo>
                  <a:cubicBezTo>
                    <a:pt x="39" y="37"/>
                    <a:pt x="35" y="36"/>
                    <a:pt x="31" y="40"/>
                  </a:cubicBezTo>
                  <a:cubicBezTo>
                    <a:pt x="0" y="70"/>
                    <a:pt x="0" y="70"/>
                    <a:pt x="0" y="70"/>
                  </a:cubicBezTo>
                  <a:cubicBezTo>
                    <a:pt x="0" y="50"/>
                    <a:pt x="0" y="50"/>
                    <a:pt x="0" y="50"/>
                  </a:cubicBezTo>
                  <a:cubicBezTo>
                    <a:pt x="21" y="30"/>
                    <a:pt x="21" y="30"/>
                    <a:pt x="21" y="30"/>
                  </a:cubicBezTo>
                  <a:cubicBezTo>
                    <a:pt x="25" y="26"/>
                    <a:pt x="24" y="22"/>
                    <a:pt x="22" y="19"/>
                  </a:cubicBezTo>
                  <a:cubicBezTo>
                    <a:pt x="19" y="17"/>
                    <a:pt x="15" y="16"/>
                    <a:pt x="11" y="20"/>
                  </a:cubicBezTo>
                  <a:cubicBezTo>
                    <a:pt x="0" y="30"/>
                    <a:pt x="0" y="30"/>
                    <a:pt x="0" y="30"/>
                  </a:cubicBezTo>
                  <a:lnTo>
                    <a:pt x="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9" name="Freeform 158"/>
            <p:cNvSpPr>
              <a:spLocks/>
            </p:cNvSpPr>
            <p:nvPr/>
          </p:nvSpPr>
          <p:spPr bwMode="auto">
            <a:xfrm>
              <a:off x="7686782" y="4354553"/>
              <a:ext cx="100332" cy="147747"/>
            </a:xfrm>
            <a:custGeom>
              <a:avLst/>
              <a:gdLst>
                <a:gd name="T0" fmla="*/ 60 w 60"/>
                <a:gd name="T1" fmla="*/ 11 h 93"/>
                <a:gd name="T2" fmla="*/ 60 w 60"/>
                <a:gd name="T3" fmla="*/ 10 h 93"/>
                <a:gd name="T4" fmla="*/ 30 w 60"/>
                <a:gd name="T5" fmla="*/ 9 h 93"/>
                <a:gd name="T6" fmla="*/ 24 w 60"/>
                <a:gd name="T7" fmla="*/ 24 h 93"/>
                <a:gd name="T8" fmla="*/ 9 w 60"/>
                <a:gd name="T9" fmla="*/ 30 h 93"/>
                <a:gd name="T10" fmla="*/ 10 w 60"/>
                <a:gd name="T11" fmla="*/ 60 h 93"/>
                <a:gd name="T12" fmla="*/ 43 w 60"/>
                <a:gd name="T13" fmla="*/ 93 h 93"/>
                <a:gd name="T14" fmla="*/ 53 w 60"/>
                <a:gd name="T15" fmla="*/ 83 h 93"/>
                <a:gd name="T16" fmla="*/ 20 w 60"/>
                <a:gd name="T17" fmla="*/ 50 h 93"/>
                <a:gd name="T18" fmla="*/ 19 w 60"/>
                <a:gd name="T19" fmla="*/ 39 h 93"/>
                <a:gd name="T20" fmla="*/ 30 w 60"/>
                <a:gd name="T21" fmla="*/ 40 h 93"/>
                <a:gd name="T22" fmla="*/ 60 w 60"/>
                <a:gd name="T23" fmla="*/ 70 h 93"/>
                <a:gd name="T24" fmla="*/ 60 w 60"/>
                <a:gd name="T25" fmla="*/ 50 h 93"/>
                <a:gd name="T26" fmla="*/ 40 w 60"/>
                <a:gd name="T27" fmla="*/ 30 h 93"/>
                <a:gd name="T28" fmla="*/ 39 w 60"/>
                <a:gd name="T29" fmla="*/ 19 h 93"/>
                <a:gd name="T30" fmla="*/ 50 w 60"/>
                <a:gd name="T31" fmla="*/ 20 h 93"/>
                <a:gd name="T32" fmla="*/ 60 w 60"/>
                <a:gd name="T33" fmla="*/ 30 h 93"/>
                <a:gd name="T34" fmla="*/ 60 w 60"/>
                <a:gd name="T35" fmla="*/ 1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93">
                  <a:moveTo>
                    <a:pt x="60" y="11"/>
                  </a:moveTo>
                  <a:cubicBezTo>
                    <a:pt x="60" y="10"/>
                    <a:pt x="60" y="10"/>
                    <a:pt x="60" y="10"/>
                  </a:cubicBezTo>
                  <a:cubicBezTo>
                    <a:pt x="50" y="0"/>
                    <a:pt x="37" y="1"/>
                    <a:pt x="30" y="9"/>
                  </a:cubicBezTo>
                  <a:cubicBezTo>
                    <a:pt x="24" y="15"/>
                    <a:pt x="23" y="21"/>
                    <a:pt x="24" y="24"/>
                  </a:cubicBezTo>
                  <a:cubicBezTo>
                    <a:pt x="21" y="24"/>
                    <a:pt x="15" y="24"/>
                    <a:pt x="9" y="30"/>
                  </a:cubicBezTo>
                  <a:cubicBezTo>
                    <a:pt x="1" y="38"/>
                    <a:pt x="0" y="50"/>
                    <a:pt x="10" y="60"/>
                  </a:cubicBezTo>
                  <a:cubicBezTo>
                    <a:pt x="43" y="93"/>
                    <a:pt x="43" y="93"/>
                    <a:pt x="43" y="93"/>
                  </a:cubicBezTo>
                  <a:cubicBezTo>
                    <a:pt x="53" y="83"/>
                    <a:pt x="53" y="83"/>
                    <a:pt x="53" y="83"/>
                  </a:cubicBezTo>
                  <a:cubicBezTo>
                    <a:pt x="20" y="50"/>
                    <a:pt x="20" y="50"/>
                    <a:pt x="20" y="50"/>
                  </a:cubicBezTo>
                  <a:cubicBezTo>
                    <a:pt x="16" y="46"/>
                    <a:pt x="17" y="42"/>
                    <a:pt x="19" y="39"/>
                  </a:cubicBezTo>
                  <a:cubicBezTo>
                    <a:pt x="22" y="37"/>
                    <a:pt x="26" y="36"/>
                    <a:pt x="30" y="40"/>
                  </a:cubicBezTo>
                  <a:cubicBezTo>
                    <a:pt x="60" y="70"/>
                    <a:pt x="60" y="70"/>
                    <a:pt x="60" y="70"/>
                  </a:cubicBezTo>
                  <a:cubicBezTo>
                    <a:pt x="60" y="50"/>
                    <a:pt x="60" y="50"/>
                    <a:pt x="60" y="50"/>
                  </a:cubicBezTo>
                  <a:cubicBezTo>
                    <a:pt x="40" y="30"/>
                    <a:pt x="40" y="30"/>
                    <a:pt x="40" y="30"/>
                  </a:cubicBezTo>
                  <a:cubicBezTo>
                    <a:pt x="36" y="26"/>
                    <a:pt x="37" y="22"/>
                    <a:pt x="39" y="19"/>
                  </a:cubicBezTo>
                  <a:cubicBezTo>
                    <a:pt x="42" y="17"/>
                    <a:pt x="46" y="16"/>
                    <a:pt x="50" y="20"/>
                  </a:cubicBezTo>
                  <a:cubicBezTo>
                    <a:pt x="60" y="30"/>
                    <a:pt x="60" y="30"/>
                    <a:pt x="60" y="30"/>
                  </a:cubicBezTo>
                  <a:lnTo>
                    <a:pt x="60" y="11"/>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60" name="Freeform 159"/>
            <p:cNvSpPr>
              <a:spLocks/>
            </p:cNvSpPr>
            <p:nvPr/>
          </p:nvSpPr>
          <p:spPr bwMode="auto">
            <a:xfrm>
              <a:off x="8141337" y="4415076"/>
              <a:ext cx="103629" cy="66531"/>
            </a:xfrm>
            <a:custGeom>
              <a:avLst/>
              <a:gdLst>
                <a:gd name="T0" fmla="*/ 50 w 62"/>
                <a:gd name="T1" fmla="*/ 33 h 42"/>
                <a:gd name="T2" fmla="*/ 40 w 62"/>
                <a:gd name="T3" fmla="*/ 40 h 42"/>
                <a:gd name="T4" fmla="*/ 31 w 62"/>
                <a:gd name="T5" fmla="*/ 13 h 42"/>
                <a:gd name="T6" fmla="*/ 30 w 62"/>
                <a:gd name="T7" fmla="*/ 13 h 42"/>
                <a:gd name="T8" fmla="*/ 24 w 62"/>
                <a:gd name="T9" fmla="*/ 33 h 42"/>
                <a:gd name="T10" fmla="*/ 14 w 62"/>
                <a:gd name="T11" fmla="*/ 40 h 42"/>
                <a:gd name="T12" fmla="*/ 0 w 62"/>
                <a:gd name="T13" fmla="*/ 0 h 42"/>
                <a:gd name="T14" fmla="*/ 10 w 62"/>
                <a:gd name="T15" fmla="*/ 0 h 42"/>
                <a:gd name="T16" fmla="*/ 18 w 62"/>
                <a:gd name="T17" fmla="*/ 27 h 42"/>
                <a:gd name="T18" fmla="*/ 18 w 62"/>
                <a:gd name="T19" fmla="*/ 27 h 42"/>
                <a:gd name="T20" fmla="*/ 27 w 62"/>
                <a:gd name="T21" fmla="*/ 0 h 42"/>
                <a:gd name="T22" fmla="*/ 35 w 62"/>
                <a:gd name="T23" fmla="*/ 0 h 42"/>
                <a:gd name="T24" fmla="*/ 44 w 62"/>
                <a:gd name="T25" fmla="*/ 27 h 42"/>
                <a:gd name="T26" fmla="*/ 44 w 62"/>
                <a:gd name="T27" fmla="*/ 27 h 42"/>
                <a:gd name="T28" fmla="*/ 52 w 62"/>
                <a:gd name="T29" fmla="*/ 0 h 42"/>
                <a:gd name="T30" fmla="*/ 62 w 62"/>
                <a:gd name="T31" fmla="*/ 0 h 42"/>
                <a:gd name="T32" fmla="*/ 50 w 62"/>
                <a:gd name="T33" fmla="*/ 3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 h="42">
                  <a:moveTo>
                    <a:pt x="50" y="33"/>
                  </a:moveTo>
                  <a:cubicBezTo>
                    <a:pt x="47" y="42"/>
                    <a:pt x="40" y="40"/>
                    <a:pt x="40" y="40"/>
                  </a:cubicBezTo>
                  <a:cubicBezTo>
                    <a:pt x="31" y="13"/>
                    <a:pt x="31" y="13"/>
                    <a:pt x="31" y="13"/>
                  </a:cubicBezTo>
                  <a:cubicBezTo>
                    <a:pt x="30" y="13"/>
                    <a:pt x="30" y="13"/>
                    <a:pt x="30" y="13"/>
                  </a:cubicBezTo>
                  <a:cubicBezTo>
                    <a:pt x="30" y="13"/>
                    <a:pt x="26" y="26"/>
                    <a:pt x="24" y="33"/>
                  </a:cubicBezTo>
                  <a:cubicBezTo>
                    <a:pt x="21" y="42"/>
                    <a:pt x="14" y="40"/>
                    <a:pt x="14" y="40"/>
                  </a:cubicBezTo>
                  <a:cubicBezTo>
                    <a:pt x="0" y="0"/>
                    <a:pt x="0" y="0"/>
                    <a:pt x="0" y="0"/>
                  </a:cubicBezTo>
                  <a:cubicBezTo>
                    <a:pt x="10" y="0"/>
                    <a:pt x="10" y="0"/>
                    <a:pt x="10" y="0"/>
                  </a:cubicBezTo>
                  <a:cubicBezTo>
                    <a:pt x="18" y="27"/>
                    <a:pt x="18" y="27"/>
                    <a:pt x="18" y="27"/>
                  </a:cubicBezTo>
                  <a:cubicBezTo>
                    <a:pt x="18" y="27"/>
                    <a:pt x="18" y="27"/>
                    <a:pt x="18" y="27"/>
                  </a:cubicBezTo>
                  <a:cubicBezTo>
                    <a:pt x="27" y="0"/>
                    <a:pt x="27" y="0"/>
                    <a:pt x="27" y="0"/>
                  </a:cubicBezTo>
                  <a:cubicBezTo>
                    <a:pt x="35" y="0"/>
                    <a:pt x="35" y="0"/>
                    <a:pt x="35" y="0"/>
                  </a:cubicBezTo>
                  <a:cubicBezTo>
                    <a:pt x="44" y="27"/>
                    <a:pt x="44" y="27"/>
                    <a:pt x="44" y="27"/>
                  </a:cubicBezTo>
                  <a:cubicBezTo>
                    <a:pt x="44" y="27"/>
                    <a:pt x="44" y="27"/>
                    <a:pt x="44" y="27"/>
                  </a:cubicBezTo>
                  <a:cubicBezTo>
                    <a:pt x="52" y="0"/>
                    <a:pt x="52" y="0"/>
                    <a:pt x="52" y="0"/>
                  </a:cubicBezTo>
                  <a:cubicBezTo>
                    <a:pt x="62" y="0"/>
                    <a:pt x="62" y="0"/>
                    <a:pt x="62" y="0"/>
                  </a:cubicBezTo>
                  <a:cubicBezTo>
                    <a:pt x="62" y="0"/>
                    <a:pt x="53" y="26"/>
                    <a:pt x="50" y="33"/>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61" name="Freeform 160"/>
            <p:cNvSpPr>
              <a:spLocks noEditPoints="1"/>
            </p:cNvSpPr>
            <p:nvPr/>
          </p:nvSpPr>
          <p:spPr bwMode="auto">
            <a:xfrm>
              <a:off x="8246615" y="4413518"/>
              <a:ext cx="58645" cy="64973"/>
            </a:xfrm>
            <a:custGeom>
              <a:avLst/>
              <a:gdLst>
                <a:gd name="T0" fmla="*/ 27 w 35"/>
                <a:gd name="T1" fmla="*/ 41 h 41"/>
                <a:gd name="T2" fmla="*/ 25 w 35"/>
                <a:gd name="T3" fmla="*/ 37 h 41"/>
                <a:gd name="T4" fmla="*/ 13 w 35"/>
                <a:gd name="T5" fmla="*/ 41 h 41"/>
                <a:gd name="T6" fmla="*/ 0 w 35"/>
                <a:gd name="T7" fmla="*/ 29 h 41"/>
                <a:gd name="T8" fmla="*/ 17 w 35"/>
                <a:gd name="T9" fmla="*/ 16 h 41"/>
                <a:gd name="T10" fmla="*/ 24 w 35"/>
                <a:gd name="T11" fmla="*/ 15 h 41"/>
                <a:gd name="T12" fmla="*/ 24 w 35"/>
                <a:gd name="T13" fmla="*/ 14 h 41"/>
                <a:gd name="T14" fmla="*/ 16 w 35"/>
                <a:gd name="T15" fmla="*/ 8 h 41"/>
                <a:gd name="T16" fmla="*/ 6 w 35"/>
                <a:gd name="T17" fmla="*/ 11 h 41"/>
                <a:gd name="T18" fmla="*/ 3 w 35"/>
                <a:gd name="T19" fmla="*/ 4 h 41"/>
                <a:gd name="T20" fmla="*/ 18 w 35"/>
                <a:gd name="T21" fmla="*/ 0 h 41"/>
                <a:gd name="T22" fmla="*/ 34 w 35"/>
                <a:gd name="T23" fmla="*/ 14 h 41"/>
                <a:gd name="T24" fmla="*/ 34 w 35"/>
                <a:gd name="T25" fmla="*/ 30 h 41"/>
                <a:gd name="T26" fmla="*/ 35 w 35"/>
                <a:gd name="T27" fmla="*/ 41 h 41"/>
                <a:gd name="T28" fmla="*/ 27 w 35"/>
                <a:gd name="T29" fmla="*/ 41 h 41"/>
                <a:gd name="T30" fmla="*/ 24 w 35"/>
                <a:gd name="T31" fmla="*/ 22 h 41"/>
                <a:gd name="T32" fmla="*/ 18 w 35"/>
                <a:gd name="T33" fmla="*/ 22 h 41"/>
                <a:gd name="T34" fmla="*/ 10 w 35"/>
                <a:gd name="T35" fmla="*/ 28 h 41"/>
                <a:gd name="T36" fmla="*/ 17 w 35"/>
                <a:gd name="T37" fmla="*/ 33 h 41"/>
                <a:gd name="T38" fmla="*/ 24 w 35"/>
                <a:gd name="T39" fmla="*/ 31 h 41"/>
                <a:gd name="T40" fmla="*/ 24 w 35"/>
                <a:gd name="T41" fmla="*/ 2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 h="41">
                  <a:moveTo>
                    <a:pt x="27" y="41"/>
                  </a:moveTo>
                  <a:cubicBezTo>
                    <a:pt x="25" y="37"/>
                    <a:pt x="25" y="37"/>
                    <a:pt x="25" y="37"/>
                  </a:cubicBezTo>
                  <a:cubicBezTo>
                    <a:pt x="22" y="39"/>
                    <a:pt x="18" y="41"/>
                    <a:pt x="13" y="41"/>
                  </a:cubicBezTo>
                  <a:cubicBezTo>
                    <a:pt x="6" y="41"/>
                    <a:pt x="0" y="36"/>
                    <a:pt x="0" y="29"/>
                  </a:cubicBezTo>
                  <a:cubicBezTo>
                    <a:pt x="0" y="20"/>
                    <a:pt x="7" y="16"/>
                    <a:pt x="17" y="16"/>
                  </a:cubicBezTo>
                  <a:cubicBezTo>
                    <a:pt x="24" y="15"/>
                    <a:pt x="24" y="15"/>
                    <a:pt x="24" y="15"/>
                  </a:cubicBezTo>
                  <a:cubicBezTo>
                    <a:pt x="24" y="15"/>
                    <a:pt x="24" y="15"/>
                    <a:pt x="24" y="14"/>
                  </a:cubicBezTo>
                  <a:cubicBezTo>
                    <a:pt x="24" y="10"/>
                    <a:pt x="21" y="8"/>
                    <a:pt x="16" y="8"/>
                  </a:cubicBezTo>
                  <a:cubicBezTo>
                    <a:pt x="12" y="8"/>
                    <a:pt x="9" y="9"/>
                    <a:pt x="6" y="11"/>
                  </a:cubicBezTo>
                  <a:cubicBezTo>
                    <a:pt x="3" y="4"/>
                    <a:pt x="3" y="4"/>
                    <a:pt x="3" y="4"/>
                  </a:cubicBezTo>
                  <a:cubicBezTo>
                    <a:pt x="8" y="1"/>
                    <a:pt x="13" y="0"/>
                    <a:pt x="18" y="0"/>
                  </a:cubicBezTo>
                  <a:cubicBezTo>
                    <a:pt x="28" y="0"/>
                    <a:pt x="34" y="4"/>
                    <a:pt x="34" y="14"/>
                  </a:cubicBezTo>
                  <a:cubicBezTo>
                    <a:pt x="34" y="30"/>
                    <a:pt x="34" y="30"/>
                    <a:pt x="34" y="30"/>
                  </a:cubicBezTo>
                  <a:cubicBezTo>
                    <a:pt x="34" y="36"/>
                    <a:pt x="34" y="39"/>
                    <a:pt x="35" y="41"/>
                  </a:cubicBezTo>
                  <a:lnTo>
                    <a:pt x="27" y="41"/>
                  </a:lnTo>
                  <a:close/>
                  <a:moveTo>
                    <a:pt x="24" y="22"/>
                  </a:moveTo>
                  <a:cubicBezTo>
                    <a:pt x="18" y="22"/>
                    <a:pt x="18" y="22"/>
                    <a:pt x="18" y="22"/>
                  </a:cubicBezTo>
                  <a:cubicBezTo>
                    <a:pt x="13" y="23"/>
                    <a:pt x="10" y="24"/>
                    <a:pt x="10" y="28"/>
                  </a:cubicBezTo>
                  <a:cubicBezTo>
                    <a:pt x="10" y="31"/>
                    <a:pt x="13" y="33"/>
                    <a:pt x="17" y="33"/>
                  </a:cubicBezTo>
                  <a:cubicBezTo>
                    <a:pt x="20" y="33"/>
                    <a:pt x="23" y="32"/>
                    <a:pt x="24" y="31"/>
                  </a:cubicBezTo>
                  <a:lnTo>
                    <a:pt x="24" y="22"/>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62" name="Freeform 161"/>
            <p:cNvSpPr>
              <a:spLocks noEditPoints="1"/>
            </p:cNvSpPr>
            <p:nvPr/>
          </p:nvSpPr>
          <p:spPr bwMode="auto">
            <a:xfrm>
              <a:off x="8363669" y="4383257"/>
              <a:ext cx="63591" cy="95234"/>
            </a:xfrm>
            <a:custGeom>
              <a:avLst/>
              <a:gdLst>
                <a:gd name="T0" fmla="*/ 22 w 38"/>
                <a:gd name="T1" fmla="*/ 60 h 60"/>
                <a:gd name="T2" fmla="*/ 0 w 38"/>
                <a:gd name="T3" fmla="*/ 40 h 60"/>
                <a:gd name="T4" fmla="*/ 22 w 38"/>
                <a:gd name="T5" fmla="*/ 19 h 60"/>
                <a:gd name="T6" fmla="*/ 27 w 38"/>
                <a:gd name="T7" fmla="*/ 19 h 60"/>
                <a:gd name="T8" fmla="*/ 28 w 38"/>
                <a:gd name="T9" fmla="*/ 0 h 60"/>
                <a:gd name="T10" fmla="*/ 38 w 38"/>
                <a:gd name="T11" fmla="*/ 0 h 60"/>
                <a:gd name="T12" fmla="*/ 37 w 38"/>
                <a:gd name="T13" fmla="*/ 57 h 60"/>
                <a:gd name="T14" fmla="*/ 22 w 38"/>
                <a:gd name="T15" fmla="*/ 60 h 60"/>
                <a:gd name="T16" fmla="*/ 27 w 38"/>
                <a:gd name="T17" fmla="*/ 27 h 60"/>
                <a:gd name="T18" fmla="*/ 23 w 38"/>
                <a:gd name="T19" fmla="*/ 27 h 60"/>
                <a:gd name="T20" fmla="*/ 10 w 38"/>
                <a:gd name="T21" fmla="*/ 39 h 60"/>
                <a:gd name="T22" fmla="*/ 23 w 38"/>
                <a:gd name="T23" fmla="*/ 52 h 60"/>
                <a:gd name="T24" fmla="*/ 27 w 38"/>
                <a:gd name="T25" fmla="*/ 51 h 60"/>
                <a:gd name="T26" fmla="*/ 27 w 38"/>
                <a:gd name="T27" fmla="*/ 2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60">
                  <a:moveTo>
                    <a:pt x="22" y="60"/>
                  </a:moveTo>
                  <a:cubicBezTo>
                    <a:pt x="10" y="60"/>
                    <a:pt x="0" y="53"/>
                    <a:pt x="0" y="40"/>
                  </a:cubicBezTo>
                  <a:cubicBezTo>
                    <a:pt x="0" y="28"/>
                    <a:pt x="9" y="19"/>
                    <a:pt x="22" y="19"/>
                  </a:cubicBezTo>
                  <a:cubicBezTo>
                    <a:pt x="24" y="19"/>
                    <a:pt x="26" y="19"/>
                    <a:pt x="27" y="19"/>
                  </a:cubicBezTo>
                  <a:cubicBezTo>
                    <a:pt x="28" y="0"/>
                    <a:pt x="28" y="0"/>
                    <a:pt x="28" y="0"/>
                  </a:cubicBezTo>
                  <a:cubicBezTo>
                    <a:pt x="38" y="0"/>
                    <a:pt x="38" y="0"/>
                    <a:pt x="38" y="0"/>
                  </a:cubicBezTo>
                  <a:cubicBezTo>
                    <a:pt x="37" y="57"/>
                    <a:pt x="37" y="57"/>
                    <a:pt x="37" y="57"/>
                  </a:cubicBezTo>
                  <a:cubicBezTo>
                    <a:pt x="34" y="59"/>
                    <a:pt x="29" y="60"/>
                    <a:pt x="22" y="60"/>
                  </a:cubicBezTo>
                  <a:close/>
                  <a:moveTo>
                    <a:pt x="27" y="27"/>
                  </a:moveTo>
                  <a:cubicBezTo>
                    <a:pt x="26" y="27"/>
                    <a:pt x="25" y="27"/>
                    <a:pt x="23" y="27"/>
                  </a:cubicBezTo>
                  <a:cubicBezTo>
                    <a:pt x="16" y="27"/>
                    <a:pt x="10" y="32"/>
                    <a:pt x="10" y="39"/>
                  </a:cubicBezTo>
                  <a:cubicBezTo>
                    <a:pt x="10" y="47"/>
                    <a:pt x="15" y="52"/>
                    <a:pt x="23" y="52"/>
                  </a:cubicBezTo>
                  <a:cubicBezTo>
                    <a:pt x="24" y="52"/>
                    <a:pt x="26" y="52"/>
                    <a:pt x="27" y="51"/>
                  </a:cubicBezTo>
                  <a:lnTo>
                    <a:pt x="27" y="2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63" name="Freeform 162"/>
            <p:cNvSpPr>
              <a:spLocks/>
            </p:cNvSpPr>
            <p:nvPr/>
          </p:nvSpPr>
          <p:spPr bwMode="auto">
            <a:xfrm>
              <a:off x="8114724" y="4383257"/>
              <a:ext cx="16722" cy="95234"/>
            </a:xfrm>
            <a:custGeom>
              <a:avLst/>
              <a:gdLst>
                <a:gd name="T0" fmla="*/ 10 w 10"/>
                <a:gd name="T1" fmla="*/ 53 h 60"/>
                <a:gd name="T2" fmla="*/ 0 w 10"/>
                <a:gd name="T3" fmla="*/ 60 h 60"/>
                <a:gd name="T4" fmla="*/ 0 w 10"/>
                <a:gd name="T5" fmla="*/ 0 h 60"/>
                <a:gd name="T6" fmla="*/ 10 w 10"/>
                <a:gd name="T7" fmla="*/ 0 h 60"/>
                <a:gd name="T8" fmla="*/ 10 w 10"/>
                <a:gd name="T9" fmla="*/ 53 h 60"/>
              </a:gdLst>
              <a:ahLst/>
              <a:cxnLst>
                <a:cxn ang="0">
                  <a:pos x="T0" y="T1"/>
                </a:cxn>
                <a:cxn ang="0">
                  <a:pos x="T2" y="T3"/>
                </a:cxn>
                <a:cxn ang="0">
                  <a:pos x="T4" y="T5"/>
                </a:cxn>
                <a:cxn ang="0">
                  <a:pos x="T6" y="T7"/>
                </a:cxn>
                <a:cxn ang="0">
                  <a:pos x="T8" y="T9"/>
                </a:cxn>
              </a:cxnLst>
              <a:rect l="0" t="0" r="r" b="b"/>
              <a:pathLst>
                <a:path w="10" h="60">
                  <a:moveTo>
                    <a:pt x="10" y="53"/>
                  </a:moveTo>
                  <a:cubicBezTo>
                    <a:pt x="10" y="60"/>
                    <a:pt x="0" y="60"/>
                    <a:pt x="0" y="60"/>
                  </a:cubicBezTo>
                  <a:cubicBezTo>
                    <a:pt x="0" y="0"/>
                    <a:pt x="0" y="0"/>
                    <a:pt x="0" y="0"/>
                  </a:cubicBezTo>
                  <a:cubicBezTo>
                    <a:pt x="10" y="0"/>
                    <a:pt x="10" y="0"/>
                    <a:pt x="10" y="0"/>
                  </a:cubicBezTo>
                  <a:cubicBezTo>
                    <a:pt x="10" y="0"/>
                    <a:pt x="10" y="45"/>
                    <a:pt x="10" y="53"/>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64" name="Freeform 163"/>
            <p:cNvSpPr>
              <a:spLocks/>
            </p:cNvSpPr>
            <p:nvPr/>
          </p:nvSpPr>
          <p:spPr bwMode="auto">
            <a:xfrm>
              <a:off x="8081279" y="4383257"/>
              <a:ext cx="16722" cy="95234"/>
            </a:xfrm>
            <a:custGeom>
              <a:avLst/>
              <a:gdLst>
                <a:gd name="T0" fmla="*/ 10 w 10"/>
                <a:gd name="T1" fmla="*/ 53 h 60"/>
                <a:gd name="T2" fmla="*/ 0 w 10"/>
                <a:gd name="T3" fmla="*/ 60 h 60"/>
                <a:gd name="T4" fmla="*/ 0 w 10"/>
                <a:gd name="T5" fmla="*/ 0 h 60"/>
                <a:gd name="T6" fmla="*/ 10 w 10"/>
                <a:gd name="T7" fmla="*/ 0 h 60"/>
                <a:gd name="T8" fmla="*/ 10 w 10"/>
                <a:gd name="T9" fmla="*/ 53 h 60"/>
              </a:gdLst>
              <a:ahLst/>
              <a:cxnLst>
                <a:cxn ang="0">
                  <a:pos x="T0" y="T1"/>
                </a:cxn>
                <a:cxn ang="0">
                  <a:pos x="T2" y="T3"/>
                </a:cxn>
                <a:cxn ang="0">
                  <a:pos x="T4" y="T5"/>
                </a:cxn>
                <a:cxn ang="0">
                  <a:pos x="T6" y="T7"/>
                </a:cxn>
                <a:cxn ang="0">
                  <a:pos x="T8" y="T9"/>
                </a:cxn>
              </a:cxnLst>
              <a:rect l="0" t="0" r="r" b="b"/>
              <a:pathLst>
                <a:path w="10" h="60">
                  <a:moveTo>
                    <a:pt x="10" y="53"/>
                  </a:moveTo>
                  <a:cubicBezTo>
                    <a:pt x="10" y="60"/>
                    <a:pt x="0" y="60"/>
                    <a:pt x="0" y="60"/>
                  </a:cubicBezTo>
                  <a:cubicBezTo>
                    <a:pt x="0" y="0"/>
                    <a:pt x="0" y="0"/>
                    <a:pt x="0" y="0"/>
                  </a:cubicBezTo>
                  <a:cubicBezTo>
                    <a:pt x="10" y="0"/>
                    <a:pt x="10" y="0"/>
                    <a:pt x="10" y="0"/>
                  </a:cubicBezTo>
                  <a:cubicBezTo>
                    <a:pt x="10" y="0"/>
                    <a:pt x="10" y="45"/>
                    <a:pt x="10" y="53"/>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65" name="Freeform 164"/>
            <p:cNvSpPr>
              <a:spLocks/>
            </p:cNvSpPr>
            <p:nvPr/>
          </p:nvSpPr>
          <p:spPr bwMode="auto">
            <a:xfrm>
              <a:off x="8318450" y="4413518"/>
              <a:ext cx="43571" cy="64973"/>
            </a:xfrm>
            <a:custGeom>
              <a:avLst/>
              <a:gdLst>
                <a:gd name="T0" fmla="*/ 22 w 26"/>
                <a:gd name="T1" fmla="*/ 10 h 41"/>
                <a:gd name="T2" fmla="*/ 18 w 26"/>
                <a:gd name="T3" fmla="*/ 9 h 41"/>
                <a:gd name="T4" fmla="*/ 10 w 26"/>
                <a:gd name="T5" fmla="*/ 12 h 41"/>
                <a:gd name="T6" fmla="*/ 10 w 26"/>
                <a:gd name="T7" fmla="*/ 34 h 41"/>
                <a:gd name="T8" fmla="*/ 0 w 26"/>
                <a:gd name="T9" fmla="*/ 41 h 41"/>
                <a:gd name="T10" fmla="*/ 0 w 26"/>
                <a:gd name="T11" fmla="*/ 1 h 41"/>
                <a:gd name="T12" fmla="*/ 9 w 26"/>
                <a:gd name="T13" fmla="*/ 1 h 41"/>
                <a:gd name="T14" fmla="*/ 10 w 26"/>
                <a:gd name="T15" fmla="*/ 5 h 41"/>
                <a:gd name="T16" fmla="*/ 21 w 26"/>
                <a:gd name="T17" fmla="*/ 0 h 41"/>
                <a:gd name="T18" fmla="*/ 26 w 26"/>
                <a:gd name="T19" fmla="*/ 2 h 41"/>
                <a:gd name="T20" fmla="*/ 22 w 26"/>
                <a:gd name="T21" fmla="*/ 1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41">
                  <a:moveTo>
                    <a:pt x="22" y="10"/>
                  </a:moveTo>
                  <a:cubicBezTo>
                    <a:pt x="21" y="9"/>
                    <a:pt x="19" y="9"/>
                    <a:pt x="18" y="9"/>
                  </a:cubicBezTo>
                  <a:cubicBezTo>
                    <a:pt x="15" y="9"/>
                    <a:pt x="13" y="10"/>
                    <a:pt x="10" y="12"/>
                  </a:cubicBezTo>
                  <a:cubicBezTo>
                    <a:pt x="10" y="12"/>
                    <a:pt x="10" y="26"/>
                    <a:pt x="10" y="34"/>
                  </a:cubicBezTo>
                  <a:cubicBezTo>
                    <a:pt x="10" y="41"/>
                    <a:pt x="0" y="41"/>
                    <a:pt x="0" y="41"/>
                  </a:cubicBezTo>
                  <a:cubicBezTo>
                    <a:pt x="0" y="1"/>
                    <a:pt x="0" y="1"/>
                    <a:pt x="0" y="1"/>
                  </a:cubicBezTo>
                  <a:cubicBezTo>
                    <a:pt x="9" y="1"/>
                    <a:pt x="9" y="1"/>
                    <a:pt x="9" y="1"/>
                  </a:cubicBezTo>
                  <a:cubicBezTo>
                    <a:pt x="10" y="5"/>
                    <a:pt x="10" y="5"/>
                    <a:pt x="10" y="5"/>
                  </a:cubicBezTo>
                  <a:cubicBezTo>
                    <a:pt x="14" y="2"/>
                    <a:pt x="17" y="0"/>
                    <a:pt x="21" y="0"/>
                  </a:cubicBezTo>
                  <a:cubicBezTo>
                    <a:pt x="23" y="0"/>
                    <a:pt x="25" y="1"/>
                    <a:pt x="26" y="2"/>
                  </a:cubicBezTo>
                  <a:lnTo>
                    <a:pt x="22" y="1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66" name="Freeform 165"/>
            <p:cNvSpPr>
              <a:spLocks/>
            </p:cNvSpPr>
            <p:nvPr/>
          </p:nvSpPr>
          <p:spPr bwMode="auto">
            <a:xfrm>
              <a:off x="7929133" y="4383257"/>
              <a:ext cx="98684" cy="93677"/>
            </a:xfrm>
            <a:custGeom>
              <a:avLst/>
              <a:gdLst>
                <a:gd name="T0" fmla="*/ 48 w 59"/>
                <a:gd name="T1" fmla="*/ 59 h 59"/>
                <a:gd name="T2" fmla="*/ 48 w 59"/>
                <a:gd name="T3" fmla="*/ 24 h 59"/>
                <a:gd name="T4" fmla="*/ 49 w 59"/>
                <a:gd name="T5" fmla="*/ 18 h 59"/>
                <a:gd name="T6" fmla="*/ 48 w 59"/>
                <a:gd name="T7" fmla="*/ 18 h 59"/>
                <a:gd name="T8" fmla="*/ 45 w 59"/>
                <a:gd name="T9" fmla="*/ 24 h 59"/>
                <a:gd name="T10" fmla="*/ 33 w 59"/>
                <a:gd name="T11" fmla="*/ 42 h 59"/>
                <a:gd name="T12" fmla="*/ 28 w 59"/>
                <a:gd name="T13" fmla="*/ 42 h 59"/>
                <a:gd name="T14" fmla="*/ 14 w 59"/>
                <a:gd name="T15" fmla="*/ 23 h 59"/>
                <a:gd name="T16" fmla="*/ 11 w 59"/>
                <a:gd name="T17" fmla="*/ 18 h 59"/>
                <a:gd name="T18" fmla="*/ 11 w 59"/>
                <a:gd name="T19" fmla="*/ 18 h 59"/>
                <a:gd name="T20" fmla="*/ 11 w 59"/>
                <a:gd name="T21" fmla="*/ 24 h 59"/>
                <a:gd name="T22" fmla="*/ 11 w 59"/>
                <a:gd name="T23" fmla="*/ 59 h 59"/>
                <a:gd name="T24" fmla="*/ 0 w 59"/>
                <a:gd name="T25" fmla="*/ 59 h 59"/>
                <a:gd name="T26" fmla="*/ 0 w 59"/>
                <a:gd name="T27" fmla="*/ 0 h 59"/>
                <a:gd name="T28" fmla="*/ 10 w 59"/>
                <a:gd name="T29" fmla="*/ 0 h 59"/>
                <a:gd name="T30" fmla="*/ 26 w 59"/>
                <a:gd name="T31" fmla="*/ 24 h 59"/>
                <a:gd name="T32" fmla="*/ 30 w 59"/>
                <a:gd name="T33" fmla="*/ 30 h 59"/>
                <a:gd name="T34" fmla="*/ 30 w 59"/>
                <a:gd name="T35" fmla="*/ 30 h 59"/>
                <a:gd name="T36" fmla="*/ 34 w 59"/>
                <a:gd name="T37" fmla="*/ 24 h 59"/>
                <a:gd name="T38" fmla="*/ 49 w 59"/>
                <a:gd name="T39" fmla="*/ 0 h 59"/>
                <a:gd name="T40" fmla="*/ 59 w 59"/>
                <a:gd name="T41" fmla="*/ 0 h 59"/>
                <a:gd name="T42" fmla="*/ 59 w 59"/>
                <a:gd name="T43" fmla="*/ 59 h 59"/>
                <a:gd name="T44" fmla="*/ 48 w 59"/>
                <a:gd name="T4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9" h="59">
                  <a:moveTo>
                    <a:pt x="48" y="59"/>
                  </a:moveTo>
                  <a:cubicBezTo>
                    <a:pt x="48" y="24"/>
                    <a:pt x="48" y="24"/>
                    <a:pt x="48" y="24"/>
                  </a:cubicBezTo>
                  <a:cubicBezTo>
                    <a:pt x="48" y="22"/>
                    <a:pt x="48" y="20"/>
                    <a:pt x="49" y="18"/>
                  </a:cubicBezTo>
                  <a:cubicBezTo>
                    <a:pt x="48" y="18"/>
                    <a:pt x="48" y="18"/>
                    <a:pt x="48" y="18"/>
                  </a:cubicBezTo>
                  <a:cubicBezTo>
                    <a:pt x="48" y="19"/>
                    <a:pt x="46" y="22"/>
                    <a:pt x="45" y="24"/>
                  </a:cubicBezTo>
                  <a:cubicBezTo>
                    <a:pt x="33" y="42"/>
                    <a:pt x="33" y="42"/>
                    <a:pt x="33" y="42"/>
                  </a:cubicBezTo>
                  <a:cubicBezTo>
                    <a:pt x="28" y="42"/>
                    <a:pt x="28" y="42"/>
                    <a:pt x="28" y="42"/>
                  </a:cubicBezTo>
                  <a:cubicBezTo>
                    <a:pt x="14" y="23"/>
                    <a:pt x="14" y="23"/>
                    <a:pt x="14" y="23"/>
                  </a:cubicBezTo>
                  <a:cubicBezTo>
                    <a:pt x="13" y="22"/>
                    <a:pt x="12" y="20"/>
                    <a:pt x="11" y="18"/>
                  </a:cubicBezTo>
                  <a:cubicBezTo>
                    <a:pt x="11" y="18"/>
                    <a:pt x="11" y="18"/>
                    <a:pt x="11" y="18"/>
                  </a:cubicBezTo>
                  <a:cubicBezTo>
                    <a:pt x="11" y="20"/>
                    <a:pt x="11" y="22"/>
                    <a:pt x="11" y="24"/>
                  </a:cubicBezTo>
                  <a:cubicBezTo>
                    <a:pt x="11" y="59"/>
                    <a:pt x="11" y="59"/>
                    <a:pt x="11" y="59"/>
                  </a:cubicBezTo>
                  <a:cubicBezTo>
                    <a:pt x="0" y="59"/>
                    <a:pt x="0" y="59"/>
                    <a:pt x="0" y="59"/>
                  </a:cubicBezTo>
                  <a:cubicBezTo>
                    <a:pt x="0" y="0"/>
                    <a:pt x="0" y="0"/>
                    <a:pt x="0" y="0"/>
                  </a:cubicBezTo>
                  <a:cubicBezTo>
                    <a:pt x="10" y="0"/>
                    <a:pt x="10" y="0"/>
                    <a:pt x="10" y="0"/>
                  </a:cubicBezTo>
                  <a:cubicBezTo>
                    <a:pt x="26" y="24"/>
                    <a:pt x="26" y="24"/>
                    <a:pt x="26" y="24"/>
                  </a:cubicBezTo>
                  <a:cubicBezTo>
                    <a:pt x="28" y="26"/>
                    <a:pt x="29" y="28"/>
                    <a:pt x="30" y="30"/>
                  </a:cubicBezTo>
                  <a:cubicBezTo>
                    <a:pt x="30" y="30"/>
                    <a:pt x="30" y="30"/>
                    <a:pt x="30" y="30"/>
                  </a:cubicBezTo>
                  <a:cubicBezTo>
                    <a:pt x="31" y="28"/>
                    <a:pt x="32" y="26"/>
                    <a:pt x="34" y="24"/>
                  </a:cubicBezTo>
                  <a:cubicBezTo>
                    <a:pt x="49" y="0"/>
                    <a:pt x="49" y="0"/>
                    <a:pt x="49" y="0"/>
                  </a:cubicBezTo>
                  <a:cubicBezTo>
                    <a:pt x="59" y="0"/>
                    <a:pt x="59" y="0"/>
                    <a:pt x="59" y="0"/>
                  </a:cubicBezTo>
                  <a:cubicBezTo>
                    <a:pt x="59" y="59"/>
                    <a:pt x="59" y="59"/>
                    <a:pt x="59" y="59"/>
                  </a:cubicBezTo>
                  <a:lnTo>
                    <a:pt x="48" y="5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67" name="Freeform 166"/>
            <p:cNvSpPr>
              <a:spLocks noEditPoints="1"/>
            </p:cNvSpPr>
            <p:nvPr/>
          </p:nvSpPr>
          <p:spPr bwMode="auto">
            <a:xfrm>
              <a:off x="8044539" y="4386372"/>
              <a:ext cx="21668" cy="92119"/>
            </a:xfrm>
            <a:custGeom>
              <a:avLst/>
              <a:gdLst>
                <a:gd name="T0" fmla="*/ 6 w 13"/>
                <a:gd name="T1" fmla="*/ 12 h 58"/>
                <a:gd name="T2" fmla="*/ 0 w 13"/>
                <a:gd name="T3" fmla="*/ 6 h 58"/>
                <a:gd name="T4" fmla="*/ 6 w 13"/>
                <a:gd name="T5" fmla="*/ 0 h 58"/>
                <a:gd name="T6" fmla="*/ 13 w 13"/>
                <a:gd name="T7" fmla="*/ 6 h 58"/>
                <a:gd name="T8" fmla="*/ 6 w 13"/>
                <a:gd name="T9" fmla="*/ 12 h 58"/>
                <a:gd name="T10" fmla="*/ 1 w 13"/>
                <a:gd name="T11" fmla="*/ 58 h 58"/>
                <a:gd name="T12" fmla="*/ 1 w 13"/>
                <a:gd name="T13" fmla="*/ 18 h 58"/>
                <a:gd name="T14" fmla="*/ 11 w 13"/>
                <a:gd name="T15" fmla="*/ 18 h 58"/>
                <a:gd name="T16" fmla="*/ 11 w 13"/>
                <a:gd name="T17" fmla="*/ 51 h 58"/>
                <a:gd name="T18" fmla="*/ 1 w 13"/>
                <a:gd name="T19"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58">
                  <a:moveTo>
                    <a:pt x="6" y="12"/>
                  </a:moveTo>
                  <a:cubicBezTo>
                    <a:pt x="3" y="12"/>
                    <a:pt x="0" y="9"/>
                    <a:pt x="0" y="6"/>
                  </a:cubicBezTo>
                  <a:cubicBezTo>
                    <a:pt x="0" y="2"/>
                    <a:pt x="3" y="0"/>
                    <a:pt x="6" y="0"/>
                  </a:cubicBezTo>
                  <a:cubicBezTo>
                    <a:pt x="10" y="0"/>
                    <a:pt x="13" y="2"/>
                    <a:pt x="13" y="6"/>
                  </a:cubicBezTo>
                  <a:cubicBezTo>
                    <a:pt x="13" y="9"/>
                    <a:pt x="10" y="12"/>
                    <a:pt x="6" y="12"/>
                  </a:cubicBezTo>
                  <a:close/>
                  <a:moveTo>
                    <a:pt x="1" y="58"/>
                  </a:moveTo>
                  <a:cubicBezTo>
                    <a:pt x="1" y="18"/>
                    <a:pt x="1" y="18"/>
                    <a:pt x="1" y="18"/>
                  </a:cubicBezTo>
                  <a:cubicBezTo>
                    <a:pt x="11" y="18"/>
                    <a:pt x="11" y="18"/>
                    <a:pt x="11" y="18"/>
                  </a:cubicBezTo>
                  <a:cubicBezTo>
                    <a:pt x="11" y="18"/>
                    <a:pt x="11" y="43"/>
                    <a:pt x="11" y="51"/>
                  </a:cubicBezTo>
                  <a:cubicBezTo>
                    <a:pt x="11" y="58"/>
                    <a:pt x="1" y="58"/>
                    <a:pt x="1" y="58"/>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68" name="Freeform 167"/>
            <p:cNvSpPr>
              <a:spLocks/>
            </p:cNvSpPr>
            <p:nvPr/>
          </p:nvSpPr>
          <p:spPr bwMode="auto">
            <a:xfrm>
              <a:off x="8224947" y="4510310"/>
              <a:ext cx="13425" cy="79436"/>
            </a:xfrm>
            <a:custGeom>
              <a:avLst/>
              <a:gdLst>
                <a:gd name="T0" fmla="*/ 8 w 8"/>
                <a:gd name="T1" fmla="*/ 44 h 50"/>
                <a:gd name="T2" fmla="*/ 0 w 8"/>
                <a:gd name="T3" fmla="*/ 50 h 50"/>
                <a:gd name="T4" fmla="*/ 0 w 8"/>
                <a:gd name="T5" fmla="*/ 0 h 50"/>
                <a:gd name="T6" fmla="*/ 8 w 8"/>
                <a:gd name="T7" fmla="*/ 0 h 50"/>
                <a:gd name="T8" fmla="*/ 8 w 8"/>
                <a:gd name="T9" fmla="*/ 44 h 50"/>
              </a:gdLst>
              <a:ahLst/>
              <a:cxnLst>
                <a:cxn ang="0">
                  <a:pos x="T0" y="T1"/>
                </a:cxn>
                <a:cxn ang="0">
                  <a:pos x="T2" y="T3"/>
                </a:cxn>
                <a:cxn ang="0">
                  <a:pos x="T4" y="T5"/>
                </a:cxn>
                <a:cxn ang="0">
                  <a:pos x="T6" y="T7"/>
                </a:cxn>
                <a:cxn ang="0">
                  <a:pos x="T8" y="T9"/>
                </a:cxn>
              </a:cxnLst>
              <a:rect l="0" t="0" r="r" b="b"/>
              <a:pathLst>
                <a:path w="8" h="50">
                  <a:moveTo>
                    <a:pt x="8" y="44"/>
                  </a:moveTo>
                  <a:cubicBezTo>
                    <a:pt x="8" y="50"/>
                    <a:pt x="0" y="50"/>
                    <a:pt x="0" y="50"/>
                  </a:cubicBezTo>
                  <a:cubicBezTo>
                    <a:pt x="0" y="0"/>
                    <a:pt x="0" y="0"/>
                    <a:pt x="0" y="0"/>
                  </a:cubicBezTo>
                  <a:cubicBezTo>
                    <a:pt x="8" y="0"/>
                    <a:pt x="8" y="0"/>
                    <a:pt x="8" y="0"/>
                  </a:cubicBezTo>
                  <a:cubicBezTo>
                    <a:pt x="8" y="0"/>
                    <a:pt x="8" y="37"/>
                    <a:pt x="8"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9" name="Freeform 168"/>
            <p:cNvSpPr>
              <a:spLocks noEditPoints="1"/>
            </p:cNvSpPr>
            <p:nvPr/>
          </p:nvSpPr>
          <p:spPr bwMode="auto">
            <a:xfrm>
              <a:off x="8007562" y="4513425"/>
              <a:ext cx="18371" cy="76321"/>
            </a:xfrm>
            <a:custGeom>
              <a:avLst/>
              <a:gdLst>
                <a:gd name="T0" fmla="*/ 5 w 11"/>
                <a:gd name="T1" fmla="*/ 10 h 48"/>
                <a:gd name="T2" fmla="*/ 0 w 11"/>
                <a:gd name="T3" fmla="*/ 5 h 48"/>
                <a:gd name="T4" fmla="*/ 5 w 11"/>
                <a:gd name="T5" fmla="*/ 0 h 48"/>
                <a:gd name="T6" fmla="*/ 11 w 11"/>
                <a:gd name="T7" fmla="*/ 5 h 48"/>
                <a:gd name="T8" fmla="*/ 5 w 11"/>
                <a:gd name="T9" fmla="*/ 10 h 48"/>
                <a:gd name="T10" fmla="*/ 1 w 11"/>
                <a:gd name="T11" fmla="*/ 48 h 48"/>
                <a:gd name="T12" fmla="*/ 1 w 11"/>
                <a:gd name="T13" fmla="*/ 15 h 48"/>
                <a:gd name="T14" fmla="*/ 10 w 11"/>
                <a:gd name="T15" fmla="*/ 15 h 48"/>
                <a:gd name="T16" fmla="*/ 10 w 11"/>
                <a:gd name="T17" fmla="*/ 42 h 48"/>
                <a:gd name="T18" fmla="*/ 1 w 11"/>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48">
                  <a:moveTo>
                    <a:pt x="5" y="10"/>
                  </a:moveTo>
                  <a:cubicBezTo>
                    <a:pt x="3" y="10"/>
                    <a:pt x="0" y="7"/>
                    <a:pt x="0" y="5"/>
                  </a:cubicBezTo>
                  <a:cubicBezTo>
                    <a:pt x="0" y="2"/>
                    <a:pt x="3" y="0"/>
                    <a:pt x="5" y="0"/>
                  </a:cubicBezTo>
                  <a:cubicBezTo>
                    <a:pt x="8" y="0"/>
                    <a:pt x="11" y="2"/>
                    <a:pt x="11" y="5"/>
                  </a:cubicBezTo>
                  <a:cubicBezTo>
                    <a:pt x="11" y="7"/>
                    <a:pt x="8" y="10"/>
                    <a:pt x="5" y="10"/>
                  </a:cubicBezTo>
                  <a:close/>
                  <a:moveTo>
                    <a:pt x="1" y="48"/>
                  </a:moveTo>
                  <a:cubicBezTo>
                    <a:pt x="1" y="15"/>
                    <a:pt x="1" y="15"/>
                    <a:pt x="1" y="15"/>
                  </a:cubicBezTo>
                  <a:cubicBezTo>
                    <a:pt x="10" y="15"/>
                    <a:pt x="10" y="15"/>
                    <a:pt x="10" y="15"/>
                  </a:cubicBezTo>
                  <a:cubicBezTo>
                    <a:pt x="10" y="15"/>
                    <a:pt x="10" y="36"/>
                    <a:pt x="10" y="42"/>
                  </a:cubicBezTo>
                  <a:cubicBezTo>
                    <a:pt x="10" y="48"/>
                    <a:pt x="1" y="48"/>
                    <a:pt x="1"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0" name="Freeform 169"/>
            <p:cNvSpPr>
              <a:spLocks noEditPoints="1"/>
            </p:cNvSpPr>
            <p:nvPr/>
          </p:nvSpPr>
          <p:spPr bwMode="auto">
            <a:xfrm>
              <a:off x="8094469" y="4513425"/>
              <a:ext cx="16722" cy="76321"/>
            </a:xfrm>
            <a:custGeom>
              <a:avLst/>
              <a:gdLst>
                <a:gd name="T0" fmla="*/ 5 w 10"/>
                <a:gd name="T1" fmla="*/ 10 h 48"/>
                <a:gd name="T2" fmla="*/ 0 w 10"/>
                <a:gd name="T3" fmla="*/ 5 h 48"/>
                <a:gd name="T4" fmla="*/ 5 w 10"/>
                <a:gd name="T5" fmla="*/ 0 h 48"/>
                <a:gd name="T6" fmla="*/ 10 w 10"/>
                <a:gd name="T7" fmla="*/ 5 h 48"/>
                <a:gd name="T8" fmla="*/ 5 w 10"/>
                <a:gd name="T9" fmla="*/ 10 h 48"/>
                <a:gd name="T10" fmla="*/ 1 w 10"/>
                <a:gd name="T11" fmla="*/ 48 h 48"/>
                <a:gd name="T12" fmla="*/ 1 w 10"/>
                <a:gd name="T13" fmla="*/ 15 h 48"/>
                <a:gd name="T14" fmla="*/ 9 w 10"/>
                <a:gd name="T15" fmla="*/ 15 h 48"/>
                <a:gd name="T16" fmla="*/ 9 w 10"/>
                <a:gd name="T17" fmla="*/ 42 h 48"/>
                <a:gd name="T18" fmla="*/ 1 w 10"/>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48">
                  <a:moveTo>
                    <a:pt x="5" y="10"/>
                  </a:moveTo>
                  <a:cubicBezTo>
                    <a:pt x="2" y="10"/>
                    <a:pt x="0" y="8"/>
                    <a:pt x="0" y="5"/>
                  </a:cubicBezTo>
                  <a:cubicBezTo>
                    <a:pt x="0" y="2"/>
                    <a:pt x="2" y="0"/>
                    <a:pt x="5" y="0"/>
                  </a:cubicBezTo>
                  <a:cubicBezTo>
                    <a:pt x="8" y="0"/>
                    <a:pt x="10" y="2"/>
                    <a:pt x="10" y="5"/>
                  </a:cubicBezTo>
                  <a:cubicBezTo>
                    <a:pt x="10" y="8"/>
                    <a:pt x="8" y="10"/>
                    <a:pt x="5" y="10"/>
                  </a:cubicBezTo>
                  <a:close/>
                  <a:moveTo>
                    <a:pt x="1" y="48"/>
                  </a:moveTo>
                  <a:cubicBezTo>
                    <a:pt x="1" y="15"/>
                    <a:pt x="1" y="15"/>
                    <a:pt x="1" y="15"/>
                  </a:cubicBezTo>
                  <a:cubicBezTo>
                    <a:pt x="9" y="15"/>
                    <a:pt x="9" y="15"/>
                    <a:pt x="9" y="15"/>
                  </a:cubicBezTo>
                  <a:cubicBezTo>
                    <a:pt x="9" y="15"/>
                    <a:pt x="9" y="36"/>
                    <a:pt x="9" y="42"/>
                  </a:cubicBezTo>
                  <a:cubicBezTo>
                    <a:pt x="9" y="48"/>
                    <a:pt x="1" y="48"/>
                    <a:pt x="1"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 name="Freeform 170"/>
            <p:cNvSpPr>
              <a:spLocks noEditPoints="1"/>
            </p:cNvSpPr>
            <p:nvPr/>
          </p:nvSpPr>
          <p:spPr bwMode="auto">
            <a:xfrm>
              <a:off x="7929133" y="4510310"/>
              <a:ext cx="70185" cy="77879"/>
            </a:xfrm>
            <a:custGeom>
              <a:avLst/>
              <a:gdLst>
                <a:gd name="T0" fmla="*/ 0 w 42"/>
                <a:gd name="T1" fmla="*/ 0 h 49"/>
                <a:gd name="T2" fmla="*/ 15 w 42"/>
                <a:gd name="T3" fmla="*/ 0 h 49"/>
                <a:gd name="T4" fmla="*/ 42 w 42"/>
                <a:gd name="T5" fmla="*/ 25 h 49"/>
                <a:gd name="T6" fmla="*/ 14 w 42"/>
                <a:gd name="T7" fmla="*/ 49 h 49"/>
                <a:gd name="T8" fmla="*/ 0 w 42"/>
                <a:gd name="T9" fmla="*/ 49 h 49"/>
                <a:gd name="T10" fmla="*/ 0 w 42"/>
                <a:gd name="T11" fmla="*/ 0 h 49"/>
                <a:gd name="T12" fmla="*/ 14 w 42"/>
                <a:gd name="T13" fmla="*/ 42 h 49"/>
                <a:gd name="T14" fmla="*/ 32 w 42"/>
                <a:gd name="T15" fmla="*/ 25 h 49"/>
                <a:gd name="T16" fmla="*/ 14 w 42"/>
                <a:gd name="T17" fmla="*/ 8 h 49"/>
                <a:gd name="T18" fmla="*/ 8 w 42"/>
                <a:gd name="T19" fmla="*/ 8 h 49"/>
                <a:gd name="T20" fmla="*/ 8 w 42"/>
                <a:gd name="T21" fmla="*/ 42 h 49"/>
                <a:gd name="T22" fmla="*/ 14 w 42"/>
                <a:gd name="T23" fmla="*/ 4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49">
                  <a:moveTo>
                    <a:pt x="0" y="0"/>
                  </a:moveTo>
                  <a:cubicBezTo>
                    <a:pt x="15" y="0"/>
                    <a:pt x="15" y="0"/>
                    <a:pt x="15" y="0"/>
                  </a:cubicBezTo>
                  <a:cubicBezTo>
                    <a:pt x="32" y="0"/>
                    <a:pt x="42" y="10"/>
                    <a:pt x="42" y="25"/>
                  </a:cubicBezTo>
                  <a:cubicBezTo>
                    <a:pt x="42" y="40"/>
                    <a:pt x="31" y="49"/>
                    <a:pt x="14" y="49"/>
                  </a:cubicBezTo>
                  <a:cubicBezTo>
                    <a:pt x="0" y="49"/>
                    <a:pt x="0" y="49"/>
                    <a:pt x="0" y="49"/>
                  </a:cubicBezTo>
                  <a:lnTo>
                    <a:pt x="0" y="0"/>
                  </a:lnTo>
                  <a:close/>
                  <a:moveTo>
                    <a:pt x="14" y="42"/>
                  </a:moveTo>
                  <a:cubicBezTo>
                    <a:pt x="27" y="42"/>
                    <a:pt x="32" y="34"/>
                    <a:pt x="32" y="25"/>
                  </a:cubicBezTo>
                  <a:cubicBezTo>
                    <a:pt x="32" y="15"/>
                    <a:pt x="26" y="8"/>
                    <a:pt x="14" y="8"/>
                  </a:cubicBezTo>
                  <a:cubicBezTo>
                    <a:pt x="8" y="8"/>
                    <a:pt x="8" y="8"/>
                    <a:pt x="8" y="8"/>
                  </a:cubicBezTo>
                  <a:cubicBezTo>
                    <a:pt x="8" y="42"/>
                    <a:pt x="8" y="42"/>
                    <a:pt x="8" y="42"/>
                  </a:cubicBezTo>
                  <a:lnTo>
                    <a:pt x="1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2" name="Freeform 171"/>
            <p:cNvSpPr>
              <a:spLocks noEditPoints="1"/>
            </p:cNvSpPr>
            <p:nvPr/>
          </p:nvSpPr>
          <p:spPr bwMode="auto">
            <a:xfrm>
              <a:off x="8031114" y="4529223"/>
              <a:ext cx="58409" cy="87447"/>
            </a:xfrm>
            <a:custGeom>
              <a:avLst/>
              <a:gdLst>
                <a:gd name="T0" fmla="*/ 0 w 35"/>
                <a:gd name="T1" fmla="*/ 45 h 55"/>
                <a:gd name="T2" fmla="*/ 6 w 35"/>
                <a:gd name="T3" fmla="*/ 37 h 55"/>
                <a:gd name="T4" fmla="*/ 4 w 35"/>
                <a:gd name="T5" fmla="*/ 32 h 55"/>
                <a:gd name="T6" fmla="*/ 8 w 35"/>
                <a:gd name="T7" fmla="*/ 26 h 55"/>
                <a:gd name="T8" fmla="*/ 2 w 35"/>
                <a:gd name="T9" fmla="*/ 15 h 55"/>
                <a:gd name="T10" fmla="*/ 16 w 35"/>
                <a:gd name="T11" fmla="*/ 2 h 55"/>
                <a:gd name="T12" fmla="*/ 23 w 35"/>
                <a:gd name="T13" fmla="*/ 3 h 55"/>
                <a:gd name="T14" fmla="*/ 24 w 35"/>
                <a:gd name="T15" fmla="*/ 3 h 55"/>
                <a:gd name="T16" fmla="*/ 33 w 35"/>
                <a:gd name="T17" fmla="*/ 0 h 55"/>
                <a:gd name="T18" fmla="*/ 35 w 35"/>
                <a:gd name="T19" fmla="*/ 0 h 55"/>
                <a:gd name="T20" fmla="*/ 33 w 35"/>
                <a:gd name="T21" fmla="*/ 7 h 55"/>
                <a:gd name="T22" fmla="*/ 31 w 35"/>
                <a:gd name="T23" fmla="*/ 6 h 55"/>
                <a:gd name="T24" fmla="*/ 28 w 35"/>
                <a:gd name="T25" fmla="*/ 7 h 55"/>
                <a:gd name="T26" fmla="*/ 31 w 35"/>
                <a:gd name="T27" fmla="*/ 15 h 55"/>
                <a:gd name="T28" fmla="*/ 17 w 35"/>
                <a:gd name="T29" fmla="*/ 28 h 55"/>
                <a:gd name="T30" fmla="*/ 12 w 35"/>
                <a:gd name="T31" fmla="*/ 28 h 55"/>
                <a:gd name="T32" fmla="*/ 12 w 35"/>
                <a:gd name="T33" fmla="*/ 30 h 55"/>
                <a:gd name="T34" fmla="*/ 35 w 35"/>
                <a:gd name="T35" fmla="*/ 44 h 55"/>
                <a:gd name="T36" fmla="*/ 16 w 35"/>
                <a:gd name="T37" fmla="*/ 55 h 55"/>
                <a:gd name="T38" fmla="*/ 0 w 35"/>
                <a:gd name="T39" fmla="*/ 45 h 55"/>
                <a:gd name="T40" fmla="*/ 26 w 35"/>
                <a:gd name="T41" fmla="*/ 45 h 55"/>
                <a:gd name="T42" fmla="*/ 10 w 35"/>
                <a:gd name="T43" fmla="*/ 39 h 55"/>
                <a:gd name="T44" fmla="*/ 8 w 35"/>
                <a:gd name="T45" fmla="*/ 44 h 55"/>
                <a:gd name="T46" fmla="*/ 17 w 35"/>
                <a:gd name="T47" fmla="*/ 49 h 55"/>
                <a:gd name="T48" fmla="*/ 26 w 35"/>
                <a:gd name="T49" fmla="*/ 45 h 55"/>
                <a:gd name="T50" fmla="*/ 23 w 35"/>
                <a:gd name="T51" fmla="*/ 15 h 55"/>
                <a:gd name="T52" fmla="*/ 17 w 35"/>
                <a:gd name="T53" fmla="*/ 9 h 55"/>
                <a:gd name="T54" fmla="*/ 10 w 35"/>
                <a:gd name="T55" fmla="*/ 15 h 55"/>
                <a:gd name="T56" fmla="*/ 17 w 35"/>
                <a:gd name="T57" fmla="*/ 22 h 55"/>
                <a:gd name="T58" fmla="*/ 23 w 35"/>
                <a:gd name="T59" fmla="*/ 1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 h="55">
                  <a:moveTo>
                    <a:pt x="0" y="45"/>
                  </a:moveTo>
                  <a:cubicBezTo>
                    <a:pt x="0" y="41"/>
                    <a:pt x="2" y="38"/>
                    <a:pt x="6" y="37"/>
                  </a:cubicBezTo>
                  <a:cubicBezTo>
                    <a:pt x="5" y="36"/>
                    <a:pt x="4" y="34"/>
                    <a:pt x="4" y="32"/>
                  </a:cubicBezTo>
                  <a:cubicBezTo>
                    <a:pt x="4" y="30"/>
                    <a:pt x="5" y="28"/>
                    <a:pt x="8" y="26"/>
                  </a:cubicBezTo>
                  <a:cubicBezTo>
                    <a:pt x="4" y="24"/>
                    <a:pt x="2" y="19"/>
                    <a:pt x="2" y="15"/>
                  </a:cubicBezTo>
                  <a:cubicBezTo>
                    <a:pt x="2" y="8"/>
                    <a:pt x="7" y="2"/>
                    <a:pt x="16" y="2"/>
                  </a:cubicBezTo>
                  <a:cubicBezTo>
                    <a:pt x="20" y="2"/>
                    <a:pt x="22" y="3"/>
                    <a:pt x="23" y="3"/>
                  </a:cubicBezTo>
                  <a:cubicBezTo>
                    <a:pt x="24" y="4"/>
                    <a:pt x="24" y="3"/>
                    <a:pt x="24" y="3"/>
                  </a:cubicBezTo>
                  <a:cubicBezTo>
                    <a:pt x="26" y="1"/>
                    <a:pt x="28" y="0"/>
                    <a:pt x="33" y="0"/>
                  </a:cubicBezTo>
                  <a:cubicBezTo>
                    <a:pt x="34" y="0"/>
                    <a:pt x="35" y="0"/>
                    <a:pt x="35" y="0"/>
                  </a:cubicBezTo>
                  <a:cubicBezTo>
                    <a:pt x="33" y="7"/>
                    <a:pt x="33" y="7"/>
                    <a:pt x="33" y="7"/>
                  </a:cubicBezTo>
                  <a:cubicBezTo>
                    <a:pt x="33" y="7"/>
                    <a:pt x="32" y="6"/>
                    <a:pt x="31" y="6"/>
                  </a:cubicBezTo>
                  <a:cubicBezTo>
                    <a:pt x="30" y="6"/>
                    <a:pt x="29" y="7"/>
                    <a:pt x="28" y="7"/>
                  </a:cubicBezTo>
                  <a:cubicBezTo>
                    <a:pt x="30" y="9"/>
                    <a:pt x="31" y="12"/>
                    <a:pt x="31" y="15"/>
                  </a:cubicBezTo>
                  <a:cubicBezTo>
                    <a:pt x="31" y="23"/>
                    <a:pt x="25" y="28"/>
                    <a:pt x="17" y="28"/>
                  </a:cubicBezTo>
                  <a:cubicBezTo>
                    <a:pt x="15" y="28"/>
                    <a:pt x="14" y="28"/>
                    <a:pt x="12" y="28"/>
                  </a:cubicBezTo>
                  <a:cubicBezTo>
                    <a:pt x="12" y="29"/>
                    <a:pt x="12" y="30"/>
                    <a:pt x="12" y="30"/>
                  </a:cubicBezTo>
                  <a:cubicBezTo>
                    <a:pt x="12" y="37"/>
                    <a:pt x="35" y="31"/>
                    <a:pt x="35" y="44"/>
                  </a:cubicBezTo>
                  <a:cubicBezTo>
                    <a:pt x="35" y="50"/>
                    <a:pt x="28" y="55"/>
                    <a:pt x="16" y="55"/>
                  </a:cubicBezTo>
                  <a:cubicBezTo>
                    <a:pt x="6" y="55"/>
                    <a:pt x="0" y="51"/>
                    <a:pt x="0" y="45"/>
                  </a:cubicBezTo>
                  <a:close/>
                  <a:moveTo>
                    <a:pt x="26" y="45"/>
                  </a:moveTo>
                  <a:cubicBezTo>
                    <a:pt x="26" y="40"/>
                    <a:pt x="15" y="41"/>
                    <a:pt x="10" y="39"/>
                  </a:cubicBezTo>
                  <a:cubicBezTo>
                    <a:pt x="9" y="40"/>
                    <a:pt x="8" y="41"/>
                    <a:pt x="8" y="44"/>
                  </a:cubicBezTo>
                  <a:cubicBezTo>
                    <a:pt x="8" y="47"/>
                    <a:pt x="11" y="49"/>
                    <a:pt x="17" y="49"/>
                  </a:cubicBezTo>
                  <a:cubicBezTo>
                    <a:pt x="23" y="49"/>
                    <a:pt x="26" y="47"/>
                    <a:pt x="26" y="45"/>
                  </a:cubicBezTo>
                  <a:close/>
                  <a:moveTo>
                    <a:pt x="23" y="15"/>
                  </a:moveTo>
                  <a:cubicBezTo>
                    <a:pt x="23" y="12"/>
                    <a:pt x="20" y="9"/>
                    <a:pt x="17" y="9"/>
                  </a:cubicBezTo>
                  <a:cubicBezTo>
                    <a:pt x="13" y="9"/>
                    <a:pt x="10" y="11"/>
                    <a:pt x="10" y="15"/>
                  </a:cubicBezTo>
                  <a:cubicBezTo>
                    <a:pt x="10" y="19"/>
                    <a:pt x="13" y="22"/>
                    <a:pt x="17" y="22"/>
                  </a:cubicBezTo>
                  <a:cubicBezTo>
                    <a:pt x="20" y="22"/>
                    <a:pt x="23" y="19"/>
                    <a:pt x="23"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3" name="Freeform 172"/>
            <p:cNvSpPr>
              <a:spLocks/>
            </p:cNvSpPr>
            <p:nvPr/>
          </p:nvSpPr>
          <p:spPr bwMode="auto">
            <a:xfrm>
              <a:off x="8116372" y="4516540"/>
              <a:ext cx="44984" cy="74763"/>
            </a:xfrm>
            <a:custGeom>
              <a:avLst/>
              <a:gdLst>
                <a:gd name="T0" fmla="*/ 7 w 27"/>
                <a:gd name="T1" fmla="*/ 37 h 47"/>
                <a:gd name="T2" fmla="*/ 7 w 27"/>
                <a:gd name="T3" fmla="*/ 18 h 47"/>
                <a:gd name="T4" fmla="*/ 0 w 27"/>
                <a:gd name="T5" fmla="*/ 18 h 47"/>
                <a:gd name="T6" fmla="*/ 0 w 27"/>
                <a:gd name="T7" fmla="*/ 11 h 47"/>
                <a:gd name="T8" fmla="*/ 7 w 27"/>
                <a:gd name="T9" fmla="*/ 11 h 47"/>
                <a:gd name="T10" fmla="*/ 7 w 27"/>
                <a:gd name="T11" fmla="*/ 3 h 47"/>
                <a:gd name="T12" fmla="*/ 15 w 27"/>
                <a:gd name="T13" fmla="*/ 0 h 47"/>
                <a:gd name="T14" fmla="*/ 15 w 27"/>
                <a:gd name="T15" fmla="*/ 11 h 47"/>
                <a:gd name="T16" fmla="*/ 26 w 27"/>
                <a:gd name="T17" fmla="*/ 11 h 47"/>
                <a:gd name="T18" fmla="*/ 24 w 27"/>
                <a:gd name="T19" fmla="*/ 18 h 47"/>
                <a:gd name="T20" fmla="*/ 15 w 27"/>
                <a:gd name="T21" fmla="*/ 18 h 47"/>
                <a:gd name="T22" fmla="*/ 15 w 27"/>
                <a:gd name="T23" fmla="*/ 35 h 47"/>
                <a:gd name="T24" fmla="*/ 19 w 27"/>
                <a:gd name="T25" fmla="*/ 40 h 47"/>
                <a:gd name="T26" fmla="*/ 24 w 27"/>
                <a:gd name="T27" fmla="*/ 38 h 47"/>
                <a:gd name="T28" fmla="*/ 27 w 27"/>
                <a:gd name="T29" fmla="*/ 44 h 47"/>
                <a:gd name="T30" fmla="*/ 17 w 27"/>
                <a:gd name="T31" fmla="*/ 47 h 47"/>
                <a:gd name="T32" fmla="*/ 7 w 27"/>
                <a:gd name="T33" fmla="*/ 3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 h="47">
                  <a:moveTo>
                    <a:pt x="7" y="37"/>
                  </a:moveTo>
                  <a:cubicBezTo>
                    <a:pt x="7" y="18"/>
                    <a:pt x="7" y="18"/>
                    <a:pt x="7" y="18"/>
                  </a:cubicBezTo>
                  <a:cubicBezTo>
                    <a:pt x="0" y="18"/>
                    <a:pt x="0" y="18"/>
                    <a:pt x="0" y="18"/>
                  </a:cubicBezTo>
                  <a:cubicBezTo>
                    <a:pt x="0" y="11"/>
                    <a:pt x="0" y="11"/>
                    <a:pt x="0" y="11"/>
                  </a:cubicBezTo>
                  <a:cubicBezTo>
                    <a:pt x="7" y="11"/>
                    <a:pt x="7" y="11"/>
                    <a:pt x="7" y="11"/>
                  </a:cubicBezTo>
                  <a:cubicBezTo>
                    <a:pt x="7" y="3"/>
                    <a:pt x="7" y="3"/>
                    <a:pt x="7" y="3"/>
                  </a:cubicBezTo>
                  <a:cubicBezTo>
                    <a:pt x="15" y="0"/>
                    <a:pt x="15" y="0"/>
                    <a:pt x="15" y="0"/>
                  </a:cubicBezTo>
                  <a:cubicBezTo>
                    <a:pt x="15" y="11"/>
                    <a:pt x="15" y="11"/>
                    <a:pt x="15" y="11"/>
                  </a:cubicBezTo>
                  <a:cubicBezTo>
                    <a:pt x="26" y="11"/>
                    <a:pt x="26" y="11"/>
                    <a:pt x="26" y="11"/>
                  </a:cubicBezTo>
                  <a:cubicBezTo>
                    <a:pt x="24" y="18"/>
                    <a:pt x="24" y="18"/>
                    <a:pt x="24" y="18"/>
                  </a:cubicBezTo>
                  <a:cubicBezTo>
                    <a:pt x="15" y="18"/>
                    <a:pt x="15" y="18"/>
                    <a:pt x="15" y="18"/>
                  </a:cubicBezTo>
                  <a:cubicBezTo>
                    <a:pt x="15" y="35"/>
                    <a:pt x="15" y="35"/>
                    <a:pt x="15" y="35"/>
                  </a:cubicBezTo>
                  <a:cubicBezTo>
                    <a:pt x="15" y="38"/>
                    <a:pt x="17" y="40"/>
                    <a:pt x="19" y="40"/>
                  </a:cubicBezTo>
                  <a:cubicBezTo>
                    <a:pt x="21" y="40"/>
                    <a:pt x="23" y="39"/>
                    <a:pt x="24" y="38"/>
                  </a:cubicBezTo>
                  <a:cubicBezTo>
                    <a:pt x="27" y="44"/>
                    <a:pt x="27" y="44"/>
                    <a:pt x="27" y="44"/>
                  </a:cubicBezTo>
                  <a:cubicBezTo>
                    <a:pt x="24" y="46"/>
                    <a:pt x="20" y="47"/>
                    <a:pt x="17" y="47"/>
                  </a:cubicBezTo>
                  <a:cubicBezTo>
                    <a:pt x="10" y="47"/>
                    <a:pt x="7" y="43"/>
                    <a:pt x="7"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4" name="Freeform 173"/>
            <p:cNvSpPr>
              <a:spLocks noEditPoints="1"/>
            </p:cNvSpPr>
            <p:nvPr/>
          </p:nvSpPr>
          <p:spPr bwMode="auto">
            <a:xfrm>
              <a:off x="8163005" y="4532562"/>
              <a:ext cx="51814" cy="58743"/>
            </a:xfrm>
            <a:custGeom>
              <a:avLst/>
              <a:gdLst>
                <a:gd name="T0" fmla="*/ 22 w 31"/>
                <a:gd name="T1" fmla="*/ 33 h 37"/>
                <a:gd name="T2" fmla="*/ 12 w 31"/>
                <a:gd name="T3" fmla="*/ 37 h 37"/>
                <a:gd name="T4" fmla="*/ 0 w 31"/>
                <a:gd name="T5" fmla="*/ 26 h 37"/>
                <a:gd name="T6" fmla="*/ 6 w 31"/>
                <a:gd name="T7" fmla="*/ 16 h 37"/>
                <a:gd name="T8" fmla="*/ 15 w 31"/>
                <a:gd name="T9" fmla="*/ 14 h 37"/>
                <a:gd name="T10" fmla="*/ 21 w 31"/>
                <a:gd name="T11" fmla="*/ 14 h 37"/>
                <a:gd name="T12" fmla="*/ 21 w 31"/>
                <a:gd name="T13" fmla="*/ 13 h 37"/>
                <a:gd name="T14" fmla="*/ 15 w 31"/>
                <a:gd name="T15" fmla="*/ 7 h 37"/>
                <a:gd name="T16" fmla="*/ 5 w 31"/>
                <a:gd name="T17" fmla="*/ 9 h 37"/>
                <a:gd name="T18" fmla="*/ 3 w 31"/>
                <a:gd name="T19" fmla="*/ 4 h 37"/>
                <a:gd name="T20" fmla="*/ 16 w 31"/>
                <a:gd name="T21" fmla="*/ 0 h 37"/>
                <a:gd name="T22" fmla="*/ 30 w 31"/>
                <a:gd name="T23" fmla="*/ 13 h 37"/>
                <a:gd name="T24" fmla="*/ 30 w 31"/>
                <a:gd name="T25" fmla="*/ 27 h 37"/>
                <a:gd name="T26" fmla="*/ 31 w 31"/>
                <a:gd name="T27" fmla="*/ 36 h 37"/>
                <a:gd name="T28" fmla="*/ 24 w 31"/>
                <a:gd name="T29" fmla="*/ 36 h 37"/>
                <a:gd name="T30" fmla="*/ 22 w 31"/>
                <a:gd name="T31" fmla="*/ 33 h 37"/>
                <a:gd name="T32" fmla="*/ 17 w 31"/>
                <a:gd name="T33" fmla="*/ 20 h 37"/>
                <a:gd name="T34" fmla="*/ 12 w 31"/>
                <a:gd name="T35" fmla="*/ 21 h 37"/>
                <a:gd name="T36" fmla="*/ 9 w 31"/>
                <a:gd name="T37" fmla="*/ 25 h 37"/>
                <a:gd name="T38" fmla="*/ 15 w 31"/>
                <a:gd name="T39" fmla="*/ 30 h 37"/>
                <a:gd name="T40" fmla="*/ 21 w 31"/>
                <a:gd name="T41" fmla="*/ 27 h 37"/>
                <a:gd name="T42" fmla="*/ 21 w 31"/>
                <a:gd name="T43" fmla="*/ 20 h 37"/>
                <a:gd name="T44" fmla="*/ 17 w 31"/>
                <a:gd name="T45"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7">
                  <a:moveTo>
                    <a:pt x="22" y="33"/>
                  </a:moveTo>
                  <a:cubicBezTo>
                    <a:pt x="20" y="35"/>
                    <a:pt x="16" y="37"/>
                    <a:pt x="12" y="37"/>
                  </a:cubicBezTo>
                  <a:cubicBezTo>
                    <a:pt x="5" y="37"/>
                    <a:pt x="0" y="32"/>
                    <a:pt x="0" y="26"/>
                  </a:cubicBezTo>
                  <a:cubicBezTo>
                    <a:pt x="0" y="21"/>
                    <a:pt x="3" y="18"/>
                    <a:pt x="6" y="16"/>
                  </a:cubicBezTo>
                  <a:cubicBezTo>
                    <a:pt x="9" y="15"/>
                    <a:pt x="12" y="14"/>
                    <a:pt x="15" y="14"/>
                  </a:cubicBezTo>
                  <a:cubicBezTo>
                    <a:pt x="21" y="14"/>
                    <a:pt x="21" y="14"/>
                    <a:pt x="21" y="14"/>
                  </a:cubicBezTo>
                  <a:cubicBezTo>
                    <a:pt x="21" y="13"/>
                    <a:pt x="21" y="13"/>
                    <a:pt x="21" y="13"/>
                  </a:cubicBezTo>
                  <a:cubicBezTo>
                    <a:pt x="21" y="9"/>
                    <a:pt x="19" y="7"/>
                    <a:pt x="15" y="7"/>
                  </a:cubicBezTo>
                  <a:cubicBezTo>
                    <a:pt x="11" y="7"/>
                    <a:pt x="8" y="8"/>
                    <a:pt x="5" y="9"/>
                  </a:cubicBezTo>
                  <a:cubicBezTo>
                    <a:pt x="3" y="4"/>
                    <a:pt x="3" y="4"/>
                    <a:pt x="3" y="4"/>
                  </a:cubicBezTo>
                  <a:cubicBezTo>
                    <a:pt x="7" y="1"/>
                    <a:pt x="11" y="0"/>
                    <a:pt x="16" y="0"/>
                  </a:cubicBezTo>
                  <a:cubicBezTo>
                    <a:pt x="26" y="0"/>
                    <a:pt x="30" y="4"/>
                    <a:pt x="30" y="13"/>
                  </a:cubicBezTo>
                  <a:cubicBezTo>
                    <a:pt x="30" y="27"/>
                    <a:pt x="30" y="27"/>
                    <a:pt x="30" y="27"/>
                  </a:cubicBezTo>
                  <a:cubicBezTo>
                    <a:pt x="30" y="31"/>
                    <a:pt x="30" y="34"/>
                    <a:pt x="31" y="36"/>
                  </a:cubicBezTo>
                  <a:cubicBezTo>
                    <a:pt x="24" y="36"/>
                    <a:pt x="24" y="36"/>
                    <a:pt x="24" y="36"/>
                  </a:cubicBezTo>
                  <a:lnTo>
                    <a:pt x="22" y="33"/>
                  </a:lnTo>
                  <a:close/>
                  <a:moveTo>
                    <a:pt x="17" y="20"/>
                  </a:moveTo>
                  <a:cubicBezTo>
                    <a:pt x="14" y="20"/>
                    <a:pt x="13" y="20"/>
                    <a:pt x="12" y="21"/>
                  </a:cubicBezTo>
                  <a:cubicBezTo>
                    <a:pt x="10" y="22"/>
                    <a:pt x="9" y="23"/>
                    <a:pt x="9" y="25"/>
                  </a:cubicBezTo>
                  <a:cubicBezTo>
                    <a:pt x="9" y="28"/>
                    <a:pt x="11" y="30"/>
                    <a:pt x="15" y="30"/>
                  </a:cubicBezTo>
                  <a:cubicBezTo>
                    <a:pt x="18" y="30"/>
                    <a:pt x="20" y="28"/>
                    <a:pt x="21" y="27"/>
                  </a:cubicBezTo>
                  <a:cubicBezTo>
                    <a:pt x="21" y="20"/>
                    <a:pt x="21" y="20"/>
                    <a:pt x="21" y="20"/>
                  </a:cubicBezTo>
                  <a:lnTo>
                    <a:pt x="17"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7" name="Text Placeholder 2"/>
          <p:cNvSpPr>
            <a:spLocks noGrp="1"/>
          </p:cNvSpPr>
          <p:nvPr>
            <p:ph type="body" sz="quarter" idx="25" hasCustomPrompt="1"/>
          </p:nvPr>
        </p:nvSpPr>
        <p:spPr>
          <a:xfrm>
            <a:off x="3342796" y="4807465"/>
            <a:ext cx="1160462" cy="341313"/>
          </a:xfrm>
          <a:prstGeom prst="rect">
            <a:avLst/>
          </a:prstGeom>
        </p:spPr>
        <p:txBody>
          <a:bodyPr anchor="ctr"/>
          <a:lstStyle>
            <a:lvl1pPr marL="0" indent="0" algn="ctr">
              <a:buNone/>
              <a:defRPr sz="800">
                <a:solidFill>
                  <a:schemeClr val="bg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pic>
        <p:nvPicPr>
          <p:cNvPr id="78" name="Picture 7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68466" y="4829728"/>
            <a:ext cx="288000" cy="288000"/>
          </a:xfrm>
          <a:prstGeom prst="rect">
            <a:avLst/>
          </a:prstGeom>
        </p:spPr>
      </p:pic>
      <p:grpSp>
        <p:nvGrpSpPr>
          <p:cNvPr id="51" name="Group 50"/>
          <p:cNvGrpSpPr/>
          <p:nvPr userDrawn="1"/>
        </p:nvGrpSpPr>
        <p:grpSpPr>
          <a:xfrm>
            <a:off x="7686461" y="4906654"/>
            <a:ext cx="1124815" cy="151147"/>
            <a:chOff x="7686461" y="4581466"/>
            <a:chExt cx="1124815" cy="151147"/>
          </a:xfrm>
          <a:solidFill>
            <a:schemeClr val="bg1"/>
          </a:solidFill>
        </p:grpSpPr>
        <p:sp>
          <p:nvSpPr>
            <p:cNvPr id="52"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3"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4"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5"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6"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7"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8"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9"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0"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1"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2"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3"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4"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5"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6"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grpSp>
      <p:sp>
        <p:nvSpPr>
          <p:cNvPr id="68"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solidFill>
                  <a:schemeClr val="tx2">
                    <a:lumMod val="75000"/>
                  </a:schemeClr>
                </a:solidFill>
                <a:latin typeface="+mn-lt"/>
              </a:rPr>
              <a:t>Private and Confidental</a:t>
            </a:r>
            <a:endParaRPr lang="pt-BR" sz="500" dirty="0">
              <a:solidFill>
                <a:schemeClr val="tx2">
                  <a:lumMod val="75000"/>
                </a:schemeClr>
              </a:solidFill>
              <a:latin typeface="+mn-lt"/>
            </a:endParaRPr>
          </a:p>
        </p:txBody>
      </p:sp>
    </p:spTree>
    <p:extLst>
      <p:ext uri="{BB962C8B-B14F-4D97-AF65-F5344CB8AC3E}">
        <p14:creationId xmlns:p14="http://schemas.microsoft.com/office/powerpoint/2010/main" val="3512141825"/>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FF_D_MB_Slate3">
    <p:bg>
      <p:bgPr>
        <a:solidFill>
          <a:schemeClr val="bg1"/>
        </a:solidFill>
        <a:effectLst/>
      </p:bgPr>
    </p:bg>
    <p:spTree>
      <p:nvGrpSpPr>
        <p:cNvPr id="1" name=""/>
        <p:cNvGrpSpPr/>
        <p:nvPr/>
      </p:nvGrpSpPr>
      <p:grpSpPr>
        <a:xfrm>
          <a:off x="0" y="0"/>
          <a:ext cx="0" cy="0"/>
          <a:chOff x="0" y="0"/>
          <a:chExt cx="0" cy="0"/>
        </a:xfrm>
      </p:grpSpPr>
      <p:sp>
        <p:nvSpPr>
          <p:cNvPr id="31" name="Rectangle 30"/>
          <p:cNvSpPr/>
          <p:nvPr userDrawn="1"/>
        </p:nvSpPr>
        <p:spPr>
          <a:xfrm>
            <a:off x="0" y="0"/>
            <a:ext cx="9144000" cy="5148263"/>
          </a:xfrm>
          <a:prstGeom prst="rect">
            <a:avLst/>
          </a:prstGeom>
          <a:solidFill>
            <a:srgbClr val="4B4E53"/>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en-GB" sz="1050" smtClean="0">
              <a:solidFill>
                <a:schemeClr val="bg1"/>
              </a:solidFill>
              <a:latin typeface="Arial" panose="020B0604020202020204" pitchFamily="34" charset="0"/>
              <a:cs typeface="Arial" panose="020B0604020202020204" pitchFamily="34" charset="0"/>
            </a:endParaRPr>
          </a:p>
        </p:txBody>
      </p:sp>
      <p:pic>
        <p:nvPicPr>
          <p:cNvPr id="33" name="Picture 32" descr="cookie_white.png"/>
          <p:cNvPicPr>
            <a:picLocks noChangeAspect="1"/>
          </p:cNvPicPr>
          <p:nvPr userDrawn="1"/>
        </p:nvPicPr>
        <p:blipFill rotWithShape="1">
          <a:blip r:embed="rId2" cstate="screen">
            <a:alphaModFix amt="16000"/>
            <a:extLst>
              <a:ext uri="{28A0092B-C50C-407E-A947-70E740481C1C}">
                <a14:useLocalDpi xmlns:a14="http://schemas.microsoft.com/office/drawing/2010/main"/>
              </a:ext>
            </a:extLst>
          </a:blip>
          <a:srcRect/>
          <a:stretch/>
        </p:blipFill>
        <p:spPr>
          <a:xfrm flipH="1">
            <a:off x="5149029" y="2289839"/>
            <a:ext cx="4020091" cy="2880000"/>
          </a:xfrm>
          <a:prstGeom prst="rect">
            <a:avLst/>
          </a:prstGeom>
        </p:spPr>
      </p:pic>
      <p:cxnSp>
        <p:nvCxnSpPr>
          <p:cNvPr id="32" name="Straight Connector 31"/>
          <p:cNvCxnSpPr/>
          <p:nvPr userDrawn="1"/>
        </p:nvCxnSpPr>
        <p:spPr>
          <a:xfrm>
            <a:off x="343365" y="470176"/>
            <a:ext cx="8460000" cy="0"/>
          </a:xfrm>
          <a:prstGeom prst="line">
            <a:avLst/>
          </a:prstGeom>
          <a:ln w="6350" cmpd="sng">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343365" y="4801146"/>
            <a:ext cx="8460000" cy="0"/>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sp>
        <p:nvSpPr>
          <p:cNvPr id="67"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rgbClr val="FFFFFF"/>
                </a:solidFill>
                <a:latin typeface="+mn-lt"/>
              </a:defRPr>
            </a:lvl1pPr>
          </a:lstStyle>
          <a:p>
            <a:fld id="{19AB4E72-7858-48F1-A40D-12FF09E4BFB8}" type="slidenum">
              <a:rPr lang="en-GB" smtClean="0"/>
              <a:pPr/>
              <a:t>‹Nº›</a:t>
            </a:fld>
            <a:endParaRPr lang="en-GB"/>
          </a:p>
        </p:txBody>
      </p:sp>
      <p:sp>
        <p:nvSpPr>
          <p:cNvPr id="36" name="Title 1"/>
          <p:cNvSpPr>
            <a:spLocks noGrp="1"/>
          </p:cNvSpPr>
          <p:nvPr>
            <p:ph type="ctrTitle" hasCustomPrompt="1"/>
          </p:nvPr>
        </p:nvSpPr>
        <p:spPr>
          <a:xfrm>
            <a:off x="343365" y="2867487"/>
            <a:ext cx="8460000" cy="443198"/>
          </a:xfrm>
          <a:prstGeom prst="rect">
            <a:avLst/>
          </a:prstGeom>
        </p:spPr>
        <p:txBody>
          <a:bodyPr lIns="0" tIns="0" rIns="0" bIns="0" anchor="b"/>
          <a:lstStyle>
            <a:lvl1pPr>
              <a:lnSpc>
                <a:spcPct val="90000"/>
              </a:lnSpc>
              <a:defRPr sz="3200" b="0">
                <a:solidFill>
                  <a:schemeClr val="bg1"/>
                </a:solidFill>
              </a:defRPr>
            </a:lvl1pPr>
          </a:lstStyle>
          <a:p>
            <a:r>
              <a:rPr lang="en-US" dirty="0" smtClean="0"/>
              <a:t>Click to edit Master title Style</a:t>
            </a:r>
            <a:endParaRPr lang="en-US" dirty="0"/>
          </a:p>
        </p:txBody>
      </p:sp>
      <p:sp>
        <p:nvSpPr>
          <p:cNvPr id="37" name="Subtitle 2"/>
          <p:cNvSpPr>
            <a:spLocks noGrp="1"/>
          </p:cNvSpPr>
          <p:nvPr>
            <p:ph type="subTitle" idx="1" hasCustomPrompt="1"/>
          </p:nvPr>
        </p:nvSpPr>
        <p:spPr>
          <a:xfrm>
            <a:off x="343364" y="3474100"/>
            <a:ext cx="8460000" cy="202165"/>
          </a:xfrm>
          <a:prstGeom prst="rect">
            <a:avLst/>
          </a:prstGeom>
        </p:spPr>
        <p:txBody>
          <a:bodyPr lIns="0" tIns="0" rIns="0" bIns="0">
            <a:noAutofit/>
          </a:bodyPr>
          <a:lstStyle>
            <a:lvl1pPr marL="0" indent="0" algn="l">
              <a:buNone/>
              <a:defRPr sz="1400">
                <a:solidFill>
                  <a:schemeClr val="tx2"/>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cxnSp>
        <p:nvCxnSpPr>
          <p:cNvPr id="38" name="Straight Connector 37"/>
          <p:cNvCxnSpPr/>
          <p:nvPr userDrawn="1"/>
        </p:nvCxnSpPr>
        <p:spPr>
          <a:xfrm>
            <a:off x="346086" y="3395058"/>
            <a:ext cx="8460000" cy="0"/>
          </a:xfrm>
          <a:prstGeom prst="line">
            <a:avLst/>
          </a:prstGeom>
          <a:ln w="12700"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73" name="Text Placeholder 2"/>
          <p:cNvSpPr>
            <a:spLocks noGrp="1"/>
          </p:cNvSpPr>
          <p:nvPr>
            <p:ph type="body" sz="quarter" idx="25" hasCustomPrompt="1"/>
          </p:nvPr>
        </p:nvSpPr>
        <p:spPr>
          <a:xfrm>
            <a:off x="3342796" y="4807465"/>
            <a:ext cx="1160462" cy="341313"/>
          </a:xfrm>
          <a:prstGeom prst="rect">
            <a:avLst/>
          </a:prstGeom>
        </p:spPr>
        <p:txBody>
          <a:bodyPr anchor="ctr"/>
          <a:lstStyle>
            <a:lvl1pPr marL="0" indent="0" algn="ctr">
              <a:buNone/>
              <a:defRPr sz="800">
                <a:solidFill>
                  <a:schemeClr val="bg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pic>
        <p:nvPicPr>
          <p:cNvPr id="74" name="Picture 7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68466" y="4829728"/>
            <a:ext cx="288000" cy="288000"/>
          </a:xfrm>
          <a:prstGeom prst="rect">
            <a:avLst/>
          </a:prstGeom>
        </p:spPr>
      </p:pic>
      <p:grpSp>
        <p:nvGrpSpPr>
          <p:cNvPr id="75" name="Group 74"/>
          <p:cNvGrpSpPr/>
          <p:nvPr userDrawn="1"/>
        </p:nvGrpSpPr>
        <p:grpSpPr>
          <a:xfrm>
            <a:off x="6226041" y="4843403"/>
            <a:ext cx="1123200" cy="262117"/>
            <a:chOff x="7686782" y="4354553"/>
            <a:chExt cx="1123200" cy="262117"/>
          </a:xfrm>
          <a:solidFill>
            <a:schemeClr val="bg1"/>
          </a:solidFill>
        </p:grpSpPr>
        <p:sp>
          <p:nvSpPr>
            <p:cNvPr id="76" name="Freeform 75"/>
            <p:cNvSpPr>
              <a:spLocks/>
            </p:cNvSpPr>
            <p:nvPr/>
          </p:nvSpPr>
          <p:spPr bwMode="auto">
            <a:xfrm>
              <a:off x="8637817" y="4415076"/>
              <a:ext cx="103629" cy="66531"/>
            </a:xfrm>
            <a:custGeom>
              <a:avLst/>
              <a:gdLst>
                <a:gd name="T0" fmla="*/ 50 w 62"/>
                <a:gd name="T1" fmla="*/ 33 h 42"/>
                <a:gd name="T2" fmla="*/ 39 w 62"/>
                <a:gd name="T3" fmla="*/ 40 h 42"/>
                <a:gd name="T4" fmla="*/ 31 w 62"/>
                <a:gd name="T5" fmla="*/ 13 h 42"/>
                <a:gd name="T6" fmla="*/ 30 w 62"/>
                <a:gd name="T7" fmla="*/ 13 h 42"/>
                <a:gd name="T8" fmla="*/ 24 w 62"/>
                <a:gd name="T9" fmla="*/ 33 h 42"/>
                <a:gd name="T10" fmla="*/ 14 w 62"/>
                <a:gd name="T11" fmla="*/ 40 h 42"/>
                <a:gd name="T12" fmla="*/ 0 w 62"/>
                <a:gd name="T13" fmla="*/ 0 h 42"/>
                <a:gd name="T14" fmla="*/ 10 w 62"/>
                <a:gd name="T15" fmla="*/ 0 h 42"/>
                <a:gd name="T16" fmla="*/ 18 w 62"/>
                <a:gd name="T17" fmla="*/ 27 h 42"/>
                <a:gd name="T18" fmla="*/ 18 w 62"/>
                <a:gd name="T19" fmla="*/ 27 h 42"/>
                <a:gd name="T20" fmla="*/ 27 w 62"/>
                <a:gd name="T21" fmla="*/ 0 h 42"/>
                <a:gd name="T22" fmla="*/ 35 w 62"/>
                <a:gd name="T23" fmla="*/ 0 h 42"/>
                <a:gd name="T24" fmla="*/ 43 w 62"/>
                <a:gd name="T25" fmla="*/ 27 h 42"/>
                <a:gd name="T26" fmla="*/ 44 w 62"/>
                <a:gd name="T27" fmla="*/ 27 h 42"/>
                <a:gd name="T28" fmla="*/ 52 w 62"/>
                <a:gd name="T29" fmla="*/ 0 h 42"/>
                <a:gd name="T30" fmla="*/ 62 w 62"/>
                <a:gd name="T31" fmla="*/ 0 h 42"/>
                <a:gd name="T32" fmla="*/ 50 w 62"/>
                <a:gd name="T33" fmla="*/ 3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 h="42">
                  <a:moveTo>
                    <a:pt x="50" y="33"/>
                  </a:moveTo>
                  <a:cubicBezTo>
                    <a:pt x="47" y="42"/>
                    <a:pt x="39" y="40"/>
                    <a:pt x="39" y="40"/>
                  </a:cubicBezTo>
                  <a:cubicBezTo>
                    <a:pt x="31" y="13"/>
                    <a:pt x="31" y="13"/>
                    <a:pt x="31" y="13"/>
                  </a:cubicBezTo>
                  <a:cubicBezTo>
                    <a:pt x="30" y="13"/>
                    <a:pt x="30" y="13"/>
                    <a:pt x="30" y="13"/>
                  </a:cubicBezTo>
                  <a:cubicBezTo>
                    <a:pt x="30" y="13"/>
                    <a:pt x="26" y="26"/>
                    <a:pt x="24" y="33"/>
                  </a:cubicBezTo>
                  <a:cubicBezTo>
                    <a:pt x="21" y="42"/>
                    <a:pt x="14" y="40"/>
                    <a:pt x="14" y="40"/>
                  </a:cubicBezTo>
                  <a:cubicBezTo>
                    <a:pt x="0" y="0"/>
                    <a:pt x="0" y="0"/>
                    <a:pt x="0" y="0"/>
                  </a:cubicBezTo>
                  <a:cubicBezTo>
                    <a:pt x="10" y="0"/>
                    <a:pt x="10" y="0"/>
                    <a:pt x="10" y="0"/>
                  </a:cubicBezTo>
                  <a:cubicBezTo>
                    <a:pt x="18" y="27"/>
                    <a:pt x="18" y="27"/>
                    <a:pt x="18" y="27"/>
                  </a:cubicBezTo>
                  <a:cubicBezTo>
                    <a:pt x="18" y="27"/>
                    <a:pt x="18" y="27"/>
                    <a:pt x="18" y="27"/>
                  </a:cubicBezTo>
                  <a:cubicBezTo>
                    <a:pt x="27" y="0"/>
                    <a:pt x="27" y="0"/>
                    <a:pt x="27" y="0"/>
                  </a:cubicBezTo>
                  <a:cubicBezTo>
                    <a:pt x="35" y="0"/>
                    <a:pt x="35" y="0"/>
                    <a:pt x="35" y="0"/>
                  </a:cubicBezTo>
                  <a:cubicBezTo>
                    <a:pt x="43" y="27"/>
                    <a:pt x="43" y="27"/>
                    <a:pt x="43" y="27"/>
                  </a:cubicBezTo>
                  <a:cubicBezTo>
                    <a:pt x="44" y="27"/>
                    <a:pt x="44" y="27"/>
                    <a:pt x="44" y="27"/>
                  </a:cubicBezTo>
                  <a:cubicBezTo>
                    <a:pt x="52" y="0"/>
                    <a:pt x="52" y="0"/>
                    <a:pt x="52" y="0"/>
                  </a:cubicBezTo>
                  <a:cubicBezTo>
                    <a:pt x="62" y="0"/>
                    <a:pt x="62" y="0"/>
                    <a:pt x="62" y="0"/>
                  </a:cubicBezTo>
                  <a:cubicBezTo>
                    <a:pt x="62" y="0"/>
                    <a:pt x="52" y="26"/>
                    <a:pt x="5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Freeform 76"/>
            <p:cNvSpPr>
              <a:spLocks noEditPoints="1"/>
            </p:cNvSpPr>
            <p:nvPr/>
          </p:nvSpPr>
          <p:spPr bwMode="auto">
            <a:xfrm>
              <a:off x="8445631" y="4383257"/>
              <a:ext cx="65239" cy="93677"/>
            </a:xfrm>
            <a:custGeom>
              <a:avLst/>
              <a:gdLst>
                <a:gd name="T0" fmla="*/ 0 w 39"/>
                <a:gd name="T1" fmla="*/ 0 h 59"/>
                <a:gd name="T2" fmla="*/ 0 w 39"/>
                <a:gd name="T3" fmla="*/ 59 h 59"/>
                <a:gd name="T4" fmla="*/ 18 w 39"/>
                <a:gd name="T5" fmla="*/ 59 h 59"/>
                <a:gd name="T6" fmla="*/ 39 w 39"/>
                <a:gd name="T7" fmla="*/ 42 h 59"/>
                <a:gd name="T8" fmla="*/ 29 w 39"/>
                <a:gd name="T9" fmla="*/ 28 h 59"/>
                <a:gd name="T10" fmla="*/ 28 w 39"/>
                <a:gd name="T11" fmla="*/ 27 h 59"/>
                <a:gd name="T12" fmla="*/ 29 w 39"/>
                <a:gd name="T13" fmla="*/ 27 h 59"/>
                <a:gd name="T14" fmla="*/ 35 w 39"/>
                <a:gd name="T15" fmla="*/ 15 h 59"/>
                <a:gd name="T16" fmla="*/ 19 w 39"/>
                <a:gd name="T17" fmla="*/ 0 h 59"/>
                <a:gd name="T18" fmla="*/ 0 w 39"/>
                <a:gd name="T19" fmla="*/ 0 h 59"/>
                <a:gd name="T20" fmla="*/ 10 w 39"/>
                <a:gd name="T21" fmla="*/ 8 h 59"/>
                <a:gd name="T22" fmla="*/ 16 w 39"/>
                <a:gd name="T23" fmla="*/ 8 h 59"/>
                <a:gd name="T24" fmla="*/ 25 w 39"/>
                <a:gd name="T25" fmla="*/ 16 h 59"/>
                <a:gd name="T26" fmla="*/ 17 w 39"/>
                <a:gd name="T27" fmla="*/ 25 h 59"/>
                <a:gd name="T28" fmla="*/ 10 w 39"/>
                <a:gd name="T29" fmla="*/ 25 h 59"/>
                <a:gd name="T30" fmla="*/ 10 w 39"/>
                <a:gd name="T31" fmla="*/ 8 h 59"/>
                <a:gd name="T32" fmla="*/ 10 w 39"/>
                <a:gd name="T33" fmla="*/ 33 h 59"/>
                <a:gd name="T34" fmla="*/ 18 w 39"/>
                <a:gd name="T35" fmla="*/ 33 h 59"/>
                <a:gd name="T36" fmla="*/ 29 w 39"/>
                <a:gd name="T37" fmla="*/ 42 h 59"/>
                <a:gd name="T38" fmla="*/ 17 w 39"/>
                <a:gd name="T39" fmla="*/ 51 h 59"/>
                <a:gd name="T40" fmla="*/ 10 w 39"/>
                <a:gd name="T41" fmla="*/ 51 h 59"/>
                <a:gd name="T42" fmla="*/ 10 w 39"/>
                <a:gd name="T43"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9">
                  <a:moveTo>
                    <a:pt x="0" y="0"/>
                  </a:moveTo>
                  <a:cubicBezTo>
                    <a:pt x="0" y="1"/>
                    <a:pt x="0" y="59"/>
                    <a:pt x="0" y="59"/>
                  </a:cubicBezTo>
                  <a:cubicBezTo>
                    <a:pt x="1" y="59"/>
                    <a:pt x="18" y="59"/>
                    <a:pt x="18" y="59"/>
                  </a:cubicBezTo>
                  <a:cubicBezTo>
                    <a:pt x="33" y="59"/>
                    <a:pt x="39" y="51"/>
                    <a:pt x="39" y="42"/>
                  </a:cubicBezTo>
                  <a:cubicBezTo>
                    <a:pt x="39" y="35"/>
                    <a:pt x="36" y="29"/>
                    <a:pt x="29" y="28"/>
                  </a:cubicBezTo>
                  <a:cubicBezTo>
                    <a:pt x="28" y="27"/>
                    <a:pt x="28" y="27"/>
                    <a:pt x="28" y="27"/>
                  </a:cubicBezTo>
                  <a:cubicBezTo>
                    <a:pt x="29" y="27"/>
                    <a:pt x="29" y="27"/>
                    <a:pt x="29" y="27"/>
                  </a:cubicBezTo>
                  <a:cubicBezTo>
                    <a:pt x="33" y="24"/>
                    <a:pt x="35" y="20"/>
                    <a:pt x="35" y="15"/>
                  </a:cubicBezTo>
                  <a:cubicBezTo>
                    <a:pt x="35" y="8"/>
                    <a:pt x="30" y="0"/>
                    <a:pt x="19" y="0"/>
                  </a:cubicBezTo>
                  <a:cubicBezTo>
                    <a:pt x="19" y="0"/>
                    <a:pt x="1" y="0"/>
                    <a:pt x="0" y="0"/>
                  </a:cubicBezTo>
                  <a:close/>
                  <a:moveTo>
                    <a:pt x="10" y="8"/>
                  </a:moveTo>
                  <a:cubicBezTo>
                    <a:pt x="16" y="8"/>
                    <a:pt x="16" y="8"/>
                    <a:pt x="16" y="8"/>
                  </a:cubicBezTo>
                  <a:cubicBezTo>
                    <a:pt x="22" y="8"/>
                    <a:pt x="25" y="11"/>
                    <a:pt x="25" y="16"/>
                  </a:cubicBezTo>
                  <a:cubicBezTo>
                    <a:pt x="25" y="21"/>
                    <a:pt x="21" y="25"/>
                    <a:pt x="17" y="25"/>
                  </a:cubicBezTo>
                  <a:cubicBezTo>
                    <a:pt x="10" y="25"/>
                    <a:pt x="10" y="25"/>
                    <a:pt x="10" y="25"/>
                  </a:cubicBezTo>
                  <a:lnTo>
                    <a:pt x="10" y="8"/>
                  </a:lnTo>
                  <a:close/>
                  <a:moveTo>
                    <a:pt x="10" y="33"/>
                  </a:moveTo>
                  <a:cubicBezTo>
                    <a:pt x="18" y="33"/>
                    <a:pt x="18" y="33"/>
                    <a:pt x="18" y="33"/>
                  </a:cubicBezTo>
                  <a:cubicBezTo>
                    <a:pt x="25" y="33"/>
                    <a:pt x="29" y="37"/>
                    <a:pt x="29" y="42"/>
                  </a:cubicBezTo>
                  <a:cubicBezTo>
                    <a:pt x="29" y="48"/>
                    <a:pt x="25" y="51"/>
                    <a:pt x="17" y="51"/>
                  </a:cubicBezTo>
                  <a:cubicBezTo>
                    <a:pt x="10" y="51"/>
                    <a:pt x="10" y="51"/>
                    <a:pt x="10" y="51"/>
                  </a:cubicBezTo>
                  <a:lnTo>
                    <a:pt x="1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77"/>
            <p:cNvSpPr>
              <a:spLocks noEditPoints="1"/>
            </p:cNvSpPr>
            <p:nvPr/>
          </p:nvSpPr>
          <p:spPr bwMode="auto">
            <a:xfrm>
              <a:off x="8567631" y="4413518"/>
              <a:ext cx="66888" cy="64973"/>
            </a:xfrm>
            <a:custGeom>
              <a:avLst/>
              <a:gdLst>
                <a:gd name="T0" fmla="*/ 34 w 40"/>
                <a:gd name="T1" fmla="*/ 36 h 41"/>
                <a:gd name="T2" fmla="*/ 20 w 40"/>
                <a:gd name="T3" fmla="*/ 41 h 41"/>
                <a:gd name="T4" fmla="*/ 7 w 40"/>
                <a:gd name="T5" fmla="*/ 36 h 41"/>
                <a:gd name="T6" fmla="*/ 0 w 40"/>
                <a:gd name="T7" fmla="*/ 21 h 41"/>
                <a:gd name="T8" fmla="*/ 6 w 40"/>
                <a:gd name="T9" fmla="*/ 6 h 41"/>
                <a:gd name="T10" fmla="*/ 20 w 40"/>
                <a:gd name="T11" fmla="*/ 0 h 41"/>
                <a:gd name="T12" fmla="*/ 35 w 40"/>
                <a:gd name="T13" fmla="*/ 6 h 41"/>
                <a:gd name="T14" fmla="*/ 40 w 40"/>
                <a:gd name="T15" fmla="*/ 20 h 41"/>
                <a:gd name="T16" fmla="*/ 34 w 40"/>
                <a:gd name="T17" fmla="*/ 36 h 41"/>
                <a:gd name="T18" fmla="*/ 20 w 40"/>
                <a:gd name="T19" fmla="*/ 8 h 41"/>
                <a:gd name="T20" fmla="*/ 11 w 40"/>
                <a:gd name="T21" fmla="*/ 21 h 41"/>
                <a:gd name="T22" fmla="*/ 20 w 40"/>
                <a:gd name="T23" fmla="*/ 33 h 41"/>
                <a:gd name="T24" fmla="*/ 30 w 40"/>
                <a:gd name="T25" fmla="*/ 21 h 41"/>
                <a:gd name="T26" fmla="*/ 20 w 40"/>
                <a:gd name="T27" fmla="*/ 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4" y="36"/>
                  </a:moveTo>
                  <a:cubicBezTo>
                    <a:pt x="31" y="39"/>
                    <a:pt x="26" y="41"/>
                    <a:pt x="20" y="41"/>
                  </a:cubicBezTo>
                  <a:cubicBezTo>
                    <a:pt x="15" y="41"/>
                    <a:pt x="10" y="39"/>
                    <a:pt x="7" y="36"/>
                  </a:cubicBezTo>
                  <a:cubicBezTo>
                    <a:pt x="3" y="33"/>
                    <a:pt x="0" y="27"/>
                    <a:pt x="0" y="21"/>
                  </a:cubicBezTo>
                  <a:cubicBezTo>
                    <a:pt x="0" y="15"/>
                    <a:pt x="2" y="9"/>
                    <a:pt x="6" y="6"/>
                  </a:cubicBezTo>
                  <a:cubicBezTo>
                    <a:pt x="10" y="2"/>
                    <a:pt x="14" y="0"/>
                    <a:pt x="20" y="0"/>
                  </a:cubicBezTo>
                  <a:cubicBezTo>
                    <a:pt x="26" y="0"/>
                    <a:pt x="31" y="2"/>
                    <a:pt x="35" y="6"/>
                  </a:cubicBezTo>
                  <a:cubicBezTo>
                    <a:pt x="38" y="9"/>
                    <a:pt x="40" y="14"/>
                    <a:pt x="40" y="20"/>
                  </a:cubicBezTo>
                  <a:cubicBezTo>
                    <a:pt x="40" y="26"/>
                    <a:pt x="38" y="32"/>
                    <a:pt x="34" y="36"/>
                  </a:cubicBezTo>
                  <a:close/>
                  <a:moveTo>
                    <a:pt x="20" y="8"/>
                  </a:moveTo>
                  <a:cubicBezTo>
                    <a:pt x="14" y="8"/>
                    <a:pt x="11" y="13"/>
                    <a:pt x="11" y="21"/>
                  </a:cubicBezTo>
                  <a:cubicBezTo>
                    <a:pt x="11" y="28"/>
                    <a:pt x="14" y="33"/>
                    <a:pt x="20" y="33"/>
                  </a:cubicBezTo>
                  <a:cubicBezTo>
                    <a:pt x="27" y="33"/>
                    <a:pt x="30" y="28"/>
                    <a:pt x="30" y="21"/>
                  </a:cubicBezTo>
                  <a:cubicBezTo>
                    <a:pt x="30" y="13"/>
                    <a:pt x="26" y="8"/>
                    <a:pt x="2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78"/>
            <p:cNvSpPr>
              <a:spLocks/>
            </p:cNvSpPr>
            <p:nvPr/>
          </p:nvSpPr>
          <p:spPr bwMode="auto">
            <a:xfrm>
              <a:off x="8751573" y="4413518"/>
              <a:ext cx="58409" cy="64973"/>
            </a:xfrm>
            <a:custGeom>
              <a:avLst/>
              <a:gdLst>
                <a:gd name="T0" fmla="*/ 25 w 35"/>
                <a:gd name="T1" fmla="*/ 41 h 41"/>
                <a:gd name="T2" fmla="*/ 25 w 35"/>
                <a:gd name="T3" fmla="*/ 17 h 41"/>
                <a:gd name="T4" fmla="*/ 20 w 35"/>
                <a:gd name="T5" fmla="*/ 9 h 41"/>
                <a:gd name="T6" fmla="*/ 10 w 35"/>
                <a:gd name="T7" fmla="*/ 13 h 41"/>
                <a:gd name="T8" fmla="*/ 10 w 35"/>
                <a:gd name="T9" fmla="*/ 34 h 41"/>
                <a:gd name="T10" fmla="*/ 0 w 35"/>
                <a:gd name="T11" fmla="*/ 41 h 41"/>
                <a:gd name="T12" fmla="*/ 0 w 35"/>
                <a:gd name="T13" fmla="*/ 1 h 41"/>
                <a:gd name="T14" fmla="*/ 8 w 35"/>
                <a:gd name="T15" fmla="*/ 1 h 41"/>
                <a:gd name="T16" fmla="*/ 9 w 35"/>
                <a:gd name="T17" fmla="*/ 5 h 41"/>
                <a:gd name="T18" fmla="*/ 23 w 35"/>
                <a:gd name="T19" fmla="*/ 0 h 41"/>
                <a:gd name="T20" fmla="*/ 35 w 35"/>
                <a:gd name="T21" fmla="*/ 14 h 41"/>
                <a:gd name="T22" fmla="*/ 35 w 35"/>
                <a:gd name="T23" fmla="*/ 34 h 41"/>
                <a:gd name="T24" fmla="*/ 25 w 35"/>
                <a:gd name="T25"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41">
                  <a:moveTo>
                    <a:pt x="25" y="41"/>
                  </a:moveTo>
                  <a:cubicBezTo>
                    <a:pt x="25" y="17"/>
                    <a:pt x="25" y="17"/>
                    <a:pt x="25" y="17"/>
                  </a:cubicBezTo>
                  <a:cubicBezTo>
                    <a:pt x="25" y="13"/>
                    <a:pt x="25" y="9"/>
                    <a:pt x="20" y="9"/>
                  </a:cubicBezTo>
                  <a:cubicBezTo>
                    <a:pt x="16" y="9"/>
                    <a:pt x="13" y="10"/>
                    <a:pt x="10" y="13"/>
                  </a:cubicBezTo>
                  <a:cubicBezTo>
                    <a:pt x="10" y="13"/>
                    <a:pt x="10" y="26"/>
                    <a:pt x="10" y="34"/>
                  </a:cubicBezTo>
                  <a:cubicBezTo>
                    <a:pt x="10" y="41"/>
                    <a:pt x="0" y="41"/>
                    <a:pt x="0" y="41"/>
                  </a:cubicBezTo>
                  <a:cubicBezTo>
                    <a:pt x="0" y="1"/>
                    <a:pt x="0" y="1"/>
                    <a:pt x="0" y="1"/>
                  </a:cubicBezTo>
                  <a:cubicBezTo>
                    <a:pt x="8" y="1"/>
                    <a:pt x="8" y="1"/>
                    <a:pt x="8" y="1"/>
                  </a:cubicBezTo>
                  <a:cubicBezTo>
                    <a:pt x="9" y="5"/>
                    <a:pt x="9" y="5"/>
                    <a:pt x="9" y="5"/>
                  </a:cubicBezTo>
                  <a:cubicBezTo>
                    <a:pt x="13" y="2"/>
                    <a:pt x="18" y="0"/>
                    <a:pt x="23" y="0"/>
                  </a:cubicBezTo>
                  <a:cubicBezTo>
                    <a:pt x="29" y="0"/>
                    <a:pt x="35" y="3"/>
                    <a:pt x="35" y="14"/>
                  </a:cubicBezTo>
                  <a:cubicBezTo>
                    <a:pt x="35" y="14"/>
                    <a:pt x="35" y="26"/>
                    <a:pt x="35" y="34"/>
                  </a:cubicBezTo>
                  <a:cubicBezTo>
                    <a:pt x="35" y="41"/>
                    <a:pt x="25" y="41"/>
                    <a:pt x="2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79"/>
            <p:cNvSpPr>
              <a:spLocks/>
            </p:cNvSpPr>
            <p:nvPr/>
          </p:nvSpPr>
          <p:spPr bwMode="auto">
            <a:xfrm>
              <a:off x="8522411" y="4413518"/>
              <a:ext cx="43571" cy="64973"/>
            </a:xfrm>
            <a:custGeom>
              <a:avLst/>
              <a:gdLst>
                <a:gd name="T0" fmla="*/ 23 w 26"/>
                <a:gd name="T1" fmla="*/ 10 h 41"/>
                <a:gd name="T2" fmla="*/ 18 w 26"/>
                <a:gd name="T3" fmla="*/ 9 h 41"/>
                <a:gd name="T4" fmla="*/ 11 w 26"/>
                <a:gd name="T5" fmla="*/ 12 h 41"/>
                <a:gd name="T6" fmla="*/ 11 w 26"/>
                <a:gd name="T7" fmla="*/ 34 h 41"/>
                <a:gd name="T8" fmla="*/ 0 w 26"/>
                <a:gd name="T9" fmla="*/ 41 h 41"/>
                <a:gd name="T10" fmla="*/ 0 w 26"/>
                <a:gd name="T11" fmla="*/ 1 h 41"/>
                <a:gd name="T12" fmla="*/ 9 w 26"/>
                <a:gd name="T13" fmla="*/ 1 h 41"/>
                <a:gd name="T14" fmla="*/ 10 w 26"/>
                <a:gd name="T15" fmla="*/ 5 h 41"/>
                <a:gd name="T16" fmla="*/ 21 w 26"/>
                <a:gd name="T17" fmla="*/ 0 h 41"/>
                <a:gd name="T18" fmla="*/ 26 w 26"/>
                <a:gd name="T19" fmla="*/ 2 h 41"/>
                <a:gd name="T20" fmla="*/ 23 w 26"/>
                <a:gd name="T21" fmla="*/ 1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41">
                  <a:moveTo>
                    <a:pt x="23" y="10"/>
                  </a:moveTo>
                  <a:cubicBezTo>
                    <a:pt x="21" y="9"/>
                    <a:pt x="19" y="9"/>
                    <a:pt x="18" y="9"/>
                  </a:cubicBezTo>
                  <a:cubicBezTo>
                    <a:pt x="16" y="9"/>
                    <a:pt x="13" y="10"/>
                    <a:pt x="11" y="12"/>
                  </a:cubicBezTo>
                  <a:cubicBezTo>
                    <a:pt x="11" y="12"/>
                    <a:pt x="11" y="26"/>
                    <a:pt x="11" y="34"/>
                  </a:cubicBezTo>
                  <a:cubicBezTo>
                    <a:pt x="11" y="41"/>
                    <a:pt x="0" y="41"/>
                    <a:pt x="0" y="41"/>
                  </a:cubicBezTo>
                  <a:cubicBezTo>
                    <a:pt x="0" y="1"/>
                    <a:pt x="0" y="1"/>
                    <a:pt x="0" y="1"/>
                  </a:cubicBezTo>
                  <a:cubicBezTo>
                    <a:pt x="9" y="1"/>
                    <a:pt x="9" y="1"/>
                    <a:pt x="9" y="1"/>
                  </a:cubicBezTo>
                  <a:cubicBezTo>
                    <a:pt x="10" y="5"/>
                    <a:pt x="10" y="5"/>
                    <a:pt x="10" y="5"/>
                  </a:cubicBezTo>
                  <a:cubicBezTo>
                    <a:pt x="14" y="2"/>
                    <a:pt x="17" y="0"/>
                    <a:pt x="21" y="0"/>
                  </a:cubicBezTo>
                  <a:cubicBezTo>
                    <a:pt x="23" y="0"/>
                    <a:pt x="25" y="1"/>
                    <a:pt x="26" y="2"/>
                  </a:cubicBezTo>
                  <a:lnTo>
                    <a:pt x="23"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80"/>
            <p:cNvSpPr>
              <a:spLocks/>
            </p:cNvSpPr>
            <p:nvPr/>
          </p:nvSpPr>
          <p:spPr bwMode="auto">
            <a:xfrm>
              <a:off x="7787114" y="4354553"/>
              <a:ext cx="101745" cy="147747"/>
            </a:xfrm>
            <a:custGeom>
              <a:avLst/>
              <a:gdLst>
                <a:gd name="T0" fmla="*/ 0 w 61"/>
                <a:gd name="T1" fmla="*/ 11 h 93"/>
                <a:gd name="T2" fmla="*/ 1 w 61"/>
                <a:gd name="T3" fmla="*/ 10 h 93"/>
                <a:gd name="T4" fmla="*/ 31 w 61"/>
                <a:gd name="T5" fmla="*/ 9 h 93"/>
                <a:gd name="T6" fmla="*/ 37 w 61"/>
                <a:gd name="T7" fmla="*/ 24 h 93"/>
                <a:gd name="T8" fmla="*/ 52 w 61"/>
                <a:gd name="T9" fmla="*/ 30 h 93"/>
                <a:gd name="T10" fmla="*/ 51 w 61"/>
                <a:gd name="T11" fmla="*/ 60 h 93"/>
                <a:gd name="T12" fmla="*/ 18 w 61"/>
                <a:gd name="T13" fmla="*/ 93 h 93"/>
                <a:gd name="T14" fmla="*/ 8 w 61"/>
                <a:gd name="T15" fmla="*/ 83 h 93"/>
                <a:gd name="T16" fmla="*/ 41 w 61"/>
                <a:gd name="T17" fmla="*/ 50 h 93"/>
                <a:gd name="T18" fmla="*/ 42 w 61"/>
                <a:gd name="T19" fmla="*/ 39 h 93"/>
                <a:gd name="T20" fmla="*/ 31 w 61"/>
                <a:gd name="T21" fmla="*/ 40 h 93"/>
                <a:gd name="T22" fmla="*/ 0 w 61"/>
                <a:gd name="T23" fmla="*/ 70 h 93"/>
                <a:gd name="T24" fmla="*/ 0 w 61"/>
                <a:gd name="T25" fmla="*/ 50 h 93"/>
                <a:gd name="T26" fmla="*/ 21 w 61"/>
                <a:gd name="T27" fmla="*/ 30 h 93"/>
                <a:gd name="T28" fmla="*/ 22 w 61"/>
                <a:gd name="T29" fmla="*/ 19 h 93"/>
                <a:gd name="T30" fmla="*/ 11 w 61"/>
                <a:gd name="T31" fmla="*/ 20 h 93"/>
                <a:gd name="T32" fmla="*/ 0 w 61"/>
                <a:gd name="T33" fmla="*/ 30 h 93"/>
                <a:gd name="T34" fmla="*/ 0 w 61"/>
                <a:gd name="T35" fmla="*/ 1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 h="93">
                  <a:moveTo>
                    <a:pt x="0" y="11"/>
                  </a:moveTo>
                  <a:cubicBezTo>
                    <a:pt x="1" y="10"/>
                    <a:pt x="1" y="10"/>
                    <a:pt x="1" y="10"/>
                  </a:cubicBezTo>
                  <a:cubicBezTo>
                    <a:pt x="11" y="0"/>
                    <a:pt x="23" y="1"/>
                    <a:pt x="31" y="9"/>
                  </a:cubicBezTo>
                  <a:cubicBezTo>
                    <a:pt x="37" y="15"/>
                    <a:pt x="37" y="21"/>
                    <a:pt x="37" y="24"/>
                  </a:cubicBezTo>
                  <a:cubicBezTo>
                    <a:pt x="40" y="24"/>
                    <a:pt x="46" y="24"/>
                    <a:pt x="52" y="30"/>
                  </a:cubicBezTo>
                  <a:cubicBezTo>
                    <a:pt x="60" y="38"/>
                    <a:pt x="61" y="50"/>
                    <a:pt x="51" y="60"/>
                  </a:cubicBezTo>
                  <a:cubicBezTo>
                    <a:pt x="18" y="93"/>
                    <a:pt x="18" y="93"/>
                    <a:pt x="18" y="93"/>
                  </a:cubicBezTo>
                  <a:cubicBezTo>
                    <a:pt x="8" y="83"/>
                    <a:pt x="8" y="83"/>
                    <a:pt x="8" y="83"/>
                  </a:cubicBezTo>
                  <a:cubicBezTo>
                    <a:pt x="41" y="50"/>
                    <a:pt x="41" y="50"/>
                    <a:pt x="41" y="50"/>
                  </a:cubicBezTo>
                  <a:cubicBezTo>
                    <a:pt x="45" y="46"/>
                    <a:pt x="44" y="42"/>
                    <a:pt x="42" y="39"/>
                  </a:cubicBezTo>
                  <a:cubicBezTo>
                    <a:pt x="39" y="37"/>
                    <a:pt x="35" y="36"/>
                    <a:pt x="31" y="40"/>
                  </a:cubicBezTo>
                  <a:cubicBezTo>
                    <a:pt x="0" y="70"/>
                    <a:pt x="0" y="70"/>
                    <a:pt x="0" y="70"/>
                  </a:cubicBezTo>
                  <a:cubicBezTo>
                    <a:pt x="0" y="50"/>
                    <a:pt x="0" y="50"/>
                    <a:pt x="0" y="50"/>
                  </a:cubicBezTo>
                  <a:cubicBezTo>
                    <a:pt x="21" y="30"/>
                    <a:pt x="21" y="30"/>
                    <a:pt x="21" y="30"/>
                  </a:cubicBezTo>
                  <a:cubicBezTo>
                    <a:pt x="25" y="26"/>
                    <a:pt x="24" y="22"/>
                    <a:pt x="22" y="19"/>
                  </a:cubicBezTo>
                  <a:cubicBezTo>
                    <a:pt x="19" y="17"/>
                    <a:pt x="15" y="16"/>
                    <a:pt x="11" y="20"/>
                  </a:cubicBezTo>
                  <a:cubicBezTo>
                    <a:pt x="0" y="30"/>
                    <a:pt x="0" y="30"/>
                    <a:pt x="0" y="30"/>
                  </a:cubicBezTo>
                  <a:lnTo>
                    <a:pt x="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81"/>
            <p:cNvSpPr>
              <a:spLocks/>
            </p:cNvSpPr>
            <p:nvPr/>
          </p:nvSpPr>
          <p:spPr bwMode="auto">
            <a:xfrm>
              <a:off x="7686782" y="4354553"/>
              <a:ext cx="100332" cy="147747"/>
            </a:xfrm>
            <a:custGeom>
              <a:avLst/>
              <a:gdLst>
                <a:gd name="T0" fmla="*/ 60 w 60"/>
                <a:gd name="T1" fmla="*/ 11 h 93"/>
                <a:gd name="T2" fmla="*/ 60 w 60"/>
                <a:gd name="T3" fmla="*/ 10 h 93"/>
                <a:gd name="T4" fmla="*/ 30 w 60"/>
                <a:gd name="T5" fmla="*/ 9 h 93"/>
                <a:gd name="T6" fmla="*/ 24 w 60"/>
                <a:gd name="T7" fmla="*/ 24 h 93"/>
                <a:gd name="T8" fmla="*/ 9 w 60"/>
                <a:gd name="T9" fmla="*/ 30 h 93"/>
                <a:gd name="T10" fmla="*/ 10 w 60"/>
                <a:gd name="T11" fmla="*/ 60 h 93"/>
                <a:gd name="T12" fmla="*/ 43 w 60"/>
                <a:gd name="T13" fmla="*/ 93 h 93"/>
                <a:gd name="T14" fmla="*/ 53 w 60"/>
                <a:gd name="T15" fmla="*/ 83 h 93"/>
                <a:gd name="T16" fmla="*/ 20 w 60"/>
                <a:gd name="T17" fmla="*/ 50 h 93"/>
                <a:gd name="T18" fmla="*/ 19 w 60"/>
                <a:gd name="T19" fmla="*/ 39 h 93"/>
                <a:gd name="T20" fmla="*/ 30 w 60"/>
                <a:gd name="T21" fmla="*/ 40 h 93"/>
                <a:gd name="T22" fmla="*/ 60 w 60"/>
                <a:gd name="T23" fmla="*/ 70 h 93"/>
                <a:gd name="T24" fmla="*/ 60 w 60"/>
                <a:gd name="T25" fmla="*/ 50 h 93"/>
                <a:gd name="T26" fmla="*/ 40 w 60"/>
                <a:gd name="T27" fmla="*/ 30 h 93"/>
                <a:gd name="T28" fmla="*/ 39 w 60"/>
                <a:gd name="T29" fmla="*/ 19 h 93"/>
                <a:gd name="T30" fmla="*/ 50 w 60"/>
                <a:gd name="T31" fmla="*/ 20 h 93"/>
                <a:gd name="T32" fmla="*/ 60 w 60"/>
                <a:gd name="T33" fmla="*/ 30 h 93"/>
                <a:gd name="T34" fmla="*/ 60 w 60"/>
                <a:gd name="T35" fmla="*/ 1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93">
                  <a:moveTo>
                    <a:pt x="60" y="11"/>
                  </a:moveTo>
                  <a:cubicBezTo>
                    <a:pt x="60" y="10"/>
                    <a:pt x="60" y="10"/>
                    <a:pt x="60" y="10"/>
                  </a:cubicBezTo>
                  <a:cubicBezTo>
                    <a:pt x="50" y="0"/>
                    <a:pt x="37" y="1"/>
                    <a:pt x="30" y="9"/>
                  </a:cubicBezTo>
                  <a:cubicBezTo>
                    <a:pt x="24" y="15"/>
                    <a:pt x="23" y="21"/>
                    <a:pt x="24" y="24"/>
                  </a:cubicBezTo>
                  <a:cubicBezTo>
                    <a:pt x="21" y="24"/>
                    <a:pt x="15" y="24"/>
                    <a:pt x="9" y="30"/>
                  </a:cubicBezTo>
                  <a:cubicBezTo>
                    <a:pt x="1" y="38"/>
                    <a:pt x="0" y="50"/>
                    <a:pt x="10" y="60"/>
                  </a:cubicBezTo>
                  <a:cubicBezTo>
                    <a:pt x="43" y="93"/>
                    <a:pt x="43" y="93"/>
                    <a:pt x="43" y="93"/>
                  </a:cubicBezTo>
                  <a:cubicBezTo>
                    <a:pt x="53" y="83"/>
                    <a:pt x="53" y="83"/>
                    <a:pt x="53" y="83"/>
                  </a:cubicBezTo>
                  <a:cubicBezTo>
                    <a:pt x="20" y="50"/>
                    <a:pt x="20" y="50"/>
                    <a:pt x="20" y="50"/>
                  </a:cubicBezTo>
                  <a:cubicBezTo>
                    <a:pt x="16" y="46"/>
                    <a:pt x="17" y="42"/>
                    <a:pt x="19" y="39"/>
                  </a:cubicBezTo>
                  <a:cubicBezTo>
                    <a:pt x="22" y="37"/>
                    <a:pt x="26" y="36"/>
                    <a:pt x="30" y="40"/>
                  </a:cubicBezTo>
                  <a:cubicBezTo>
                    <a:pt x="60" y="70"/>
                    <a:pt x="60" y="70"/>
                    <a:pt x="60" y="70"/>
                  </a:cubicBezTo>
                  <a:cubicBezTo>
                    <a:pt x="60" y="50"/>
                    <a:pt x="60" y="50"/>
                    <a:pt x="60" y="50"/>
                  </a:cubicBezTo>
                  <a:cubicBezTo>
                    <a:pt x="40" y="30"/>
                    <a:pt x="40" y="30"/>
                    <a:pt x="40" y="30"/>
                  </a:cubicBezTo>
                  <a:cubicBezTo>
                    <a:pt x="36" y="26"/>
                    <a:pt x="37" y="22"/>
                    <a:pt x="39" y="19"/>
                  </a:cubicBezTo>
                  <a:cubicBezTo>
                    <a:pt x="42" y="17"/>
                    <a:pt x="46" y="16"/>
                    <a:pt x="50" y="20"/>
                  </a:cubicBezTo>
                  <a:cubicBezTo>
                    <a:pt x="60" y="30"/>
                    <a:pt x="60" y="30"/>
                    <a:pt x="60" y="30"/>
                  </a:cubicBezTo>
                  <a:lnTo>
                    <a:pt x="60" y="11"/>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83" name="Freeform 82"/>
            <p:cNvSpPr>
              <a:spLocks/>
            </p:cNvSpPr>
            <p:nvPr/>
          </p:nvSpPr>
          <p:spPr bwMode="auto">
            <a:xfrm>
              <a:off x="8141337" y="4415076"/>
              <a:ext cx="103629" cy="66531"/>
            </a:xfrm>
            <a:custGeom>
              <a:avLst/>
              <a:gdLst>
                <a:gd name="T0" fmla="*/ 50 w 62"/>
                <a:gd name="T1" fmla="*/ 33 h 42"/>
                <a:gd name="T2" fmla="*/ 40 w 62"/>
                <a:gd name="T3" fmla="*/ 40 h 42"/>
                <a:gd name="T4" fmla="*/ 31 w 62"/>
                <a:gd name="T5" fmla="*/ 13 h 42"/>
                <a:gd name="T6" fmla="*/ 30 w 62"/>
                <a:gd name="T7" fmla="*/ 13 h 42"/>
                <a:gd name="T8" fmla="*/ 24 w 62"/>
                <a:gd name="T9" fmla="*/ 33 h 42"/>
                <a:gd name="T10" fmla="*/ 14 w 62"/>
                <a:gd name="T11" fmla="*/ 40 h 42"/>
                <a:gd name="T12" fmla="*/ 0 w 62"/>
                <a:gd name="T13" fmla="*/ 0 h 42"/>
                <a:gd name="T14" fmla="*/ 10 w 62"/>
                <a:gd name="T15" fmla="*/ 0 h 42"/>
                <a:gd name="T16" fmla="*/ 18 w 62"/>
                <a:gd name="T17" fmla="*/ 27 h 42"/>
                <a:gd name="T18" fmla="*/ 18 w 62"/>
                <a:gd name="T19" fmla="*/ 27 h 42"/>
                <a:gd name="T20" fmla="*/ 27 w 62"/>
                <a:gd name="T21" fmla="*/ 0 h 42"/>
                <a:gd name="T22" fmla="*/ 35 w 62"/>
                <a:gd name="T23" fmla="*/ 0 h 42"/>
                <a:gd name="T24" fmla="*/ 44 w 62"/>
                <a:gd name="T25" fmla="*/ 27 h 42"/>
                <a:gd name="T26" fmla="*/ 44 w 62"/>
                <a:gd name="T27" fmla="*/ 27 h 42"/>
                <a:gd name="T28" fmla="*/ 52 w 62"/>
                <a:gd name="T29" fmla="*/ 0 h 42"/>
                <a:gd name="T30" fmla="*/ 62 w 62"/>
                <a:gd name="T31" fmla="*/ 0 h 42"/>
                <a:gd name="T32" fmla="*/ 50 w 62"/>
                <a:gd name="T33" fmla="*/ 3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 h="42">
                  <a:moveTo>
                    <a:pt x="50" y="33"/>
                  </a:moveTo>
                  <a:cubicBezTo>
                    <a:pt x="47" y="42"/>
                    <a:pt x="40" y="40"/>
                    <a:pt x="40" y="40"/>
                  </a:cubicBezTo>
                  <a:cubicBezTo>
                    <a:pt x="31" y="13"/>
                    <a:pt x="31" y="13"/>
                    <a:pt x="31" y="13"/>
                  </a:cubicBezTo>
                  <a:cubicBezTo>
                    <a:pt x="30" y="13"/>
                    <a:pt x="30" y="13"/>
                    <a:pt x="30" y="13"/>
                  </a:cubicBezTo>
                  <a:cubicBezTo>
                    <a:pt x="30" y="13"/>
                    <a:pt x="26" y="26"/>
                    <a:pt x="24" y="33"/>
                  </a:cubicBezTo>
                  <a:cubicBezTo>
                    <a:pt x="21" y="42"/>
                    <a:pt x="14" y="40"/>
                    <a:pt x="14" y="40"/>
                  </a:cubicBezTo>
                  <a:cubicBezTo>
                    <a:pt x="0" y="0"/>
                    <a:pt x="0" y="0"/>
                    <a:pt x="0" y="0"/>
                  </a:cubicBezTo>
                  <a:cubicBezTo>
                    <a:pt x="10" y="0"/>
                    <a:pt x="10" y="0"/>
                    <a:pt x="10" y="0"/>
                  </a:cubicBezTo>
                  <a:cubicBezTo>
                    <a:pt x="18" y="27"/>
                    <a:pt x="18" y="27"/>
                    <a:pt x="18" y="27"/>
                  </a:cubicBezTo>
                  <a:cubicBezTo>
                    <a:pt x="18" y="27"/>
                    <a:pt x="18" y="27"/>
                    <a:pt x="18" y="27"/>
                  </a:cubicBezTo>
                  <a:cubicBezTo>
                    <a:pt x="27" y="0"/>
                    <a:pt x="27" y="0"/>
                    <a:pt x="27" y="0"/>
                  </a:cubicBezTo>
                  <a:cubicBezTo>
                    <a:pt x="35" y="0"/>
                    <a:pt x="35" y="0"/>
                    <a:pt x="35" y="0"/>
                  </a:cubicBezTo>
                  <a:cubicBezTo>
                    <a:pt x="44" y="27"/>
                    <a:pt x="44" y="27"/>
                    <a:pt x="44" y="27"/>
                  </a:cubicBezTo>
                  <a:cubicBezTo>
                    <a:pt x="44" y="27"/>
                    <a:pt x="44" y="27"/>
                    <a:pt x="44" y="27"/>
                  </a:cubicBezTo>
                  <a:cubicBezTo>
                    <a:pt x="52" y="0"/>
                    <a:pt x="52" y="0"/>
                    <a:pt x="52" y="0"/>
                  </a:cubicBezTo>
                  <a:cubicBezTo>
                    <a:pt x="62" y="0"/>
                    <a:pt x="62" y="0"/>
                    <a:pt x="62" y="0"/>
                  </a:cubicBezTo>
                  <a:cubicBezTo>
                    <a:pt x="62" y="0"/>
                    <a:pt x="53" y="26"/>
                    <a:pt x="50" y="33"/>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84" name="Freeform 83"/>
            <p:cNvSpPr>
              <a:spLocks noEditPoints="1"/>
            </p:cNvSpPr>
            <p:nvPr/>
          </p:nvSpPr>
          <p:spPr bwMode="auto">
            <a:xfrm>
              <a:off x="8246615" y="4413518"/>
              <a:ext cx="58645" cy="64973"/>
            </a:xfrm>
            <a:custGeom>
              <a:avLst/>
              <a:gdLst>
                <a:gd name="T0" fmla="*/ 27 w 35"/>
                <a:gd name="T1" fmla="*/ 41 h 41"/>
                <a:gd name="T2" fmla="*/ 25 w 35"/>
                <a:gd name="T3" fmla="*/ 37 h 41"/>
                <a:gd name="T4" fmla="*/ 13 w 35"/>
                <a:gd name="T5" fmla="*/ 41 h 41"/>
                <a:gd name="T6" fmla="*/ 0 w 35"/>
                <a:gd name="T7" fmla="*/ 29 h 41"/>
                <a:gd name="T8" fmla="*/ 17 w 35"/>
                <a:gd name="T9" fmla="*/ 16 h 41"/>
                <a:gd name="T10" fmla="*/ 24 w 35"/>
                <a:gd name="T11" fmla="*/ 15 h 41"/>
                <a:gd name="T12" fmla="*/ 24 w 35"/>
                <a:gd name="T13" fmla="*/ 14 h 41"/>
                <a:gd name="T14" fmla="*/ 16 w 35"/>
                <a:gd name="T15" fmla="*/ 8 h 41"/>
                <a:gd name="T16" fmla="*/ 6 w 35"/>
                <a:gd name="T17" fmla="*/ 11 h 41"/>
                <a:gd name="T18" fmla="*/ 3 w 35"/>
                <a:gd name="T19" fmla="*/ 4 h 41"/>
                <a:gd name="T20" fmla="*/ 18 w 35"/>
                <a:gd name="T21" fmla="*/ 0 h 41"/>
                <a:gd name="T22" fmla="*/ 34 w 35"/>
                <a:gd name="T23" fmla="*/ 14 h 41"/>
                <a:gd name="T24" fmla="*/ 34 w 35"/>
                <a:gd name="T25" fmla="*/ 30 h 41"/>
                <a:gd name="T26" fmla="*/ 35 w 35"/>
                <a:gd name="T27" fmla="*/ 41 h 41"/>
                <a:gd name="T28" fmla="*/ 27 w 35"/>
                <a:gd name="T29" fmla="*/ 41 h 41"/>
                <a:gd name="T30" fmla="*/ 24 w 35"/>
                <a:gd name="T31" fmla="*/ 22 h 41"/>
                <a:gd name="T32" fmla="*/ 18 w 35"/>
                <a:gd name="T33" fmla="*/ 22 h 41"/>
                <a:gd name="T34" fmla="*/ 10 w 35"/>
                <a:gd name="T35" fmla="*/ 28 h 41"/>
                <a:gd name="T36" fmla="*/ 17 w 35"/>
                <a:gd name="T37" fmla="*/ 33 h 41"/>
                <a:gd name="T38" fmla="*/ 24 w 35"/>
                <a:gd name="T39" fmla="*/ 31 h 41"/>
                <a:gd name="T40" fmla="*/ 24 w 35"/>
                <a:gd name="T41" fmla="*/ 2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 h="41">
                  <a:moveTo>
                    <a:pt x="27" y="41"/>
                  </a:moveTo>
                  <a:cubicBezTo>
                    <a:pt x="25" y="37"/>
                    <a:pt x="25" y="37"/>
                    <a:pt x="25" y="37"/>
                  </a:cubicBezTo>
                  <a:cubicBezTo>
                    <a:pt x="22" y="39"/>
                    <a:pt x="18" y="41"/>
                    <a:pt x="13" y="41"/>
                  </a:cubicBezTo>
                  <a:cubicBezTo>
                    <a:pt x="6" y="41"/>
                    <a:pt x="0" y="36"/>
                    <a:pt x="0" y="29"/>
                  </a:cubicBezTo>
                  <a:cubicBezTo>
                    <a:pt x="0" y="20"/>
                    <a:pt x="7" y="16"/>
                    <a:pt x="17" y="16"/>
                  </a:cubicBezTo>
                  <a:cubicBezTo>
                    <a:pt x="24" y="15"/>
                    <a:pt x="24" y="15"/>
                    <a:pt x="24" y="15"/>
                  </a:cubicBezTo>
                  <a:cubicBezTo>
                    <a:pt x="24" y="15"/>
                    <a:pt x="24" y="15"/>
                    <a:pt x="24" y="14"/>
                  </a:cubicBezTo>
                  <a:cubicBezTo>
                    <a:pt x="24" y="10"/>
                    <a:pt x="21" y="8"/>
                    <a:pt x="16" y="8"/>
                  </a:cubicBezTo>
                  <a:cubicBezTo>
                    <a:pt x="12" y="8"/>
                    <a:pt x="9" y="9"/>
                    <a:pt x="6" y="11"/>
                  </a:cubicBezTo>
                  <a:cubicBezTo>
                    <a:pt x="3" y="4"/>
                    <a:pt x="3" y="4"/>
                    <a:pt x="3" y="4"/>
                  </a:cubicBezTo>
                  <a:cubicBezTo>
                    <a:pt x="8" y="1"/>
                    <a:pt x="13" y="0"/>
                    <a:pt x="18" y="0"/>
                  </a:cubicBezTo>
                  <a:cubicBezTo>
                    <a:pt x="28" y="0"/>
                    <a:pt x="34" y="4"/>
                    <a:pt x="34" y="14"/>
                  </a:cubicBezTo>
                  <a:cubicBezTo>
                    <a:pt x="34" y="30"/>
                    <a:pt x="34" y="30"/>
                    <a:pt x="34" y="30"/>
                  </a:cubicBezTo>
                  <a:cubicBezTo>
                    <a:pt x="34" y="36"/>
                    <a:pt x="34" y="39"/>
                    <a:pt x="35" y="41"/>
                  </a:cubicBezTo>
                  <a:lnTo>
                    <a:pt x="27" y="41"/>
                  </a:lnTo>
                  <a:close/>
                  <a:moveTo>
                    <a:pt x="24" y="22"/>
                  </a:moveTo>
                  <a:cubicBezTo>
                    <a:pt x="18" y="22"/>
                    <a:pt x="18" y="22"/>
                    <a:pt x="18" y="22"/>
                  </a:cubicBezTo>
                  <a:cubicBezTo>
                    <a:pt x="13" y="23"/>
                    <a:pt x="10" y="24"/>
                    <a:pt x="10" y="28"/>
                  </a:cubicBezTo>
                  <a:cubicBezTo>
                    <a:pt x="10" y="31"/>
                    <a:pt x="13" y="33"/>
                    <a:pt x="17" y="33"/>
                  </a:cubicBezTo>
                  <a:cubicBezTo>
                    <a:pt x="20" y="33"/>
                    <a:pt x="23" y="32"/>
                    <a:pt x="24" y="31"/>
                  </a:cubicBezTo>
                  <a:lnTo>
                    <a:pt x="24" y="22"/>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85" name="Freeform 84"/>
            <p:cNvSpPr>
              <a:spLocks noEditPoints="1"/>
            </p:cNvSpPr>
            <p:nvPr/>
          </p:nvSpPr>
          <p:spPr bwMode="auto">
            <a:xfrm>
              <a:off x="8363669" y="4383257"/>
              <a:ext cx="63591" cy="95234"/>
            </a:xfrm>
            <a:custGeom>
              <a:avLst/>
              <a:gdLst>
                <a:gd name="T0" fmla="*/ 22 w 38"/>
                <a:gd name="T1" fmla="*/ 60 h 60"/>
                <a:gd name="T2" fmla="*/ 0 w 38"/>
                <a:gd name="T3" fmla="*/ 40 h 60"/>
                <a:gd name="T4" fmla="*/ 22 w 38"/>
                <a:gd name="T5" fmla="*/ 19 h 60"/>
                <a:gd name="T6" fmla="*/ 27 w 38"/>
                <a:gd name="T7" fmla="*/ 19 h 60"/>
                <a:gd name="T8" fmla="*/ 28 w 38"/>
                <a:gd name="T9" fmla="*/ 0 h 60"/>
                <a:gd name="T10" fmla="*/ 38 w 38"/>
                <a:gd name="T11" fmla="*/ 0 h 60"/>
                <a:gd name="T12" fmla="*/ 37 w 38"/>
                <a:gd name="T13" fmla="*/ 57 h 60"/>
                <a:gd name="T14" fmla="*/ 22 w 38"/>
                <a:gd name="T15" fmla="*/ 60 h 60"/>
                <a:gd name="T16" fmla="*/ 27 w 38"/>
                <a:gd name="T17" fmla="*/ 27 h 60"/>
                <a:gd name="T18" fmla="*/ 23 w 38"/>
                <a:gd name="T19" fmla="*/ 27 h 60"/>
                <a:gd name="T20" fmla="*/ 10 w 38"/>
                <a:gd name="T21" fmla="*/ 39 h 60"/>
                <a:gd name="T22" fmla="*/ 23 w 38"/>
                <a:gd name="T23" fmla="*/ 52 h 60"/>
                <a:gd name="T24" fmla="*/ 27 w 38"/>
                <a:gd name="T25" fmla="*/ 51 h 60"/>
                <a:gd name="T26" fmla="*/ 27 w 38"/>
                <a:gd name="T27" fmla="*/ 2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60">
                  <a:moveTo>
                    <a:pt x="22" y="60"/>
                  </a:moveTo>
                  <a:cubicBezTo>
                    <a:pt x="10" y="60"/>
                    <a:pt x="0" y="53"/>
                    <a:pt x="0" y="40"/>
                  </a:cubicBezTo>
                  <a:cubicBezTo>
                    <a:pt x="0" y="28"/>
                    <a:pt x="9" y="19"/>
                    <a:pt x="22" y="19"/>
                  </a:cubicBezTo>
                  <a:cubicBezTo>
                    <a:pt x="24" y="19"/>
                    <a:pt x="26" y="19"/>
                    <a:pt x="27" y="19"/>
                  </a:cubicBezTo>
                  <a:cubicBezTo>
                    <a:pt x="28" y="0"/>
                    <a:pt x="28" y="0"/>
                    <a:pt x="28" y="0"/>
                  </a:cubicBezTo>
                  <a:cubicBezTo>
                    <a:pt x="38" y="0"/>
                    <a:pt x="38" y="0"/>
                    <a:pt x="38" y="0"/>
                  </a:cubicBezTo>
                  <a:cubicBezTo>
                    <a:pt x="37" y="57"/>
                    <a:pt x="37" y="57"/>
                    <a:pt x="37" y="57"/>
                  </a:cubicBezTo>
                  <a:cubicBezTo>
                    <a:pt x="34" y="59"/>
                    <a:pt x="29" y="60"/>
                    <a:pt x="22" y="60"/>
                  </a:cubicBezTo>
                  <a:close/>
                  <a:moveTo>
                    <a:pt x="27" y="27"/>
                  </a:moveTo>
                  <a:cubicBezTo>
                    <a:pt x="26" y="27"/>
                    <a:pt x="25" y="27"/>
                    <a:pt x="23" y="27"/>
                  </a:cubicBezTo>
                  <a:cubicBezTo>
                    <a:pt x="16" y="27"/>
                    <a:pt x="10" y="32"/>
                    <a:pt x="10" y="39"/>
                  </a:cubicBezTo>
                  <a:cubicBezTo>
                    <a:pt x="10" y="47"/>
                    <a:pt x="15" y="52"/>
                    <a:pt x="23" y="52"/>
                  </a:cubicBezTo>
                  <a:cubicBezTo>
                    <a:pt x="24" y="52"/>
                    <a:pt x="26" y="52"/>
                    <a:pt x="27" y="51"/>
                  </a:cubicBezTo>
                  <a:lnTo>
                    <a:pt x="27" y="2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16" name="Freeform 115"/>
            <p:cNvSpPr>
              <a:spLocks/>
            </p:cNvSpPr>
            <p:nvPr/>
          </p:nvSpPr>
          <p:spPr bwMode="auto">
            <a:xfrm>
              <a:off x="8114724" y="4383257"/>
              <a:ext cx="16722" cy="95234"/>
            </a:xfrm>
            <a:custGeom>
              <a:avLst/>
              <a:gdLst>
                <a:gd name="T0" fmla="*/ 10 w 10"/>
                <a:gd name="T1" fmla="*/ 53 h 60"/>
                <a:gd name="T2" fmla="*/ 0 w 10"/>
                <a:gd name="T3" fmla="*/ 60 h 60"/>
                <a:gd name="T4" fmla="*/ 0 w 10"/>
                <a:gd name="T5" fmla="*/ 0 h 60"/>
                <a:gd name="T6" fmla="*/ 10 w 10"/>
                <a:gd name="T7" fmla="*/ 0 h 60"/>
                <a:gd name="T8" fmla="*/ 10 w 10"/>
                <a:gd name="T9" fmla="*/ 53 h 60"/>
              </a:gdLst>
              <a:ahLst/>
              <a:cxnLst>
                <a:cxn ang="0">
                  <a:pos x="T0" y="T1"/>
                </a:cxn>
                <a:cxn ang="0">
                  <a:pos x="T2" y="T3"/>
                </a:cxn>
                <a:cxn ang="0">
                  <a:pos x="T4" y="T5"/>
                </a:cxn>
                <a:cxn ang="0">
                  <a:pos x="T6" y="T7"/>
                </a:cxn>
                <a:cxn ang="0">
                  <a:pos x="T8" y="T9"/>
                </a:cxn>
              </a:cxnLst>
              <a:rect l="0" t="0" r="r" b="b"/>
              <a:pathLst>
                <a:path w="10" h="60">
                  <a:moveTo>
                    <a:pt x="10" y="53"/>
                  </a:moveTo>
                  <a:cubicBezTo>
                    <a:pt x="10" y="60"/>
                    <a:pt x="0" y="60"/>
                    <a:pt x="0" y="60"/>
                  </a:cubicBezTo>
                  <a:cubicBezTo>
                    <a:pt x="0" y="0"/>
                    <a:pt x="0" y="0"/>
                    <a:pt x="0" y="0"/>
                  </a:cubicBezTo>
                  <a:cubicBezTo>
                    <a:pt x="10" y="0"/>
                    <a:pt x="10" y="0"/>
                    <a:pt x="10" y="0"/>
                  </a:cubicBezTo>
                  <a:cubicBezTo>
                    <a:pt x="10" y="0"/>
                    <a:pt x="10" y="45"/>
                    <a:pt x="10" y="53"/>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17" name="Freeform 116"/>
            <p:cNvSpPr>
              <a:spLocks/>
            </p:cNvSpPr>
            <p:nvPr/>
          </p:nvSpPr>
          <p:spPr bwMode="auto">
            <a:xfrm>
              <a:off x="8081279" y="4383257"/>
              <a:ext cx="16722" cy="95234"/>
            </a:xfrm>
            <a:custGeom>
              <a:avLst/>
              <a:gdLst>
                <a:gd name="T0" fmla="*/ 10 w 10"/>
                <a:gd name="T1" fmla="*/ 53 h 60"/>
                <a:gd name="T2" fmla="*/ 0 w 10"/>
                <a:gd name="T3" fmla="*/ 60 h 60"/>
                <a:gd name="T4" fmla="*/ 0 w 10"/>
                <a:gd name="T5" fmla="*/ 0 h 60"/>
                <a:gd name="T6" fmla="*/ 10 w 10"/>
                <a:gd name="T7" fmla="*/ 0 h 60"/>
                <a:gd name="T8" fmla="*/ 10 w 10"/>
                <a:gd name="T9" fmla="*/ 53 h 60"/>
              </a:gdLst>
              <a:ahLst/>
              <a:cxnLst>
                <a:cxn ang="0">
                  <a:pos x="T0" y="T1"/>
                </a:cxn>
                <a:cxn ang="0">
                  <a:pos x="T2" y="T3"/>
                </a:cxn>
                <a:cxn ang="0">
                  <a:pos x="T4" y="T5"/>
                </a:cxn>
                <a:cxn ang="0">
                  <a:pos x="T6" y="T7"/>
                </a:cxn>
                <a:cxn ang="0">
                  <a:pos x="T8" y="T9"/>
                </a:cxn>
              </a:cxnLst>
              <a:rect l="0" t="0" r="r" b="b"/>
              <a:pathLst>
                <a:path w="10" h="60">
                  <a:moveTo>
                    <a:pt x="10" y="53"/>
                  </a:moveTo>
                  <a:cubicBezTo>
                    <a:pt x="10" y="60"/>
                    <a:pt x="0" y="60"/>
                    <a:pt x="0" y="60"/>
                  </a:cubicBezTo>
                  <a:cubicBezTo>
                    <a:pt x="0" y="0"/>
                    <a:pt x="0" y="0"/>
                    <a:pt x="0" y="0"/>
                  </a:cubicBezTo>
                  <a:cubicBezTo>
                    <a:pt x="10" y="0"/>
                    <a:pt x="10" y="0"/>
                    <a:pt x="10" y="0"/>
                  </a:cubicBezTo>
                  <a:cubicBezTo>
                    <a:pt x="10" y="0"/>
                    <a:pt x="10" y="45"/>
                    <a:pt x="10" y="53"/>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18" name="Freeform 117"/>
            <p:cNvSpPr>
              <a:spLocks/>
            </p:cNvSpPr>
            <p:nvPr/>
          </p:nvSpPr>
          <p:spPr bwMode="auto">
            <a:xfrm>
              <a:off x="8318450" y="4413518"/>
              <a:ext cx="43571" cy="64973"/>
            </a:xfrm>
            <a:custGeom>
              <a:avLst/>
              <a:gdLst>
                <a:gd name="T0" fmla="*/ 22 w 26"/>
                <a:gd name="T1" fmla="*/ 10 h 41"/>
                <a:gd name="T2" fmla="*/ 18 w 26"/>
                <a:gd name="T3" fmla="*/ 9 h 41"/>
                <a:gd name="T4" fmla="*/ 10 w 26"/>
                <a:gd name="T5" fmla="*/ 12 h 41"/>
                <a:gd name="T6" fmla="*/ 10 w 26"/>
                <a:gd name="T7" fmla="*/ 34 h 41"/>
                <a:gd name="T8" fmla="*/ 0 w 26"/>
                <a:gd name="T9" fmla="*/ 41 h 41"/>
                <a:gd name="T10" fmla="*/ 0 w 26"/>
                <a:gd name="T11" fmla="*/ 1 h 41"/>
                <a:gd name="T12" fmla="*/ 9 w 26"/>
                <a:gd name="T13" fmla="*/ 1 h 41"/>
                <a:gd name="T14" fmla="*/ 10 w 26"/>
                <a:gd name="T15" fmla="*/ 5 h 41"/>
                <a:gd name="T16" fmla="*/ 21 w 26"/>
                <a:gd name="T17" fmla="*/ 0 h 41"/>
                <a:gd name="T18" fmla="*/ 26 w 26"/>
                <a:gd name="T19" fmla="*/ 2 h 41"/>
                <a:gd name="T20" fmla="*/ 22 w 26"/>
                <a:gd name="T21" fmla="*/ 1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41">
                  <a:moveTo>
                    <a:pt x="22" y="10"/>
                  </a:moveTo>
                  <a:cubicBezTo>
                    <a:pt x="21" y="9"/>
                    <a:pt x="19" y="9"/>
                    <a:pt x="18" y="9"/>
                  </a:cubicBezTo>
                  <a:cubicBezTo>
                    <a:pt x="15" y="9"/>
                    <a:pt x="13" y="10"/>
                    <a:pt x="10" y="12"/>
                  </a:cubicBezTo>
                  <a:cubicBezTo>
                    <a:pt x="10" y="12"/>
                    <a:pt x="10" y="26"/>
                    <a:pt x="10" y="34"/>
                  </a:cubicBezTo>
                  <a:cubicBezTo>
                    <a:pt x="10" y="41"/>
                    <a:pt x="0" y="41"/>
                    <a:pt x="0" y="41"/>
                  </a:cubicBezTo>
                  <a:cubicBezTo>
                    <a:pt x="0" y="1"/>
                    <a:pt x="0" y="1"/>
                    <a:pt x="0" y="1"/>
                  </a:cubicBezTo>
                  <a:cubicBezTo>
                    <a:pt x="9" y="1"/>
                    <a:pt x="9" y="1"/>
                    <a:pt x="9" y="1"/>
                  </a:cubicBezTo>
                  <a:cubicBezTo>
                    <a:pt x="10" y="5"/>
                    <a:pt x="10" y="5"/>
                    <a:pt x="10" y="5"/>
                  </a:cubicBezTo>
                  <a:cubicBezTo>
                    <a:pt x="14" y="2"/>
                    <a:pt x="17" y="0"/>
                    <a:pt x="21" y="0"/>
                  </a:cubicBezTo>
                  <a:cubicBezTo>
                    <a:pt x="23" y="0"/>
                    <a:pt x="25" y="1"/>
                    <a:pt x="26" y="2"/>
                  </a:cubicBezTo>
                  <a:lnTo>
                    <a:pt x="22" y="1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19" name="Freeform 118"/>
            <p:cNvSpPr>
              <a:spLocks/>
            </p:cNvSpPr>
            <p:nvPr/>
          </p:nvSpPr>
          <p:spPr bwMode="auto">
            <a:xfrm>
              <a:off x="7929133" y="4383257"/>
              <a:ext cx="98684" cy="93677"/>
            </a:xfrm>
            <a:custGeom>
              <a:avLst/>
              <a:gdLst>
                <a:gd name="T0" fmla="*/ 48 w 59"/>
                <a:gd name="T1" fmla="*/ 59 h 59"/>
                <a:gd name="T2" fmla="*/ 48 w 59"/>
                <a:gd name="T3" fmla="*/ 24 h 59"/>
                <a:gd name="T4" fmla="*/ 49 w 59"/>
                <a:gd name="T5" fmla="*/ 18 h 59"/>
                <a:gd name="T6" fmla="*/ 48 w 59"/>
                <a:gd name="T7" fmla="*/ 18 h 59"/>
                <a:gd name="T8" fmla="*/ 45 w 59"/>
                <a:gd name="T9" fmla="*/ 24 h 59"/>
                <a:gd name="T10" fmla="*/ 33 w 59"/>
                <a:gd name="T11" fmla="*/ 42 h 59"/>
                <a:gd name="T12" fmla="*/ 28 w 59"/>
                <a:gd name="T13" fmla="*/ 42 h 59"/>
                <a:gd name="T14" fmla="*/ 14 w 59"/>
                <a:gd name="T15" fmla="*/ 23 h 59"/>
                <a:gd name="T16" fmla="*/ 11 w 59"/>
                <a:gd name="T17" fmla="*/ 18 h 59"/>
                <a:gd name="T18" fmla="*/ 11 w 59"/>
                <a:gd name="T19" fmla="*/ 18 h 59"/>
                <a:gd name="T20" fmla="*/ 11 w 59"/>
                <a:gd name="T21" fmla="*/ 24 h 59"/>
                <a:gd name="T22" fmla="*/ 11 w 59"/>
                <a:gd name="T23" fmla="*/ 59 h 59"/>
                <a:gd name="T24" fmla="*/ 0 w 59"/>
                <a:gd name="T25" fmla="*/ 59 h 59"/>
                <a:gd name="T26" fmla="*/ 0 w 59"/>
                <a:gd name="T27" fmla="*/ 0 h 59"/>
                <a:gd name="T28" fmla="*/ 10 w 59"/>
                <a:gd name="T29" fmla="*/ 0 h 59"/>
                <a:gd name="T30" fmla="*/ 26 w 59"/>
                <a:gd name="T31" fmla="*/ 24 h 59"/>
                <a:gd name="T32" fmla="*/ 30 w 59"/>
                <a:gd name="T33" fmla="*/ 30 h 59"/>
                <a:gd name="T34" fmla="*/ 30 w 59"/>
                <a:gd name="T35" fmla="*/ 30 h 59"/>
                <a:gd name="T36" fmla="*/ 34 w 59"/>
                <a:gd name="T37" fmla="*/ 24 h 59"/>
                <a:gd name="T38" fmla="*/ 49 w 59"/>
                <a:gd name="T39" fmla="*/ 0 h 59"/>
                <a:gd name="T40" fmla="*/ 59 w 59"/>
                <a:gd name="T41" fmla="*/ 0 h 59"/>
                <a:gd name="T42" fmla="*/ 59 w 59"/>
                <a:gd name="T43" fmla="*/ 59 h 59"/>
                <a:gd name="T44" fmla="*/ 48 w 59"/>
                <a:gd name="T4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9" h="59">
                  <a:moveTo>
                    <a:pt x="48" y="59"/>
                  </a:moveTo>
                  <a:cubicBezTo>
                    <a:pt x="48" y="24"/>
                    <a:pt x="48" y="24"/>
                    <a:pt x="48" y="24"/>
                  </a:cubicBezTo>
                  <a:cubicBezTo>
                    <a:pt x="48" y="22"/>
                    <a:pt x="48" y="20"/>
                    <a:pt x="49" y="18"/>
                  </a:cubicBezTo>
                  <a:cubicBezTo>
                    <a:pt x="48" y="18"/>
                    <a:pt x="48" y="18"/>
                    <a:pt x="48" y="18"/>
                  </a:cubicBezTo>
                  <a:cubicBezTo>
                    <a:pt x="48" y="19"/>
                    <a:pt x="46" y="22"/>
                    <a:pt x="45" y="24"/>
                  </a:cubicBezTo>
                  <a:cubicBezTo>
                    <a:pt x="33" y="42"/>
                    <a:pt x="33" y="42"/>
                    <a:pt x="33" y="42"/>
                  </a:cubicBezTo>
                  <a:cubicBezTo>
                    <a:pt x="28" y="42"/>
                    <a:pt x="28" y="42"/>
                    <a:pt x="28" y="42"/>
                  </a:cubicBezTo>
                  <a:cubicBezTo>
                    <a:pt x="14" y="23"/>
                    <a:pt x="14" y="23"/>
                    <a:pt x="14" y="23"/>
                  </a:cubicBezTo>
                  <a:cubicBezTo>
                    <a:pt x="13" y="22"/>
                    <a:pt x="12" y="20"/>
                    <a:pt x="11" y="18"/>
                  </a:cubicBezTo>
                  <a:cubicBezTo>
                    <a:pt x="11" y="18"/>
                    <a:pt x="11" y="18"/>
                    <a:pt x="11" y="18"/>
                  </a:cubicBezTo>
                  <a:cubicBezTo>
                    <a:pt x="11" y="20"/>
                    <a:pt x="11" y="22"/>
                    <a:pt x="11" y="24"/>
                  </a:cubicBezTo>
                  <a:cubicBezTo>
                    <a:pt x="11" y="59"/>
                    <a:pt x="11" y="59"/>
                    <a:pt x="11" y="59"/>
                  </a:cubicBezTo>
                  <a:cubicBezTo>
                    <a:pt x="0" y="59"/>
                    <a:pt x="0" y="59"/>
                    <a:pt x="0" y="59"/>
                  </a:cubicBezTo>
                  <a:cubicBezTo>
                    <a:pt x="0" y="0"/>
                    <a:pt x="0" y="0"/>
                    <a:pt x="0" y="0"/>
                  </a:cubicBezTo>
                  <a:cubicBezTo>
                    <a:pt x="10" y="0"/>
                    <a:pt x="10" y="0"/>
                    <a:pt x="10" y="0"/>
                  </a:cubicBezTo>
                  <a:cubicBezTo>
                    <a:pt x="26" y="24"/>
                    <a:pt x="26" y="24"/>
                    <a:pt x="26" y="24"/>
                  </a:cubicBezTo>
                  <a:cubicBezTo>
                    <a:pt x="28" y="26"/>
                    <a:pt x="29" y="28"/>
                    <a:pt x="30" y="30"/>
                  </a:cubicBezTo>
                  <a:cubicBezTo>
                    <a:pt x="30" y="30"/>
                    <a:pt x="30" y="30"/>
                    <a:pt x="30" y="30"/>
                  </a:cubicBezTo>
                  <a:cubicBezTo>
                    <a:pt x="31" y="28"/>
                    <a:pt x="32" y="26"/>
                    <a:pt x="34" y="24"/>
                  </a:cubicBezTo>
                  <a:cubicBezTo>
                    <a:pt x="49" y="0"/>
                    <a:pt x="49" y="0"/>
                    <a:pt x="49" y="0"/>
                  </a:cubicBezTo>
                  <a:cubicBezTo>
                    <a:pt x="59" y="0"/>
                    <a:pt x="59" y="0"/>
                    <a:pt x="59" y="0"/>
                  </a:cubicBezTo>
                  <a:cubicBezTo>
                    <a:pt x="59" y="59"/>
                    <a:pt x="59" y="59"/>
                    <a:pt x="59" y="59"/>
                  </a:cubicBezTo>
                  <a:lnTo>
                    <a:pt x="48" y="5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20" name="Freeform 119"/>
            <p:cNvSpPr>
              <a:spLocks noEditPoints="1"/>
            </p:cNvSpPr>
            <p:nvPr/>
          </p:nvSpPr>
          <p:spPr bwMode="auto">
            <a:xfrm>
              <a:off x="8044539" y="4386372"/>
              <a:ext cx="21668" cy="92119"/>
            </a:xfrm>
            <a:custGeom>
              <a:avLst/>
              <a:gdLst>
                <a:gd name="T0" fmla="*/ 6 w 13"/>
                <a:gd name="T1" fmla="*/ 12 h 58"/>
                <a:gd name="T2" fmla="*/ 0 w 13"/>
                <a:gd name="T3" fmla="*/ 6 h 58"/>
                <a:gd name="T4" fmla="*/ 6 w 13"/>
                <a:gd name="T5" fmla="*/ 0 h 58"/>
                <a:gd name="T6" fmla="*/ 13 w 13"/>
                <a:gd name="T7" fmla="*/ 6 h 58"/>
                <a:gd name="T8" fmla="*/ 6 w 13"/>
                <a:gd name="T9" fmla="*/ 12 h 58"/>
                <a:gd name="T10" fmla="*/ 1 w 13"/>
                <a:gd name="T11" fmla="*/ 58 h 58"/>
                <a:gd name="T12" fmla="*/ 1 w 13"/>
                <a:gd name="T13" fmla="*/ 18 h 58"/>
                <a:gd name="T14" fmla="*/ 11 w 13"/>
                <a:gd name="T15" fmla="*/ 18 h 58"/>
                <a:gd name="T16" fmla="*/ 11 w 13"/>
                <a:gd name="T17" fmla="*/ 51 h 58"/>
                <a:gd name="T18" fmla="*/ 1 w 13"/>
                <a:gd name="T19"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58">
                  <a:moveTo>
                    <a:pt x="6" y="12"/>
                  </a:moveTo>
                  <a:cubicBezTo>
                    <a:pt x="3" y="12"/>
                    <a:pt x="0" y="9"/>
                    <a:pt x="0" y="6"/>
                  </a:cubicBezTo>
                  <a:cubicBezTo>
                    <a:pt x="0" y="2"/>
                    <a:pt x="3" y="0"/>
                    <a:pt x="6" y="0"/>
                  </a:cubicBezTo>
                  <a:cubicBezTo>
                    <a:pt x="10" y="0"/>
                    <a:pt x="13" y="2"/>
                    <a:pt x="13" y="6"/>
                  </a:cubicBezTo>
                  <a:cubicBezTo>
                    <a:pt x="13" y="9"/>
                    <a:pt x="10" y="12"/>
                    <a:pt x="6" y="12"/>
                  </a:cubicBezTo>
                  <a:close/>
                  <a:moveTo>
                    <a:pt x="1" y="58"/>
                  </a:moveTo>
                  <a:cubicBezTo>
                    <a:pt x="1" y="18"/>
                    <a:pt x="1" y="18"/>
                    <a:pt x="1" y="18"/>
                  </a:cubicBezTo>
                  <a:cubicBezTo>
                    <a:pt x="11" y="18"/>
                    <a:pt x="11" y="18"/>
                    <a:pt x="11" y="18"/>
                  </a:cubicBezTo>
                  <a:cubicBezTo>
                    <a:pt x="11" y="18"/>
                    <a:pt x="11" y="43"/>
                    <a:pt x="11" y="51"/>
                  </a:cubicBezTo>
                  <a:cubicBezTo>
                    <a:pt x="11" y="58"/>
                    <a:pt x="1" y="58"/>
                    <a:pt x="1" y="58"/>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21" name="Freeform 120"/>
            <p:cNvSpPr>
              <a:spLocks/>
            </p:cNvSpPr>
            <p:nvPr/>
          </p:nvSpPr>
          <p:spPr bwMode="auto">
            <a:xfrm>
              <a:off x="8224947" y="4510310"/>
              <a:ext cx="13425" cy="79436"/>
            </a:xfrm>
            <a:custGeom>
              <a:avLst/>
              <a:gdLst>
                <a:gd name="T0" fmla="*/ 8 w 8"/>
                <a:gd name="T1" fmla="*/ 44 h 50"/>
                <a:gd name="T2" fmla="*/ 0 w 8"/>
                <a:gd name="T3" fmla="*/ 50 h 50"/>
                <a:gd name="T4" fmla="*/ 0 w 8"/>
                <a:gd name="T5" fmla="*/ 0 h 50"/>
                <a:gd name="T6" fmla="*/ 8 w 8"/>
                <a:gd name="T7" fmla="*/ 0 h 50"/>
                <a:gd name="T8" fmla="*/ 8 w 8"/>
                <a:gd name="T9" fmla="*/ 44 h 50"/>
              </a:gdLst>
              <a:ahLst/>
              <a:cxnLst>
                <a:cxn ang="0">
                  <a:pos x="T0" y="T1"/>
                </a:cxn>
                <a:cxn ang="0">
                  <a:pos x="T2" y="T3"/>
                </a:cxn>
                <a:cxn ang="0">
                  <a:pos x="T4" y="T5"/>
                </a:cxn>
                <a:cxn ang="0">
                  <a:pos x="T6" y="T7"/>
                </a:cxn>
                <a:cxn ang="0">
                  <a:pos x="T8" y="T9"/>
                </a:cxn>
              </a:cxnLst>
              <a:rect l="0" t="0" r="r" b="b"/>
              <a:pathLst>
                <a:path w="8" h="50">
                  <a:moveTo>
                    <a:pt x="8" y="44"/>
                  </a:moveTo>
                  <a:cubicBezTo>
                    <a:pt x="8" y="50"/>
                    <a:pt x="0" y="50"/>
                    <a:pt x="0" y="50"/>
                  </a:cubicBezTo>
                  <a:cubicBezTo>
                    <a:pt x="0" y="0"/>
                    <a:pt x="0" y="0"/>
                    <a:pt x="0" y="0"/>
                  </a:cubicBezTo>
                  <a:cubicBezTo>
                    <a:pt x="8" y="0"/>
                    <a:pt x="8" y="0"/>
                    <a:pt x="8" y="0"/>
                  </a:cubicBezTo>
                  <a:cubicBezTo>
                    <a:pt x="8" y="0"/>
                    <a:pt x="8" y="37"/>
                    <a:pt x="8"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 name="Freeform 121"/>
            <p:cNvSpPr>
              <a:spLocks noEditPoints="1"/>
            </p:cNvSpPr>
            <p:nvPr/>
          </p:nvSpPr>
          <p:spPr bwMode="auto">
            <a:xfrm>
              <a:off x="8007562" y="4513425"/>
              <a:ext cx="18371" cy="76321"/>
            </a:xfrm>
            <a:custGeom>
              <a:avLst/>
              <a:gdLst>
                <a:gd name="T0" fmla="*/ 5 w 11"/>
                <a:gd name="T1" fmla="*/ 10 h 48"/>
                <a:gd name="T2" fmla="*/ 0 w 11"/>
                <a:gd name="T3" fmla="*/ 5 h 48"/>
                <a:gd name="T4" fmla="*/ 5 w 11"/>
                <a:gd name="T5" fmla="*/ 0 h 48"/>
                <a:gd name="T6" fmla="*/ 11 w 11"/>
                <a:gd name="T7" fmla="*/ 5 h 48"/>
                <a:gd name="T8" fmla="*/ 5 w 11"/>
                <a:gd name="T9" fmla="*/ 10 h 48"/>
                <a:gd name="T10" fmla="*/ 1 w 11"/>
                <a:gd name="T11" fmla="*/ 48 h 48"/>
                <a:gd name="T12" fmla="*/ 1 w 11"/>
                <a:gd name="T13" fmla="*/ 15 h 48"/>
                <a:gd name="T14" fmla="*/ 10 w 11"/>
                <a:gd name="T15" fmla="*/ 15 h 48"/>
                <a:gd name="T16" fmla="*/ 10 w 11"/>
                <a:gd name="T17" fmla="*/ 42 h 48"/>
                <a:gd name="T18" fmla="*/ 1 w 11"/>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48">
                  <a:moveTo>
                    <a:pt x="5" y="10"/>
                  </a:moveTo>
                  <a:cubicBezTo>
                    <a:pt x="3" y="10"/>
                    <a:pt x="0" y="7"/>
                    <a:pt x="0" y="5"/>
                  </a:cubicBezTo>
                  <a:cubicBezTo>
                    <a:pt x="0" y="2"/>
                    <a:pt x="3" y="0"/>
                    <a:pt x="5" y="0"/>
                  </a:cubicBezTo>
                  <a:cubicBezTo>
                    <a:pt x="8" y="0"/>
                    <a:pt x="11" y="2"/>
                    <a:pt x="11" y="5"/>
                  </a:cubicBezTo>
                  <a:cubicBezTo>
                    <a:pt x="11" y="7"/>
                    <a:pt x="8" y="10"/>
                    <a:pt x="5" y="10"/>
                  </a:cubicBezTo>
                  <a:close/>
                  <a:moveTo>
                    <a:pt x="1" y="48"/>
                  </a:moveTo>
                  <a:cubicBezTo>
                    <a:pt x="1" y="15"/>
                    <a:pt x="1" y="15"/>
                    <a:pt x="1" y="15"/>
                  </a:cubicBezTo>
                  <a:cubicBezTo>
                    <a:pt x="10" y="15"/>
                    <a:pt x="10" y="15"/>
                    <a:pt x="10" y="15"/>
                  </a:cubicBezTo>
                  <a:cubicBezTo>
                    <a:pt x="10" y="15"/>
                    <a:pt x="10" y="36"/>
                    <a:pt x="10" y="42"/>
                  </a:cubicBezTo>
                  <a:cubicBezTo>
                    <a:pt x="10" y="48"/>
                    <a:pt x="1" y="48"/>
                    <a:pt x="1"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 name="Freeform 122"/>
            <p:cNvSpPr>
              <a:spLocks noEditPoints="1"/>
            </p:cNvSpPr>
            <p:nvPr/>
          </p:nvSpPr>
          <p:spPr bwMode="auto">
            <a:xfrm>
              <a:off x="8094469" y="4513425"/>
              <a:ext cx="16722" cy="76321"/>
            </a:xfrm>
            <a:custGeom>
              <a:avLst/>
              <a:gdLst>
                <a:gd name="T0" fmla="*/ 5 w 10"/>
                <a:gd name="T1" fmla="*/ 10 h 48"/>
                <a:gd name="T2" fmla="*/ 0 w 10"/>
                <a:gd name="T3" fmla="*/ 5 h 48"/>
                <a:gd name="T4" fmla="*/ 5 w 10"/>
                <a:gd name="T5" fmla="*/ 0 h 48"/>
                <a:gd name="T6" fmla="*/ 10 w 10"/>
                <a:gd name="T7" fmla="*/ 5 h 48"/>
                <a:gd name="T8" fmla="*/ 5 w 10"/>
                <a:gd name="T9" fmla="*/ 10 h 48"/>
                <a:gd name="T10" fmla="*/ 1 w 10"/>
                <a:gd name="T11" fmla="*/ 48 h 48"/>
                <a:gd name="T12" fmla="*/ 1 w 10"/>
                <a:gd name="T13" fmla="*/ 15 h 48"/>
                <a:gd name="T14" fmla="*/ 9 w 10"/>
                <a:gd name="T15" fmla="*/ 15 h 48"/>
                <a:gd name="T16" fmla="*/ 9 w 10"/>
                <a:gd name="T17" fmla="*/ 42 h 48"/>
                <a:gd name="T18" fmla="*/ 1 w 10"/>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48">
                  <a:moveTo>
                    <a:pt x="5" y="10"/>
                  </a:moveTo>
                  <a:cubicBezTo>
                    <a:pt x="2" y="10"/>
                    <a:pt x="0" y="8"/>
                    <a:pt x="0" y="5"/>
                  </a:cubicBezTo>
                  <a:cubicBezTo>
                    <a:pt x="0" y="2"/>
                    <a:pt x="2" y="0"/>
                    <a:pt x="5" y="0"/>
                  </a:cubicBezTo>
                  <a:cubicBezTo>
                    <a:pt x="8" y="0"/>
                    <a:pt x="10" y="2"/>
                    <a:pt x="10" y="5"/>
                  </a:cubicBezTo>
                  <a:cubicBezTo>
                    <a:pt x="10" y="8"/>
                    <a:pt x="8" y="10"/>
                    <a:pt x="5" y="10"/>
                  </a:cubicBezTo>
                  <a:close/>
                  <a:moveTo>
                    <a:pt x="1" y="48"/>
                  </a:moveTo>
                  <a:cubicBezTo>
                    <a:pt x="1" y="15"/>
                    <a:pt x="1" y="15"/>
                    <a:pt x="1" y="15"/>
                  </a:cubicBezTo>
                  <a:cubicBezTo>
                    <a:pt x="9" y="15"/>
                    <a:pt x="9" y="15"/>
                    <a:pt x="9" y="15"/>
                  </a:cubicBezTo>
                  <a:cubicBezTo>
                    <a:pt x="9" y="15"/>
                    <a:pt x="9" y="36"/>
                    <a:pt x="9" y="42"/>
                  </a:cubicBezTo>
                  <a:cubicBezTo>
                    <a:pt x="9" y="48"/>
                    <a:pt x="1" y="48"/>
                    <a:pt x="1"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 name="Freeform 123"/>
            <p:cNvSpPr>
              <a:spLocks noEditPoints="1"/>
            </p:cNvSpPr>
            <p:nvPr/>
          </p:nvSpPr>
          <p:spPr bwMode="auto">
            <a:xfrm>
              <a:off x="7929133" y="4510310"/>
              <a:ext cx="70185" cy="77879"/>
            </a:xfrm>
            <a:custGeom>
              <a:avLst/>
              <a:gdLst>
                <a:gd name="T0" fmla="*/ 0 w 42"/>
                <a:gd name="T1" fmla="*/ 0 h 49"/>
                <a:gd name="T2" fmla="*/ 15 w 42"/>
                <a:gd name="T3" fmla="*/ 0 h 49"/>
                <a:gd name="T4" fmla="*/ 42 w 42"/>
                <a:gd name="T5" fmla="*/ 25 h 49"/>
                <a:gd name="T6" fmla="*/ 14 w 42"/>
                <a:gd name="T7" fmla="*/ 49 h 49"/>
                <a:gd name="T8" fmla="*/ 0 w 42"/>
                <a:gd name="T9" fmla="*/ 49 h 49"/>
                <a:gd name="T10" fmla="*/ 0 w 42"/>
                <a:gd name="T11" fmla="*/ 0 h 49"/>
                <a:gd name="T12" fmla="*/ 14 w 42"/>
                <a:gd name="T13" fmla="*/ 42 h 49"/>
                <a:gd name="T14" fmla="*/ 32 w 42"/>
                <a:gd name="T15" fmla="*/ 25 h 49"/>
                <a:gd name="T16" fmla="*/ 14 w 42"/>
                <a:gd name="T17" fmla="*/ 8 h 49"/>
                <a:gd name="T18" fmla="*/ 8 w 42"/>
                <a:gd name="T19" fmla="*/ 8 h 49"/>
                <a:gd name="T20" fmla="*/ 8 w 42"/>
                <a:gd name="T21" fmla="*/ 42 h 49"/>
                <a:gd name="T22" fmla="*/ 14 w 42"/>
                <a:gd name="T23" fmla="*/ 4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49">
                  <a:moveTo>
                    <a:pt x="0" y="0"/>
                  </a:moveTo>
                  <a:cubicBezTo>
                    <a:pt x="15" y="0"/>
                    <a:pt x="15" y="0"/>
                    <a:pt x="15" y="0"/>
                  </a:cubicBezTo>
                  <a:cubicBezTo>
                    <a:pt x="32" y="0"/>
                    <a:pt x="42" y="10"/>
                    <a:pt x="42" y="25"/>
                  </a:cubicBezTo>
                  <a:cubicBezTo>
                    <a:pt x="42" y="40"/>
                    <a:pt x="31" y="49"/>
                    <a:pt x="14" y="49"/>
                  </a:cubicBezTo>
                  <a:cubicBezTo>
                    <a:pt x="0" y="49"/>
                    <a:pt x="0" y="49"/>
                    <a:pt x="0" y="49"/>
                  </a:cubicBezTo>
                  <a:lnTo>
                    <a:pt x="0" y="0"/>
                  </a:lnTo>
                  <a:close/>
                  <a:moveTo>
                    <a:pt x="14" y="42"/>
                  </a:moveTo>
                  <a:cubicBezTo>
                    <a:pt x="27" y="42"/>
                    <a:pt x="32" y="34"/>
                    <a:pt x="32" y="25"/>
                  </a:cubicBezTo>
                  <a:cubicBezTo>
                    <a:pt x="32" y="15"/>
                    <a:pt x="26" y="8"/>
                    <a:pt x="14" y="8"/>
                  </a:cubicBezTo>
                  <a:cubicBezTo>
                    <a:pt x="8" y="8"/>
                    <a:pt x="8" y="8"/>
                    <a:pt x="8" y="8"/>
                  </a:cubicBezTo>
                  <a:cubicBezTo>
                    <a:pt x="8" y="42"/>
                    <a:pt x="8" y="42"/>
                    <a:pt x="8" y="42"/>
                  </a:cubicBezTo>
                  <a:lnTo>
                    <a:pt x="1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 name="Freeform 124"/>
            <p:cNvSpPr>
              <a:spLocks noEditPoints="1"/>
            </p:cNvSpPr>
            <p:nvPr/>
          </p:nvSpPr>
          <p:spPr bwMode="auto">
            <a:xfrm>
              <a:off x="8031114" y="4529223"/>
              <a:ext cx="58409" cy="87447"/>
            </a:xfrm>
            <a:custGeom>
              <a:avLst/>
              <a:gdLst>
                <a:gd name="T0" fmla="*/ 0 w 35"/>
                <a:gd name="T1" fmla="*/ 45 h 55"/>
                <a:gd name="T2" fmla="*/ 6 w 35"/>
                <a:gd name="T3" fmla="*/ 37 h 55"/>
                <a:gd name="T4" fmla="*/ 4 w 35"/>
                <a:gd name="T5" fmla="*/ 32 h 55"/>
                <a:gd name="T6" fmla="*/ 8 w 35"/>
                <a:gd name="T7" fmla="*/ 26 h 55"/>
                <a:gd name="T8" fmla="*/ 2 w 35"/>
                <a:gd name="T9" fmla="*/ 15 h 55"/>
                <a:gd name="T10" fmla="*/ 16 w 35"/>
                <a:gd name="T11" fmla="*/ 2 h 55"/>
                <a:gd name="T12" fmla="*/ 23 w 35"/>
                <a:gd name="T13" fmla="*/ 3 h 55"/>
                <a:gd name="T14" fmla="*/ 24 w 35"/>
                <a:gd name="T15" fmla="*/ 3 h 55"/>
                <a:gd name="T16" fmla="*/ 33 w 35"/>
                <a:gd name="T17" fmla="*/ 0 h 55"/>
                <a:gd name="T18" fmla="*/ 35 w 35"/>
                <a:gd name="T19" fmla="*/ 0 h 55"/>
                <a:gd name="T20" fmla="*/ 33 w 35"/>
                <a:gd name="T21" fmla="*/ 7 h 55"/>
                <a:gd name="T22" fmla="*/ 31 w 35"/>
                <a:gd name="T23" fmla="*/ 6 h 55"/>
                <a:gd name="T24" fmla="*/ 28 w 35"/>
                <a:gd name="T25" fmla="*/ 7 h 55"/>
                <a:gd name="T26" fmla="*/ 31 w 35"/>
                <a:gd name="T27" fmla="*/ 15 h 55"/>
                <a:gd name="T28" fmla="*/ 17 w 35"/>
                <a:gd name="T29" fmla="*/ 28 h 55"/>
                <a:gd name="T30" fmla="*/ 12 w 35"/>
                <a:gd name="T31" fmla="*/ 28 h 55"/>
                <a:gd name="T32" fmla="*/ 12 w 35"/>
                <a:gd name="T33" fmla="*/ 30 h 55"/>
                <a:gd name="T34" fmla="*/ 35 w 35"/>
                <a:gd name="T35" fmla="*/ 44 h 55"/>
                <a:gd name="T36" fmla="*/ 16 w 35"/>
                <a:gd name="T37" fmla="*/ 55 h 55"/>
                <a:gd name="T38" fmla="*/ 0 w 35"/>
                <a:gd name="T39" fmla="*/ 45 h 55"/>
                <a:gd name="T40" fmla="*/ 26 w 35"/>
                <a:gd name="T41" fmla="*/ 45 h 55"/>
                <a:gd name="T42" fmla="*/ 10 w 35"/>
                <a:gd name="T43" fmla="*/ 39 h 55"/>
                <a:gd name="T44" fmla="*/ 8 w 35"/>
                <a:gd name="T45" fmla="*/ 44 h 55"/>
                <a:gd name="T46" fmla="*/ 17 w 35"/>
                <a:gd name="T47" fmla="*/ 49 h 55"/>
                <a:gd name="T48" fmla="*/ 26 w 35"/>
                <a:gd name="T49" fmla="*/ 45 h 55"/>
                <a:gd name="T50" fmla="*/ 23 w 35"/>
                <a:gd name="T51" fmla="*/ 15 h 55"/>
                <a:gd name="T52" fmla="*/ 17 w 35"/>
                <a:gd name="T53" fmla="*/ 9 h 55"/>
                <a:gd name="T54" fmla="*/ 10 w 35"/>
                <a:gd name="T55" fmla="*/ 15 h 55"/>
                <a:gd name="T56" fmla="*/ 17 w 35"/>
                <a:gd name="T57" fmla="*/ 22 h 55"/>
                <a:gd name="T58" fmla="*/ 23 w 35"/>
                <a:gd name="T59" fmla="*/ 1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 h="55">
                  <a:moveTo>
                    <a:pt x="0" y="45"/>
                  </a:moveTo>
                  <a:cubicBezTo>
                    <a:pt x="0" y="41"/>
                    <a:pt x="2" y="38"/>
                    <a:pt x="6" y="37"/>
                  </a:cubicBezTo>
                  <a:cubicBezTo>
                    <a:pt x="5" y="36"/>
                    <a:pt x="4" y="34"/>
                    <a:pt x="4" y="32"/>
                  </a:cubicBezTo>
                  <a:cubicBezTo>
                    <a:pt x="4" y="30"/>
                    <a:pt x="5" y="28"/>
                    <a:pt x="8" y="26"/>
                  </a:cubicBezTo>
                  <a:cubicBezTo>
                    <a:pt x="4" y="24"/>
                    <a:pt x="2" y="19"/>
                    <a:pt x="2" y="15"/>
                  </a:cubicBezTo>
                  <a:cubicBezTo>
                    <a:pt x="2" y="8"/>
                    <a:pt x="7" y="2"/>
                    <a:pt x="16" y="2"/>
                  </a:cubicBezTo>
                  <a:cubicBezTo>
                    <a:pt x="20" y="2"/>
                    <a:pt x="22" y="3"/>
                    <a:pt x="23" y="3"/>
                  </a:cubicBezTo>
                  <a:cubicBezTo>
                    <a:pt x="24" y="4"/>
                    <a:pt x="24" y="3"/>
                    <a:pt x="24" y="3"/>
                  </a:cubicBezTo>
                  <a:cubicBezTo>
                    <a:pt x="26" y="1"/>
                    <a:pt x="28" y="0"/>
                    <a:pt x="33" y="0"/>
                  </a:cubicBezTo>
                  <a:cubicBezTo>
                    <a:pt x="34" y="0"/>
                    <a:pt x="35" y="0"/>
                    <a:pt x="35" y="0"/>
                  </a:cubicBezTo>
                  <a:cubicBezTo>
                    <a:pt x="33" y="7"/>
                    <a:pt x="33" y="7"/>
                    <a:pt x="33" y="7"/>
                  </a:cubicBezTo>
                  <a:cubicBezTo>
                    <a:pt x="33" y="7"/>
                    <a:pt x="32" y="6"/>
                    <a:pt x="31" y="6"/>
                  </a:cubicBezTo>
                  <a:cubicBezTo>
                    <a:pt x="30" y="6"/>
                    <a:pt x="29" y="7"/>
                    <a:pt x="28" y="7"/>
                  </a:cubicBezTo>
                  <a:cubicBezTo>
                    <a:pt x="30" y="9"/>
                    <a:pt x="31" y="12"/>
                    <a:pt x="31" y="15"/>
                  </a:cubicBezTo>
                  <a:cubicBezTo>
                    <a:pt x="31" y="23"/>
                    <a:pt x="25" y="28"/>
                    <a:pt x="17" y="28"/>
                  </a:cubicBezTo>
                  <a:cubicBezTo>
                    <a:pt x="15" y="28"/>
                    <a:pt x="14" y="28"/>
                    <a:pt x="12" y="28"/>
                  </a:cubicBezTo>
                  <a:cubicBezTo>
                    <a:pt x="12" y="29"/>
                    <a:pt x="12" y="30"/>
                    <a:pt x="12" y="30"/>
                  </a:cubicBezTo>
                  <a:cubicBezTo>
                    <a:pt x="12" y="37"/>
                    <a:pt x="35" y="31"/>
                    <a:pt x="35" y="44"/>
                  </a:cubicBezTo>
                  <a:cubicBezTo>
                    <a:pt x="35" y="50"/>
                    <a:pt x="28" y="55"/>
                    <a:pt x="16" y="55"/>
                  </a:cubicBezTo>
                  <a:cubicBezTo>
                    <a:pt x="6" y="55"/>
                    <a:pt x="0" y="51"/>
                    <a:pt x="0" y="45"/>
                  </a:cubicBezTo>
                  <a:close/>
                  <a:moveTo>
                    <a:pt x="26" y="45"/>
                  </a:moveTo>
                  <a:cubicBezTo>
                    <a:pt x="26" y="40"/>
                    <a:pt x="15" y="41"/>
                    <a:pt x="10" y="39"/>
                  </a:cubicBezTo>
                  <a:cubicBezTo>
                    <a:pt x="9" y="40"/>
                    <a:pt x="8" y="41"/>
                    <a:pt x="8" y="44"/>
                  </a:cubicBezTo>
                  <a:cubicBezTo>
                    <a:pt x="8" y="47"/>
                    <a:pt x="11" y="49"/>
                    <a:pt x="17" y="49"/>
                  </a:cubicBezTo>
                  <a:cubicBezTo>
                    <a:pt x="23" y="49"/>
                    <a:pt x="26" y="47"/>
                    <a:pt x="26" y="45"/>
                  </a:cubicBezTo>
                  <a:close/>
                  <a:moveTo>
                    <a:pt x="23" y="15"/>
                  </a:moveTo>
                  <a:cubicBezTo>
                    <a:pt x="23" y="12"/>
                    <a:pt x="20" y="9"/>
                    <a:pt x="17" y="9"/>
                  </a:cubicBezTo>
                  <a:cubicBezTo>
                    <a:pt x="13" y="9"/>
                    <a:pt x="10" y="11"/>
                    <a:pt x="10" y="15"/>
                  </a:cubicBezTo>
                  <a:cubicBezTo>
                    <a:pt x="10" y="19"/>
                    <a:pt x="13" y="22"/>
                    <a:pt x="17" y="22"/>
                  </a:cubicBezTo>
                  <a:cubicBezTo>
                    <a:pt x="20" y="22"/>
                    <a:pt x="23" y="19"/>
                    <a:pt x="23"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 name="Freeform 125"/>
            <p:cNvSpPr>
              <a:spLocks/>
            </p:cNvSpPr>
            <p:nvPr/>
          </p:nvSpPr>
          <p:spPr bwMode="auto">
            <a:xfrm>
              <a:off x="8116372" y="4516540"/>
              <a:ext cx="44984" cy="74763"/>
            </a:xfrm>
            <a:custGeom>
              <a:avLst/>
              <a:gdLst>
                <a:gd name="T0" fmla="*/ 7 w 27"/>
                <a:gd name="T1" fmla="*/ 37 h 47"/>
                <a:gd name="T2" fmla="*/ 7 w 27"/>
                <a:gd name="T3" fmla="*/ 18 h 47"/>
                <a:gd name="T4" fmla="*/ 0 w 27"/>
                <a:gd name="T5" fmla="*/ 18 h 47"/>
                <a:gd name="T6" fmla="*/ 0 w 27"/>
                <a:gd name="T7" fmla="*/ 11 h 47"/>
                <a:gd name="T8" fmla="*/ 7 w 27"/>
                <a:gd name="T9" fmla="*/ 11 h 47"/>
                <a:gd name="T10" fmla="*/ 7 w 27"/>
                <a:gd name="T11" fmla="*/ 3 h 47"/>
                <a:gd name="T12" fmla="*/ 15 w 27"/>
                <a:gd name="T13" fmla="*/ 0 h 47"/>
                <a:gd name="T14" fmla="*/ 15 w 27"/>
                <a:gd name="T15" fmla="*/ 11 h 47"/>
                <a:gd name="T16" fmla="*/ 26 w 27"/>
                <a:gd name="T17" fmla="*/ 11 h 47"/>
                <a:gd name="T18" fmla="*/ 24 w 27"/>
                <a:gd name="T19" fmla="*/ 18 h 47"/>
                <a:gd name="T20" fmla="*/ 15 w 27"/>
                <a:gd name="T21" fmla="*/ 18 h 47"/>
                <a:gd name="T22" fmla="*/ 15 w 27"/>
                <a:gd name="T23" fmla="*/ 35 h 47"/>
                <a:gd name="T24" fmla="*/ 19 w 27"/>
                <a:gd name="T25" fmla="*/ 40 h 47"/>
                <a:gd name="T26" fmla="*/ 24 w 27"/>
                <a:gd name="T27" fmla="*/ 38 h 47"/>
                <a:gd name="T28" fmla="*/ 27 w 27"/>
                <a:gd name="T29" fmla="*/ 44 h 47"/>
                <a:gd name="T30" fmla="*/ 17 w 27"/>
                <a:gd name="T31" fmla="*/ 47 h 47"/>
                <a:gd name="T32" fmla="*/ 7 w 27"/>
                <a:gd name="T33" fmla="*/ 3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 h="47">
                  <a:moveTo>
                    <a:pt x="7" y="37"/>
                  </a:moveTo>
                  <a:cubicBezTo>
                    <a:pt x="7" y="18"/>
                    <a:pt x="7" y="18"/>
                    <a:pt x="7" y="18"/>
                  </a:cubicBezTo>
                  <a:cubicBezTo>
                    <a:pt x="0" y="18"/>
                    <a:pt x="0" y="18"/>
                    <a:pt x="0" y="18"/>
                  </a:cubicBezTo>
                  <a:cubicBezTo>
                    <a:pt x="0" y="11"/>
                    <a:pt x="0" y="11"/>
                    <a:pt x="0" y="11"/>
                  </a:cubicBezTo>
                  <a:cubicBezTo>
                    <a:pt x="7" y="11"/>
                    <a:pt x="7" y="11"/>
                    <a:pt x="7" y="11"/>
                  </a:cubicBezTo>
                  <a:cubicBezTo>
                    <a:pt x="7" y="3"/>
                    <a:pt x="7" y="3"/>
                    <a:pt x="7" y="3"/>
                  </a:cubicBezTo>
                  <a:cubicBezTo>
                    <a:pt x="15" y="0"/>
                    <a:pt x="15" y="0"/>
                    <a:pt x="15" y="0"/>
                  </a:cubicBezTo>
                  <a:cubicBezTo>
                    <a:pt x="15" y="11"/>
                    <a:pt x="15" y="11"/>
                    <a:pt x="15" y="11"/>
                  </a:cubicBezTo>
                  <a:cubicBezTo>
                    <a:pt x="26" y="11"/>
                    <a:pt x="26" y="11"/>
                    <a:pt x="26" y="11"/>
                  </a:cubicBezTo>
                  <a:cubicBezTo>
                    <a:pt x="24" y="18"/>
                    <a:pt x="24" y="18"/>
                    <a:pt x="24" y="18"/>
                  </a:cubicBezTo>
                  <a:cubicBezTo>
                    <a:pt x="15" y="18"/>
                    <a:pt x="15" y="18"/>
                    <a:pt x="15" y="18"/>
                  </a:cubicBezTo>
                  <a:cubicBezTo>
                    <a:pt x="15" y="35"/>
                    <a:pt x="15" y="35"/>
                    <a:pt x="15" y="35"/>
                  </a:cubicBezTo>
                  <a:cubicBezTo>
                    <a:pt x="15" y="38"/>
                    <a:pt x="17" y="40"/>
                    <a:pt x="19" y="40"/>
                  </a:cubicBezTo>
                  <a:cubicBezTo>
                    <a:pt x="21" y="40"/>
                    <a:pt x="23" y="39"/>
                    <a:pt x="24" y="38"/>
                  </a:cubicBezTo>
                  <a:cubicBezTo>
                    <a:pt x="27" y="44"/>
                    <a:pt x="27" y="44"/>
                    <a:pt x="27" y="44"/>
                  </a:cubicBezTo>
                  <a:cubicBezTo>
                    <a:pt x="24" y="46"/>
                    <a:pt x="20" y="47"/>
                    <a:pt x="17" y="47"/>
                  </a:cubicBezTo>
                  <a:cubicBezTo>
                    <a:pt x="10" y="47"/>
                    <a:pt x="7" y="43"/>
                    <a:pt x="7"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 name="Freeform 126"/>
            <p:cNvSpPr>
              <a:spLocks noEditPoints="1"/>
            </p:cNvSpPr>
            <p:nvPr/>
          </p:nvSpPr>
          <p:spPr bwMode="auto">
            <a:xfrm>
              <a:off x="8163005" y="4532562"/>
              <a:ext cx="51814" cy="58743"/>
            </a:xfrm>
            <a:custGeom>
              <a:avLst/>
              <a:gdLst>
                <a:gd name="T0" fmla="*/ 22 w 31"/>
                <a:gd name="T1" fmla="*/ 33 h 37"/>
                <a:gd name="T2" fmla="*/ 12 w 31"/>
                <a:gd name="T3" fmla="*/ 37 h 37"/>
                <a:gd name="T4" fmla="*/ 0 w 31"/>
                <a:gd name="T5" fmla="*/ 26 h 37"/>
                <a:gd name="T6" fmla="*/ 6 w 31"/>
                <a:gd name="T7" fmla="*/ 16 h 37"/>
                <a:gd name="T8" fmla="*/ 15 w 31"/>
                <a:gd name="T9" fmla="*/ 14 h 37"/>
                <a:gd name="T10" fmla="*/ 21 w 31"/>
                <a:gd name="T11" fmla="*/ 14 h 37"/>
                <a:gd name="T12" fmla="*/ 21 w 31"/>
                <a:gd name="T13" fmla="*/ 13 h 37"/>
                <a:gd name="T14" fmla="*/ 15 w 31"/>
                <a:gd name="T15" fmla="*/ 7 h 37"/>
                <a:gd name="T16" fmla="*/ 5 w 31"/>
                <a:gd name="T17" fmla="*/ 9 h 37"/>
                <a:gd name="T18" fmla="*/ 3 w 31"/>
                <a:gd name="T19" fmla="*/ 4 h 37"/>
                <a:gd name="T20" fmla="*/ 16 w 31"/>
                <a:gd name="T21" fmla="*/ 0 h 37"/>
                <a:gd name="T22" fmla="*/ 30 w 31"/>
                <a:gd name="T23" fmla="*/ 13 h 37"/>
                <a:gd name="T24" fmla="*/ 30 w 31"/>
                <a:gd name="T25" fmla="*/ 27 h 37"/>
                <a:gd name="T26" fmla="*/ 31 w 31"/>
                <a:gd name="T27" fmla="*/ 36 h 37"/>
                <a:gd name="T28" fmla="*/ 24 w 31"/>
                <a:gd name="T29" fmla="*/ 36 h 37"/>
                <a:gd name="T30" fmla="*/ 22 w 31"/>
                <a:gd name="T31" fmla="*/ 33 h 37"/>
                <a:gd name="T32" fmla="*/ 17 w 31"/>
                <a:gd name="T33" fmla="*/ 20 h 37"/>
                <a:gd name="T34" fmla="*/ 12 w 31"/>
                <a:gd name="T35" fmla="*/ 21 h 37"/>
                <a:gd name="T36" fmla="*/ 9 w 31"/>
                <a:gd name="T37" fmla="*/ 25 h 37"/>
                <a:gd name="T38" fmla="*/ 15 w 31"/>
                <a:gd name="T39" fmla="*/ 30 h 37"/>
                <a:gd name="T40" fmla="*/ 21 w 31"/>
                <a:gd name="T41" fmla="*/ 27 h 37"/>
                <a:gd name="T42" fmla="*/ 21 w 31"/>
                <a:gd name="T43" fmla="*/ 20 h 37"/>
                <a:gd name="T44" fmla="*/ 17 w 31"/>
                <a:gd name="T45"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7">
                  <a:moveTo>
                    <a:pt x="22" y="33"/>
                  </a:moveTo>
                  <a:cubicBezTo>
                    <a:pt x="20" y="35"/>
                    <a:pt x="16" y="37"/>
                    <a:pt x="12" y="37"/>
                  </a:cubicBezTo>
                  <a:cubicBezTo>
                    <a:pt x="5" y="37"/>
                    <a:pt x="0" y="32"/>
                    <a:pt x="0" y="26"/>
                  </a:cubicBezTo>
                  <a:cubicBezTo>
                    <a:pt x="0" y="21"/>
                    <a:pt x="3" y="18"/>
                    <a:pt x="6" y="16"/>
                  </a:cubicBezTo>
                  <a:cubicBezTo>
                    <a:pt x="9" y="15"/>
                    <a:pt x="12" y="14"/>
                    <a:pt x="15" y="14"/>
                  </a:cubicBezTo>
                  <a:cubicBezTo>
                    <a:pt x="21" y="14"/>
                    <a:pt x="21" y="14"/>
                    <a:pt x="21" y="14"/>
                  </a:cubicBezTo>
                  <a:cubicBezTo>
                    <a:pt x="21" y="13"/>
                    <a:pt x="21" y="13"/>
                    <a:pt x="21" y="13"/>
                  </a:cubicBezTo>
                  <a:cubicBezTo>
                    <a:pt x="21" y="9"/>
                    <a:pt x="19" y="7"/>
                    <a:pt x="15" y="7"/>
                  </a:cubicBezTo>
                  <a:cubicBezTo>
                    <a:pt x="11" y="7"/>
                    <a:pt x="8" y="8"/>
                    <a:pt x="5" y="9"/>
                  </a:cubicBezTo>
                  <a:cubicBezTo>
                    <a:pt x="3" y="4"/>
                    <a:pt x="3" y="4"/>
                    <a:pt x="3" y="4"/>
                  </a:cubicBezTo>
                  <a:cubicBezTo>
                    <a:pt x="7" y="1"/>
                    <a:pt x="11" y="0"/>
                    <a:pt x="16" y="0"/>
                  </a:cubicBezTo>
                  <a:cubicBezTo>
                    <a:pt x="26" y="0"/>
                    <a:pt x="30" y="4"/>
                    <a:pt x="30" y="13"/>
                  </a:cubicBezTo>
                  <a:cubicBezTo>
                    <a:pt x="30" y="27"/>
                    <a:pt x="30" y="27"/>
                    <a:pt x="30" y="27"/>
                  </a:cubicBezTo>
                  <a:cubicBezTo>
                    <a:pt x="30" y="31"/>
                    <a:pt x="30" y="34"/>
                    <a:pt x="31" y="36"/>
                  </a:cubicBezTo>
                  <a:cubicBezTo>
                    <a:pt x="24" y="36"/>
                    <a:pt x="24" y="36"/>
                    <a:pt x="24" y="36"/>
                  </a:cubicBezTo>
                  <a:lnTo>
                    <a:pt x="22" y="33"/>
                  </a:lnTo>
                  <a:close/>
                  <a:moveTo>
                    <a:pt x="17" y="20"/>
                  </a:moveTo>
                  <a:cubicBezTo>
                    <a:pt x="14" y="20"/>
                    <a:pt x="13" y="20"/>
                    <a:pt x="12" y="21"/>
                  </a:cubicBezTo>
                  <a:cubicBezTo>
                    <a:pt x="10" y="22"/>
                    <a:pt x="9" y="23"/>
                    <a:pt x="9" y="25"/>
                  </a:cubicBezTo>
                  <a:cubicBezTo>
                    <a:pt x="9" y="28"/>
                    <a:pt x="11" y="30"/>
                    <a:pt x="15" y="30"/>
                  </a:cubicBezTo>
                  <a:cubicBezTo>
                    <a:pt x="18" y="30"/>
                    <a:pt x="20" y="28"/>
                    <a:pt x="21" y="27"/>
                  </a:cubicBezTo>
                  <a:cubicBezTo>
                    <a:pt x="21" y="20"/>
                    <a:pt x="21" y="20"/>
                    <a:pt x="21" y="20"/>
                  </a:cubicBezTo>
                  <a:lnTo>
                    <a:pt x="17"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28" name="Group 127"/>
          <p:cNvGrpSpPr/>
          <p:nvPr userDrawn="1"/>
        </p:nvGrpSpPr>
        <p:grpSpPr>
          <a:xfrm>
            <a:off x="7686461" y="4906654"/>
            <a:ext cx="1124815" cy="151147"/>
            <a:chOff x="7686461" y="4581466"/>
            <a:chExt cx="1124815" cy="151147"/>
          </a:xfrm>
          <a:solidFill>
            <a:schemeClr val="bg1"/>
          </a:solidFill>
        </p:grpSpPr>
        <p:sp>
          <p:nvSpPr>
            <p:cNvPr id="129"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30"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31"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32"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33"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34"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35"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36"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37"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38"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39"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40"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41"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42"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43"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grpSp>
      <p:sp>
        <p:nvSpPr>
          <p:cNvPr id="51"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solidFill>
                  <a:schemeClr val="tx1">
                    <a:lumMod val="50000"/>
                    <a:lumOff val="50000"/>
                  </a:schemeClr>
                </a:solidFill>
                <a:latin typeface="+mn-lt"/>
              </a:rPr>
              <a:t>Private and Confidental</a:t>
            </a:r>
            <a:endParaRPr lang="pt-BR" sz="500" dirty="0">
              <a:solidFill>
                <a:schemeClr val="tx1">
                  <a:lumMod val="50000"/>
                  <a:lumOff val="50000"/>
                </a:schemeClr>
              </a:solidFill>
              <a:latin typeface="+mn-lt"/>
            </a:endParaRPr>
          </a:p>
        </p:txBody>
      </p:sp>
    </p:spTree>
    <p:extLst>
      <p:ext uri="{BB962C8B-B14F-4D97-AF65-F5344CB8AC3E}">
        <p14:creationId xmlns:p14="http://schemas.microsoft.com/office/powerpoint/2010/main" val="3138733802"/>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F_A_MB_Leaf">
    <p:bg>
      <p:bgPr>
        <a:solidFill>
          <a:schemeClr val="bg1"/>
        </a:solidFill>
        <a:effectLst/>
      </p:bgPr>
    </p:bg>
    <p:spTree>
      <p:nvGrpSpPr>
        <p:cNvPr id="1" name=""/>
        <p:cNvGrpSpPr/>
        <p:nvPr/>
      </p:nvGrpSpPr>
      <p:grpSpPr>
        <a:xfrm>
          <a:off x="0" y="0"/>
          <a:ext cx="0" cy="0"/>
          <a:chOff x="0" y="0"/>
          <a:chExt cx="0" cy="0"/>
        </a:xfrm>
      </p:grpSpPr>
      <p:sp>
        <p:nvSpPr>
          <p:cNvPr id="31" name="Rectangle 30"/>
          <p:cNvSpPr/>
          <p:nvPr userDrawn="1"/>
        </p:nvSpPr>
        <p:spPr>
          <a:xfrm>
            <a:off x="0" y="0"/>
            <a:ext cx="9144000" cy="5148263"/>
          </a:xfrm>
          <a:prstGeom prst="rect">
            <a:avLst/>
          </a:prstGeom>
          <a:solidFill>
            <a:schemeClr val="tx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en-GB" sz="1050" smtClean="0">
              <a:solidFill>
                <a:schemeClr val="bg1"/>
              </a:solidFill>
              <a:latin typeface="Arial" panose="020B0604020202020204" pitchFamily="34" charset="0"/>
              <a:cs typeface="Arial" panose="020B0604020202020204" pitchFamily="34" charset="0"/>
            </a:endParaRPr>
          </a:p>
        </p:txBody>
      </p:sp>
      <p:pic>
        <p:nvPicPr>
          <p:cNvPr id="33" name="Picture 32" descr="cookie_white.png"/>
          <p:cNvPicPr>
            <a:picLocks noChangeAspect="1"/>
          </p:cNvPicPr>
          <p:nvPr userDrawn="1"/>
        </p:nvPicPr>
        <p:blipFill rotWithShape="1">
          <a:blip r:embed="rId2" cstate="screen">
            <a:alphaModFix amt="16000"/>
            <a:extLst>
              <a:ext uri="{28A0092B-C50C-407E-A947-70E740481C1C}">
                <a14:useLocalDpi xmlns:a14="http://schemas.microsoft.com/office/drawing/2010/main"/>
              </a:ext>
            </a:extLst>
          </a:blip>
          <a:srcRect/>
          <a:stretch/>
        </p:blipFill>
        <p:spPr>
          <a:xfrm flipH="1">
            <a:off x="5149029" y="2289839"/>
            <a:ext cx="4020091" cy="2880000"/>
          </a:xfrm>
          <a:prstGeom prst="rect">
            <a:avLst/>
          </a:prstGeom>
        </p:spPr>
      </p:pic>
      <p:cxnSp>
        <p:nvCxnSpPr>
          <p:cNvPr id="32" name="Straight Connector 31"/>
          <p:cNvCxnSpPr/>
          <p:nvPr userDrawn="1"/>
        </p:nvCxnSpPr>
        <p:spPr>
          <a:xfrm>
            <a:off x="343365" y="470176"/>
            <a:ext cx="8460000" cy="0"/>
          </a:xfrm>
          <a:prstGeom prst="line">
            <a:avLst/>
          </a:prstGeom>
          <a:ln w="6350" cmpd="sng">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343365" y="4801146"/>
            <a:ext cx="8460000" cy="0"/>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sp>
        <p:nvSpPr>
          <p:cNvPr id="67"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rgbClr val="FFFFFF"/>
                </a:solidFill>
                <a:latin typeface="+mn-lt"/>
              </a:defRPr>
            </a:lvl1pPr>
          </a:lstStyle>
          <a:p>
            <a:fld id="{19AB4E72-7858-48F1-A40D-12FF09E4BFB8}" type="slidenum">
              <a:rPr lang="en-GB" smtClean="0"/>
              <a:pPr/>
              <a:t>‹Nº›</a:t>
            </a:fld>
            <a:endParaRPr lang="en-GB"/>
          </a:p>
        </p:txBody>
      </p:sp>
      <p:sp>
        <p:nvSpPr>
          <p:cNvPr id="36" name="Title 1"/>
          <p:cNvSpPr>
            <a:spLocks noGrp="1"/>
          </p:cNvSpPr>
          <p:nvPr>
            <p:ph type="ctrTitle" hasCustomPrompt="1"/>
          </p:nvPr>
        </p:nvSpPr>
        <p:spPr>
          <a:xfrm>
            <a:off x="343365" y="2867487"/>
            <a:ext cx="8460000" cy="443198"/>
          </a:xfrm>
          <a:prstGeom prst="rect">
            <a:avLst/>
          </a:prstGeom>
        </p:spPr>
        <p:txBody>
          <a:bodyPr lIns="0" tIns="0" rIns="0" bIns="0" anchor="b"/>
          <a:lstStyle>
            <a:lvl1pPr>
              <a:lnSpc>
                <a:spcPct val="90000"/>
              </a:lnSpc>
              <a:defRPr sz="3200" b="0">
                <a:solidFill>
                  <a:schemeClr val="bg1"/>
                </a:solidFill>
              </a:defRPr>
            </a:lvl1pPr>
          </a:lstStyle>
          <a:p>
            <a:r>
              <a:rPr lang="en-US" dirty="0" smtClean="0"/>
              <a:t>Click to edit Master title Style</a:t>
            </a:r>
            <a:endParaRPr lang="en-US" dirty="0"/>
          </a:p>
        </p:txBody>
      </p:sp>
      <p:sp>
        <p:nvSpPr>
          <p:cNvPr id="37" name="Subtitle 2"/>
          <p:cNvSpPr>
            <a:spLocks noGrp="1"/>
          </p:cNvSpPr>
          <p:nvPr>
            <p:ph type="subTitle" idx="1" hasCustomPrompt="1"/>
          </p:nvPr>
        </p:nvSpPr>
        <p:spPr>
          <a:xfrm>
            <a:off x="343364" y="3474100"/>
            <a:ext cx="8460000" cy="202165"/>
          </a:xfrm>
          <a:prstGeom prst="rect">
            <a:avLst/>
          </a:prstGeom>
        </p:spPr>
        <p:txBody>
          <a:bodyPr lIns="0" tIns="0" rIns="0" bIns="0">
            <a:noAutofit/>
          </a:bodyPr>
          <a:lstStyle>
            <a:lvl1pPr marL="0" indent="0" algn="l">
              <a:buNone/>
              <a:defRPr sz="14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cxnSp>
        <p:nvCxnSpPr>
          <p:cNvPr id="38" name="Straight Connector 37"/>
          <p:cNvCxnSpPr/>
          <p:nvPr userDrawn="1"/>
        </p:nvCxnSpPr>
        <p:spPr>
          <a:xfrm>
            <a:off x="346086" y="3395058"/>
            <a:ext cx="8460000" cy="0"/>
          </a:xfrm>
          <a:prstGeom prst="line">
            <a:avLst/>
          </a:prstGeom>
          <a:ln w="12700"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77" name="Text Placeholder 2"/>
          <p:cNvSpPr>
            <a:spLocks noGrp="1"/>
          </p:cNvSpPr>
          <p:nvPr>
            <p:ph type="body" sz="quarter" idx="25" hasCustomPrompt="1"/>
          </p:nvPr>
        </p:nvSpPr>
        <p:spPr>
          <a:xfrm>
            <a:off x="3342796" y="4807465"/>
            <a:ext cx="1160462" cy="341313"/>
          </a:xfrm>
          <a:prstGeom prst="rect">
            <a:avLst/>
          </a:prstGeom>
        </p:spPr>
        <p:txBody>
          <a:bodyPr anchor="ctr"/>
          <a:lstStyle>
            <a:lvl1pPr marL="0" indent="0" algn="ctr">
              <a:buNone/>
              <a:defRPr sz="800">
                <a:solidFill>
                  <a:schemeClr val="bg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pic>
        <p:nvPicPr>
          <p:cNvPr id="78" name="Picture 7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68466" y="4829728"/>
            <a:ext cx="288000" cy="288000"/>
          </a:xfrm>
          <a:prstGeom prst="rect">
            <a:avLst/>
          </a:prstGeom>
        </p:spPr>
      </p:pic>
      <p:grpSp>
        <p:nvGrpSpPr>
          <p:cNvPr id="51" name="Group 50"/>
          <p:cNvGrpSpPr/>
          <p:nvPr userDrawn="1"/>
        </p:nvGrpSpPr>
        <p:grpSpPr>
          <a:xfrm>
            <a:off x="7686461" y="4906654"/>
            <a:ext cx="1124815" cy="151147"/>
            <a:chOff x="7686461" y="4581466"/>
            <a:chExt cx="1124815" cy="151147"/>
          </a:xfrm>
          <a:solidFill>
            <a:schemeClr val="bg1"/>
          </a:solidFill>
        </p:grpSpPr>
        <p:sp>
          <p:nvSpPr>
            <p:cNvPr id="52"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3"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4"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5"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6"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7"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8"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9"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0"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1"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2"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3"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4"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5"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6"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grpSp>
      <p:grpSp>
        <p:nvGrpSpPr>
          <p:cNvPr id="68" name="Group 67"/>
          <p:cNvGrpSpPr/>
          <p:nvPr userDrawn="1"/>
        </p:nvGrpSpPr>
        <p:grpSpPr>
          <a:xfrm>
            <a:off x="6223980" y="4846685"/>
            <a:ext cx="1123200" cy="262528"/>
            <a:chOff x="7673274" y="4343117"/>
            <a:chExt cx="1123200" cy="262528"/>
          </a:xfrm>
          <a:solidFill>
            <a:schemeClr val="bg1"/>
          </a:solidFill>
        </p:grpSpPr>
        <p:grpSp>
          <p:nvGrpSpPr>
            <p:cNvPr id="69" name="Group 68"/>
            <p:cNvGrpSpPr/>
            <p:nvPr userDrawn="1"/>
          </p:nvGrpSpPr>
          <p:grpSpPr>
            <a:xfrm>
              <a:off x="7909937" y="4494135"/>
              <a:ext cx="438357" cy="111510"/>
              <a:chOff x="7909937" y="4491754"/>
              <a:chExt cx="438357" cy="111510"/>
            </a:xfrm>
            <a:grpFill/>
          </p:grpSpPr>
          <p:sp>
            <p:nvSpPr>
              <p:cNvPr id="88" name="Freeform 21"/>
              <p:cNvSpPr>
                <a:spLocks noEditPoints="1"/>
              </p:cNvSpPr>
              <p:nvPr/>
            </p:nvSpPr>
            <p:spPr bwMode="auto">
              <a:xfrm>
                <a:off x="7909937" y="4496945"/>
                <a:ext cx="72264" cy="78286"/>
              </a:xfrm>
              <a:custGeom>
                <a:avLst/>
                <a:gdLst>
                  <a:gd name="T0" fmla="*/ 290 w 696"/>
                  <a:gd name="T1" fmla="*/ 0 h 754"/>
                  <a:gd name="T2" fmla="*/ 394 w 696"/>
                  <a:gd name="T3" fmla="*/ 0 h 754"/>
                  <a:gd name="T4" fmla="*/ 696 w 696"/>
                  <a:gd name="T5" fmla="*/ 754 h 754"/>
                  <a:gd name="T6" fmla="*/ 550 w 696"/>
                  <a:gd name="T7" fmla="*/ 754 h 754"/>
                  <a:gd name="T8" fmla="*/ 478 w 696"/>
                  <a:gd name="T9" fmla="*/ 566 h 754"/>
                  <a:gd name="T10" fmla="*/ 210 w 696"/>
                  <a:gd name="T11" fmla="*/ 566 h 754"/>
                  <a:gd name="T12" fmla="*/ 140 w 696"/>
                  <a:gd name="T13" fmla="*/ 754 h 754"/>
                  <a:gd name="T14" fmla="*/ 0 w 696"/>
                  <a:gd name="T15" fmla="*/ 754 h 754"/>
                  <a:gd name="T16" fmla="*/ 290 w 696"/>
                  <a:gd name="T17" fmla="*/ 0 h 754"/>
                  <a:gd name="T18" fmla="*/ 436 w 696"/>
                  <a:gd name="T19" fmla="*/ 456 h 754"/>
                  <a:gd name="T20" fmla="*/ 384 w 696"/>
                  <a:gd name="T21" fmla="*/ 306 h 754"/>
                  <a:gd name="T22" fmla="*/ 384 w 696"/>
                  <a:gd name="T23" fmla="*/ 306 h 754"/>
                  <a:gd name="T24" fmla="*/ 360 w 696"/>
                  <a:gd name="T25" fmla="*/ 236 h 754"/>
                  <a:gd name="T26" fmla="*/ 346 w 696"/>
                  <a:gd name="T27" fmla="*/ 190 h 754"/>
                  <a:gd name="T28" fmla="*/ 344 w 696"/>
                  <a:gd name="T29" fmla="*/ 190 h 754"/>
                  <a:gd name="T30" fmla="*/ 344 w 696"/>
                  <a:gd name="T31" fmla="*/ 190 h 754"/>
                  <a:gd name="T32" fmla="*/ 328 w 696"/>
                  <a:gd name="T33" fmla="*/ 236 h 754"/>
                  <a:gd name="T34" fmla="*/ 304 w 696"/>
                  <a:gd name="T35" fmla="*/ 306 h 754"/>
                  <a:gd name="T36" fmla="*/ 250 w 696"/>
                  <a:gd name="T37" fmla="*/ 456 h 754"/>
                  <a:gd name="T38" fmla="*/ 436 w 696"/>
                  <a:gd name="T39" fmla="*/ 456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6" h="754">
                    <a:moveTo>
                      <a:pt x="290" y="0"/>
                    </a:moveTo>
                    <a:lnTo>
                      <a:pt x="394" y="0"/>
                    </a:lnTo>
                    <a:lnTo>
                      <a:pt x="696" y="754"/>
                    </a:lnTo>
                    <a:lnTo>
                      <a:pt x="550" y="754"/>
                    </a:lnTo>
                    <a:lnTo>
                      <a:pt x="478" y="566"/>
                    </a:lnTo>
                    <a:lnTo>
                      <a:pt x="210" y="566"/>
                    </a:lnTo>
                    <a:lnTo>
                      <a:pt x="140" y="754"/>
                    </a:lnTo>
                    <a:lnTo>
                      <a:pt x="0" y="754"/>
                    </a:lnTo>
                    <a:lnTo>
                      <a:pt x="290" y="0"/>
                    </a:lnTo>
                    <a:close/>
                    <a:moveTo>
                      <a:pt x="436" y="456"/>
                    </a:moveTo>
                    <a:lnTo>
                      <a:pt x="384" y="306"/>
                    </a:lnTo>
                    <a:lnTo>
                      <a:pt x="384" y="306"/>
                    </a:lnTo>
                    <a:lnTo>
                      <a:pt x="360" y="236"/>
                    </a:lnTo>
                    <a:lnTo>
                      <a:pt x="346" y="190"/>
                    </a:lnTo>
                    <a:lnTo>
                      <a:pt x="344" y="190"/>
                    </a:lnTo>
                    <a:lnTo>
                      <a:pt x="344" y="190"/>
                    </a:lnTo>
                    <a:lnTo>
                      <a:pt x="328" y="236"/>
                    </a:lnTo>
                    <a:lnTo>
                      <a:pt x="304" y="306"/>
                    </a:lnTo>
                    <a:lnTo>
                      <a:pt x="250" y="456"/>
                    </a:lnTo>
                    <a:lnTo>
                      <a:pt x="436" y="4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 name="Freeform 22"/>
              <p:cNvSpPr>
                <a:spLocks noEditPoints="1"/>
              </p:cNvSpPr>
              <p:nvPr/>
            </p:nvSpPr>
            <p:spPr bwMode="auto">
              <a:xfrm>
                <a:off x="8047404" y="4517918"/>
                <a:ext cx="48591" cy="58558"/>
              </a:xfrm>
              <a:custGeom>
                <a:avLst/>
                <a:gdLst>
                  <a:gd name="T0" fmla="*/ 334 w 468"/>
                  <a:gd name="T1" fmla="*/ 502 h 564"/>
                  <a:gd name="T2" fmla="*/ 302 w 468"/>
                  <a:gd name="T3" fmla="*/ 526 h 564"/>
                  <a:gd name="T4" fmla="*/ 266 w 468"/>
                  <a:gd name="T5" fmla="*/ 546 h 564"/>
                  <a:gd name="T6" fmla="*/ 226 w 468"/>
                  <a:gd name="T7" fmla="*/ 560 h 564"/>
                  <a:gd name="T8" fmla="*/ 178 w 468"/>
                  <a:gd name="T9" fmla="*/ 564 h 564"/>
                  <a:gd name="T10" fmla="*/ 160 w 468"/>
                  <a:gd name="T11" fmla="*/ 564 h 564"/>
                  <a:gd name="T12" fmla="*/ 124 w 468"/>
                  <a:gd name="T13" fmla="*/ 558 h 564"/>
                  <a:gd name="T14" fmla="*/ 92 w 468"/>
                  <a:gd name="T15" fmla="*/ 546 h 564"/>
                  <a:gd name="T16" fmla="*/ 62 w 468"/>
                  <a:gd name="T17" fmla="*/ 528 h 564"/>
                  <a:gd name="T18" fmla="*/ 38 w 468"/>
                  <a:gd name="T19" fmla="*/ 506 h 564"/>
                  <a:gd name="T20" fmla="*/ 20 w 468"/>
                  <a:gd name="T21" fmla="*/ 478 h 564"/>
                  <a:gd name="T22" fmla="*/ 6 w 468"/>
                  <a:gd name="T23" fmla="*/ 446 h 564"/>
                  <a:gd name="T24" fmla="*/ 0 w 468"/>
                  <a:gd name="T25" fmla="*/ 412 h 564"/>
                  <a:gd name="T26" fmla="*/ 0 w 468"/>
                  <a:gd name="T27" fmla="*/ 392 h 564"/>
                  <a:gd name="T28" fmla="*/ 6 w 468"/>
                  <a:gd name="T29" fmla="*/ 342 h 564"/>
                  <a:gd name="T30" fmla="*/ 24 w 468"/>
                  <a:gd name="T31" fmla="*/ 302 h 564"/>
                  <a:gd name="T32" fmla="*/ 52 w 468"/>
                  <a:gd name="T33" fmla="*/ 270 h 564"/>
                  <a:gd name="T34" fmla="*/ 90 w 468"/>
                  <a:gd name="T35" fmla="*/ 246 h 564"/>
                  <a:gd name="T36" fmla="*/ 120 w 468"/>
                  <a:gd name="T37" fmla="*/ 232 h 564"/>
                  <a:gd name="T38" fmla="*/ 190 w 468"/>
                  <a:gd name="T39" fmla="*/ 218 h 564"/>
                  <a:gd name="T40" fmla="*/ 322 w 468"/>
                  <a:gd name="T41" fmla="*/ 210 h 564"/>
                  <a:gd name="T42" fmla="*/ 322 w 468"/>
                  <a:gd name="T43" fmla="*/ 194 h 564"/>
                  <a:gd name="T44" fmla="*/ 314 w 468"/>
                  <a:gd name="T45" fmla="*/ 154 h 564"/>
                  <a:gd name="T46" fmla="*/ 294 w 468"/>
                  <a:gd name="T47" fmla="*/ 126 h 564"/>
                  <a:gd name="T48" fmla="*/ 260 w 468"/>
                  <a:gd name="T49" fmla="*/ 108 h 564"/>
                  <a:gd name="T50" fmla="*/ 218 w 468"/>
                  <a:gd name="T51" fmla="*/ 104 h 564"/>
                  <a:gd name="T52" fmla="*/ 198 w 468"/>
                  <a:gd name="T53" fmla="*/ 104 h 564"/>
                  <a:gd name="T54" fmla="*/ 160 w 468"/>
                  <a:gd name="T55" fmla="*/ 110 h 564"/>
                  <a:gd name="T56" fmla="*/ 108 w 468"/>
                  <a:gd name="T57" fmla="*/ 126 h 564"/>
                  <a:gd name="T58" fmla="*/ 32 w 468"/>
                  <a:gd name="T59" fmla="*/ 54 h 564"/>
                  <a:gd name="T60" fmla="*/ 56 w 468"/>
                  <a:gd name="T61" fmla="*/ 42 h 564"/>
                  <a:gd name="T62" fmla="*/ 106 w 468"/>
                  <a:gd name="T63" fmla="*/ 22 h 564"/>
                  <a:gd name="T64" fmla="*/ 158 w 468"/>
                  <a:gd name="T65" fmla="*/ 8 h 564"/>
                  <a:gd name="T66" fmla="*/ 212 w 468"/>
                  <a:gd name="T67" fmla="*/ 0 h 564"/>
                  <a:gd name="T68" fmla="*/ 240 w 468"/>
                  <a:gd name="T69" fmla="*/ 0 h 564"/>
                  <a:gd name="T70" fmla="*/ 292 w 468"/>
                  <a:gd name="T71" fmla="*/ 4 h 564"/>
                  <a:gd name="T72" fmla="*/ 336 w 468"/>
                  <a:gd name="T73" fmla="*/ 12 h 564"/>
                  <a:gd name="T74" fmla="*/ 372 w 468"/>
                  <a:gd name="T75" fmla="*/ 28 h 564"/>
                  <a:gd name="T76" fmla="*/ 404 w 468"/>
                  <a:gd name="T77" fmla="*/ 50 h 564"/>
                  <a:gd name="T78" fmla="*/ 426 w 468"/>
                  <a:gd name="T79" fmla="*/ 76 h 564"/>
                  <a:gd name="T80" fmla="*/ 444 w 468"/>
                  <a:gd name="T81" fmla="*/ 110 h 564"/>
                  <a:gd name="T82" fmla="*/ 454 w 468"/>
                  <a:gd name="T83" fmla="*/ 150 h 564"/>
                  <a:gd name="T84" fmla="*/ 458 w 468"/>
                  <a:gd name="T85" fmla="*/ 196 h 564"/>
                  <a:gd name="T86" fmla="*/ 458 w 468"/>
                  <a:gd name="T87" fmla="*/ 414 h 564"/>
                  <a:gd name="T88" fmla="*/ 460 w 468"/>
                  <a:gd name="T89" fmla="*/ 496 h 564"/>
                  <a:gd name="T90" fmla="*/ 468 w 468"/>
                  <a:gd name="T91" fmla="*/ 552 h 564"/>
                  <a:gd name="T92" fmla="*/ 334 w 468"/>
                  <a:gd name="T93" fmla="*/ 502 h 564"/>
                  <a:gd name="T94" fmla="*/ 248 w 468"/>
                  <a:gd name="T95" fmla="*/ 304 h 564"/>
                  <a:gd name="T96" fmla="*/ 204 w 468"/>
                  <a:gd name="T97" fmla="*/ 310 h 564"/>
                  <a:gd name="T98" fmla="*/ 170 w 468"/>
                  <a:gd name="T99" fmla="*/ 322 h 564"/>
                  <a:gd name="T100" fmla="*/ 162 w 468"/>
                  <a:gd name="T101" fmla="*/ 326 h 564"/>
                  <a:gd name="T102" fmla="*/ 150 w 468"/>
                  <a:gd name="T103" fmla="*/ 340 h 564"/>
                  <a:gd name="T104" fmla="*/ 142 w 468"/>
                  <a:gd name="T105" fmla="*/ 354 h 564"/>
                  <a:gd name="T106" fmla="*/ 138 w 468"/>
                  <a:gd name="T107" fmla="*/ 382 h 564"/>
                  <a:gd name="T108" fmla="*/ 138 w 468"/>
                  <a:gd name="T109" fmla="*/ 400 h 564"/>
                  <a:gd name="T110" fmla="*/ 150 w 468"/>
                  <a:gd name="T111" fmla="*/ 426 h 564"/>
                  <a:gd name="T112" fmla="*/ 170 w 468"/>
                  <a:gd name="T113" fmla="*/ 446 h 564"/>
                  <a:gd name="T114" fmla="*/ 200 w 468"/>
                  <a:gd name="T115" fmla="*/ 456 h 564"/>
                  <a:gd name="T116" fmla="*/ 216 w 468"/>
                  <a:gd name="T117" fmla="*/ 456 h 564"/>
                  <a:gd name="T118" fmla="*/ 252 w 468"/>
                  <a:gd name="T119" fmla="*/ 452 h 564"/>
                  <a:gd name="T120" fmla="*/ 282 w 468"/>
                  <a:gd name="T121" fmla="*/ 442 h 564"/>
                  <a:gd name="T122" fmla="*/ 322 w 468"/>
                  <a:gd name="T123" fmla="*/ 418 h 564"/>
                  <a:gd name="T124" fmla="*/ 248 w 468"/>
                  <a:gd name="T125" fmla="*/ 30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8" h="564">
                    <a:moveTo>
                      <a:pt x="334" y="502"/>
                    </a:moveTo>
                    <a:lnTo>
                      <a:pt x="334" y="502"/>
                    </a:lnTo>
                    <a:lnTo>
                      <a:pt x="318" y="514"/>
                    </a:lnTo>
                    <a:lnTo>
                      <a:pt x="302" y="526"/>
                    </a:lnTo>
                    <a:lnTo>
                      <a:pt x="284" y="536"/>
                    </a:lnTo>
                    <a:lnTo>
                      <a:pt x="266" y="546"/>
                    </a:lnTo>
                    <a:lnTo>
                      <a:pt x="246" y="554"/>
                    </a:lnTo>
                    <a:lnTo>
                      <a:pt x="226" y="560"/>
                    </a:lnTo>
                    <a:lnTo>
                      <a:pt x="202" y="562"/>
                    </a:lnTo>
                    <a:lnTo>
                      <a:pt x="178" y="564"/>
                    </a:lnTo>
                    <a:lnTo>
                      <a:pt x="178" y="564"/>
                    </a:lnTo>
                    <a:lnTo>
                      <a:pt x="160" y="564"/>
                    </a:lnTo>
                    <a:lnTo>
                      <a:pt x="140" y="560"/>
                    </a:lnTo>
                    <a:lnTo>
                      <a:pt x="124" y="558"/>
                    </a:lnTo>
                    <a:lnTo>
                      <a:pt x="106" y="552"/>
                    </a:lnTo>
                    <a:lnTo>
                      <a:pt x="92" y="546"/>
                    </a:lnTo>
                    <a:lnTo>
                      <a:pt x="76" y="538"/>
                    </a:lnTo>
                    <a:lnTo>
                      <a:pt x="62" y="528"/>
                    </a:lnTo>
                    <a:lnTo>
                      <a:pt x="50" y="516"/>
                    </a:lnTo>
                    <a:lnTo>
                      <a:pt x="38" y="506"/>
                    </a:lnTo>
                    <a:lnTo>
                      <a:pt x="28" y="492"/>
                    </a:lnTo>
                    <a:lnTo>
                      <a:pt x="20" y="478"/>
                    </a:lnTo>
                    <a:lnTo>
                      <a:pt x="12" y="462"/>
                    </a:lnTo>
                    <a:lnTo>
                      <a:pt x="6" y="446"/>
                    </a:lnTo>
                    <a:lnTo>
                      <a:pt x="2" y="430"/>
                    </a:lnTo>
                    <a:lnTo>
                      <a:pt x="0" y="412"/>
                    </a:lnTo>
                    <a:lnTo>
                      <a:pt x="0" y="392"/>
                    </a:lnTo>
                    <a:lnTo>
                      <a:pt x="0" y="392"/>
                    </a:lnTo>
                    <a:lnTo>
                      <a:pt x="0" y="366"/>
                    </a:lnTo>
                    <a:lnTo>
                      <a:pt x="6" y="342"/>
                    </a:lnTo>
                    <a:lnTo>
                      <a:pt x="14" y="320"/>
                    </a:lnTo>
                    <a:lnTo>
                      <a:pt x="24" y="302"/>
                    </a:lnTo>
                    <a:lnTo>
                      <a:pt x="36" y="284"/>
                    </a:lnTo>
                    <a:lnTo>
                      <a:pt x="52" y="270"/>
                    </a:lnTo>
                    <a:lnTo>
                      <a:pt x="70" y="256"/>
                    </a:lnTo>
                    <a:lnTo>
                      <a:pt x="90" y="246"/>
                    </a:lnTo>
                    <a:lnTo>
                      <a:pt x="90" y="246"/>
                    </a:lnTo>
                    <a:lnTo>
                      <a:pt x="120" y="232"/>
                    </a:lnTo>
                    <a:lnTo>
                      <a:pt x="154" y="224"/>
                    </a:lnTo>
                    <a:lnTo>
                      <a:pt x="190" y="218"/>
                    </a:lnTo>
                    <a:lnTo>
                      <a:pt x="230" y="214"/>
                    </a:lnTo>
                    <a:lnTo>
                      <a:pt x="322" y="210"/>
                    </a:lnTo>
                    <a:lnTo>
                      <a:pt x="322" y="194"/>
                    </a:lnTo>
                    <a:lnTo>
                      <a:pt x="322" y="194"/>
                    </a:lnTo>
                    <a:lnTo>
                      <a:pt x="320" y="172"/>
                    </a:lnTo>
                    <a:lnTo>
                      <a:pt x="314" y="154"/>
                    </a:lnTo>
                    <a:lnTo>
                      <a:pt x="306" y="138"/>
                    </a:lnTo>
                    <a:lnTo>
                      <a:pt x="294" y="126"/>
                    </a:lnTo>
                    <a:lnTo>
                      <a:pt x="278" y="116"/>
                    </a:lnTo>
                    <a:lnTo>
                      <a:pt x="260" y="108"/>
                    </a:lnTo>
                    <a:lnTo>
                      <a:pt x="240" y="106"/>
                    </a:lnTo>
                    <a:lnTo>
                      <a:pt x="218" y="104"/>
                    </a:lnTo>
                    <a:lnTo>
                      <a:pt x="218" y="104"/>
                    </a:lnTo>
                    <a:lnTo>
                      <a:pt x="198" y="104"/>
                    </a:lnTo>
                    <a:lnTo>
                      <a:pt x="178" y="106"/>
                    </a:lnTo>
                    <a:lnTo>
                      <a:pt x="160" y="110"/>
                    </a:lnTo>
                    <a:lnTo>
                      <a:pt x="142" y="114"/>
                    </a:lnTo>
                    <a:lnTo>
                      <a:pt x="108" y="126"/>
                    </a:lnTo>
                    <a:lnTo>
                      <a:pt x="76" y="142"/>
                    </a:lnTo>
                    <a:lnTo>
                      <a:pt x="32" y="54"/>
                    </a:lnTo>
                    <a:lnTo>
                      <a:pt x="32" y="54"/>
                    </a:lnTo>
                    <a:lnTo>
                      <a:pt x="56" y="42"/>
                    </a:lnTo>
                    <a:lnTo>
                      <a:pt x="82" y="30"/>
                    </a:lnTo>
                    <a:lnTo>
                      <a:pt x="106" y="22"/>
                    </a:lnTo>
                    <a:lnTo>
                      <a:pt x="132" y="14"/>
                    </a:lnTo>
                    <a:lnTo>
                      <a:pt x="158" y="8"/>
                    </a:lnTo>
                    <a:lnTo>
                      <a:pt x="186" y="4"/>
                    </a:lnTo>
                    <a:lnTo>
                      <a:pt x="212" y="0"/>
                    </a:lnTo>
                    <a:lnTo>
                      <a:pt x="240" y="0"/>
                    </a:lnTo>
                    <a:lnTo>
                      <a:pt x="240" y="0"/>
                    </a:lnTo>
                    <a:lnTo>
                      <a:pt x="268" y="0"/>
                    </a:lnTo>
                    <a:lnTo>
                      <a:pt x="292" y="4"/>
                    </a:lnTo>
                    <a:lnTo>
                      <a:pt x="314" y="6"/>
                    </a:lnTo>
                    <a:lnTo>
                      <a:pt x="336" y="12"/>
                    </a:lnTo>
                    <a:lnTo>
                      <a:pt x="356" y="20"/>
                    </a:lnTo>
                    <a:lnTo>
                      <a:pt x="372" y="28"/>
                    </a:lnTo>
                    <a:lnTo>
                      <a:pt x="388" y="38"/>
                    </a:lnTo>
                    <a:lnTo>
                      <a:pt x="404" y="50"/>
                    </a:lnTo>
                    <a:lnTo>
                      <a:pt x="416" y="62"/>
                    </a:lnTo>
                    <a:lnTo>
                      <a:pt x="426" y="76"/>
                    </a:lnTo>
                    <a:lnTo>
                      <a:pt x="436" y="94"/>
                    </a:lnTo>
                    <a:lnTo>
                      <a:pt x="444" y="110"/>
                    </a:lnTo>
                    <a:lnTo>
                      <a:pt x="450" y="130"/>
                    </a:lnTo>
                    <a:lnTo>
                      <a:pt x="454" y="150"/>
                    </a:lnTo>
                    <a:lnTo>
                      <a:pt x="456" y="172"/>
                    </a:lnTo>
                    <a:lnTo>
                      <a:pt x="458" y="196"/>
                    </a:lnTo>
                    <a:lnTo>
                      <a:pt x="458" y="414"/>
                    </a:lnTo>
                    <a:lnTo>
                      <a:pt x="458" y="414"/>
                    </a:lnTo>
                    <a:lnTo>
                      <a:pt x="458" y="458"/>
                    </a:lnTo>
                    <a:lnTo>
                      <a:pt x="460" y="496"/>
                    </a:lnTo>
                    <a:lnTo>
                      <a:pt x="462" y="528"/>
                    </a:lnTo>
                    <a:lnTo>
                      <a:pt x="468" y="552"/>
                    </a:lnTo>
                    <a:lnTo>
                      <a:pt x="354" y="552"/>
                    </a:lnTo>
                    <a:lnTo>
                      <a:pt x="334" y="502"/>
                    </a:lnTo>
                    <a:close/>
                    <a:moveTo>
                      <a:pt x="248" y="304"/>
                    </a:moveTo>
                    <a:lnTo>
                      <a:pt x="248" y="304"/>
                    </a:lnTo>
                    <a:lnTo>
                      <a:pt x="224" y="306"/>
                    </a:lnTo>
                    <a:lnTo>
                      <a:pt x="204" y="310"/>
                    </a:lnTo>
                    <a:lnTo>
                      <a:pt x="186" y="314"/>
                    </a:lnTo>
                    <a:lnTo>
                      <a:pt x="170" y="322"/>
                    </a:lnTo>
                    <a:lnTo>
                      <a:pt x="170" y="322"/>
                    </a:lnTo>
                    <a:lnTo>
                      <a:pt x="162" y="326"/>
                    </a:lnTo>
                    <a:lnTo>
                      <a:pt x="156" y="332"/>
                    </a:lnTo>
                    <a:lnTo>
                      <a:pt x="150" y="340"/>
                    </a:lnTo>
                    <a:lnTo>
                      <a:pt x="146" y="346"/>
                    </a:lnTo>
                    <a:lnTo>
                      <a:pt x="142" y="354"/>
                    </a:lnTo>
                    <a:lnTo>
                      <a:pt x="140" y="364"/>
                    </a:lnTo>
                    <a:lnTo>
                      <a:pt x="138" y="382"/>
                    </a:lnTo>
                    <a:lnTo>
                      <a:pt x="138" y="382"/>
                    </a:lnTo>
                    <a:lnTo>
                      <a:pt x="138" y="400"/>
                    </a:lnTo>
                    <a:lnTo>
                      <a:pt x="142" y="414"/>
                    </a:lnTo>
                    <a:lnTo>
                      <a:pt x="150" y="426"/>
                    </a:lnTo>
                    <a:lnTo>
                      <a:pt x="158" y="438"/>
                    </a:lnTo>
                    <a:lnTo>
                      <a:pt x="170" y="446"/>
                    </a:lnTo>
                    <a:lnTo>
                      <a:pt x="184" y="452"/>
                    </a:lnTo>
                    <a:lnTo>
                      <a:pt x="200" y="456"/>
                    </a:lnTo>
                    <a:lnTo>
                      <a:pt x="216" y="456"/>
                    </a:lnTo>
                    <a:lnTo>
                      <a:pt x="216" y="456"/>
                    </a:lnTo>
                    <a:lnTo>
                      <a:pt x="234" y="456"/>
                    </a:lnTo>
                    <a:lnTo>
                      <a:pt x="252" y="452"/>
                    </a:lnTo>
                    <a:lnTo>
                      <a:pt x="268" y="448"/>
                    </a:lnTo>
                    <a:lnTo>
                      <a:pt x="282" y="442"/>
                    </a:lnTo>
                    <a:lnTo>
                      <a:pt x="304" y="430"/>
                    </a:lnTo>
                    <a:lnTo>
                      <a:pt x="322" y="418"/>
                    </a:lnTo>
                    <a:lnTo>
                      <a:pt x="322" y="302"/>
                    </a:lnTo>
                    <a:lnTo>
                      <a:pt x="248" y="3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 name="Freeform 23"/>
              <p:cNvSpPr>
                <a:spLocks/>
              </p:cNvSpPr>
              <p:nvPr/>
            </p:nvSpPr>
            <p:spPr bwMode="auto">
              <a:xfrm>
                <a:off x="8121536" y="4519372"/>
                <a:ext cx="62089" cy="83892"/>
              </a:xfrm>
              <a:custGeom>
                <a:avLst/>
                <a:gdLst>
                  <a:gd name="T0" fmla="*/ 34 w 598"/>
                  <a:gd name="T1" fmla="*/ 678 h 808"/>
                  <a:gd name="T2" fmla="*/ 34 w 598"/>
                  <a:gd name="T3" fmla="*/ 678 h 808"/>
                  <a:gd name="T4" fmla="*/ 54 w 598"/>
                  <a:gd name="T5" fmla="*/ 688 h 808"/>
                  <a:gd name="T6" fmla="*/ 74 w 598"/>
                  <a:gd name="T7" fmla="*/ 694 h 808"/>
                  <a:gd name="T8" fmla="*/ 94 w 598"/>
                  <a:gd name="T9" fmla="*/ 698 h 808"/>
                  <a:gd name="T10" fmla="*/ 116 w 598"/>
                  <a:gd name="T11" fmla="*/ 700 h 808"/>
                  <a:gd name="T12" fmla="*/ 116 w 598"/>
                  <a:gd name="T13" fmla="*/ 700 h 808"/>
                  <a:gd name="T14" fmla="*/ 138 w 598"/>
                  <a:gd name="T15" fmla="*/ 698 h 808"/>
                  <a:gd name="T16" fmla="*/ 158 w 598"/>
                  <a:gd name="T17" fmla="*/ 692 h 808"/>
                  <a:gd name="T18" fmla="*/ 168 w 598"/>
                  <a:gd name="T19" fmla="*/ 686 h 808"/>
                  <a:gd name="T20" fmla="*/ 178 w 598"/>
                  <a:gd name="T21" fmla="*/ 680 h 808"/>
                  <a:gd name="T22" fmla="*/ 188 w 598"/>
                  <a:gd name="T23" fmla="*/ 672 h 808"/>
                  <a:gd name="T24" fmla="*/ 198 w 598"/>
                  <a:gd name="T25" fmla="*/ 664 h 808"/>
                  <a:gd name="T26" fmla="*/ 216 w 598"/>
                  <a:gd name="T27" fmla="*/ 642 h 808"/>
                  <a:gd name="T28" fmla="*/ 234 w 598"/>
                  <a:gd name="T29" fmla="*/ 612 h 808"/>
                  <a:gd name="T30" fmla="*/ 250 w 598"/>
                  <a:gd name="T31" fmla="*/ 578 h 808"/>
                  <a:gd name="T32" fmla="*/ 266 w 598"/>
                  <a:gd name="T33" fmla="*/ 536 h 808"/>
                  <a:gd name="T34" fmla="*/ 24 w 598"/>
                  <a:gd name="T35" fmla="*/ 0 h 808"/>
                  <a:gd name="T36" fmla="*/ 164 w 598"/>
                  <a:gd name="T37" fmla="*/ 0 h 808"/>
                  <a:gd name="T38" fmla="*/ 328 w 598"/>
                  <a:gd name="T39" fmla="*/ 382 h 808"/>
                  <a:gd name="T40" fmla="*/ 330 w 598"/>
                  <a:gd name="T41" fmla="*/ 382 h 808"/>
                  <a:gd name="T42" fmla="*/ 460 w 598"/>
                  <a:gd name="T43" fmla="*/ 0 h 808"/>
                  <a:gd name="T44" fmla="*/ 598 w 598"/>
                  <a:gd name="T45" fmla="*/ 0 h 808"/>
                  <a:gd name="T46" fmla="*/ 392 w 598"/>
                  <a:gd name="T47" fmla="*/ 556 h 808"/>
                  <a:gd name="T48" fmla="*/ 392 w 598"/>
                  <a:gd name="T49" fmla="*/ 556 h 808"/>
                  <a:gd name="T50" fmla="*/ 376 w 598"/>
                  <a:gd name="T51" fmla="*/ 596 h 808"/>
                  <a:gd name="T52" fmla="*/ 360 w 598"/>
                  <a:gd name="T53" fmla="*/ 632 h 808"/>
                  <a:gd name="T54" fmla="*/ 344 w 598"/>
                  <a:gd name="T55" fmla="*/ 662 h 808"/>
                  <a:gd name="T56" fmla="*/ 326 w 598"/>
                  <a:gd name="T57" fmla="*/ 690 h 808"/>
                  <a:gd name="T58" fmla="*/ 308 w 598"/>
                  <a:gd name="T59" fmla="*/ 714 h 808"/>
                  <a:gd name="T60" fmla="*/ 292 w 598"/>
                  <a:gd name="T61" fmla="*/ 734 h 808"/>
                  <a:gd name="T62" fmla="*/ 274 w 598"/>
                  <a:gd name="T63" fmla="*/ 752 h 808"/>
                  <a:gd name="T64" fmla="*/ 256 w 598"/>
                  <a:gd name="T65" fmla="*/ 766 h 808"/>
                  <a:gd name="T66" fmla="*/ 238 w 598"/>
                  <a:gd name="T67" fmla="*/ 778 h 808"/>
                  <a:gd name="T68" fmla="*/ 220 w 598"/>
                  <a:gd name="T69" fmla="*/ 788 h 808"/>
                  <a:gd name="T70" fmla="*/ 200 w 598"/>
                  <a:gd name="T71" fmla="*/ 796 h 808"/>
                  <a:gd name="T72" fmla="*/ 182 w 598"/>
                  <a:gd name="T73" fmla="*/ 800 h 808"/>
                  <a:gd name="T74" fmla="*/ 164 w 598"/>
                  <a:gd name="T75" fmla="*/ 804 h 808"/>
                  <a:gd name="T76" fmla="*/ 146 w 598"/>
                  <a:gd name="T77" fmla="*/ 808 h 808"/>
                  <a:gd name="T78" fmla="*/ 108 w 598"/>
                  <a:gd name="T79" fmla="*/ 808 h 808"/>
                  <a:gd name="T80" fmla="*/ 108 w 598"/>
                  <a:gd name="T81" fmla="*/ 808 h 808"/>
                  <a:gd name="T82" fmla="*/ 78 w 598"/>
                  <a:gd name="T83" fmla="*/ 808 h 808"/>
                  <a:gd name="T84" fmla="*/ 52 w 598"/>
                  <a:gd name="T85" fmla="*/ 802 h 808"/>
                  <a:gd name="T86" fmla="*/ 26 w 598"/>
                  <a:gd name="T87" fmla="*/ 794 h 808"/>
                  <a:gd name="T88" fmla="*/ 0 w 598"/>
                  <a:gd name="T89" fmla="*/ 784 h 808"/>
                  <a:gd name="T90" fmla="*/ 34 w 598"/>
                  <a:gd name="T91" fmla="*/ 678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98" h="808">
                    <a:moveTo>
                      <a:pt x="34" y="678"/>
                    </a:moveTo>
                    <a:lnTo>
                      <a:pt x="34" y="678"/>
                    </a:lnTo>
                    <a:lnTo>
                      <a:pt x="54" y="688"/>
                    </a:lnTo>
                    <a:lnTo>
                      <a:pt x="74" y="694"/>
                    </a:lnTo>
                    <a:lnTo>
                      <a:pt x="94" y="698"/>
                    </a:lnTo>
                    <a:lnTo>
                      <a:pt x="116" y="700"/>
                    </a:lnTo>
                    <a:lnTo>
                      <a:pt x="116" y="700"/>
                    </a:lnTo>
                    <a:lnTo>
                      <a:pt x="138" y="698"/>
                    </a:lnTo>
                    <a:lnTo>
                      <a:pt x="158" y="692"/>
                    </a:lnTo>
                    <a:lnTo>
                      <a:pt x="168" y="686"/>
                    </a:lnTo>
                    <a:lnTo>
                      <a:pt x="178" y="680"/>
                    </a:lnTo>
                    <a:lnTo>
                      <a:pt x="188" y="672"/>
                    </a:lnTo>
                    <a:lnTo>
                      <a:pt x="198" y="664"/>
                    </a:lnTo>
                    <a:lnTo>
                      <a:pt x="216" y="642"/>
                    </a:lnTo>
                    <a:lnTo>
                      <a:pt x="234" y="612"/>
                    </a:lnTo>
                    <a:lnTo>
                      <a:pt x="250" y="578"/>
                    </a:lnTo>
                    <a:lnTo>
                      <a:pt x="266" y="536"/>
                    </a:lnTo>
                    <a:lnTo>
                      <a:pt x="24" y="0"/>
                    </a:lnTo>
                    <a:lnTo>
                      <a:pt x="164" y="0"/>
                    </a:lnTo>
                    <a:lnTo>
                      <a:pt x="328" y="382"/>
                    </a:lnTo>
                    <a:lnTo>
                      <a:pt x="330" y="382"/>
                    </a:lnTo>
                    <a:lnTo>
                      <a:pt x="460" y="0"/>
                    </a:lnTo>
                    <a:lnTo>
                      <a:pt x="598" y="0"/>
                    </a:lnTo>
                    <a:lnTo>
                      <a:pt x="392" y="556"/>
                    </a:lnTo>
                    <a:lnTo>
                      <a:pt x="392" y="556"/>
                    </a:lnTo>
                    <a:lnTo>
                      <a:pt x="376" y="596"/>
                    </a:lnTo>
                    <a:lnTo>
                      <a:pt x="360" y="632"/>
                    </a:lnTo>
                    <a:lnTo>
                      <a:pt x="344" y="662"/>
                    </a:lnTo>
                    <a:lnTo>
                      <a:pt x="326" y="690"/>
                    </a:lnTo>
                    <a:lnTo>
                      <a:pt x="308" y="714"/>
                    </a:lnTo>
                    <a:lnTo>
                      <a:pt x="292" y="734"/>
                    </a:lnTo>
                    <a:lnTo>
                      <a:pt x="274" y="752"/>
                    </a:lnTo>
                    <a:lnTo>
                      <a:pt x="256" y="766"/>
                    </a:lnTo>
                    <a:lnTo>
                      <a:pt x="238" y="778"/>
                    </a:lnTo>
                    <a:lnTo>
                      <a:pt x="220" y="788"/>
                    </a:lnTo>
                    <a:lnTo>
                      <a:pt x="200" y="796"/>
                    </a:lnTo>
                    <a:lnTo>
                      <a:pt x="182" y="800"/>
                    </a:lnTo>
                    <a:lnTo>
                      <a:pt x="164" y="804"/>
                    </a:lnTo>
                    <a:lnTo>
                      <a:pt x="146" y="808"/>
                    </a:lnTo>
                    <a:lnTo>
                      <a:pt x="108" y="808"/>
                    </a:lnTo>
                    <a:lnTo>
                      <a:pt x="108" y="808"/>
                    </a:lnTo>
                    <a:lnTo>
                      <a:pt x="78" y="808"/>
                    </a:lnTo>
                    <a:lnTo>
                      <a:pt x="52" y="802"/>
                    </a:lnTo>
                    <a:lnTo>
                      <a:pt x="26" y="794"/>
                    </a:lnTo>
                    <a:lnTo>
                      <a:pt x="0" y="784"/>
                    </a:lnTo>
                    <a:lnTo>
                      <a:pt x="34" y="6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 name="Freeform 24"/>
              <p:cNvSpPr>
                <a:spLocks/>
              </p:cNvSpPr>
              <p:nvPr/>
            </p:nvSpPr>
            <p:spPr bwMode="auto">
              <a:xfrm>
                <a:off x="8179056" y="4502136"/>
                <a:ext cx="45269" cy="74340"/>
              </a:xfrm>
              <a:custGeom>
                <a:avLst/>
                <a:gdLst>
                  <a:gd name="T0" fmla="*/ 124 w 436"/>
                  <a:gd name="T1" fmla="*/ 572 h 716"/>
                  <a:gd name="T2" fmla="*/ 124 w 436"/>
                  <a:gd name="T3" fmla="*/ 272 h 716"/>
                  <a:gd name="T4" fmla="*/ 0 w 436"/>
                  <a:gd name="T5" fmla="*/ 272 h 716"/>
                  <a:gd name="T6" fmla="*/ 28 w 436"/>
                  <a:gd name="T7" fmla="*/ 166 h 716"/>
                  <a:gd name="T8" fmla="*/ 124 w 436"/>
                  <a:gd name="T9" fmla="*/ 166 h 716"/>
                  <a:gd name="T10" fmla="*/ 124 w 436"/>
                  <a:gd name="T11" fmla="*/ 40 h 716"/>
                  <a:gd name="T12" fmla="*/ 260 w 436"/>
                  <a:gd name="T13" fmla="*/ 0 h 716"/>
                  <a:gd name="T14" fmla="*/ 260 w 436"/>
                  <a:gd name="T15" fmla="*/ 166 h 716"/>
                  <a:gd name="T16" fmla="*/ 424 w 436"/>
                  <a:gd name="T17" fmla="*/ 166 h 716"/>
                  <a:gd name="T18" fmla="*/ 390 w 436"/>
                  <a:gd name="T19" fmla="*/ 272 h 716"/>
                  <a:gd name="T20" fmla="*/ 260 w 436"/>
                  <a:gd name="T21" fmla="*/ 272 h 716"/>
                  <a:gd name="T22" fmla="*/ 260 w 436"/>
                  <a:gd name="T23" fmla="*/ 538 h 716"/>
                  <a:gd name="T24" fmla="*/ 260 w 436"/>
                  <a:gd name="T25" fmla="*/ 538 h 716"/>
                  <a:gd name="T26" fmla="*/ 262 w 436"/>
                  <a:gd name="T27" fmla="*/ 556 h 716"/>
                  <a:gd name="T28" fmla="*/ 264 w 436"/>
                  <a:gd name="T29" fmla="*/ 570 h 716"/>
                  <a:gd name="T30" fmla="*/ 268 w 436"/>
                  <a:gd name="T31" fmla="*/ 582 h 716"/>
                  <a:gd name="T32" fmla="*/ 274 w 436"/>
                  <a:gd name="T33" fmla="*/ 592 h 716"/>
                  <a:gd name="T34" fmla="*/ 280 w 436"/>
                  <a:gd name="T35" fmla="*/ 598 h 716"/>
                  <a:gd name="T36" fmla="*/ 290 w 436"/>
                  <a:gd name="T37" fmla="*/ 604 h 716"/>
                  <a:gd name="T38" fmla="*/ 300 w 436"/>
                  <a:gd name="T39" fmla="*/ 606 h 716"/>
                  <a:gd name="T40" fmla="*/ 312 w 436"/>
                  <a:gd name="T41" fmla="*/ 606 h 716"/>
                  <a:gd name="T42" fmla="*/ 312 w 436"/>
                  <a:gd name="T43" fmla="*/ 606 h 716"/>
                  <a:gd name="T44" fmla="*/ 336 w 436"/>
                  <a:gd name="T45" fmla="*/ 604 h 716"/>
                  <a:gd name="T46" fmla="*/ 358 w 436"/>
                  <a:gd name="T47" fmla="*/ 598 h 716"/>
                  <a:gd name="T48" fmla="*/ 378 w 436"/>
                  <a:gd name="T49" fmla="*/ 590 h 716"/>
                  <a:gd name="T50" fmla="*/ 394 w 436"/>
                  <a:gd name="T51" fmla="*/ 580 h 716"/>
                  <a:gd name="T52" fmla="*/ 436 w 436"/>
                  <a:gd name="T53" fmla="*/ 674 h 716"/>
                  <a:gd name="T54" fmla="*/ 436 w 436"/>
                  <a:gd name="T55" fmla="*/ 674 h 716"/>
                  <a:gd name="T56" fmla="*/ 420 w 436"/>
                  <a:gd name="T57" fmla="*/ 684 h 716"/>
                  <a:gd name="T58" fmla="*/ 402 w 436"/>
                  <a:gd name="T59" fmla="*/ 692 h 716"/>
                  <a:gd name="T60" fmla="*/ 384 w 436"/>
                  <a:gd name="T61" fmla="*/ 698 h 716"/>
                  <a:gd name="T62" fmla="*/ 362 w 436"/>
                  <a:gd name="T63" fmla="*/ 704 h 716"/>
                  <a:gd name="T64" fmla="*/ 342 w 436"/>
                  <a:gd name="T65" fmla="*/ 710 h 716"/>
                  <a:gd name="T66" fmla="*/ 320 w 436"/>
                  <a:gd name="T67" fmla="*/ 714 h 716"/>
                  <a:gd name="T68" fmla="*/ 300 w 436"/>
                  <a:gd name="T69" fmla="*/ 716 h 716"/>
                  <a:gd name="T70" fmla="*/ 278 w 436"/>
                  <a:gd name="T71" fmla="*/ 716 h 716"/>
                  <a:gd name="T72" fmla="*/ 278 w 436"/>
                  <a:gd name="T73" fmla="*/ 716 h 716"/>
                  <a:gd name="T74" fmla="*/ 260 w 436"/>
                  <a:gd name="T75" fmla="*/ 716 h 716"/>
                  <a:gd name="T76" fmla="*/ 244 w 436"/>
                  <a:gd name="T77" fmla="*/ 714 h 716"/>
                  <a:gd name="T78" fmla="*/ 228 w 436"/>
                  <a:gd name="T79" fmla="*/ 710 h 716"/>
                  <a:gd name="T80" fmla="*/ 214 w 436"/>
                  <a:gd name="T81" fmla="*/ 706 h 716"/>
                  <a:gd name="T82" fmla="*/ 200 w 436"/>
                  <a:gd name="T83" fmla="*/ 700 h 716"/>
                  <a:gd name="T84" fmla="*/ 188 w 436"/>
                  <a:gd name="T85" fmla="*/ 694 h 716"/>
                  <a:gd name="T86" fmla="*/ 176 w 436"/>
                  <a:gd name="T87" fmla="*/ 686 h 716"/>
                  <a:gd name="T88" fmla="*/ 166 w 436"/>
                  <a:gd name="T89" fmla="*/ 678 h 716"/>
                  <a:gd name="T90" fmla="*/ 156 w 436"/>
                  <a:gd name="T91" fmla="*/ 668 h 716"/>
                  <a:gd name="T92" fmla="*/ 148 w 436"/>
                  <a:gd name="T93" fmla="*/ 656 h 716"/>
                  <a:gd name="T94" fmla="*/ 142 w 436"/>
                  <a:gd name="T95" fmla="*/ 644 h 716"/>
                  <a:gd name="T96" fmla="*/ 136 w 436"/>
                  <a:gd name="T97" fmla="*/ 632 h 716"/>
                  <a:gd name="T98" fmla="*/ 130 w 436"/>
                  <a:gd name="T99" fmla="*/ 618 h 716"/>
                  <a:gd name="T100" fmla="*/ 128 w 436"/>
                  <a:gd name="T101" fmla="*/ 604 h 716"/>
                  <a:gd name="T102" fmla="*/ 126 w 436"/>
                  <a:gd name="T103" fmla="*/ 588 h 716"/>
                  <a:gd name="T104" fmla="*/ 124 w 436"/>
                  <a:gd name="T105" fmla="*/ 572 h 716"/>
                  <a:gd name="T106" fmla="*/ 124 w 436"/>
                  <a:gd name="T107" fmla="*/ 57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6" h="716">
                    <a:moveTo>
                      <a:pt x="124" y="572"/>
                    </a:moveTo>
                    <a:lnTo>
                      <a:pt x="124" y="272"/>
                    </a:lnTo>
                    <a:lnTo>
                      <a:pt x="0" y="272"/>
                    </a:lnTo>
                    <a:lnTo>
                      <a:pt x="28" y="166"/>
                    </a:lnTo>
                    <a:lnTo>
                      <a:pt x="124" y="166"/>
                    </a:lnTo>
                    <a:lnTo>
                      <a:pt x="124" y="40"/>
                    </a:lnTo>
                    <a:lnTo>
                      <a:pt x="260" y="0"/>
                    </a:lnTo>
                    <a:lnTo>
                      <a:pt x="260" y="166"/>
                    </a:lnTo>
                    <a:lnTo>
                      <a:pt x="424" y="166"/>
                    </a:lnTo>
                    <a:lnTo>
                      <a:pt x="390" y="272"/>
                    </a:lnTo>
                    <a:lnTo>
                      <a:pt x="260" y="272"/>
                    </a:lnTo>
                    <a:lnTo>
                      <a:pt x="260" y="538"/>
                    </a:lnTo>
                    <a:lnTo>
                      <a:pt x="260" y="538"/>
                    </a:lnTo>
                    <a:lnTo>
                      <a:pt x="262" y="556"/>
                    </a:lnTo>
                    <a:lnTo>
                      <a:pt x="264" y="570"/>
                    </a:lnTo>
                    <a:lnTo>
                      <a:pt x="268" y="582"/>
                    </a:lnTo>
                    <a:lnTo>
                      <a:pt x="274" y="592"/>
                    </a:lnTo>
                    <a:lnTo>
                      <a:pt x="280" y="598"/>
                    </a:lnTo>
                    <a:lnTo>
                      <a:pt x="290" y="604"/>
                    </a:lnTo>
                    <a:lnTo>
                      <a:pt x="300" y="606"/>
                    </a:lnTo>
                    <a:lnTo>
                      <a:pt x="312" y="606"/>
                    </a:lnTo>
                    <a:lnTo>
                      <a:pt x="312" y="606"/>
                    </a:lnTo>
                    <a:lnTo>
                      <a:pt x="336" y="604"/>
                    </a:lnTo>
                    <a:lnTo>
                      <a:pt x="358" y="598"/>
                    </a:lnTo>
                    <a:lnTo>
                      <a:pt x="378" y="590"/>
                    </a:lnTo>
                    <a:lnTo>
                      <a:pt x="394" y="580"/>
                    </a:lnTo>
                    <a:lnTo>
                      <a:pt x="436" y="674"/>
                    </a:lnTo>
                    <a:lnTo>
                      <a:pt x="436" y="674"/>
                    </a:lnTo>
                    <a:lnTo>
                      <a:pt x="420" y="684"/>
                    </a:lnTo>
                    <a:lnTo>
                      <a:pt x="402" y="692"/>
                    </a:lnTo>
                    <a:lnTo>
                      <a:pt x="384" y="698"/>
                    </a:lnTo>
                    <a:lnTo>
                      <a:pt x="362" y="704"/>
                    </a:lnTo>
                    <a:lnTo>
                      <a:pt x="342" y="710"/>
                    </a:lnTo>
                    <a:lnTo>
                      <a:pt x="320" y="714"/>
                    </a:lnTo>
                    <a:lnTo>
                      <a:pt x="300" y="716"/>
                    </a:lnTo>
                    <a:lnTo>
                      <a:pt x="278" y="716"/>
                    </a:lnTo>
                    <a:lnTo>
                      <a:pt x="278" y="716"/>
                    </a:lnTo>
                    <a:lnTo>
                      <a:pt x="260" y="716"/>
                    </a:lnTo>
                    <a:lnTo>
                      <a:pt x="244" y="714"/>
                    </a:lnTo>
                    <a:lnTo>
                      <a:pt x="228" y="710"/>
                    </a:lnTo>
                    <a:lnTo>
                      <a:pt x="214" y="706"/>
                    </a:lnTo>
                    <a:lnTo>
                      <a:pt x="200" y="700"/>
                    </a:lnTo>
                    <a:lnTo>
                      <a:pt x="188" y="694"/>
                    </a:lnTo>
                    <a:lnTo>
                      <a:pt x="176" y="686"/>
                    </a:lnTo>
                    <a:lnTo>
                      <a:pt x="166" y="678"/>
                    </a:lnTo>
                    <a:lnTo>
                      <a:pt x="156" y="668"/>
                    </a:lnTo>
                    <a:lnTo>
                      <a:pt x="148" y="656"/>
                    </a:lnTo>
                    <a:lnTo>
                      <a:pt x="142" y="644"/>
                    </a:lnTo>
                    <a:lnTo>
                      <a:pt x="136" y="632"/>
                    </a:lnTo>
                    <a:lnTo>
                      <a:pt x="130" y="618"/>
                    </a:lnTo>
                    <a:lnTo>
                      <a:pt x="128" y="604"/>
                    </a:lnTo>
                    <a:lnTo>
                      <a:pt x="126" y="588"/>
                    </a:lnTo>
                    <a:lnTo>
                      <a:pt x="124" y="572"/>
                    </a:lnTo>
                    <a:lnTo>
                      <a:pt x="124" y="5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 name="Freeform 25"/>
              <p:cNvSpPr>
                <a:spLocks/>
              </p:cNvSpPr>
              <p:nvPr/>
            </p:nvSpPr>
            <p:spPr bwMode="auto">
              <a:xfrm>
                <a:off x="8254227" y="4517918"/>
                <a:ext cx="47345" cy="58558"/>
              </a:xfrm>
              <a:custGeom>
                <a:avLst/>
                <a:gdLst>
                  <a:gd name="T0" fmla="*/ 0 w 456"/>
                  <a:gd name="T1" fmla="*/ 288 h 564"/>
                  <a:gd name="T2" fmla="*/ 4 w 456"/>
                  <a:gd name="T3" fmla="*/ 226 h 564"/>
                  <a:gd name="T4" fmla="*/ 22 w 456"/>
                  <a:gd name="T5" fmla="*/ 172 h 564"/>
                  <a:gd name="T6" fmla="*/ 48 w 456"/>
                  <a:gd name="T7" fmla="*/ 122 h 564"/>
                  <a:gd name="T8" fmla="*/ 82 w 456"/>
                  <a:gd name="T9" fmla="*/ 80 h 564"/>
                  <a:gd name="T10" fmla="*/ 124 w 456"/>
                  <a:gd name="T11" fmla="*/ 46 h 564"/>
                  <a:gd name="T12" fmla="*/ 172 w 456"/>
                  <a:gd name="T13" fmla="*/ 22 h 564"/>
                  <a:gd name="T14" fmla="*/ 226 w 456"/>
                  <a:gd name="T15" fmla="*/ 6 h 564"/>
                  <a:gd name="T16" fmla="*/ 284 w 456"/>
                  <a:gd name="T17" fmla="*/ 0 h 564"/>
                  <a:gd name="T18" fmla="*/ 308 w 456"/>
                  <a:gd name="T19" fmla="*/ 0 h 564"/>
                  <a:gd name="T20" fmla="*/ 352 w 456"/>
                  <a:gd name="T21" fmla="*/ 6 h 564"/>
                  <a:gd name="T22" fmla="*/ 388 w 456"/>
                  <a:gd name="T23" fmla="*/ 16 h 564"/>
                  <a:gd name="T24" fmla="*/ 428 w 456"/>
                  <a:gd name="T25" fmla="*/ 36 h 564"/>
                  <a:gd name="T26" fmla="*/ 428 w 456"/>
                  <a:gd name="T27" fmla="*/ 152 h 564"/>
                  <a:gd name="T28" fmla="*/ 400 w 456"/>
                  <a:gd name="T29" fmla="*/ 134 h 564"/>
                  <a:gd name="T30" fmla="*/ 368 w 456"/>
                  <a:gd name="T31" fmla="*/ 120 h 564"/>
                  <a:gd name="T32" fmla="*/ 336 w 456"/>
                  <a:gd name="T33" fmla="*/ 112 h 564"/>
                  <a:gd name="T34" fmla="*/ 298 w 456"/>
                  <a:gd name="T35" fmla="*/ 110 h 564"/>
                  <a:gd name="T36" fmla="*/ 280 w 456"/>
                  <a:gd name="T37" fmla="*/ 110 h 564"/>
                  <a:gd name="T38" fmla="*/ 246 w 456"/>
                  <a:gd name="T39" fmla="*/ 118 h 564"/>
                  <a:gd name="T40" fmla="*/ 216 w 456"/>
                  <a:gd name="T41" fmla="*/ 130 h 564"/>
                  <a:gd name="T42" fmla="*/ 192 w 456"/>
                  <a:gd name="T43" fmla="*/ 148 h 564"/>
                  <a:gd name="T44" fmla="*/ 170 w 456"/>
                  <a:gd name="T45" fmla="*/ 172 h 564"/>
                  <a:gd name="T46" fmla="*/ 156 w 456"/>
                  <a:gd name="T47" fmla="*/ 200 h 564"/>
                  <a:gd name="T48" fmla="*/ 144 w 456"/>
                  <a:gd name="T49" fmla="*/ 230 h 564"/>
                  <a:gd name="T50" fmla="*/ 140 w 456"/>
                  <a:gd name="T51" fmla="*/ 266 h 564"/>
                  <a:gd name="T52" fmla="*/ 138 w 456"/>
                  <a:gd name="T53" fmla="*/ 284 h 564"/>
                  <a:gd name="T54" fmla="*/ 142 w 456"/>
                  <a:gd name="T55" fmla="*/ 322 h 564"/>
                  <a:gd name="T56" fmla="*/ 150 w 456"/>
                  <a:gd name="T57" fmla="*/ 358 h 564"/>
                  <a:gd name="T58" fmla="*/ 162 w 456"/>
                  <a:gd name="T59" fmla="*/ 386 h 564"/>
                  <a:gd name="T60" fmla="*/ 180 w 456"/>
                  <a:gd name="T61" fmla="*/ 410 h 564"/>
                  <a:gd name="T62" fmla="*/ 202 w 456"/>
                  <a:gd name="T63" fmla="*/ 430 h 564"/>
                  <a:gd name="T64" fmla="*/ 228 w 456"/>
                  <a:gd name="T65" fmla="*/ 444 h 564"/>
                  <a:gd name="T66" fmla="*/ 258 w 456"/>
                  <a:gd name="T67" fmla="*/ 452 h 564"/>
                  <a:gd name="T68" fmla="*/ 292 w 456"/>
                  <a:gd name="T69" fmla="*/ 454 h 564"/>
                  <a:gd name="T70" fmla="*/ 310 w 456"/>
                  <a:gd name="T71" fmla="*/ 454 h 564"/>
                  <a:gd name="T72" fmla="*/ 342 w 456"/>
                  <a:gd name="T73" fmla="*/ 448 h 564"/>
                  <a:gd name="T74" fmla="*/ 388 w 456"/>
                  <a:gd name="T75" fmla="*/ 432 h 564"/>
                  <a:gd name="T76" fmla="*/ 456 w 456"/>
                  <a:gd name="T77" fmla="*/ 512 h 564"/>
                  <a:gd name="T78" fmla="*/ 438 w 456"/>
                  <a:gd name="T79" fmla="*/ 522 h 564"/>
                  <a:gd name="T80" fmla="*/ 398 w 456"/>
                  <a:gd name="T81" fmla="*/ 542 h 564"/>
                  <a:gd name="T82" fmla="*/ 352 w 456"/>
                  <a:gd name="T83" fmla="*/ 556 h 564"/>
                  <a:gd name="T84" fmla="*/ 300 w 456"/>
                  <a:gd name="T85" fmla="*/ 564 h 564"/>
                  <a:gd name="T86" fmla="*/ 272 w 456"/>
                  <a:gd name="T87" fmla="*/ 564 h 564"/>
                  <a:gd name="T88" fmla="*/ 210 w 456"/>
                  <a:gd name="T89" fmla="*/ 558 h 564"/>
                  <a:gd name="T90" fmla="*/ 156 w 456"/>
                  <a:gd name="T91" fmla="*/ 542 h 564"/>
                  <a:gd name="T92" fmla="*/ 108 w 456"/>
                  <a:gd name="T93" fmla="*/ 518 h 564"/>
                  <a:gd name="T94" fmla="*/ 70 w 456"/>
                  <a:gd name="T95" fmla="*/ 484 h 564"/>
                  <a:gd name="T96" fmla="*/ 40 w 456"/>
                  <a:gd name="T97" fmla="*/ 444 h 564"/>
                  <a:gd name="T98" fmla="*/ 18 w 456"/>
                  <a:gd name="T99" fmla="*/ 396 h 564"/>
                  <a:gd name="T100" fmla="*/ 4 w 456"/>
                  <a:gd name="T101" fmla="*/ 344 h 564"/>
                  <a:gd name="T102" fmla="*/ 0 w 456"/>
                  <a:gd name="T103" fmla="*/ 288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56" h="564">
                    <a:moveTo>
                      <a:pt x="0" y="288"/>
                    </a:moveTo>
                    <a:lnTo>
                      <a:pt x="0" y="288"/>
                    </a:lnTo>
                    <a:lnTo>
                      <a:pt x="0" y="256"/>
                    </a:lnTo>
                    <a:lnTo>
                      <a:pt x="4" y="226"/>
                    </a:lnTo>
                    <a:lnTo>
                      <a:pt x="12" y="198"/>
                    </a:lnTo>
                    <a:lnTo>
                      <a:pt x="22" y="172"/>
                    </a:lnTo>
                    <a:lnTo>
                      <a:pt x="32" y="146"/>
                    </a:lnTo>
                    <a:lnTo>
                      <a:pt x="48" y="122"/>
                    </a:lnTo>
                    <a:lnTo>
                      <a:pt x="64" y="100"/>
                    </a:lnTo>
                    <a:lnTo>
                      <a:pt x="82" y="80"/>
                    </a:lnTo>
                    <a:lnTo>
                      <a:pt x="102" y="62"/>
                    </a:lnTo>
                    <a:lnTo>
                      <a:pt x="124" y="46"/>
                    </a:lnTo>
                    <a:lnTo>
                      <a:pt x="146" y="32"/>
                    </a:lnTo>
                    <a:lnTo>
                      <a:pt x="172" y="22"/>
                    </a:lnTo>
                    <a:lnTo>
                      <a:pt x="198" y="12"/>
                    </a:lnTo>
                    <a:lnTo>
                      <a:pt x="226" y="6"/>
                    </a:lnTo>
                    <a:lnTo>
                      <a:pt x="254" y="2"/>
                    </a:lnTo>
                    <a:lnTo>
                      <a:pt x="284" y="0"/>
                    </a:lnTo>
                    <a:lnTo>
                      <a:pt x="284" y="0"/>
                    </a:lnTo>
                    <a:lnTo>
                      <a:pt x="308" y="0"/>
                    </a:lnTo>
                    <a:lnTo>
                      <a:pt x="332" y="4"/>
                    </a:lnTo>
                    <a:lnTo>
                      <a:pt x="352" y="6"/>
                    </a:lnTo>
                    <a:lnTo>
                      <a:pt x="372" y="12"/>
                    </a:lnTo>
                    <a:lnTo>
                      <a:pt x="388" y="16"/>
                    </a:lnTo>
                    <a:lnTo>
                      <a:pt x="404" y="24"/>
                    </a:lnTo>
                    <a:lnTo>
                      <a:pt x="428" y="36"/>
                    </a:lnTo>
                    <a:lnTo>
                      <a:pt x="428" y="152"/>
                    </a:lnTo>
                    <a:lnTo>
                      <a:pt x="428" y="152"/>
                    </a:lnTo>
                    <a:lnTo>
                      <a:pt x="414" y="142"/>
                    </a:lnTo>
                    <a:lnTo>
                      <a:pt x="400" y="134"/>
                    </a:lnTo>
                    <a:lnTo>
                      <a:pt x="384" y="126"/>
                    </a:lnTo>
                    <a:lnTo>
                      <a:pt x="368" y="120"/>
                    </a:lnTo>
                    <a:lnTo>
                      <a:pt x="352" y="116"/>
                    </a:lnTo>
                    <a:lnTo>
                      <a:pt x="336" y="112"/>
                    </a:lnTo>
                    <a:lnTo>
                      <a:pt x="316" y="110"/>
                    </a:lnTo>
                    <a:lnTo>
                      <a:pt x="298" y="110"/>
                    </a:lnTo>
                    <a:lnTo>
                      <a:pt x="298" y="110"/>
                    </a:lnTo>
                    <a:lnTo>
                      <a:pt x="280" y="110"/>
                    </a:lnTo>
                    <a:lnTo>
                      <a:pt x="262" y="112"/>
                    </a:lnTo>
                    <a:lnTo>
                      <a:pt x="246" y="118"/>
                    </a:lnTo>
                    <a:lnTo>
                      <a:pt x="230" y="122"/>
                    </a:lnTo>
                    <a:lnTo>
                      <a:pt x="216" y="130"/>
                    </a:lnTo>
                    <a:lnTo>
                      <a:pt x="204" y="138"/>
                    </a:lnTo>
                    <a:lnTo>
                      <a:pt x="192" y="148"/>
                    </a:lnTo>
                    <a:lnTo>
                      <a:pt x="180" y="160"/>
                    </a:lnTo>
                    <a:lnTo>
                      <a:pt x="170" y="172"/>
                    </a:lnTo>
                    <a:lnTo>
                      <a:pt x="162" y="186"/>
                    </a:lnTo>
                    <a:lnTo>
                      <a:pt x="156" y="200"/>
                    </a:lnTo>
                    <a:lnTo>
                      <a:pt x="150" y="214"/>
                    </a:lnTo>
                    <a:lnTo>
                      <a:pt x="144" y="230"/>
                    </a:lnTo>
                    <a:lnTo>
                      <a:pt x="142" y="248"/>
                    </a:lnTo>
                    <a:lnTo>
                      <a:pt x="140" y="266"/>
                    </a:lnTo>
                    <a:lnTo>
                      <a:pt x="138" y="284"/>
                    </a:lnTo>
                    <a:lnTo>
                      <a:pt x="138" y="284"/>
                    </a:lnTo>
                    <a:lnTo>
                      <a:pt x="140" y="304"/>
                    </a:lnTo>
                    <a:lnTo>
                      <a:pt x="142" y="322"/>
                    </a:lnTo>
                    <a:lnTo>
                      <a:pt x="144" y="340"/>
                    </a:lnTo>
                    <a:lnTo>
                      <a:pt x="150" y="358"/>
                    </a:lnTo>
                    <a:lnTo>
                      <a:pt x="156" y="372"/>
                    </a:lnTo>
                    <a:lnTo>
                      <a:pt x="162" y="386"/>
                    </a:lnTo>
                    <a:lnTo>
                      <a:pt x="170" y="400"/>
                    </a:lnTo>
                    <a:lnTo>
                      <a:pt x="180" y="410"/>
                    </a:lnTo>
                    <a:lnTo>
                      <a:pt x="190" y="420"/>
                    </a:lnTo>
                    <a:lnTo>
                      <a:pt x="202" y="430"/>
                    </a:lnTo>
                    <a:lnTo>
                      <a:pt x="214" y="438"/>
                    </a:lnTo>
                    <a:lnTo>
                      <a:pt x="228" y="444"/>
                    </a:lnTo>
                    <a:lnTo>
                      <a:pt x="242" y="448"/>
                    </a:lnTo>
                    <a:lnTo>
                      <a:pt x="258" y="452"/>
                    </a:lnTo>
                    <a:lnTo>
                      <a:pt x="274" y="454"/>
                    </a:lnTo>
                    <a:lnTo>
                      <a:pt x="292" y="454"/>
                    </a:lnTo>
                    <a:lnTo>
                      <a:pt x="292" y="454"/>
                    </a:lnTo>
                    <a:lnTo>
                      <a:pt x="310" y="454"/>
                    </a:lnTo>
                    <a:lnTo>
                      <a:pt x="326" y="452"/>
                    </a:lnTo>
                    <a:lnTo>
                      <a:pt x="342" y="448"/>
                    </a:lnTo>
                    <a:lnTo>
                      <a:pt x="358" y="444"/>
                    </a:lnTo>
                    <a:lnTo>
                      <a:pt x="388" y="432"/>
                    </a:lnTo>
                    <a:lnTo>
                      <a:pt x="416" y="418"/>
                    </a:lnTo>
                    <a:lnTo>
                      <a:pt x="456" y="512"/>
                    </a:lnTo>
                    <a:lnTo>
                      <a:pt x="456" y="512"/>
                    </a:lnTo>
                    <a:lnTo>
                      <a:pt x="438" y="522"/>
                    </a:lnTo>
                    <a:lnTo>
                      <a:pt x="420" y="532"/>
                    </a:lnTo>
                    <a:lnTo>
                      <a:pt x="398" y="542"/>
                    </a:lnTo>
                    <a:lnTo>
                      <a:pt x="376" y="550"/>
                    </a:lnTo>
                    <a:lnTo>
                      <a:pt x="352" y="556"/>
                    </a:lnTo>
                    <a:lnTo>
                      <a:pt x="326" y="560"/>
                    </a:lnTo>
                    <a:lnTo>
                      <a:pt x="300" y="564"/>
                    </a:lnTo>
                    <a:lnTo>
                      <a:pt x="272" y="564"/>
                    </a:lnTo>
                    <a:lnTo>
                      <a:pt x="272" y="564"/>
                    </a:lnTo>
                    <a:lnTo>
                      <a:pt x="240" y="562"/>
                    </a:lnTo>
                    <a:lnTo>
                      <a:pt x="210" y="558"/>
                    </a:lnTo>
                    <a:lnTo>
                      <a:pt x="182" y="552"/>
                    </a:lnTo>
                    <a:lnTo>
                      <a:pt x="156" y="542"/>
                    </a:lnTo>
                    <a:lnTo>
                      <a:pt x="130" y="532"/>
                    </a:lnTo>
                    <a:lnTo>
                      <a:pt x="108" y="518"/>
                    </a:lnTo>
                    <a:lnTo>
                      <a:pt x="88" y="502"/>
                    </a:lnTo>
                    <a:lnTo>
                      <a:pt x="70" y="484"/>
                    </a:lnTo>
                    <a:lnTo>
                      <a:pt x="54" y="464"/>
                    </a:lnTo>
                    <a:lnTo>
                      <a:pt x="40" y="444"/>
                    </a:lnTo>
                    <a:lnTo>
                      <a:pt x="28" y="420"/>
                    </a:lnTo>
                    <a:lnTo>
                      <a:pt x="18" y="396"/>
                    </a:lnTo>
                    <a:lnTo>
                      <a:pt x="10" y="370"/>
                    </a:lnTo>
                    <a:lnTo>
                      <a:pt x="4" y="344"/>
                    </a:lnTo>
                    <a:lnTo>
                      <a:pt x="0" y="316"/>
                    </a:lnTo>
                    <a:lnTo>
                      <a:pt x="0" y="288"/>
                    </a:lnTo>
                    <a:lnTo>
                      <a:pt x="0"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 name="Freeform 26"/>
              <p:cNvSpPr>
                <a:spLocks/>
              </p:cNvSpPr>
              <p:nvPr/>
            </p:nvSpPr>
            <p:spPr bwMode="auto">
              <a:xfrm>
                <a:off x="8304894" y="4517918"/>
                <a:ext cx="43400" cy="58558"/>
              </a:xfrm>
              <a:custGeom>
                <a:avLst/>
                <a:gdLst>
                  <a:gd name="T0" fmla="*/ 58 w 418"/>
                  <a:gd name="T1" fmla="*/ 422 h 564"/>
                  <a:gd name="T2" fmla="*/ 112 w 418"/>
                  <a:gd name="T3" fmla="*/ 444 h 564"/>
                  <a:gd name="T4" fmla="*/ 170 w 418"/>
                  <a:gd name="T5" fmla="*/ 456 h 564"/>
                  <a:gd name="T6" fmla="*/ 210 w 418"/>
                  <a:gd name="T7" fmla="*/ 456 h 564"/>
                  <a:gd name="T8" fmla="*/ 258 w 418"/>
                  <a:gd name="T9" fmla="*/ 444 h 564"/>
                  <a:gd name="T10" fmla="*/ 282 w 418"/>
                  <a:gd name="T11" fmla="*/ 414 h 564"/>
                  <a:gd name="T12" fmla="*/ 284 w 418"/>
                  <a:gd name="T13" fmla="*/ 392 h 564"/>
                  <a:gd name="T14" fmla="*/ 274 w 418"/>
                  <a:gd name="T15" fmla="*/ 372 h 564"/>
                  <a:gd name="T16" fmla="*/ 226 w 418"/>
                  <a:gd name="T17" fmla="*/ 340 h 564"/>
                  <a:gd name="T18" fmla="*/ 134 w 418"/>
                  <a:gd name="T19" fmla="*/ 304 h 564"/>
                  <a:gd name="T20" fmla="*/ 72 w 418"/>
                  <a:gd name="T21" fmla="*/ 264 h 564"/>
                  <a:gd name="T22" fmla="*/ 48 w 418"/>
                  <a:gd name="T23" fmla="*/ 232 h 564"/>
                  <a:gd name="T24" fmla="*/ 34 w 418"/>
                  <a:gd name="T25" fmla="*/ 194 h 564"/>
                  <a:gd name="T26" fmla="*/ 32 w 418"/>
                  <a:gd name="T27" fmla="*/ 162 h 564"/>
                  <a:gd name="T28" fmla="*/ 40 w 418"/>
                  <a:gd name="T29" fmla="*/ 112 h 564"/>
                  <a:gd name="T30" fmla="*/ 62 w 418"/>
                  <a:gd name="T31" fmla="*/ 70 h 564"/>
                  <a:gd name="T32" fmla="*/ 100 w 418"/>
                  <a:gd name="T33" fmla="*/ 36 h 564"/>
                  <a:gd name="T34" fmla="*/ 150 w 418"/>
                  <a:gd name="T35" fmla="*/ 12 h 564"/>
                  <a:gd name="T36" fmla="*/ 212 w 418"/>
                  <a:gd name="T37" fmla="*/ 0 h 564"/>
                  <a:gd name="T38" fmla="*/ 280 w 418"/>
                  <a:gd name="T39" fmla="*/ 2 h 564"/>
                  <a:gd name="T40" fmla="*/ 394 w 418"/>
                  <a:gd name="T41" fmla="*/ 26 h 564"/>
                  <a:gd name="T42" fmla="*/ 358 w 418"/>
                  <a:gd name="T43" fmla="*/ 128 h 564"/>
                  <a:gd name="T44" fmla="*/ 262 w 418"/>
                  <a:gd name="T45" fmla="*/ 108 h 564"/>
                  <a:gd name="T46" fmla="*/ 224 w 418"/>
                  <a:gd name="T47" fmla="*/ 108 h 564"/>
                  <a:gd name="T48" fmla="*/ 186 w 418"/>
                  <a:gd name="T49" fmla="*/ 118 h 564"/>
                  <a:gd name="T50" fmla="*/ 166 w 418"/>
                  <a:gd name="T51" fmla="*/ 144 h 564"/>
                  <a:gd name="T52" fmla="*/ 166 w 418"/>
                  <a:gd name="T53" fmla="*/ 164 h 564"/>
                  <a:gd name="T54" fmla="*/ 176 w 418"/>
                  <a:gd name="T55" fmla="*/ 184 h 564"/>
                  <a:gd name="T56" fmla="*/ 224 w 418"/>
                  <a:gd name="T57" fmla="*/ 212 h 564"/>
                  <a:gd name="T58" fmla="*/ 314 w 418"/>
                  <a:gd name="T59" fmla="*/ 248 h 564"/>
                  <a:gd name="T60" fmla="*/ 378 w 418"/>
                  <a:gd name="T61" fmla="*/ 292 h 564"/>
                  <a:gd name="T62" fmla="*/ 402 w 418"/>
                  <a:gd name="T63" fmla="*/ 324 h 564"/>
                  <a:gd name="T64" fmla="*/ 414 w 418"/>
                  <a:gd name="T65" fmla="*/ 364 h 564"/>
                  <a:gd name="T66" fmla="*/ 418 w 418"/>
                  <a:gd name="T67" fmla="*/ 396 h 564"/>
                  <a:gd name="T68" fmla="*/ 408 w 418"/>
                  <a:gd name="T69" fmla="*/ 456 h 564"/>
                  <a:gd name="T70" fmla="*/ 380 w 418"/>
                  <a:gd name="T71" fmla="*/ 502 h 564"/>
                  <a:gd name="T72" fmla="*/ 336 w 418"/>
                  <a:gd name="T73" fmla="*/ 534 h 564"/>
                  <a:gd name="T74" fmla="*/ 282 w 418"/>
                  <a:gd name="T75" fmla="*/ 554 h 564"/>
                  <a:gd name="T76" fmla="*/ 220 w 418"/>
                  <a:gd name="T77" fmla="*/ 564 h 564"/>
                  <a:gd name="T78" fmla="*/ 168 w 418"/>
                  <a:gd name="T79" fmla="*/ 562 h 564"/>
                  <a:gd name="T80" fmla="*/ 84 w 418"/>
                  <a:gd name="T81" fmla="*/ 548 h 564"/>
                  <a:gd name="T82" fmla="*/ 18 w 418"/>
                  <a:gd name="T83" fmla="*/ 522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8" h="564">
                    <a:moveTo>
                      <a:pt x="42" y="412"/>
                    </a:moveTo>
                    <a:lnTo>
                      <a:pt x="42" y="412"/>
                    </a:lnTo>
                    <a:lnTo>
                      <a:pt x="58" y="422"/>
                    </a:lnTo>
                    <a:lnTo>
                      <a:pt x="76" y="430"/>
                    </a:lnTo>
                    <a:lnTo>
                      <a:pt x="94" y="438"/>
                    </a:lnTo>
                    <a:lnTo>
                      <a:pt x="112" y="444"/>
                    </a:lnTo>
                    <a:lnTo>
                      <a:pt x="130" y="450"/>
                    </a:lnTo>
                    <a:lnTo>
                      <a:pt x="150" y="454"/>
                    </a:lnTo>
                    <a:lnTo>
                      <a:pt x="170" y="456"/>
                    </a:lnTo>
                    <a:lnTo>
                      <a:pt x="190" y="456"/>
                    </a:lnTo>
                    <a:lnTo>
                      <a:pt x="190" y="456"/>
                    </a:lnTo>
                    <a:lnTo>
                      <a:pt x="210" y="456"/>
                    </a:lnTo>
                    <a:lnTo>
                      <a:pt x="228" y="454"/>
                    </a:lnTo>
                    <a:lnTo>
                      <a:pt x="244" y="450"/>
                    </a:lnTo>
                    <a:lnTo>
                      <a:pt x="258" y="444"/>
                    </a:lnTo>
                    <a:lnTo>
                      <a:pt x="268" y="436"/>
                    </a:lnTo>
                    <a:lnTo>
                      <a:pt x="278" y="426"/>
                    </a:lnTo>
                    <a:lnTo>
                      <a:pt x="282" y="414"/>
                    </a:lnTo>
                    <a:lnTo>
                      <a:pt x="284" y="400"/>
                    </a:lnTo>
                    <a:lnTo>
                      <a:pt x="284" y="400"/>
                    </a:lnTo>
                    <a:lnTo>
                      <a:pt x="284" y="392"/>
                    </a:lnTo>
                    <a:lnTo>
                      <a:pt x="282" y="384"/>
                    </a:lnTo>
                    <a:lnTo>
                      <a:pt x="278" y="378"/>
                    </a:lnTo>
                    <a:lnTo>
                      <a:pt x="274" y="372"/>
                    </a:lnTo>
                    <a:lnTo>
                      <a:pt x="262" y="360"/>
                    </a:lnTo>
                    <a:lnTo>
                      <a:pt x="244" y="350"/>
                    </a:lnTo>
                    <a:lnTo>
                      <a:pt x="226" y="340"/>
                    </a:lnTo>
                    <a:lnTo>
                      <a:pt x="204" y="332"/>
                    </a:lnTo>
                    <a:lnTo>
                      <a:pt x="158" y="314"/>
                    </a:lnTo>
                    <a:lnTo>
                      <a:pt x="134" y="304"/>
                    </a:lnTo>
                    <a:lnTo>
                      <a:pt x="112" y="294"/>
                    </a:lnTo>
                    <a:lnTo>
                      <a:pt x="90" y="280"/>
                    </a:lnTo>
                    <a:lnTo>
                      <a:pt x="72" y="264"/>
                    </a:lnTo>
                    <a:lnTo>
                      <a:pt x="62" y="254"/>
                    </a:lnTo>
                    <a:lnTo>
                      <a:pt x="54" y="244"/>
                    </a:lnTo>
                    <a:lnTo>
                      <a:pt x="48" y="232"/>
                    </a:lnTo>
                    <a:lnTo>
                      <a:pt x="42" y="222"/>
                    </a:lnTo>
                    <a:lnTo>
                      <a:pt x="38" y="208"/>
                    </a:lnTo>
                    <a:lnTo>
                      <a:pt x="34" y="194"/>
                    </a:lnTo>
                    <a:lnTo>
                      <a:pt x="32" y="180"/>
                    </a:lnTo>
                    <a:lnTo>
                      <a:pt x="32" y="162"/>
                    </a:lnTo>
                    <a:lnTo>
                      <a:pt x="32" y="162"/>
                    </a:lnTo>
                    <a:lnTo>
                      <a:pt x="32" y="146"/>
                    </a:lnTo>
                    <a:lnTo>
                      <a:pt x="36" y="128"/>
                    </a:lnTo>
                    <a:lnTo>
                      <a:pt x="40" y="112"/>
                    </a:lnTo>
                    <a:lnTo>
                      <a:pt x="46" y="98"/>
                    </a:lnTo>
                    <a:lnTo>
                      <a:pt x="54" y="82"/>
                    </a:lnTo>
                    <a:lnTo>
                      <a:pt x="62" y="70"/>
                    </a:lnTo>
                    <a:lnTo>
                      <a:pt x="74" y="56"/>
                    </a:lnTo>
                    <a:lnTo>
                      <a:pt x="86" y="46"/>
                    </a:lnTo>
                    <a:lnTo>
                      <a:pt x="100" y="36"/>
                    </a:lnTo>
                    <a:lnTo>
                      <a:pt x="116" y="26"/>
                    </a:lnTo>
                    <a:lnTo>
                      <a:pt x="132" y="18"/>
                    </a:lnTo>
                    <a:lnTo>
                      <a:pt x="150" y="12"/>
                    </a:lnTo>
                    <a:lnTo>
                      <a:pt x="170" y="6"/>
                    </a:lnTo>
                    <a:lnTo>
                      <a:pt x="190" y="4"/>
                    </a:lnTo>
                    <a:lnTo>
                      <a:pt x="212" y="0"/>
                    </a:lnTo>
                    <a:lnTo>
                      <a:pt x="236" y="0"/>
                    </a:lnTo>
                    <a:lnTo>
                      <a:pt x="236" y="0"/>
                    </a:lnTo>
                    <a:lnTo>
                      <a:pt x="280" y="2"/>
                    </a:lnTo>
                    <a:lnTo>
                      <a:pt x="320" y="8"/>
                    </a:lnTo>
                    <a:lnTo>
                      <a:pt x="358" y="16"/>
                    </a:lnTo>
                    <a:lnTo>
                      <a:pt x="394" y="26"/>
                    </a:lnTo>
                    <a:lnTo>
                      <a:pt x="394" y="142"/>
                    </a:lnTo>
                    <a:lnTo>
                      <a:pt x="394" y="142"/>
                    </a:lnTo>
                    <a:lnTo>
                      <a:pt x="358" y="128"/>
                    </a:lnTo>
                    <a:lnTo>
                      <a:pt x="322" y="116"/>
                    </a:lnTo>
                    <a:lnTo>
                      <a:pt x="282" y="110"/>
                    </a:lnTo>
                    <a:lnTo>
                      <a:pt x="262" y="108"/>
                    </a:lnTo>
                    <a:lnTo>
                      <a:pt x="242" y="108"/>
                    </a:lnTo>
                    <a:lnTo>
                      <a:pt x="242" y="108"/>
                    </a:lnTo>
                    <a:lnTo>
                      <a:pt x="224" y="108"/>
                    </a:lnTo>
                    <a:lnTo>
                      <a:pt x="210" y="110"/>
                    </a:lnTo>
                    <a:lnTo>
                      <a:pt x="198" y="114"/>
                    </a:lnTo>
                    <a:lnTo>
                      <a:pt x="186" y="118"/>
                    </a:lnTo>
                    <a:lnTo>
                      <a:pt x="176" y="126"/>
                    </a:lnTo>
                    <a:lnTo>
                      <a:pt x="170" y="134"/>
                    </a:lnTo>
                    <a:lnTo>
                      <a:pt x="166" y="144"/>
                    </a:lnTo>
                    <a:lnTo>
                      <a:pt x="164" y="156"/>
                    </a:lnTo>
                    <a:lnTo>
                      <a:pt x="164" y="156"/>
                    </a:lnTo>
                    <a:lnTo>
                      <a:pt x="166" y="164"/>
                    </a:lnTo>
                    <a:lnTo>
                      <a:pt x="168" y="170"/>
                    </a:lnTo>
                    <a:lnTo>
                      <a:pt x="172" y="178"/>
                    </a:lnTo>
                    <a:lnTo>
                      <a:pt x="176" y="184"/>
                    </a:lnTo>
                    <a:lnTo>
                      <a:pt x="188" y="194"/>
                    </a:lnTo>
                    <a:lnTo>
                      <a:pt x="204" y="204"/>
                    </a:lnTo>
                    <a:lnTo>
                      <a:pt x="224" y="212"/>
                    </a:lnTo>
                    <a:lnTo>
                      <a:pt x="244" y="220"/>
                    </a:lnTo>
                    <a:lnTo>
                      <a:pt x="292" y="238"/>
                    </a:lnTo>
                    <a:lnTo>
                      <a:pt x="314" y="248"/>
                    </a:lnTo>
                    <a:lnTo>
                      <a:pt x="338" y="260"/>
                    </a:lnTo>
                    <a:lnTo>
                      <a:pt x="360" y="274"/>
                    </a:lnTo>
                    <a:lnTo>
                      <a:pt x="378" y="292"/>
                    </a:lnTo>
                    <a:lnTo>
                      <a:pt x="386" y="302"/>
                    </a:lnTo>
                    <a:lnTo>
                      <a:pt x="394" y="312"/>
                    </a:lnTo>
                    <a:lnTo>
                      <a:pt x="402" y="324"/>
                    </a:lnTo>
                    <a:lnTo>
                      <a:pt x="406" y="336"/>
                    </a:lnTo>
                    <a:lnTo>
                      <a:pt x="412" y="350"/>
                    </a:lnTo>
                    <a:lnTo>
                      <a:pt x="414" y="364"/>
                    </a:lnTo>
                    <a:lnTo>
                      <a:pt x="418" y="380"/>
                    </a:lnTo>
                    <a:lnTo>
                      <a:pt x="418" y="396"/>
                    </a:lnTo>
                    <a:lnTo>
                      <a:pt x="418" y="396"/>
                    </a:lnTo>
                    <a:lnTo>
                      <a:pt x="416" y="418"/>
                    </a:lnTo>
                    <a:lnTo>
                      <a:pt x="414" y="438"/>
                    </a:lnTo>
                    <a:lnTo>
                      <a:pt x="408" y="456"/>
                    </a:lnTo>
                    <a:lnTo>
                      <a:pt x="400" y="472"/>
                    </a:lnTo>
                    <a:lnTo>
                      <a:pt x="390" y="488"/>
                    </a:lnTo>
                    <a:lnTo>
                      <a:pt x="380" y="502"/>
                    </a:lnTo>
                    <a:lnTo>
                      <a:pt x="366" y="514"/>
                    </a:lnTo>
                    <a:lnTo>
                      <a:pt x="352" y="524"/>
                    </a:lnTo>
                    <a:lnTo>
                      <a:pt x="336" y="534"/>
                    </a:lnTo>
                    <a:lnTo>
                      <a:pt x="320" y="542"/>
                    </a:lnTo>
                    <a:lnTo>
                      <a:pt x="302" y="550"/>
                    </a:lnTo>
                    <a:lnTo>
                      <a:pt x="282" y="554"/>
                    </a:lnTo>
                    <a:lnTo>
                      <a:pt x="262" y="558"/>
                    </a:lnTo>
                    <a:lnTo>
                      <a:pt x="242" y="562"/>
                    </a:lnTo>
                    <a:lnTo>
                      <a:pt x="220" y="564"/>
                    </a:lnTo>
                    <a:lnTo>
                      <a:pt x="200" y="564"/>
                    </a:lnTo>
                    <a:lnTo>
                      <a:pt x="200" y="564"/>
                    </a:lnTo>
                    <a:lnTo>
                      <a:pt x="168" y="562"/>
                    </a:lnTo>
                    <a:lnTo>
                      <a:pt x="138" y="560"/>
                    </a:lnTo>
                    <a:lnTo>
                      <a:pt x="110" y="554"/>
                    </a:lnTo>
                    <a:lnTo>
                      <a:pt x="84" y="548"/>
                    </a:lnTo>
                    <a:lnTo>
                      <a:pt x="60" y="540"/>
                    </a:lnTo>
                    <a:lnTo>
                      <a:pt x="38" y="532"/>
                    </a:lnTo>
                    <a:lnTo>
                      <a:pt x="18" y="522"/>
                    </a:lnTo>
                    <a:lnTo>
                      <a:pt x="0" y="512"/>
                    </a:lnTo>
                    <a:lnTo>
                      <a:pt x="42" y="4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 name="Freeform 27"/>
              <p:cNvSpPr>
                <a:spLocks noEditPoints="1"/>
              </p:cNvSpPr>
              <p:nvPr/>
            </p:nvSpPr>
            <p:spPr bwMode="auto">
              <a:xfrm>
                <a:off x="8230347" y="4493623"/>
                <a:ext cx="17443" cy="81608"/>
              </a:xfrm>
              <a:custGeom>
                <a:avLst/>
                <a:gdLst>
                  <a:gd name="T0" fmla="*/ 84 w 168"/>
                  <a:gd name="T1" fmla="*/ 162 h 786"/>
                  <a:gd name="T2" fmla="*/ 84 w 168"/>
                  <a:gd name="T3" fmla="*/ 162 h 786"/>
                  <a:gd name="T4" fmla="*/ 68 w 168"/>
                  <a:gd name="T5" fmla="*/ 160 h 786"/>
                  <a:gd name="T6" fmla="*/ 52 w 168"/>
                  <a:gd name="T7" fmla="*/ 156 h 786"/>
                  <a:gd name="T8" fmla="*/ 38 w 168"/>
                  <a:gd name="T9" fmla="*/ 148 h 786"/>
                  <a:gd name="T10" fmla="*/ 26 w 168"/>
                  <a:gd name="T11" fmla="*/ 138 h 786"/>
                  <a:gd name="T12" fmla="*/ 14 w 168"/>
                  <a:gd name="T13" fmla="*/ 126 h 786"/>
                  <a:gd name="T14" fmla="*/ 8 w 168"/>
                  <a:gd name="T15" fmla="*/ 112 h 786"/>
                  <a:gd name="T16" fmla="*/ 2 w 168"/>
                  <a:gd name="T17" fmla="*/ 98 h 786"/>
                  <a:gd name="T18" fmla="*/ 0 w 168"/>
                  <a:gd name="T19" fmla="*/ 80 h 786"/>
                  <a:gd name="T20" fmla="*/ 0 w 168"/>
                  <a:gd name="T21" fmla="*/ 80 h 786"/>
                  <a:gd name="T22" fmla="*/ 2 w 168"/>
                  <a:gd name="T23" fmla="*/ 64 h 786"/>
                  <a:gd name="T24" fmla="*/ 8 w 168"/>
                  <a:gd name="T25" fmla="*/ 50 h 786"/>
                  <a:gd name="T26" fmla="*/ 14 w 168"/>
                  <a:gd name="T27" fmla="*/ 36 h 786"/>
                  <a:gd name="T28" fmla="*/ 26 w 168"/>
                  <a:gd name="T29" fmla="*/ 24 h 786"/>
                  <a:gd name="T30" fmla="*/ 38 w 168"/>
                  <a:gd name="T31" fmla="*/ 14 h 786"/>
                  <a:gd name="T32" fmla="*/ 52 w 168"/>
                  <a:gd name="T33" fmla="*/ 6 h 786"/>
                  <a:gd name="T34" fmla="*/ 68 w 168"/>
                  <a:gd name="T35" fmla="*/ 2 h 786"/>
                  <a:gd name="T36" fmla="*/ 84 w 168"/>
                  <a:gd name="T37" fmla="*/ 0 h 786"/>
                  <a:gd name="T38" fmla="*/ 84 w 168"/>
                  <a:gd name="T39" fmla="*/ 0 h 786"/>
                  <a:gd name="T40" fmla="*/ 102 w 168"/>
                  <a:gd name="T41" fmla="*/ 2 h 786"/>
                  <a:gd name="T42" fmla="*/ 118 w 168"/>
                  <a:gd name="T43" fmla="*/ 6 h 786"/>
                  <a:gd name="T44" fmla="*/ 132 w 168"/>
                  <a:gd name="T45" fmla="*/ 14 h 786"/>
                  <a:gd name="T46" fmla="*/ 144 w 168"/>
                  <a:gd name="T47" fmla="*/ 24 h 786"/>
                  <a:gd name="T48" fmla="*/ 154 w 168"/>
                  <a:gd name="T49" fmla="*/ 36 h 786"/>
                  <a:gd name="T50" fmla="*/ 162 w 168"/>
                  <a:gd name="T51" fmla="*/ 48 h 786"/>
                  <a:gd name="T52" fmla="*/ 166 w 168"/>
                  <a:gd name="T53" fmla="*/ 64 h 786"/>
                  <a:gd name="T54" fmla="*/ 168 w 168"/>
                  <a:gd name="T55" fmla="*/ 80 h 786"/>
                  <a:gd name="T56" fmla="*/ 168 w 168"/>
                  <a:gd name="T57" fmla="*/ 80 h 786"/>
                  <a:gd name="T58" fmla="*/ 166 w 168"/>
                  <a:gd name="T59" fmla="*/ 96 h 786"/>
                  <a:gd name="T60" fmla="*/ 162 w 168"/>
                  <a:gd name="T61" fmla="*/ 112 h 786"/>
                  <a:gd name="T62" fmla="*/ 154 w 168"/>
                  <a:gd name="T63" fmla="*/ 126 h 786"/>
                  <a:gd name="T64" fmla="*/ 144 w 168"/>
                  <a:gd name="T65" fmla="*/ 138 h 786"/>
                  <a:gd name="T66" fmla="*/ 132 w 168"/>
                  <a:gd name="T67" fmla="*/ 148 h 786"/>
                  <a:gd name="T68" fmla="*/ 118 w 168"/>
                  <a:gd name="T69" fmla="*/ 156 h 786"/>
                  <a:gd name="T70" fmla="*/ 102 w 168"/>
                  <a:gd name="T71" fmla="*/ 160 h 786"/>
                  <a:gd name="T72" fmla="*/ 84 w 168"/>
                  <a:gd name="T73" fmla="*/ 162 h 786"/>
                  <a:gd name="T74" fmla="*/ 84 w 168"/>
                  <a:gd name="T75" fmla="*/ 162 h 786"/>
                  <a:gd name="T76" fmla="*/ 16 w 168"/>
                  <a:gd name="T77" fmla="*/ 786 h 786"/>
                  <a:gd name="T78" fmla="*/ 16 w 168"/>
                  <a:gd name="T79" fmla="*/ 244 h 786"/>
                  <a:gd name="T80" fmla="*/ 152 w 168"/>
                  <a:gd name="T81" fmla="*/ 244 h 786"/>
                  <a:gd name="T82" fmla="*/ 152 w 168"/>
                  <a:gd name="T83" fmla="*/ 244 h 786"/>
                  <a:gd name="T84" fmla="*/ 152 w 168"/>
                  <a:gd name="T85" fmla="*/ 686 h 786"/>
                  <a:gd name="T86" fmla="*/ 152 w 168"/>
                  <a:gd name="T87" fmla="*/ 686 h 786"/>
                  <a:gd name="T88" fmla="*/ 150 w 168"/>
                  <a:gd name="T89" fmla="*/ 704 h 786"/>
                  <a:gd name="T90" fmla="*/ 146 w 168"/>
                  <a:gd name="T91" fmla="*/ 720 h 786"/>
                  <a:gd name="T92" fmla="*/ 138 w 168"/>
                  <a:gd name="T93" fmla="*/ 732 h 786"/>
                  <a:gd name="T94" fmla="*/ 130 w 168"/>
                  <a:gd name="T95" fmla="*/ 744 h 786"/>
                  <a:gd name="T96" fmla="*/ 120 w 168"/>
                  <a:gd name="T97" fmla="*/ 754 h 786"/>
                  <a:gd name="T98" fmla="*/ 108 w 168"/>
                  <a:gd name="T99" fmla="*/ 762 h 786"/>
                  <a:gd name="T100" fmla="*/ 96 w 168"/>
                  <a:gd name="T101" fmla="*/ 768 h 786"/>
                  <a:gd name="T102" fmla="*/ 84 w 168"/>
                  <a:gd name="T103" fmla="*/ 774 h 786"/>
                  <a:gd name="T104" fmla="*/ 60 w 168"/>
                  <a:gd name="T105" fmla="*/ 782 h 786"/>
                  <a:gd name="T106" fmla="*/ 38 w 168"/>
                  <a:gd name="T107" fmla="*/ 784 h 786"/>
                  <a:gd name="T108" fmla="*/ 16 w 168"/>
                  <a:gd name="T109" fmla="*/ 786 h 786"/>
                  <a:gd name="T110" fmla="*/ 16 w 168"/>
                  <a:gd name="T111" fmla="*/ 786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8" h="786">
                    <a:moveTo>
                      <a:pt x="84" y="162"/>
                    </a:moveTo>
                    <a:lnTo>
                      <a:pt x="84" y="162"/>
                    </a:lnTo>
                    <a:lnTo>
                      <a:pt x="68" y="160"/>
                    </a:lnTo>
                    <a:lnTo>
                      <a:pt x="52" y="156"/>
                    </a:lnTo>
                    <a:lnTo>
                      <a:pt x="38" y="148"/>
                    </a:lnTo>
                    <a:lnTo>
                      <a:pt x="26" y="138"/>
                    </a:lnTo>
                    <a:lnTo>
                      <a:pt x="14" y="126"/>
                    </a:lnTo>
                    <a:lnTo>
                      <a:pt x="8" y="112"/>
                    </a:lnTo>
                    <a:lnTo>
                      <a:pt x="2" y="98"/>
                    </a:lnTo>
                    <a:lnTo>
                      <a:pt x="0" y="80"/>
                    </a:lnTo>
                    <a:lnTo>
                      <a:pt x="0" y="80"/>
                    </a:lnTo>
                    <a:lnTo>
                      <a:pt x="2" y="64"/>
                    </a:lnTo>
                    <a:lnTo>
                      <a:pt x="8" y="50"/>
                    </a:lnTo>
                    <a:lnTo>
                      <a:pt x="14" y="36"/>
                    </a:lnTo>
                    <a:lnTo>
                      <a:pt x="26" y="24"/>
                    </a:lnTo>
                    <a:lnTo>
                      <a:pt x="38" y="14"/>
                    </a:lnTo>
                    <a:lnTo>
                      <a:pt x="52" y="6"/>
                    </a:lnTo>
                    <a:lnTo>
                      <a:pt x="68" y="2"/>
                    </a:lnTo>
                    <a:lnTo>
                      <a:pt x="84" y="0"/>
                    </a:lnTo>
                    <a:lnTo>
                      <a:pt x="84" y="0"/>
                    </a:lnTo>
                    <a:lnTo>
                      <a:pt x="102" y="2"/>
                    </a:lnTo>
                    <a:lnTo>
                      <a:pt x="118" y="6"/>
                    </a:lnTo>
                    <a:lnTo>
                      <a:pt x="132" y="14"/>
                    </a:lnTo>
                    <a:lnTo>
                      <a:pt x="144" y="24"/>
                    </a:lnTo>
                    <a:lnTo>
                      <a:pt x="154" y="36"/>
                    </a:lnTo>
                    <a:lnTo>
                      <a:pt x="162" y="48"/>
                    </a:lnTo>
                    <a:lnTo>
                      <a:pt x="166" y="64"/>
                    </a:lnTo>
                    <a:lnTo>
                      <a:pt x="168" y="80"/>
                    </a:lnTo>
                    <a:lnTo>
                      <a:pt x="168" y="80"/>
                    </a:lnTo>
                    <a:lnTo>
                      <a:pt x="166" y="96"/>
                    </a:lnTo>
                    <a:lnTo>
                      <a:pt x="162" y="112"/>
                    </a:lnTo>
                    <a:lnTo>
                      <a:pt x="154" y="126"/>
                    </a:lnTo>
                    <a:lnTo>
                      <a:pt x="144" y="138"/>
                    </a:lnTo>
                    <a:lnTo>
                      <a:pt x="132" y="148"/>
                    </a:lnTo>
                    <a:lnTo>
                      <a:pt x="118" y="156"/>
                    </a:lnTo>
                    <a:lnTo>
                      <a:pt x="102" y="160"/>
                    </a:lnTo>
                    <a:lnTo>
                      <a:pt x="84" y="162"/>
                    </a:lnTo>
                    <a:lnTo>
                      <a:pt x="84" y="162"/>
                    </a:lnTo>
                    <a:close/>
                    <a:moveTo>
                      <a:pt x="16" y="786"/>
                    </a:moveTo>
                    <a:lnTo>
                      <a:pt x="16" y="244"/>
                    </a:lnTo>
                    <a:lnTo>
                      <a:pt x="152" y="244"/>
                    </a:lnTo>
                    <a:lnTo>
                      <a:pt x="152" y="244"/>
                    </a:lnTo>
                    <a:lnTo>
                      <a:pt x="152" y="686"/>
                    </a:lnTo>
                    <a:lnTo>
                      <a:pt x="152" y="686"/>
                    </a:lnTo>
                    <a:lnTo>
                      <a:pt x="150" y="704"/>
                    </a:lnTo>
                    <a:lnTo>
                      <a:pt x="146" y="720"/>
                    </a:lnTo>
                    <a:lnTo>
                      <a:pt x="138" y="732"/>
                    </a:lnTo>
                    <a:lnTo>
                      <a:pt x="130" y="744"/>
                    </a:lnTo>
                    <a:lnTo>
                      <a:pt x="120" y="754"/>
                    </a:lnTo>
                    <a:lnTo>
                      <a:pt x="108" y="762"/>
                    </a:lnTo>
                    <a:lnTo>
                      <a:pt x="96" y="768"/>
                    </a:lnTo>
                    <a:lnTo>
                      <a:pt x="84" y="774"/>
                    </a:lnTo>
                    <a:lnTo>
                      <a:pt x="60" y="782"/>
                    </a:lnTo>
                    <a:lnTo>
                      <a:pt x="38" y="784"/>
                    </a:lnTo>
                    <a:lnTo>
                      <a:pt x="16" y="786"/>
                    </a:lnTo>
                    <a:lnTo>
                      <a:pt x="16" y="7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 name="Freeform 28"/>
              <p:cNvSpPr>
                <a:spLocks/>
              </p:cNvSpPr>
              <p:nvPr/>
            </p:nvSpPr>
            <p:spPr bwMode="auto">
              <a:xfrm>
                <a:off x="7989468" y="4518126"/>
                <a:ext cx="49837" cy="57313"/>
              </a:xfrm>
              <a:custGeom>
                <a:avLst/>
                <a:gdLst>
                  <a:gd name="T0" fmla="*/ 346 w 480"/>
                  <a:gd name="T1" fmla="*/ 230 h 552"/>
                  <a:gd name="T2" fmla="*/ 344 w 480"/>
                  <a:gd name="T3" fmla="*/ 210 h 552"/>
                  <a:gd name="T4" fmla="*/ 338 w 480"/>
                  <a:gd name="T5" fmla="*/ 170 h 552"/>
                  <a:gd name="T6" fmla="*/ 322 w 480"/>
                  <a:gd name="T7" fmla="*/ 138 h 552"/>
                  <a:gd name="T8" fmla="*/ 308 w 480"/>
                  <a:gd name="T9" fmla="*/ 126 h 552"/>
                  <a:gd name="T10" fmla="*/ 290 w 480"/>
                  <a:gd name="T11" fmla="*/ 118 h 552"/>
                  <a:gd name="T12" fmla="*/ 268 w 480"/>
                  <a:gd name="T13" fmla="*/ 116 h 552"/>
                  <a:gd name="T14" fmla="*/ 250 w 480"/>
                  <a:gd name="T15" fmla="*/ 116 h 552"/>
                  <a:gd name="T16" fmla="*/ 216 w 480"/>
                  <a:gd name="T17" fmla="*/ 126 h 552"/>
                  <a:gd name="T18" fmla="*/ 182 w 480"/>
                  <a:gd name="T19" fmla="*/ 140 h 552"/>
                  <a:gd name="T20" fmla="*/ 134 w 480"/>
                  <a:gd name="T21" fmla="*/ 172 h 552"/>
                  <a:gd name="T22" fmla="*/ 134 w 480"/>
                  <a:gd name="T23" fmla="*/ 452 h 552"/>
                  <a:gd name="T24" fmla="*/ 132 w 480"/>
                  <a:gd name="T25" fmla="*/ 470 h 552"/>
                  <a:gd name="T26" fmla="*/ 120 w 480"/>
                  <a:gd name="T27" fmla="*/ 498 h 552"/>
                  <a:gd name="T28" fmla="*/ 102 w 480"/>
                  <a:gd name="T29" fmla="*/ 518 h 552"/>
                  <a:gd name="T30" fmla="*/ 78 w 480"/>
                  <a:gd name="T31" fmla="*/ 534 h 552"/>
                  <a:gd name="T32" fmla="*/ 42 w 480"/>
                  <a:gd name="T33" fmla="*/ 546 h 552"/>
                  <a:gd name="T34" fmla="*/ 0 w 480"/>
                  <a:gd name="T35" fmla="*/ 552 h 552"/>
                  <a:gd name="T36" fmla="*/ 114 w 480"/>
                  <a:gd name="T37" fmla="*/ 14 h 552"/>
                  <a:gd name="T38" fmla="*/ 128 w 480"/>
                  <a:gd name="T39" fmla="*/ 70 h 552"/>
                  <a:gd name="T40" fmla="*/ 170 w 480"/>
                  <a:gd name="T41" fmla="*/ 42 h 552"/>
                  <a:gd name="T42" fmla="*/ 214 w 480"/>
                  <a:gd name="T43" fmla="*/ 20 h 552"/>
                  <a:gd name="T44" fmla="*/ 262 w 480"/>
                  <a:gd name="T45" fmla="*/ 6 h 552"/>
                  <a:gd name="T46" fmla="*/ 314 w 480"/>
                  <a:gd name="T47" fmla="*/ 0 h 552"/>
                  <a:gd name="T48" fmla="*/ 328 w 480"/>
                  <a:gd name="T49" fmla="*/ 2 h 552"/>
                  <a:gd name="T50" fmla="*/ 358 w 480"/>
                  <a:gd name="T51" fmla="*/ 6 h 552"/>
                  <a:gd name="T52" fmla="*/ 388 w 480"/>
                  <a:gd name="T53" fmla="*/ 16 h 552"/>
                  <a:gd name="T54" fmla="*/ 414 w 480"/>
                  <a:gd name="T55" fmla="*/ 32 h 552"/>
                  <a:gd name="T56" fmla="*/ 438 w 480"/>
                  <a:gd name="T57" fmla="*/ 54 h 552"/>
                  <a:gd name="T58" fmla="*/ 458 w 480"/>
                  <a:gd name="T59" fmla="*/ 84 h 552"/>
                  <a:gd name="T60" fmla="*/ 472 w 480"/>
                  <a:gd name="T61" fmla="*/ 120 h 552"/>
                  <a:gd name="T62" fmla="*/ 478 w 480"/>
                  <a:gd name="T63" fmla="*/ 166 h 552"/>
                  <a:gd name="T64" fmla="*/ 480 w 480"/>
                  <a:gd name="T65" fmla="*/ 190 h 552"/>
                  <a:gd name="T66" fmla="*/ 480 w 480"/>
                  <a:gd name="T67" fmla="*/ 452 h 552"/>
                  <a:gd name="T68" fmla="*/ 474 w 480"/>
                  <a:gd name="T69" fmla="*/ 484 h 552"/>
                  <a:gd name="T70" fmla="*/ 458 w 480"/>
                  <a:gd name="T71" fmla="*/ 510 h 552"/>
                  <a:gd name="T72" fmla="*/ 438 w 480"/>
                  <a:gd name="T73" fmla="*/ 528 h 552"/>
                  <a:gd name="T74" fmla="*/ 412 w 480"/>
                  <a:gd name="T75" fmla="*/ 540 h 552"/>
                  <a:gd name="T76" fmla="*/ 366 w 480"/>
                  <a:gd name="T77" fmla="*/ 550 h 552"/>
                  <a:gd name="T78" fmla="*/ 346 w 480"/>
                  <a:gd name="T79" fmla="*/ 552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80" h="552">
                    <a:moveTo>
                      <a:pt x="346" y="552"/>
                    </a:moveTo>
                    <a:lnTo>
                      <a:pt x="346" y="230"/>
                    </a:lnTo>
                    <a:lnTo>
                      <a:pt x="346" y="230"/>
                    </a:lnTo>
                    <a:lnTo>
                      <a:pt x="344" y="210"/>
                    </a:lnTo>
                    <a:lnTo>
                      <a:pt x="342" y="190"/>
                    </a:lnTo>
                    <a:lnTo>
                      <a:pt x="338" y="170"/>
                    </a:lnTo>
                    <a:lnTo>
                      <a:pt x="332" y="152"/>
                    </a:lnTo>
                    <a:lnTo>
                      <a:pt x="322" y="138"/>
                    </a:lnTo>
                    <a:lnTo>
                      <a:pt x="316" y="132"/>
                    </a:lnTo>
                    <a:lnTo>
                      <a:pt x="308" y="126"/>
                    </a:lnTo>
                    <a:lnTo>
                      <a:pt x="300" y="122"/>
                    </a:lnTo>
                    <a:lnTo>
                      <a:pt x="290" y="118"/>
                    </a:lnTo>
                    <a:lnTo>
                      <a:pt x="280" y="116"/>
                    </a:lnTo>
                    <a:lnTo>
                      <a:pt x="268" y="116"/>
                    </a:lnTo>
                    <a:lnTo>
                      <a:pt x="268" y="116"/>
                    </a:lnTo>
                    <a:lnTo>
                      <a:pt x="250" y="116"/>
                    </a:lnTo>
                    <a:lnTo>
                      <a:pt x="232" y="120"/>
                    </a:lnTo>
                    <a:lnTo>
                      <a:pt x="216" y="126"/>
                    </a:lnTo>
                    <a:lnTo>
                      <a:pt x="198" y="132"/>
                    </a:lnTo>
                    <a:lnTo>
                      <a:pt x="182" y="140"/>
                    </a:lnTo>
                    <a:lnTo>
                      <a:pt x="166" y="150"/>
                    </a:lnTo>
                    <a:lnTo>
                      <a:pt x="134" y="172"/>
                    </a:lnTo>
                    <a:lnTo>
                      <a:pt x="134" y="172"/>
                    </a:lnTo>
                    <a:lnTo>
                      <a:pt x="134" y="452"/>
                    </a:lnTo>
                    <a:lnTo>
                      <a:pt x="134" y="452"/>
                    </a:lnTo>
                    <a:lnTo>
                      <a:pt x="132" y="470"/>
                    </a:lnTo>
                    <a:lnTo>
                      <a:pt x="128" y="484"/>
                    </a:lnTo>
                    <a:lnTo>
                      <a:pt x="120" y="498"/>
                    </a:lnTo>
                    <a:lnTo>
                      <a:pt x="112" y="510"/>
                    </a:lnTo>
                    <a:lnTo>
                      <a:pt x="102" y="518"/>
                    </a:lnTo>
                    <a:lnTo>
                      <a:pt x="90" y="528"/>
                    </a:lnTo>
                    <a:lnTo>
                      <a:pt x="78" y="534"/>
                    </a:lnTo>
                    <a:lnTo>
                      <a:pt x="66" y="540"/>
                    </a:lnTo>
                    <a:lnTo>
                      <a:pt x="42" y="546"/>
                    </a:lnTo>
                    <a:lnTo>
                      <a:pt x="20" y="550"/>
                    </a:lnTo>
                    <a:lnTo>
                      <a:pt x="0" y="552"/>
                    </a:lnTo>
                    <a:lnTo>
                      <a:pt x="0" y="14"/>
                    </a:lnTo>
                    <a:lnTo>
                      <a:pt x="114" y="14"/>
                    </a:lnTo>
                    <a:lnTo>
                      <a:pt x="128" y="70"/>
                    </a:lnTo>
                    <a:lnTo>
                      <a:pt x="128" y="70"/>
                    </a:lnTo>
                    <a:lnTo>
                      <a:pt x="150" y="54"/>
                    </a:lnTo>
                    <a:lnTo>
                      <a:pt x="170" y="42"/>
                    </a:lnTo>
                    <a:lnTo>
                      <a:pt x="192" y="30"/>
                    </a:lnTo>
                    <a:lnTo>
                      <a:pt x="214" y="20"/>
                    </a:lnTo>
                    <a:lnTo>
                      <a:pt x="238" y="12"/>
                    </a:lnTo>
                    <a:lnTo>
                      <a:pt x="262" y="6"/>
                    </a:lnTo>
                    <a:lnTo>
                      <a:pt x="286" y="2"/>
                    </a:lnTo>
                    <a:lnTo>
                      <a:pt x="314" y="0"/>
                    </a:lnTo>
                    <a:lnTo>
                      <a:pt x="314" y="0"/>
                    </a:lnTo>
                    <a:lnTo>
                      <a:pt x="328" y="2"/>
                    </a:lnTo>
                    <a:lnTo>
                      <a:pt x="344" y="2"/>
                    </a:lnTo>
                    <a:lnTo>
                      <a:pt x="358" y="6"/>
                    </a:lnTo>
                    <a:lnTo>
                      <a:pt x="374" y="10"/>
                    </a:lnTo>
                    <a:lnTo>
                      <a:pt x="388" y="16"/>
                    </a:lnTo>
                    <a:lnTo>
                      <a:pt x="402" y="24"/>
                    </a:lnTo>
                    <a:lnTo>
                      <a:pt x="414" y="32"/>
                    </a:lnTo>
                    <a:lnTo>
                      <a:pt x="426" y="42"/>
                    </a:lnTo>
                    <a:lnTo>
                      <a:pt x="438" y="54"/>
                    </a:lnTo>
                    <a:lnTo>
                      <a:pt x="448" y="68"/>
                    </a:lnTo>
                    <a:lnTo>
                      <a:pt x="458" y="84"/>
                    </a:lnTo>
                    <a:lnTo>
                      <a:pt x="464" y="102"/>
                    </a:lnTo>
                    <a:lnTo>
                      <a:pt x="472" y="120"/>
                    </a:lnTo>
                    <a:lnTo>
                      <a:pt x="476" y="142"/>
                    </a:lnTo>
                    <a:lnTo>
                      <a:pt x="478" y="166"/>
                    </a:lnTo>
                    <a:lnTo>
                      <a:pt x="480" y="190"/>
                    </a:lnTo>
                    <a:lnTo>
                      <a:pt x="480" y="190"/>
                    </a:lnTo>
                    <a:lnTo>
                      <a:pt x="480" y="452"/>
                    </a:lnTo>
                    <a:lnTo>
                      <a:pt x="480" y="452"/>
                    </a:lnTo>
                    <a:lnTo>
                      <a:pt x="478" y="470"/>
                    </a:lnTo>
                    <a:lnTo>
                      <a:pt x="474" y="484"/>
                    </a:lnTo>
                    <a:lnTo>
                      <a:pt x="468" y="498"/>
                    </a:lnTo>
                    <a:lnTo>
                      <a:pt x="458" y="510"/>
                    </a:lnTo>
                    <a:lnTo>
                      <a:pt x="448" y="520"/>
                    </a:lnTo>
                    <a:lnTo>
                      <a:pt x="438" y="528"/>
                    </a:lnTo>
                    <a:lnTo>
                      <a:pt x="424" y="534"/>
                    </a:lnTo>
                    <a:lnTo>
                      <a:pt x="412" y="540"/>
                    </a:lnTo>
                    <a:lnTo>
                      <a:pt x="388" y="546"/>
                    </a:lnTo>
                    <a:lnTo>
                      <a:pt x="366" y="550"/>
                    </a:lnTo>
                    <a:lnTo>
                      <a:pt x="346" y="552"/>
                    </a:lnTo>
                    <a:lnTo>
                      <a:pt x="346" y="5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6" name="Freeform 29"/>
              <p:cNvSpPr>
                <a:spLocks/>
              </p:cNvSpPr>
              <p:nvPr/>
            </p:nvSpPr>
            <p:spPr bwMode="auto">
              <a:xfrm>
                <a:off x="8106170" y="4491754"/>
                <a:ext cx="14120" cy="83477"/>
              </a:xfrm>
              <a:custGeom>
                <a:avLst/>
                <a:gdLst>
                  <a:gd name="T0" fmla="*/ 136 w 136"/>
                  <a:gd name="T1" fmla="*/ 704 h 804"/>
                  <a:gd name="T2" fmla="*/ 136 w 136"/>
                  <a:gd name="T3" fmla="*/ 704 h 804"/>
                  <a:gd name="T4" fmla="*/ 134 w 136"/>
                  <a:gd name="T5" fmla="*/ 722 h 804"/>
                  <a:gd name="T6" fmla="*/ 130 w 136"/>
                  <a:gd name="T7" fmla="*/ 738 h 804"/>
                  <a:gd name="T8" fmla="*/ 122 w 136"/>
                  <a:gd name="T9" fmla="*/ 750 h 804"/>
                  <a:gd name="T10" fmla="*/ 114 w 136"/>
                  <a:gd name="T11" fmla="*/ 762 h 804"/>
                  <a:gd name="T12" fmla="*/ 104 w 136"/>
                  <a:gd name="T13" fmla="*/ 772 h 804"/>
                  <a:gd name="T14" fmla="*/ 92 w 136"/>
                  <a:gd name="T15" fmla="*/ 780 h 804"/>
                  <a:gd name="T16" fmla="*/ 80 w 136"/>
                  <a:gd name="T17" fmla="*/ 786 h 804"/>
                  <a:gd name="T18" fmla="*/ 68 w 136"/>
                  <a:gd name="T19" fmla="*/ 792 h 804"/>
                  <a:gd name="T20" fmla="*/ 44 w 136"/>
                  <a:gd name="T21" fmla="*/ 800 h 804"/>
                  <a:gd name="T22" fmla="*/ 22 w 136"/>
                  <a:gd name="T23" fmla="*/ 802 h 804"/>
                  <a:gd name="T24" fmla="*/ 0 w 136"/>
                  <a:gd name="T25" fmla="*/ 804 h 804"/>
                  <a:gd name="T26" fmla="*/ 0 w 136"/>
                  <a:gd name="T27" fmla="*/ 0 h 804"/>
                  <a:gd name="T28" fmla="*/ 136 w 136"/>
                  <a:gd name="T29" fmla="*/ 0 h 804"/>
                  <a:gd name="T30" fmla="*/ 136 w 136"/>
                  <a:gd name="T31" fmla="*/ 0 h 804"/>
                  <a:gd name="T32" fmla="*/ 136 w 136"/>
                  <a:gd name="T33" fmla="*/ 704 h 804"/>
                  <a:gd name="T34" fmla="*/ 136 w 136"/>
                  <a:gd name="T35" fmla="*/ 70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04">
                    <a:moveTo>
                      <a:pt x="136" y="704"/>
                    </a:moveTo>
                    <a:lnTo>
                      <a:pt x="136" y="704"/>
                    </a:lnTo>
                    <a:lnTo>
                      <a:pt x="134" y="722"/>
                    </a:lnTo>
                    <a:lnTo>
                      <a:pt x="130" y="738"/>
                    </a:lnTo>
                    <a:lnTo>
                      <a:pt x="122" y="750"/>
                    </a:lnTo>
                    <a:lnTo>
                      <a:pt x="114" y="762"/>
                    </a:lnTo>
                    <a:lnTo>
                      <a:pt x="104" y="772"/>
                    </a:lnTo>
                    <a:lnTo>
                      <a:pt x="92" y="780"/>
                    </a:lnTo>
                    <a:lnTo>
                      <a:pt x="80" y="786"/>
                    </a:lnTo>
                    <a:lnTo>
                      <a:pt x="68" y="792"/>
                    </a:lnTo>
                    <a:lnTo>
                      <a:pt x="44" y="800"/>
                    </a:lnTo>
                    <a:lnTo>
                      <a:pt x="22" y="802"/>
                    </a:lnTo>
                    <a:lnTo>
                      <a:pt x="0" y="804"/>
                    </a:lnTo>
                    <a:lnTo>
                      <a:pt x="0" y="0"/>
                    </a:lnTo>
                    <a:lnTo>
                      <a:pt x="136" y="0"/>
                    </a:lnTo>
                    <a:lnTo>
                      <a:pt x="136" y="0"/>
                    </a:lnTo>
                    <a:lnTo>
                      <a:pt x="136" y="704"/>
                    </a:lnTo>
                    <a:lnTo>
                      <a:pt x="136" y="7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0" name="Group 69"/>
            <p:cNvGrpSpPr/>
            <p:nvPr userDrawn="1"/>
          </p:nvGrpSpPr>
          <p:grpSpPr>
            <a:xfrm>
              <a:off x="7673274" y="4343117"/>
              <a:ext cx="1123200" cy="148389"/>
              <a:chOff x="7665803" y="4864376"/>
              <a:chExt cx="1123200" cy="148389"/>
            </a:xfrm>
            <a:grpFill/>
          </p:grpSpPr>
          <p:sp>
            <p:nvSpPr>
              <p:cNvPr id="71" name="Freeform 6"/>
              <p:cNvSpPr>
                <a:spLocks/>
              </p:cNvSpPr>
              <p:nvPr userDrawn="1"/>
            </p:nvSpPr>
            <p:spPr bwMode="auto">
              <a:xfrm>
                <a:off x="8119644" y="4924717"/>
                <a:ext cx="103102" cy="66806"/>
              </a:xfrm>
              <a:custGeom>
                <a:avLst/>
                <a:gdLst>
                  <a:gd name="T0" fmla="*/ 111 w 136"/>
                  <a:gd name="T1" fmla="*/ 72 h 92"/>
                  <a:gd name="T2" fmla="*/ 87 w 136"/>
                  <a:gd name="T3" fmla="*/ 88 h 92"/>
                  <a:gd name="T4" fmla="*/ 68 w 136"/>
                  <a:gd name="T5" fmla="*/ 28 h 92"/>
                  <a:gd name="T6" fmla="*/ 67 w 136"/>
                  <a:gd name="T7" fmla="*/ 28 h 92"/>
                  <a:gd name="T8" fmla="*/ 53 w 136"/>
                  <a:gd name="T9" fmla="*/ 72 h 92"/>
                  <a:gd name="T10" fmla="*/ 31 w 136"/>
                  <a:gd name="T11" fmla="*/ 88 h 92"/>
                  <a:gd name="T12" fmla="*/ 0 w 136"/>
                  <a:gd name="T13" fmla="*/ 0 h 92"/>
                  <a:gd name="T14" fmla="*/ 22 w 136"/>
                  <a:gd name="T15" fmla="*/ 0 h 92"/>
                  <a:gd name="T16" fmla="*/ 41 w 136"/>
                  <a:gd name="T17" fmla="*/ 60 h 92"/>
                  <a:gd name="T18" fmla="*/ 41 w 136"/>
                  <a:gd name="T19" fmla="*/ 60 h 92"/>
                  <a:gd name="T20" fmla="*/ 60 w 136"/>
                  <a:gd name="T21" fmla="*/ 0 h 92"/>
                  <a:gd name="T22" fmla="*/ 77 w 136"/>
                  <a:gd name="T23" fmla="*/ 0 h 92"/>
                  <a:gd name="T24" fmla="*/ 96 w 136"/>
                  <a:gd name="T25" fmla="*/ 60 h 92"/>
                  <a:gd name="T26" fmla="*/ 97 w 136"/>
                  <a:gd name="T27" fmla="*/ 60 h 92"/>
                  <a:gd name="T28" fmla="*/ 115 w 136"/>
                  <a:gd name="T29" fmla="*/ 0 h 92"/>
                  <a:gd name="T30" fmla="*/ 136 w 136"/>
                  <a:gd name="T31" fmla="*/ 0 h 92"/>
                  <a:gd name="T32" fmla="*/ 111 w 136"/>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 h="92">
                    <a:moveTo>
                      <a:pt x="111" y="72"/>
                    </a:moveTo>
                    <a:cubicBezTo>
                      <a:pt x="103" y="92"/>
                      <a:pt x="87" y="88"/>
                      <a:pt x="87" y="88"/>
                    </a:cubicBezTo>
                    <a:cubicBezTo>
                      <a:pt x="68" y="28"/>
                      <a:pt x="68" y="28"/>
                      <a:pt x="68" y="28"/>
                    </a:cubicBezTo>
                    <a:cubicBezTo>
                      <a:pt x="67" y="28"/>
                      <a:pt x="67" y="28"/>
                      <a:pt x="67" y="28"/>
                    </a:cubicBezTo>
                    <a:cubicBezTo>
                      <a:pt x="67" y="28"/>
                      <a:pt x="58"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6" y="60"/>
                      <a:pt x="96" y="60"/>
                      <a:pt x="96" y="60"/>
                    </a:cubicBezTo>
                    <a:cubicBezTo>
                      <a:pt x="97" y="60"/>
                      <a:pt x="97" y="60"/>
                      <a:pt x="97" y="60"/>
                    </a:cubicBezTo>
                    <a:cubicBezTo>
                      <a:pt x="115" y="0"/>
                      <a:pt x="115" y="0"/>
                      <a:pt x="115" y="0"/>
                    </a:cubicBezTo>
                    <a:cubicBezTo>
                      <a:pt x="136" y="0"/>
                      <a:pt x="136" y="0"/>
                      <a:pt x="136" y="0"/>
                    </a:cubicBezTo>
                    <a:cubicBezTo>
                      <a:pt x="136"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2" name="Freeform 7"/>
              <p:cNvSpPr>
                <a:spLocks noEditPoints="1"/>
              </p:cNvSpPr>
              <p:nvPr userDrawn="1"/>
            </p:nvSpPr>
            <p:spPr bwMode="auto">
              <a:xfrm>
                <a:off x="8225958" y="4923177"/>
                <a:ext cx="57493" cy="66190"/>
              </a:xfrm>
              <a:custGeom>
                <a:avLst/>
                <a:gdLst>
                  <a:gd name="T0" fmla="*/ 57 w 76"/>
                  <a:gd name="T1" fmla="*/ 90 h 91"/>
                  <a:gd name="T2" fmla="*/ 53 w 76"/>
                  <a:gd name="T3" fmla="*/ 81 h 91"/>
                  <a:gd name="T4" fmla="*/ 28 w 76"/>
                  <a:gd name="T5" fmla="*/ 91 h 91"/>
                  <a:gd name="T6" fmla="*/ 0 w 76"/>
                  <a:gd name="T7" fmla="*/ 63 h 91"/>
                  <a:gd name="T8" fmla="*/ 36 w 76"/>
                  <a:gd name="T9" fmla="*/ 34 h 91"/>
                  <a:gd name="T10" fmla="*/ 51 w 76"/>
                  <a:gd name="T11" fmla="*/ 34 h 91"/>
                  <a:gd name="T12" fmla="*/ 51 w 76"/>
                  <a:gd name="T13" fmla="*/ 31 h 91"/>
                  <a:gd name="T14" fmla="*/ 35 w 76"/>
                  <a:gd name="T15" fmla="*/ 17 h 91"/>
                  <a:gd name="T16" fmla="*/ 12 w 76"/>
                  <a:gd name="T17" fmla="*/ 23 h 91"/>
                  <a:gd name="T18" fmla="*/ 5 w 76"/>
                  <a:gd name="T19" fmla="*/ 9 h 91"/>
                  <a:gd name="T20" fmla="*/ 39 w 76"/>
                  <a:gd name="T21" fmla="*/ 0 h 91"/>
                  <a:gd name="T22" fmla="*/ 74 w 76"/>
                  <a:gd name="T23" fmla="*/ 31 h 91"/>
                  <a:gd name="T24" fmla="*/ 74 w 76"/>
                  <a:gd name="T25" fmla="*/ 66 h 91"/>
                  <a:gd name="T26" fmla="*/ 76 w 76"/>
                  <a:gd name="T27" fmla="*/ 90 h 91"/>
                  <a:gd name="T28" fmla="*/ 57 w 76"/>
                  <a:gd name="T29" fmla="*/ 90 h 91"/>
                  <a:gd name="T30" fmla="*/ 51 w 76"/>
                  <a:gd name="T31" fmla="*/ 49 h 91"/>
                  <a:gd name="T32" fmla="*/ 39 w 76"/>
                  <a:gd name="T33" fmla="*/ 49 h 91"/>
                  <a:gd name="T34" fmla="*/ 22 w 76"/>
                  <a:gd name="T35" fmla="*/ 61 h 91"/>
                  <a:gd name="T36" fmla="*/ 36 w 76"/>
                  <a:gd name="T37" fmla="*/ 73 h 91"/>
                  <a:gd name="T38" fmla="*/ 51 w 76"/>
                  <a:gd name="T39" fmla="*/ 68 h 91"/>
                  <a:gd name="T40" fmla="*/ 51 w 76"/>
                  <a:gd name="T41" fmla="*/ 4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91">
                    <a:moveTo>
                      <a:pt x="57" y="90"/>
                    </a:moveTo>
                    <a:cubicBezTo>
                      <a:pt x="53" y="81"/>
                      <a:pt x="53" y="81"/>
                      <a:pt x="53" y="81"/>
                    </a:cubicBezTo>
                    <a:cubicBezTo>
                      <a:pt x="48" y="86"/>
                      <a:pt x="40" y="91"/>
                      <a:pt x="28" y="91"/>
                    </a:cubicBezTo>
                    <a:cubicBezTo>
                      <a:pt x="12" y="91"/>
                      <a:pt x="0" y="80"/>
                      <a:pt x="0" y="63"/>
                    </a:cubicBezTo>
                    <a:cubicBezTo>
                      <a:pt x="0" y="45"/>
                      <a:pt x="14" y="35"/>
                      <a:pt x="36" y="34"/>
                    </a:cubicBezTo>
                    <a:cubicBezTo>
                      <a:pt x="51" y="34"/>
                      <a:pt x="51" y="34"/>
                      <a:pt x="51" y="34"/>
                    </a:cubicBezTo>
                    <a:cubicBezTo>
                      <a:pt x="51" y="33"/>
                      <a:pt x="51" y="32"/>
                      <a:pt x="51" y="31"/>
                    </a:cubicBezTo>
                    <a:cubicBezTo>
                      <a:pt x="51" y="21"/>
                      <a:pt x="44" y="17"/>
                      <a:pt x="35" y="17"/>
                    </a:cubicBezTo>
                    <a:cubicBezTo>
                      <a:pt x="25" y="17"/>
                      <a:pt x="18" y="20"/>
                      <a:pt x="12" y="23"/>
                    </a:cubicBezTo>
                    <a:cubicBezTo>
                      <a:pt x="5" y="9"/>
                      <a:pt x="5" y="9"/>
                      <a:pt x="5" y="9"/>
                    </a:cubicBezTo>
                    <a:cubicBezTo>
                      <a:pt x="17" y="2"/>
                      <a:pt x="28" y="0"/>
                      <a:pt x="39" y="0"/>
                    </a:cubicBezTo>
                    <a:cubicBezTo>
                      <a:pt x="61" y="0"/>
                      <a:pt x="74" y="9"/>
                      <a:pt x="74" y="31"/>
                    </a:cubicBezTo>
                    <a:cubicBezTo>
                      <a:pt x="74" y="66"/>
                      <a:pt x="74" y="66"/>
                      <a:pt x="74" y="66"/>
                    </a:cubicBezTo>
                    <a:cubicBezTo>
                      <a:pt x="74" y="78"/>
                      <a:pt x="75" y="86"/>
                      <a:pt x="76" y="90"/>
                    </a:cubicBezTo>
                    <a:lnTo>
                      <a:pt x="57" y="90"/>
                    </a:lnTo>
                    <a:close/>
                    <a:moveTo>
                      <a:pt x="51" y="49"/>
                    </a:moveTo>
                    <a:cubicBezTo>
                      <a:pt x="39" y="49"/>
                      <a:pt x="39" y="49"/>
                      <a:pt x="39" y="49"/>
                    </a:cubicBezTo>
                    <a:cubicBezTo>
                      <a:pt x="27" y="50"/>
                      <a:pt x="22" y="54"/>
                      <a:pt x="22" y="61"/>
                    </a:cubicBezTo>
                    <a:cubicBezTo>
                      <a:pt x="22" y="68"/>
                      <a:pt x="27" y="73"/>
                      <a:pt x="36" y="73"/>
                    </a:cubicBezTo>
                    <a:cubicBezTo>
                      <a:pt x="44" y="73"/>
                      <a:pt x="49" y="70"/>
                      <a:pt x="51" y="68"/>
                    </a:cubicBezTo>
                    <a:lnTo>
                      <a:pt x="51" y="4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3" name="Freeform 8"/>
              <p:cNvSpPr>
                <a:spLocks noEditPoints="1"/>
              </p:cNvSpPr>
              <p:nvPr userDrawn="1"/>
            </p:nvSpPr>
            <p:spPr bwMode="auto">
              <a:xfrm>
                <a:off x="8342550" y="4892699"/>
                <a:ext cx="62311" cy="96668"/>
              </a:xfrm>
              <a:custGeom>
                <a:avLst/>
                <a:gdLst>
                  <a:gd name="T0" fmla="*/ 47 w 82"/>
                  <a:gd name="T1" fmla="*/ 133 h 133"/>
                  <a:gd name="T2" fmla="*/ 0 w 82"/>
                  <a:gd name="T3" fmla="*/ 88 h 133"/>
                  <a:gd name="T4" fmla="*/ 48 w 82"/>
                  <a:gd name="T5" fmla="*/ 42 h 133"/>
                  <a:gd name="T6" fmla="*/ 59 w 82"/>
                  <a:gd name="T7" fmla="*/ 42 h 133"/>
                  <a:gd name="T8" fmla="*/ 60 w 82"/>
                  <a:gd name="T9" fmla="*/ 0 h 133"/>
                  <a:gd name="T10" fmla="*/ 82 w 82"/>
                  <a:gd name="T11" fmla="*/ 0 h 133"/>
                  <a:gd name="T12" fmla="*/ 81 w 82"/>
                  <a:gd name="T13" fmla="*/ 126 h 133"/>
                  <a:gd name="T14" fmla="*/ 47 w 82"/>
                  <a:gd name="T15" fmla="*/ 133 h 133"/>
                  <a:gd name="T16" fmla="*/ 59 w 82"/>
                  <a:gd name="T17" fmla="*/ 60 h 133"/>
                  <a:gd name="T18" fmla="*/ 49 w 82"/>
                  <a:gd name="T19" fmla="*/ 59 h 133"/>
                  <a:gd name="T20" fmla="*/ 22 w 82"/>
                  <a:gd name="T21" fmla="*/ 87 h 133"/>
                  <a:gd name="T22" fmla="*/ 49 w 82"/>
                  <a:gd name="T23" fmla="*/ 114 h 133"/>
                  <a:gd name="T24" fmla="*/ 59 w 82"/>
                  <a:gd name="T25" fmla="*/ 113 h 133"/>
                  <a:gd name="T26" fmla="*/ 59 w 82"/>
                  <a:gd name="T27" fmla="*/ 6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3">
                    <a:moveTo>
                      <a:pt x="47" y="133"/>
                    </a:moveTo>
                    <a:cubicBezTo>
                      <a:pt x="21" y="133"/>
                      <a:pt x="0" y="117"/>
                      <a:pt x="0" y="88"/>
                    </a:cubicBezTo>
                    <a:cubicBezTo>
                      <a:pt x="0" y="61"/>
                      <a:pt x="20" y="42"/>
                      <a:pt x="48" y="42"/>
                    </a:cubicBezTo>
                    <a:cubicBezTo>
                      <a:pt x="52" y="42"/>
                      <a:pt x="56" y="42"/>
                      <a:pt x="59" y="42"/>
                    </a:cubicBezTo>
                    <a:cubicBezTo>
                      <a:pt x="60" y="0"/>
                      <a:pt x="60" y="0"/>
                      <a:pt x="60" y="0"/>
                    </a:cubicBezTo>
                    <a:cubicBezTo>
                      <a:pt x="82" y="0"/>
                      <a:pt x="82" y="0"/>
                      <a:pt x="82" y="0"/>
                    </a:cubicBezTo>
                    <a:cubicBezTo>
                      <a:pt x="81" y="126"/>
                      <a:pt x="81" y="126"/>
                      <a:pt x="81" y="126"/>
                    </a:cubicBezTo>
                    <a:cubicBezTo>
                      <a:pt x="73" y="130"/>
                      <a:pt x="62" y="133"/>
                      <a:pt x="47" y="133"/>
                    </a:cubicBezTo>
                    <a:close/>
                    <a:moveTo>
                      <a:pt x="59" y="60"/>
                    </a:moveTo>
                    <a:cubicBezTo>
                      <a:pt x="56" y="60"/>
                      <a:pt x="54" y="59"/>
                      <a:pt x="49" y="59"/>
                    </a:cubicBezTo>
                    <a:cubicBezTo>
                      <a:pt x="33" y="59"/>
                      <a:pt x="22" y="70"/>
                      <a:pt x="22" y="87"/>
                    </a:cubicBezTo>
                    <a:cubicBezTo>
                      <a:pt x="22" y="103"/>
                      <a:pt x="32" y="114"/>
                      <a:pt x="49" y="114"/>
                    </a:cubicBezTo>
                    <a:cubicBezTo>
                      <a:pt x="53" y="114"/>
                      <a:pt x="57" y="114"/>
                      <a:pt x="59" y="113"/>
                    </a:cubicBezTo>
                    <a:lnTo>
                      <a:pt x="59" y="60"/>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4" name="Freeform 9"/>
              <p:cNvSpPr>
                <a:spLocks/>
              </p:cNvSpPr>
              <p:nvPr userDrawn="1"/>
            </p:nvSpPr>
            <p:spPr bwMode="auto">
              <a:xfrm>
                <a:off x="8093949"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5" name="Freeform 10"/>
              <p:cNvSpPr>
                <a:spLocks/>
              </p:cNvSpPr>
              <p:nvPr userDrawn="1"/>
            </p:nvSpPr>
            <p:spPr bwMode="auto">
              <a:xfrm>
                <a:off x="8060545"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6" name="Freeform 11"/>
              <p:cNvSpPr>
                <a:spLocks/>
              </p:cNvSpPr>
              <p:nvPr userDrawn="1"/>
            </p:nvSpPr>
            <p:spPr bwMode="auto">
              <a:xfrm>
                <a:off x="8297262" y="4923177"/>
                <a:ext cx="43039" cy="66190"/>
              </a:xfrm>
              <a:custGeom>
                <a:avLst/>
                <a:gdLst>
                  <a:gd name="T0" fmla="*/ 49 w 57"/>
                  <a:gd name="T1" fmla="*/ 22 h 91"/>
                  <a:gd name="T2" fmla="*/ 39 w 57"/>
                  <a:gd name="T3" fmla="*/ 20 h 91"/>
                  <a:gd name="T4" fmla="*/ 22 w 57"/>
                  <a:gd name="T5" fmla="*/ 27 h 91"/>
                  <a:gd name="T6" fmla="*/ 22 w 57"/>
                  <a:gd name="T7" fmla="*/ 74 h 91"/>
                  <a:gd name="T8" fmla="*/ 0 w 57"/>
                  <a:gd name="T9" fmla="*/ 90 h 91"/>
                  <a:gd name="T10" fmla="*/ 0 w 57"/>
                  <a:gd name="T11" fmla="*/ 2 h 91"/>
                  <a:gd name="T12" fmla="*/ 18 w 57"/>
                  <a:gd name="T13" fmla="*/ 2 h 91"/>
                  <a:gd name="T14" fmla="*/ 21 w 57"/>
                  <a:gd name="T15" fmla="*/ 11 h 91"/>
                  <a:gd name="T16" fmla="*/ 45 w 57"/>
                  <a:gd name="T17" fmla="*/ 0 h 91"/>
                  <a:gd name="T18" fmla="*/ 57 w 57"/>
                  <a:gd name="T19" fmla="*/ 4 h 91"/>
                  <a:gd name="T20" fmla="*/ 49 w 57"/>
                  <a:gd name="T21" fmla="*/ 2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1">
                    <a:moveTo>
                      <a:pt x="49" y="22"/>
                    </a:moveTo>
                    <a:cubicBezTo>
                      <a:pt x="45" y="20"/>
                      <a:pt x="41" y="20"/>
                      <a:pt x="39" y="20"/>
                    </a:cubicBezTo>
                    <a:cubicBezTo>
                      <a:pt x="34" y="20"/>
                      <a:pt x="28" y="22"/>
                      <a:pt x="22" y="27"/>
                    </a:cubicBezTo>
                    <a:cubicBezTo>
                      <a:pt x="22" y="27"/>
                      <a:pt x="22" y="57"/>
                      <a:pt x="22" y="74"/>
                    </a:cubicBezTo>
                    <a:cubicBezTo>
                      <a:pt x="22" y="91"/>
                      <a:pt x="0" y="90"/>
                      <a:pt x="0" y="90"/>
                    </a:cubicBezTo>
                    <a:cubicBezTo>
                      <a:pt x="0" y="2"/>
                      <a:pt x="0" y="2"/>
                      <a:pt x="0" y="2"/>
                    </a:cubicBezTo>
                    <a:cubicBezTo>
                      <a:pt x="18" y="2"/>
                      <a:pt x="18" y="2"/>
                      <a:pt x="18"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9" name="Freeform 12"/>
              <p:cNvSpPr>
                <a:spLocks/>
              </p:cNvSpPr>
              <p:nvPr userDrawn="1"/>
            </p:nvSpPr>
            <p:spPr bwMode="auto">
              <a:xfrm>
                <a:off x="7907980" y="4892699"/>
                <a:ext cx="98605" cy="95129"/>
              </a:xfrm>
              <a:custGeom>
                <a:avLst/>
                <a:gdLst>
                  <a:gd name="T0" fmla="*/ 106 w 130"/>
                  <a:gd name="T1" fmla="*/ 131 h 131"/>
                  <a:gd name="T2" fmla="*/ 106 w 130"/>
                  <a:gd name="T3" fmla="*/ 53 h 131"/>
                  <a:gd name="T4" fmla="*/ 107 w 130"/>
                  <a:gd name="T5" fmla="*/ 39 h 131"/>
                  <a:gd name="T6" fmla="*/ 106 w 130"/>
                  <a:gd name="T7" fmla="*/ 39 h 131"/>
                  <a:gd name="T8" fmla="*/ 99 w 130"/>
                  <a:gd name="T9" fmla="*/ 52 h 131"/>
                  <a:gd name="T10" fmla="*/ 72 w 130"/>
                  <a:gd name="T11" fmla="*/ 93 h 131"/>
                  <a:gd name="T12" fmla="*/ 60 w 130"/>
                  <a:gd name="T13" fmla="*/ 93 h 131"/>
                  <a:gd name="T14" fmla="*/ 32 w 130"/>
                  <a:gd name="T15" fmla="*/ 51 h 131"/>
                  <a:gd name="T16" fmla="*/ 24 w 130"/>
                  <a:gd name="T17" fmla="*/ 39 h 131"/>
                  <a:gd name="T18" fmla="*/ 23 w 130"/>
                  <a:gd name="T19" fmla="*/ 39 h 131"/>
                  <a:gd name="T20" fmla="*/ 24 w 130"/>
                  <a:gd name="T21" fmla="*/ 52 h 131"/>
                  <a:gd name="T22" fmla="*/ 24 w 130"/>
                  <a:gd name="T23" fmla="*/ 131 h 131"/>
                  <a:gd name="T24" fmla="*/ 0 w 130"/>
                  <a:gd name="T25" fmla="*/ 131 h 131"/>
                  <a:gd name="T26" fmla="*/ 0 w 130"/>
                  <a:gd name="T27" fmla="*/ 0 h 131"/>
                  <a:gd name="T28" fmla="*/ 22 w 130"/>
                  <a:gd name="T29" fmla="*/ 0 h 131"/>
                  <a:gd name="T30" fmla="*/ 58 w 130"/>
                  <a:gd name="T31" fmla="*/ 52 h 131"/>
                  <a:gd name="T32" fmla="*/ 66 w 130"/>
                  <a:gd name="T33" fmla="*/ 66 h 131"/>
                  <a:gd name="T34" fmla="*/ 67 w 130"/>
                  <a:gd name="T35" fmla="*/ 66 h 131"/>
                  <a:gd name="T36" fmla="*/ 75 w 130"/>
                  <a:gd name="T37" fmla="*/ 52 h 131"/>
                  <a:gd name="T38" fmla="*/ 108 w 130"/>
                  <a:gd name="T39" fmla="*/ 0 h 131"/>
                  <a:gd name="T40" fmla="*/ 130 w 130"/>
                  <a:gd name="T41" fmla="*/ 0 h 131"/>
                  <a:gd name="T42" fmla="*/ 130 w 130"/>
                  <a:gd name="T43" fmla="*/ 131 h 131"/>
                  <a:gd name="T44" fmla="*/ 106 w 130"/>
                  <a:gd name="T45"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0" h="131">
                    <a:moveTo>
                      <a:pt x="106" y="131"/>
                    </a:moveTo>
                    <a:cubicBezTo>
                      <a:pt x="106" y="53"/>
                      <a:pt x="106" y="53"/>
                      <a:pt x="106" y="53"/>
                    </a:cubicBezTo>
                    <a:cubicBezTo>
                      <a:pt x="106" y="48"/>
                      <a:pt x="106" y="44"/>
                      <a:pt x="107" y="39"/>
                    </a:cubicBezTo>
                    <a:cubicBezTo>
                      <a:pt x="106" y="39"/>
                      <a:pt x="106" y="39"/>
                      <a:pt x="106" y="39"/>
                    </a:cubicBezTo>
                    <a:cubicBezTo>
                      <a:pt x="105" y="43"/>
                      <a:pt x="101" y="49"/>
                      <a:pt x="99" y="52"/>
                    </a:cubicBezTo>
                    <a:cubicBezTo>
                      <a:pt x="72" y="93"/>
                      <a:pt x="72" y="93"/>
                      <a:pt x="72" y="93"/>
                    </a:cubicBezTo>
                    <a:cubicBezTo>
                      <a:pt x="60" y="93"/>
                      <a:pt x="60" y="93"/>
                      <a:pt x="60" y="93"/>
                    </a:cubicBezTo>
                    <a:cubicBezTo>
                      <a:pt x="32" y="51"/>
                      <a:pt x="32" y="51"/>
                      <a:pt x="32" y="51"/>
                    </a:cubicBezTo>
                    <a:cubicBezTo>
                      <a:pt x="29" y="48"/>
                      <a:pt x="26" y="44"/>
                      <a:pt x="24" y="39"/>
                    </a:cubicBezTo>
                    <a:cubicBezTo>
                      <a:pt x="23" y="39"/>
                      <a:pt x="23" y="39"/>
                      <a:pt x="23" y="39"/>
                    </a:cubicBezTo>
                    <a:cubicBezTo>
                      <a:pt x="24" y="44"/>
                      <a:pt x="24" y="48"/>
                      <a:pt x="24" y="52"/>
                    </a:cubicBezTo>
                    <a:cubicBezTo>
                      <a:pt x="24" y="131"/>
                      <a:pt x="24" y="131"/>
                      <a:pt x="24" y="131"/>
                    </a:cubicBezTo>
                    <a:cubicBezTo>
                      <a:pt x="0" y="131"/>
                      <a:pt x="0" y="131"/>
                      <a:pt x="0" y="131"/>
                    </a:cubicBezTo>
                    <a:cubicBezTo>
                      <a:pt x="0" y="0"/>
                      <a:pt x="0" y="0"/>
                      <a:pt x="0" y="0"/>
                    </a:cubicBezTo>
                    <a:cubicBezTo>
                      <a:pt x="22" y="0"/>
                      <a:pt x="22" y="0"/>
                      <a:pt x="22" y="0"/>
                    </a:cubicBezTo>
                    <a:cubicBezTo>
                      <a:pt x="58" y="52"/>
                      <a:pt x="58" y="52"/>
                      <a:pt x="58" y="52"/>
                    </a:cubicBezTo>
                    <a:cubicBezTo>
                      <a:pt x="61" y="57"/>
                      <a:pt x="64" y="61"/>
                      <a:pt x="66" y="66"/>
                    </a:cubicBezTo>
                    <a:cubicBezTo>
                      <a:pt x="67" y="66"/>
                      <a:pt x="67" y="66"/>
                      <a:pt x="67" y="66"/>
                    </a:cubicBezTo>
                    <a:cubicBezTo>
                      <a:pt x="69" y="61"/>
                      <a:pt x="71" y="57"/>
                      <a:pt x="75" y="52"/>
                    </a:cubicBezTo>
                    <a:cubicBezTo>
                      <a:pt x="108" y="0"/>
                      <a:pt x="108" y="0"/>
                      <a:pt x="108" y="0"/>
                    </a:cubicBezTo>
                    <a:cubicBezTo>
                      <a:pt x="130" y="0"/>
                      <a:pt x="130" y="0"/>
                      <a:pt x="130" y="0"/>
                    </a:cubicBezTo>
                    <a:cubicBezTo>
                      <a:pt x="130" y="131"/>
                      <a:pt x="130" y="131"/>
                      <a:pt x="130" y="131"/>
                    </a:cubicBezTo>
                    <a:lnTo>
                      <a:pt x="106" y="131"/>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0" name="Freeform 13"/>
              <p:cNvSpPr>
                <a:spLocks/>
              </p:cNvSpPr>
              <p:nvPr userDrawn="1"/>
            </p:nvSpPr>
            <p:spPr bwMode="auto">
              <a:xfrm>
                <a:off x="7665803" y="4864376"/>
                <a:ext cx="100854" cy="148389"/>
              </a:xfrm>
              <a:custGeom>
                <a:avLst/>
                <a:gdLst>
                  <a:gd name="T0" fmla="*/ 133 w 133"/>
                  <a:gd name="T1" fmla="*/ 23 h 204"/>
                  <a:gd name="T2" fmla="*/ 132 w 133"/>
                  <a:gd name="T3" fmla="*/ 22 h 204"/>
                  <a:gd name="T4" fmla="*/ 65 w 133"/>
                  <a:gd name="T5" fmla="*/ 20 h 204"/>
                  <a:gd name="T6" fmla="*/ 52 w 133"/>
                  <a:gd name="T7" fmla="*/ 52 h 204"/>
                  <a:gd name="T8" fmla="*/ 20 w 133"/>
                  <a:gd name="T9" fmla="*/ 65 h 204"/>
                  <a:gd name="T10" fmla="*/ 22 w 133"/>
                  <a:gd name="T11" fmla="*/ 132 h 204"/>
                  <a:gd name="T12" fmla="*/ 95 w 133"/>
                  <a:gd name="T13" fmla="*/ 204 h 204"/>
                  <a:gd name="T14" fmla="*/ 117 w 133"/>
                  <a:gd name="T15" fmla="*/ 182 h 204"/>
                  <a:gd name="T16" fmla="*/ 44 w 133"/>
                  <a:gd name="T17" fmla="*/ 110 h 204"/>
                  <a:gd name="T18" fmla="*/ 42 w 133"/>
                  <a:gd name="T19" fmla="*/ 86 h 204"/>
                  <a:gd name="T20" fmla="*/ 66 w 133"/>
                  <a:gd name="T21" fmla="*/ 88 h 204"/>
                  <a:gd name="T22" fmla="*/ 133 w 133"/>
                  <a:gd name="T23" fmla="*/ 155 h 204"/>
                  <a:gd name="T24" fmla="*/ 133 w 133"/>
                  <a:gd name="T25" fmla="*/ 111 h 204"/>
                  <a:gd name="T26" fmla="*/ 88 w 133"/>
                  <a:gd name="T27" fmla="*/ 66 h 204"/>
                  <a:gd name="T28" fmla="*/ 86 w 133"/>
                  <a:gd name="T29" fmla="*/ 42 h 204"/>
                  <a:gd name="T30" fmla="*/ 110 w 133"/>
                  <a:gd name="T31" fmla="*/ 44 h 204"/>
                  <a:gd name="T32" fmla="*/ 133 w 133"/>
                  <a:gd name="T33" fmla="*/ 66 h 204"/>
                  <a:gd name="T34" fmla="*/ 133 w 133"/>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204">
                    <a:moveTo>
                      <a:pt x="133" y="23"/>
                    </a:moveTo>
                    <a:cubicBezTo>
                      <a:pt x="132" y="22"/>
                      <a:pt x="132" y="22"/>
                      <a:pt x="132" y="22"/>
                    </a:cubicBezTo>
                    <a:cubicBezTo>
                      <a:pt x="110" y="0"/>
                      <a:pt x="82" y="2"/>
                      <a:pt x="65" y="20"/>
                    </a:cubicBezTo>
                    <a:cubicBezTo>
                      <a:pt x="53" y="32"/>
                      <a:pt x="51" y="46"/>
                      <a:pt x="52" y="52"/>
                    </a:cubicBezTo>
                    <a:cubicBezTo>
                      <a:pt x="47" y="51"/>
                      <a:pt x="32" y="52"/>
                      <a:pt x="20" y="65"/>
                    </a:cubicBezTo>
                    <a:cubicBezTo>
                      <a:pt x="3" y="82"/>
                      <a:pt x="0" y="110"/>
                      <a:pt x="22" y="132"/>
                    </a:cubicBezTo>
                    <a:cubicBezTo>
                      <a:pt x="95" y="204"/>
                      <a:pt x="95" y="204"/>
                      <a:pt x="95" y="204"/>
                    </a:cubicBezTo>
                    <a:cubicBezTo>
                      <a:pt x="117" y="182"/>
                      <a:pt x="117" y="182"/>
                      <a:pt x="117" y="182"/>
                    </a:cubicBezTo>
                    <a:cubicBezTo>
                      <a:pt x="44" y="110"/>
                      <a:pt x="44" y="110"/>
                      <a:pt x="44" y="110"/>
                    </a:cubicBezTo>
                    <a:cubicBezTo>
                      <a:pt x="35" y="101"/>
                      <a:pt x="36" y="91"/>
                      <a:pt x="42" y="86"/>
                    </a:cubicBezTo>
                    <a:cubicBezTo>
                      <a:pt x="47" y="80"/>
                      <a:pt x="58" y="79"/>
                      <a:pt x="66" y="88"/>
                    </a:cubicBezTo>
                    <a:cubicBezTo>
                      <a:pt x="133" y="155"/>
                      <a:pt x="133" y="155"/>
                      <a:pt x="133" y="155"/>
                    </a:cubicBezTo>
                    <a:cubicBezTo>
                      <a:pt x="133" y="111"/>
                      <a:pt x="133" y="111"/>
                      <a:pt x="133" y="111"/>
                    </a:cubicBezTo>
                    <a:cubicBezTo>
                      <a:pt x="88" y="66"/>
                      <a:pt x="88" y="66"/>
                      <a:pt x="88" y="66"/>
                    </a:cubicBezTo>
                    <a:cubicBezTo>
                      <a:pt x="80" y="57"/>
                      <a:pt x="80" y="47"/>
                      <a:pt x="86" y="42"/>
                    </a:cubicBezTo>
                    <a:cubicBezTo>
                      <a:pt x="92" y="36"/>
                      <a:pt x="102" y="35"/>
                      <a:pt x="110" y="44"/>
                    </a:cubicBezTo>
                    <a:cubicBezTo>
                      <a:pt x="133" y="66"/>
                      <a:pt x="133" y="66"/>
                      <a:pt x="133" y="66"/>
                    </a:cubicBezTo>
                    <a:lnTo>
                      <a:pt x="133"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1" name="Freeform 14"/>
              <p:cNvSpPr>
                <a:spLocks noEditPoints="1"/>
              </p:cNvSpPr>
              <p:nvPr userDrawn="1"/>
            </p:nvSpPr>
            <p:spPr bwMode="auto">
              <a:xfrm>
                <a:off x="8023287" y="4895470"/>
                <a:ext cx="20556" cy="93282"/>
              </a:xfrm>
              <a:custGeom>
                <a:avLst/>
                <a:gdLst>
                  <a:gd name="T0" fmla="*/ 14 w 27"/>
                  <a:gd name="T1" fmla="*/ 26 h 128"/>
                  <a:gd name="T2" fmla="*/ 0 w 27"/>
                  <a:gd name="T3" fmla="*/ 13 h 128"/>
                  <a:gd name="T4" fmla="*/ 14 w 27"/>
                  <a:gd name="T5" fmla="*/ 0 h 128"/>
                  <a:gd name="T6" fmla="*/ 27 w 27"/>
                  <a:gd name="T7" fmla="*/ 13 h 128"/>
                  <a:gd name="T8" fmla="*/ 14 w 27"/>
                  <a:gd name="T9" fmla="*/ 26 h 128"/>
                  <a:gd name="T10" fmla="*/ 3 w 27"/>
                  <a:gd name="T11" fmla="*/ 128 h 128"/>
                  <a:gd name="T12" fmla="*/ 3 w 27"/>
                  <a:gd name="T13" fmla="*/ 40 h 128"/>
                  <a:gd name="T14" fmla="*/ 25 w 27"/>
                  <a:gd name="T15" fmla="*/ 40 h 128"/>
                  <a:gd name="T16" fmla="*/ 25 w 27"/>
                  <a:gd name="T17" fmla="*/ 112 h 128"/>
                  <a:gd name="T18" fmla="*/ 3 w 27"/>
                  <a:gd name="T1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128">
                    <a:moveTo>
                      <a:pt x="14" y="26"/>
                    </a:moveTo>
                    <a:cubicBezTo>
                      <a:pt x="6" y="26"/>
                      <a:pt x="0" y="20"/>
                      <a:pt x="0" y="13"/>
                    </a:cubicBezTo>
                    <a:cubicBezTo>
                      <a:pt x="0" y="6"/>
                      <a:pt x="6" y="0"/>
                      <a:pt x="14" y="0"/>
                    </a:cubicBezTo>
                    <a:cubicBezTo>
                      <a:pt x="21" y="0"/>
                      <a:pt x="27" y="5"/>
                      <a:pt x="27" y="13"/>
                    </a:cubicBezTo>
                    <a:cubicBezTo>
                      <a:pt x="27" y="20"/>
                      <a:pt x="21" y="26"/>
                      <a:pt x="14" y="26"/>
                    </a:cubicBezTo>
                    <a:close/>
                    <a:moveTo>
                      <a:pt x="3" y="128"/>
                    </a:moveTo>
                    <a:cubicBezTo>
                      <a:pt x="3" y="40"/>
                      <a:pt x="3" y="40"/>
                      <a:pt x="3" y="40"/>
                    </a:cubicBezTo>
                    <a:cubicBezTo>
                      <a:pt x="25" y="40"/>
                      <a:pt x="25" y="40"/>
                      <a:pt x="25" y="40"/>
                    </a:cubicBezTo>
                    <a:cubicBezTo>
                      <a:pt x="25" y="40"/>
                      <a:pt x="25" y="95"/>
                      <a:pt x="25" y="112"/>
                    </a:cubicBezTo>
                    <a:cubicBezTo>
                      <a:pt x="25" y="128"/>
                      <a:pt x="3" y="128"/>
                      <a:pt x="3" y="1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2" name="Freeform 15"/>
              <p:cNvSpPr>
                <a:spLocks/>
              </p:cNvSpPr>
              <p:nvPr userDrawn="1"/>
            </p:nvSpPr>
            <p:spPr bwMode="auto">
              <a:xfrm>
                <a:off x="8615239" y="4924717"/>
                <a:ext cx="103744" cy="66806"/>
              </a:xfrm>
              <a:custGeom>
                <a:avLst/>
                <a:gdLst>
                  <a:gd name="T0" fmla="*/ 111 w 137"/>
                  <a:gd name="T1" fmla="*/ 72 h 92"/>
                  <a:gd name="T2" fmla="*/ 88 w 137"/>
                  <a:gd name="T3" fmla="*/ 88 h 92"/>
                  <a:gd name="T4" fmla="*/ 68 w 137"/>
                  <a:gd name="T5" fmla="*/ 28 h 92"/>
                  <a:gd name="T6" fmla="*/ 68 w 137"/>
                  <a:gd name="T7" fmla="*/ 28 h 92"/>
                  <a:gd name="T8" fmla="*/ 53 w 137"/>
                  <a:gd name="T9" fmla="*/ 72 h 92"/>
                  <a:gd name="T10" fmla="*/ 31 w 137"/>
                  <a:gd name="T11" fmla="*/ 88 h 92"/>
                  <a:gd name="T12" fmla="*/ 0 w 137"/>
                  <a:gd name="T13" fmla="*/ 0 h 92"/>
                  <a:gd name="T14" fmla="*/ 22 w 137"/>
                  <a:gd name="T15" fmla="*/ 0 h 92"/>
                  <a:gd name="T16" fmla="*/ 41 w 137"/>
                  <a:gd name="T17" fmla="*/ 60 h 92"/>
                  <a:gd name="T18" fmla="*/ 41 w 137"/>
                  <a:gd name="T19" fmla="*/ 60 h 92"/>
                  <a:gd name="T20" fmla="*/ 60 w 137"/>
                  <a:gd name="T21" fmla="*/ 0 h 92"/>
                  <a:gd name="T22" fmla="*/ 77 w 137"/>
                  <a:gd name="T23" fmla="*/ 0 h 92"/>
                  <a:gd name="T24" fmla="*/ 97 w 137"/>
                  <a:gd name="T25" fmla="*/ 60 h 92"/>
                  <a:gd name="T26" fmla="*/ 97 w 137"/>
                  <a:gd name="T27" fmla="*/ 60 h 92"/>
                  <a:gd name="T28" fmla="*/ 115 w 137"/>
                  <a:gd name="T29" fmla="*/ 0 h 92"/>
                  <a:gd name="T30" fmla="*/ 137 w 137"/>
                  <a:gd name="T31" fmla="*/ 0 h 92"/>
                  <a:gd name="T32" fmla="*/ 111 w 137"/>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 h="92">
                    <a:moveTo>
                      <a:pt x="111" y="72"/>
                    </a:moveTo>
                    <a:cubicBezTo>
                      <a:pt x="104" y="92"/>
                      <a:pt x="88" y="88"/>
                      <a:pt x="88" y="88"/>
                    </a:cubicBezTo>
                    <a:cubicBezTo>
                      <a:pt x="68" y="28"/>
                      <a:pt x="68" y="28"/>
                      <a:pt x="68" y="28"/>
                    </a:cubicBezTo>
                    <a:cubicBezTo>
                      <a:pt x="68" y="28"/>
                      <a:pt x="68" y="28"/>
                      <a:pt x="68" y="28"/>
                    </a:cubicBezTo>
                    <a:cubicBezTo>
                      <a:pt x="68" y="28"/>
                      <a:pt x="59"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7" y="60"/>
                      <a:pt x="97" y="60"/>
                      <a:pt x="97" y="60"/>
                    </a:cubicBezTo>
                    <a:cubicBezTo>
                      <a:pt x="97" y="60"/>
                      <a:pt x="97" y="60"/>
                      <a:pt x="97" y="60"/>
                    </a:cubicBezTo>
                    <a:cubicBezTo>
                      <a:pt x="115" y="0"/>
                      <a:pt x="115" y="0"/>
                      <a:pt x="115" y="0"/>
                    </a:cubicBezTo>
                    <a:cubicBezTo>
                      <a:pt x="137" y="0"/>
                      <a:pt x="137" y="0"/>
                      <a:pt x="137" y="0"/>
                    </a:cubicBezTo>
                    <a:cubicBezTo>
                      <a:pt x="137"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3" name="Freeform 16"/>
              <p:cNvSpPr>
                <a:spLocks noEditPoints="1"/>
              </p:cNvSpPr>
              <p:nvPr userDrawn="1"/>
            </p:nvSpPr>
            <p:spPr bwMode="auto">
              <a:xfrm>
                <a:off x="8423168" y="4892699"/>
                <a:ext cx="65844" cy="95129"/>
              </a:xfrm>
              <a:custGeom>
                <a:avLst/>
                <a:gdLst>
                  <a:gd name="T0" fmla="*/ 1 w 87"/>
                  <a:gd name="T1" fmla="*/ 0 h 131"/>
                  <a:gd name="T2" fmla="*/ 0 w 87"/>
                  <a:gd name="T3" fmla="*/ 131 h 131"/>
                  <a:gd name="T4" fmla="*/ 41 w 87"/>
                  <a:gd name="T5" fmla="*/ 131 h 131"/>
                  <a:gd name="T6" fmla="*/ 87 w 87"/>
                  <a:gd name="T7" fmla="*/ 92 h 131"/>
                  <a:gd name="T8" fmla="*/ 65 w 87"/>
                  <a:gd name="T9" fmla="*/ 61 h 131"/>
                  <a:gd name="T10" fmla="*/ 62 w 87"/>
                  <a:gd name="T11" fmla="*/ 60 h 131"/>
                  <a:gd name="T12" fmla="*/ 64 w 87"/>
                  <a:gd name="T13" fmla="*/ 59 h 131"/>
                  <a:gd name="T14" fmla="*/ 79 w 87"/>
                  <a:gd name="T15" fmla="*/ 32 h 131"/>
                  <a:gd name="T16" fmla="*/ 42 w 87"/>
                  <a:gd name="T17" fmla="*/ 0 h 131"/>
                  <a:gd name="T18" fmla="*/ 1 w 87"/>
                  <a:gd name="T19" fmla="*/ 0 h 131"/>
                  <a:gd name="T20" fmla="*/ 23 w 87"/>
                  <a:gd name="T21" fmla="*/ 17 h 131"/>
                  <a:gd name="T22" fmla="*/ 36 w 87"/>
                  <a:gd name="T23" fmla="*/ 17 h 131"/>
                  <a:gd name="T24" fmla="*/ 56 w 87"/>
                  <a:gd name="T25" fmla="*/ 35 h 131"/>
                  <a:gd name="T26" fmla="*/ 38 w 87"/>
                  <a:gd name="T27" fmla="*/ 55 h 131"/>
                  <a:gd name="T28" fmla="*/ 22 w 87"/>
                  <a:gd name="T29" fmla="*/ 55 h 131"/>
                  <a:gd name="T30" fmla="*/ 23 w 87"/>
                  <a:gd name="T31" fmla="*/ 17 h 131"/>
                  <a:gd name="T32" fmla="*/ 22 w 87"/>
                  <a:gd name="T33" fmla="*/ 74 h 131"/>
                  <a:gd name="T34" fmla="*/ 40 w 87"/>
                  <a:gd name="T35" fmla="*/ 74 h 131"/>
                  <a:gd name="T36" fmla="*/ 64 w 87"/>
                  <a:gd name="T37" fmla="*/ 92 h 131"/>
                  <a:gd name="T38" fmla="*/ 39 w 87"/>
                  <a:gd name="T39" fmla="*/ 113 h 131"/>
                  <a:gd name="T40" fmla="*/ 22 w 87"/>
                  <a:gd name="T41" fmla="*/ 113 h 131"/>
                  <a:gd name="T42" fmla="*/ 22 w 87"/>
                  <a:gd name="T43" fmla="*/ 7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131">
                    <a:moveTo>
                      <a:pt x="1" y="0"/>
                    </a:moveTo>
                    <a:cubicBezTo>
                      <a:pt x="1" y="3"/>
                      <a:pt x="0" y="129"/>
                      <a:pt x="0" y="131"/>
                    </a:cubicBezTo>
                    <a:cubicBezTo>
                      <a:pt x="2" y="131"/>
                      <a:pt x="41" y="131"/>
                      <a:pt x="41" y="131"/>
                    </a:cubicBezTo>
                    <a:cubicBezTo>
                      <a:pt x="73" y="131"/>
                      <a:pt x="87" y="111"/>
                      <a:pt x="87" y="92"/>
                    </a:cubicBezTo>
                    <a:cubicBezTo>
                      <a:pt x="87" y="77"/>
                      <a:pt x="79" y="65"/>
                      <a:pt x="65" y="61"/>
                    </a:cubicBezTo>
                    <a:cubicBezTo>
                      <a:pt x="62" y="60"/>
                      <a:pt x="62" y="60"/>
                      <a:pt x="62" y="60"/>
                    </a:cubicBezTo>
                    <a:cubicBezTo>
                      <a:pt x="64" y="59"/>
                      <a:pt x="64" y="59"/>
                      <a:pt x="64" y="59"/>
                    </a:cubicBezTo>
                    <a:cubicBezTo>
                      <a:pt x="74" y="54"/>
                      <a:pt x="79" y="44"/>
                      <a:pt x="79" y="32"/>
                    </a:cubicBezTo>
                    <a:cubicBezTo>
                      <a:pt x="79" y="17"/>
                      <a:pt x="68" y="0"/>
                      <a:pt x="42" y="0"/>
                    </a:cubicBezTo>
                    <a:cubicBezTo>
                      <a:pt x="42" y="0"/>
                      <a:pt x="3" y="0"/>
                      <a:pt x="1" y="0"/>
                    </a:cubicBezTo>
                    <a:close/>
                    <a:moveTo>
                      <a:pt x="23" y="17"/>
                    </a:moveTo>
                    <a:cubicBezTo>
                      <a:pt x="36" y="17"/>
                      <a:pt x="36" y="17"/>
                      <a:pt x="36" y="17"/>
                    </a:cubicBezTo>
                    <a:cubicBezTo>
                      <a:pt x="49" y="17"/>
                      <a:pt x="56" y="24"/>
                      <a:pt x="56" y="35"/>
                    </a:cubicBezTo>
                    <a:cubicBezTo>
                      <a:pt x="56" y="47"/>
                      <a:pt x="47" y="55"/>
                      <a:pt x="38" y="55"/>
                    </a:cubicBezTo>
                    <a:cubicBezTo>
                      <a:pt x="22" y="55"/>
                      <a:pt x="22" y="55"/>
                      <a:pt x="22" y="55"/>
                    </a:cubicBezTo>
                    <a:lnTo>
                      <a:pt x="23" y="17"/>
                    </a:lnTo>
                    <a:close/>
                    <a:moveTo>
                      <a:pt x="22" y="74"/>
                    </a:moveTo>
                    <a:cubicBezTo>
                      <a:pt x="40" y="74"/>
                      <a:pt x="40" y="74"/>
                      <a:pt x="40" y="74"/>
                    </a:cubicBezTo>
                    <a:cubicBezTo>
                      <a:pt x="55" y="74"/>
                      <a:pt x="64" y="81"/>
                      <a:pt x="64" y="92"/>
                    </a:cubicBezTo>
                    <a:cubicBezTo>
                      <a:pt x="64" y="105"/>
                      <a:pt x="55" y="113"/>
                      <a:pt x="39" y="113"/>
                    </a:cubicBezTo>
                    <a:cubicBezTo>
                      <a:pt x="22" y="113"/>
                      <a:pt x="22" y="113"/>
                      <a:pt x="22" y="113"/>
                    </a:cubicBezTo>
                    <a:lnTo>
                      <a:pt x="22" y="74"/>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4" name="Freeform 17"/>
              <p:cNvSpPr>
                <a:spLocks noEditPoints="1"/>
              </p:cNvSpPr>
              <p:nvPr userDrawn="1"/>
            </p:nvSpPr>
            <p:spPr bwMode="auto">
              <a:xfrm>
                <a:off x="8546184" y="4923177"/>
                <a:ext cx="66486" cy="66190"/>
              </a:xfrm>
              <a:custGeom>
                <a:avLst/>
                <a:gdLst>
                  <a:gd name="T0" fmla="*/ 75 w 88"/>
                  <a:gd name="T1" fmla="*/ 78 h 91"/>
                  <a:gd name="T2" fmla="*/ 44 w 88"/>
                  <a:gd name="T3" fmla="*/ 91 h 91"/>
                  <a:gd name="T4" fmla="*/ 14 w 88"/>
                  <a:gd name="T5" fmla="*/ 80 h 91"/>
                  <a:gd name="T6" fmla="*/ 0 w 88"/>
                  <a:gd name="T7" fmla="*/ 46 h 91"/>
                  <a:gd name="T8" fmla="*/ 13 w 88"/>
                  <a:gd name="T9" fmla="*/ 12 h 91"/>
                  <a:gd name="T10" fmla="*/ 44 w 88"/>
                  <a:gd name="T11" fmla="*/ 0 h 91"/>
                  <a:gd name="T12" fmla="*/ 76 w 88"/>
                  <a:gd name="T13" fmla="*/ 12 h 91"/>
                  <a:gd name="T14" fmla="*/ 88 w 88"/>
                  <a:gd name="T15" fmla="*/ 45 h 91"/>
                  <a:gd name="T16" fmla="*/ 75 w 88"/>
                  <a:gd name="T17" fmla="*/ 78 h 91"/>
                  <a:gd name="T18" fmla="*/ 44 w 88"/>
                  <a:gd name="T19" fmla="*/ 17 h 91"/>
                  <a:gd name="T20" fmla="*/ 23 w 88"/>
                  <a:gd name="T21" fmla="*/ 45 h 91"/>
                  <a:gd name="T22" fmla="*/ 44 w 88"/>
                  <a:gd name="T23" fmla="*/ 73 h 91"/>
                  <a:gd name="T24" fmla="*/ 65 w 88"/>
                  <a:gd name="T25" fmla="*/ 45 h 91"/>
                  <a:gd name="T26" fmla="*/ 44 w 88"/>
                  <a:gd name="T27"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91">
                    <a:moveTo>
                      <a:pt x="75" y="78"/>
                    </a:moveTo>
                    <a:cubicBezTo>
                      <a:pt x="68" y="86"/>
                      <a:pt x="57" y="91"/>
                      <a:pt x="44" y="91"/>
                    </a:cubicBezTo>
                    <a:cubicBezTo>
                      <a:pt x="32" y="91"/>
                      <a:pt x="21" y="87"/>
                      <a:pt x="14" y="80"/>
                    </a:cubicBezTo>
                    <a:cubicBezTo>
                      <a:pt x="5" y="72"/>
                      <a:pt x="0" y="60"/>
                      <a:pt x="0" y="46"/>
                    </a:cubicBezTo>
                    <a:cubicBezTo>
                      <a:pt x="0" y="32"/>
                      <a:pt x="5" y="20"/>
                      <a:pt x="13" y="12"/>
                    </a:cubicBezTo>
                    <a:cubicBezTo>
                      <a:pt x="21" y="4"/>
                      <a:pt x="31" y="0"/>
                      <a:pt x="44" y="0"/>
                    </a:cubicBezTo>
                    <a:cubicBezTo>
                      <a:pt x="57" y="0"/>
                      <a:pt x="68" y="4"/>
                      <a:pt x="76" y="12"/>
                    </a:cubicBezTo>
                    <a:cubicBezTo>
                      <a:pt x="84" y="20"/>
                      <a:pt x="88" y="32"/>
                      <a:pt x="88" y="45"/>
                    </a:cubicBezTo>
                    <a:cubicBezTo>
                      <a:pt x="88" y="58"/>
                      <a:pt x="83" y="70"/>
                      <a:pt x="75" y="78"/>
                    </a:cubicBezTo>
                    <a:close/>
                    <a:moveTo>
                      <a:pt x="44" y="17"/>
                    </a:moveTo>
                    <a:cubicBezTo>
                      <a:pt x="30" y="17"/>
                      <a:pt x="23" y="29"/>
                      <a:pt x="23" y="45"/>
                    </a:cubicBezTo>
                    <a:cubicBezTo>
                      <a:pt x="23" y="62"/>
                      <a:pt x="31" y="73"/>
                      <a:pt x="44" y="73"/>
                    </a:cubicBezTo>
                    <a:cubicBezTo>
                      <a:pt x="58" y="73"/>
                      <a:pt x="65" y="61"/>
                      <a:pt x="65" y="45"/>
                    </a:cubicBezTo>
                    <a:cubicBezTo>
                      <a:pt x="65" y="28"/>
                      <a:pt x="57" y="17"/>
                      <a:pt x="44" y="1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5" name="Freeform 18"/>
              <p:cNvSpPr>
                <a:spLocks/>
              </p:cNvSpPr>
              <p:nvPr userDrawn="1"/>
            </p:nvSpPr>
            <p:spPr bwMode="auto">
              <a:xfrm>
                <a:off x="8728298" y="4923177"/>
                <a:ext cx="60705" cy="65574"/>
              </a:xfrm>
              <a:custGeom>
                <a:avLst/>
                <a:gdLst>
                  <a:gd name="T0" fmla="*/ 58 w 80"/>
                  <a:gd name="T1" fmla="*/ 90 h 90"/>
                  <a:gd name="T2" fmla="*/ 58 w 80"/>
                  <a:gd name="T3" fmla="*/ 38 h 90"/>
                  <a:gd name="T4" fmla="*/ 45 w 80"/>
                  <a:gd name="T5" fmla="*/ 19 h 90"/>
                  <a:gd name="T6" fmla="*/ 23 w 80"/>
                  <a:gd name="T7" fmla="*/ 28 h 90"/>
                  <a:gd name="T8" fmla="*/ 23 w 80"/>
                  <a:gd name="T9" fmla="*/ 74 h 90"/>
                  <a:gd name="T10" fmla="*/ 0 w 80"/>
                  <a:gd name="T11" fmla="*/ 90 h 90"/>
                  <a:gd name="T12" fmla="*/ 0 w 80"/>
                  <a:gd name="T13" fmla="*/ 2 h 90"/>
                  <a:gd name="T14" fmla="*/ 19 w 80"/>
                  <a:gd name="T15" fmla="*/ 2 h 90"/>
                  <a:gd name="T16" fmla="*/ 22 w 80"/>
                  <a:gd name="T17" fmla="*/ 11 h 90"/>
                  <a:gd name="T18" fmla="*/ 52 w 80"/>
                  <a:gd name="T19" fmla="*/ 0 h 90"/>
                  <a:gd name="T20" fmla="*/ 80 w 80"/>
                  <a:gd name="T21" fmla="*/ 31 h 90"/>
                  <a:gd name="T22" fmla="*/ 80 w 80"/>
                  <a:gd name="T23" fmla="*/ 74 h 90"/>
                  <a:gd name="T24" fmla="*/ 58 w 80"/>
                  <a:gd name="T2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90">
                    <a:moveTo>
                      <a:pt x="58" y="90"/>
                    </a:moveTo>
                    <a:cubicBezTo>
                      <a:pt x="58" y="38"/>
                      <a:pt x="58" y="38"/>
                      <a:pt x="58" y="38"/>
                    </a:cubicBezTo>
                    <a:cubicBezTo>
                      <a:pt x="58" y="29"/>
                      <a:pt x="56" y="19"/>
                      <a:pt x="45" y="19"/>
                    </a:cubicBezTo>
                    <a:cubicBezTo>
                      <a:pt x="37" y="19"/>
                      <a:pt x="29" y="23"/>
                      <a:pt x="23" y="28"/>
                    </a:cubicBezTo>
                    <a:cubicBezTo>
                      <a:pt x="23" y="28"/>
                      <a:pt x="23" y="57"/>
                      <a:pt x="23" y="74"/>
                    </a:cubicBezTo>
                    <a:cubicBezTo>
                      <a:pt x="23" y="90"/>
                      <a:pt x="0" y="90"/>
                      <a:pt x="0" y="90"/>
                    </a:cubicBezTo>
                    <a:cubicBezTo>
                      <a:pt x="0" y="2"/>
                      <a:pt x="0" y="2"/>
                      <a:pt x="0" y="2"/>
                    </a:cubicBezTo>
                    <a:cubicBezTo>
                      <a:pt x="19" y="2"/>
                      <a:pt x="19" y="2"/>
                      <a:pt x="19" y="2"/>
                    </a:cubicBezTo>
                    <a:cubicBezTo>
                      <a:pt x="22" y="11"/>
                      <a:pt x="22" y="11"/>
                      <a:pt x="22" y="11"/>
                    </a:cubicBezTo>
                    <a:cubicBezTo>
                      <a:pt x="31" y="4"/>
                      <a:pt x="40" y="0"/>
                      <a:pt x="52" y="0"/>
                    </a:cubicBezTo>
                    <a:cubicBezTo>
                      <a:pt x="65" y="0"/>
                      <a:pt x="80" y="8"/>
                      <a:pt x="80" y="31"/>
                    </a:cubicBezTo>
                    <a:cubicBezTo>
                      <a:pt x="80" y="31"/>
                      <a:pt x="80" y="57"/>
                      <a:pt x="80" y="74"/>
                    </a:cubicBezTo>
                    <a:cubicBezTo>
                      <a:pt x="80" y="90"/>
                      <a:pt x="58" y="90"/>
                      <a:pt x="58" y="9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6" name="Freeform 19"/>
              <p:cNvSpPr>
                <a:spLocks/>
              </p:cNvSpPr>
              <p:nvPr userDrawn="1"/>
            </p:nvSpPr>
            <p:spPr bwMode="auto">
              <a:xfrm>
                <a:off x="8501217" y="4923177"/>
                <a:ext cx="43361" cy="65574"/>
              </a:xfrm>
              <a:custGeom>
                <a:avLst/>
                <a:gdLst>
                  <a:gd name="T0" fmla="*/ 49 w 57"/>
                  <a:gd name="T1" fmla="*/ 22 h 90"/>
                  <a:gd name="T2" fmla="*/ 39 w 57"/>
                  <a:gd name="T3" fmla="*/ 20 h 90"/>
                  <a:gd name="T4" fmla="*/ 22 w 57"/>
                  <a:gd name="T5" fmla="*/ 27 h 90"/>
                  <a:gd name="T6" fmla="*/ 22 w 57"/>
                  <a:gd name="T7" fmla="*/ 74 h 90"/>
                  <a:gd name="T8" fmla="*/ 0 w 57"/>
                  <a:gd name="T9" fmla="*/ 90 h 90"/>
                  <a:gd name="T10" fmla="*/ 0 w 57"/>
                  <a:gd name="T11" fmla="*/ 2 h 90"/>
                  <a:gd name="T12" fmla="*/ 19 w 57"/>
                  <a:gd name="T13" fmla="*/ 2 h 90"/>
                  <a:gd name="T14" fmla="*/ 21 w 57"/>
                  <a:gd name="T15" fmla="*/ 11 h 90"/>
                  <a:gd name="T16" fmla="*/ 45 w 57"/>
                  <a:gd name="T17" fmla="*/ 0 h 90"/>
                  <a:gd name="T18" fmla="*/ 57 w 57"/>
                  <a:gd name="T19" fmla="*/ 4 h 90"/>
                  <a:gd name="T20" fmla="*/ 49 w 57"/>
                  <a:gd name="T21" fmla="*/ 2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0">
                    <a:moveTo>
                      <a:pt x="49" y="22"/>
                    </a:moveTo>
                    <a:cubicBezTo>
                      <a:pt x="46" y="20"/>
                      <a:pt x="42" y="20"/>
                      <a:pt x="39" y="20"/>
                    </a:cubicBezTo>
                    <a:cubicBezTo>
                      <a:pt x="34" y="20"/>
                      <a:pt x="28" y="22"/>
                      <a:pt x="22" y="27"/>
                    </a:cubicBezTo>
                    <a:cubicBezTo>
                      <a:pt x="22" y="27"/>
                      <a:pt x="22" y="57"/>
                      <a:pt x="22" y="74"/>
                    </a:cubicBezTo>
                    <a:cubicBezTo>
                      <a:pt x="22" y="90"/>
                      <a:pt x="0" y="90"/>
                      <a:pt x="0" y="90"/>
                    </a:cubicBezTo>
                    <a:cubicBezTo>
                      <a:pt x="0" y="2"/>
                      <a:pt x="0" y="2"/>
                      <a:pt x="0" y="2"/>
                    </a:cubicBezTo>
                    <a:cubicBezTo>
                      <a:pt x="19" y="2"/>
                      <a:pt x="19" y="2"/>
                      <a:pt x="19"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7" name="Freeform 20"/>
              <p:cNvSpPr>
                <a:spLocks/>
              </p:cNvSpPr>
              <p:nvPr userDrawn="1"/>
            </p:nvSpPr>
            <p:spPr bwMode="auto">
              <a:xfrm>
                <a:off x="7766657" y="4864376"/>
                <a:ext cx="100211" cy="148389"/>
              </a:xfrm>
              <a:custGeom>
                <a:avLst/>
                <a:gdLst>
                  <a:gd name="T0" fmla="*/ 0 w 132"/>
                  <a:gd name="T1" fmla="*/ 23 h 204"/>
                  <a:gd name="T2" fmla="*/ 1 w 132"/>
                  <a:gd name="T3" fmla="*/ 22 h 204"/>
                  <a:gd name="T4" fmla="*/ 67 w 132"/>
                  <a:gd name="T5" fmla="*/ 20 h 204"/>
                  <a:gd name="T6" fmla="*/ 80 w 132"/>
                  <a:gd name="T7" fmla="*/ 52 h 204"/>
                  <a:gd name="T8" fmla="*/ 113 w 132"/>
                  <a:gd name="T9" fmla="*/ 65 h 204"/>
                  <a:gd name="T10" fmla="*/ 111 w 132"/>
                  <a:gd name="T11" fmla="*/ 132 h 204"/>
                  <a:gd name="T12" fmla="*/ 38 w 132"/>
                  <a:gd name="T13" fmla="*/ 204 h 204"/>
                  <a:gd name="T14" fmla="*/ 16 w 132"/>
                  <a:gd name="T15" fmla="*/ 182 h 204"/>
                  <a:gd name="T16" fmla="*/ 88 w 132"/>
                  <a:gd name="T17" fmla="*/ 110 h 204"/>
                  <a:gd name="T18" fmla="*/ 91 w 132"/>
                  <a:gd name="T19" fmla="*/ 86 h 204"/>
                  <a:gd name="T20" fmla="*/ 67 w 132"/>
                  <a:gd name="T21" fmla="*/ 88 h 204"/>
                  <a:gd name="T22" fmla="*/ 0 w 132"/>
                  <a:gd name="T23" fmla="*/ 155 h 204"/>
                  <a:gd name="T24" fmla="*/ 0 w 132"/>
                  <a:gd name="T25" fmla="*/ 111 h 204"/>
                  <a:gd name="T26" fmla="*/ 45 w 132"/>
                  <a:gd name="T27" fmla="*/ 66 h 204"/>
                  <a:gd name="T28" fmla="*/ 46 w 132"/>
                  <a:gd name="T29" fmla="*/ 42 h 204"/>
                  <a:gd name="T30" fmla="*/ 22 w 132"/>
                  <a:gd name="T31" fmla="*/ 44 h 204"/>
                  <a:gd name="T32" fmla="*/ 0 w 132"/>
                  <a:gd name="T33" fmla="*/ 66 h 204"/>
                  <a:gd name="T34" fmla="*/ 0 w 132"/>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204">
                    <a:moveTo>
                      <a:pt x="0" y="23"/>
                    </a:moveTo>
                    <a:cubicBezTo>
                      <a:pt x="1" y="22"/>
                      <a:pt x="1" y="22"/>
                      <a:pt x="1" y="22"/>
                    </a:cubicBezTo>
                    <a:cubicBezTo>
                      <a:pt x="23" y="0"/>
                      <a:pt x="50" y="2"/>
                      <a:pt x="67" y="20"/>
                    </a:cubicBezTo>
                    <a:cubicBezTo>
                      <a:pt x="80" y="32"/>
                      <a:pt x="81" y="46"/>
                      <a:pt x="80" y="52"/>
                    </a:cubicBezTo>
                    <a:cubicBezTo>
                      <a:pt x="86" y="51"/>
                      <a:pt x="100" y="52"/>
                      <a:pt x="113" y="65"/>
                    </a:cubicBezTo>
                    <a:cubicBezTo>
                      <a:pt x="130" y="82"/>
                      <a:pt x="132" y="110"/>
                      <a:pt x="111" y="132"/>
                    </a:cubicBezTo>
                    <a:cubicBezTo>
                      <a:pt x="38" y="204"/>
                      <a:pt x="38" y="204"/>
                      <a:pt x="38" y="204"/>
                    </a:cubicBezTo>
                    <a:cubicBezTo>
                      <a:pt x="16" y="182"/>
                      <a:pt x="16" y="182"/>
                      <a:pt x="16" y="182"/>
                    </a:cubicBezTo>
                    <a:cubicBezTo>
                      <a:pt x="88" y="110"/>
                      <a:pt x="88" y="110"/>
                      <a:pt x="88" y="110"/>
                    </a:cubicBezTo>
                    <a:cubicBezTo>
                      <a:pt x="97" y="101"/>
                      <a:pt x="96" y="91"/>
                      <a:pt x="91" y="86"/>
                    </a:cubicBezTo>
                    <a:cubicBezTo>
                      <a:pt x="85" y="80"/>
                      <a:pt x="75" y="79"/>
                      <a:pt x="67" y="88"/>
                    </a:cubicBezTo>
                    <a:cubicBezTo>
                      <a:pt x="0" y="155"/>
                      <a:pt x="0" y="155"/>
                      <a:pt x="0" y="155"/>
                    </a:cubicBezTo>
                    <a:cubicBezTo>
                      <a:pt x="0" y="111"/>
                      <a:pt x="0" y="111"/>
                      <a:pt x="0" y="111"/>
                    </a:cubicBezTo>
                    <a:cubicBezTo>
                      <a:pt x="45" y="66"/>
                      <a:pt x="45" y="66"/>
                      <a:pt x="45" y="66"/>
                    </a:cubicBezTo>
                    <a:cubicBezTo>
                      <a:pt x="53" y="57"/>
                      <a:pt x="52" y="47"/>
                      <a:pt x="46" y="42"/>
                    </a:cubicBezTo>
                    <a:cubicBezTo>
                      <a:pt x="41" y="36"/>
                      <a:pt x="31" y="35"/>
                      <a:pt x="22" y="44"/>
                    </a:cubicBezTo>
                    <a:cubicBezTo>
                      <a:pt x="0" y="66"/>
                      <a:pt x="0" y="66"/>
                      <a:pt x="0" y="66"/>
                    </a:cubicBezTo>
                    <a:lnTo>
                      <a:pt x="0"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grpSp>
      <p:sp>
        <p:nvSpPr>
          <p:cNvPr id="97"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solidFill>
                  <a:schemeClr val="tx2">
                    <a:lumMod val="75000"/>
                  </a:schemeClr>
                </a:solidFill>
                <a:latin typeface="+mn-lt"/>
              </a:rPr>
              <a:t>Private and Confidental</a:t>
            </a:r>
            <a:endParaRPr lang="pt-BR" sz="500" dirty="0">
              <a:solidFill>
                <a:schemeClr val="tx2">
                  <a:lumMod val="75000"/>
                </a:schemeClr>
              </a:solidFill>
              <a:latin typeface="+mn-lt"/>
            </a:endParaRPr>
          </a:p>
        </p:txBody>
      </p:sp>
    </p:spTree>
    <p:extLst>
      <p:ext uri="{BB962C8B-B14F-4D97-AF65-F5344CB8AC3E}">
        <p14:creationId xmlns:p14="http://schemas.microsoft.com/office/powerpoint/2010/main" val="3640471040"/>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FF_A_MB_Slate3">
    <p:bg>
      <p:bgPr>
        <a:solidFill>
          <a:schemeClr val="bg1"/>
        </a:solidFill>
        <a:effectLst/>
      </p:bgPr>
    </p:bg>
    <p:spTree>
      <p:nvGrpSpPr>
        <p:cNvPr id="1" name=""/>
        <p:cNvGrpSpPr/>
        <p:nvPr/>
      </p:nvGrpSpPr>
      <p:grpSpPr>
        <a:xfrm>
          <a:off x="0" y="0"/>
          <a:ext cx="0" cy="0"/>
          <a:chOff x="0" y="0"/>
          <a:chExt cx="0" cy="0"/>
        </a:xfrm>
      </p:grpSpPr>
      <p:sp>
        <p:nvSpPr>
          <p:cNvPr id="31" name="Rectangle 30"/>
          <p:cNvSpPr/>
          <p:nvPr userDrawn="1"/>
        </p:nvSpPr>
        <p:spPr>
          <a:xfrm>
            <a:off x="0" y="0"/>
            <a:ext cx="9144000" cy="5148263"/>
          </a:xfrm>
          <a:prstGeom prst="rect">
            <a:avLst/>
          </a:prstGeom>
          <a:solidFill>
            <a:srgbClr val="4B4E53"/>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en-GB" sz="1050" smtClean="0">
              <a:solidFill>
                <a:schemeClr val="bg1"/>
              </a:solidFill>
              <a:latin typeface="Arial" panose="020B0604020202020204" pitchFamily="34" charset="0"/>
              <a:cs typeface="Arial" panose="020B0604020202020204" pitchFamily="34" charset="0"/>
            </a:endParaRPr>
          </a:p>
        </p:txBody>
      </p:sp>
      <p:pic>
        <p:nvPicPr>
          <p:cNvPr id="33" name="Picture 32" descr="cookie_white.png"/>
          <p:cNvPicPr>
            <a:picLocks noChangeAspect="1"/>
          </p:cNvPicPr>
          <p:nvPr userDrawn="1"/>
        </p:nvPicPr>
        <p:blipFill rotWithShape="1">
          <a:blip r:embed="rId2" cstate="screen">
            <a:alphaModFix amt="16000"/>
            <a:extLst>
              <a:ext uri="{28A0092B-C50C-407E-A947-70E740481C1C}">
                <a14:useLocalDpi xmlns:a14="http://schemas.microsoft.com/office/drawing/2010/main"/>
              </a:ext>
            </a:extLst>
          </a:blip>
          <a:srcRect/>
          <a:stretch/>
        </p:blipFill>
        <p:spPr>
          <a:xfrm flipH="1">
            <a:off x="5149029" y="2289839"/>
            <a:ext cx="4020091" cy="2880000"/>
          </a:xfrm>
          <a:prstGeom prst="rect">
            <a:avLst/>
          </a:prstGeom>
        </p:spPr>
      </p:pic>
      <p:cxnSp>
        <p:nvCxnSpPr>
          <p:cNvPr id="32" name="Straight Connector 31"/>
          <p:cNvCxnSpPr/>
          <p:nvPr userDrawn="1"/>
        </p:nvCxnSpPr>
        <p:spPr>
          <a:xfrm>
            <a:off x="343365" y="470176"/>
            <a:ext cx="8460000" cy="0"/>
          </a:xfrm>
          <a:prstGeom prst="line">
            <a:avLst/>
          </a:prstGeom>
          <a:ln w="6350" cmpd="sng">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343365" y="4801146"/>
            <a:ext cx="8460000" cy="0"/>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sp>
        <p:nvSpPr>
          <p:cNvPr id="67"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rgbClr val="FFFFFF"/>
                </a:solidFill>
                <a:latin typeface="+mn-lt"/>
              </a:defRPr>
            </a:lvl1pPr>
          </a:lstStyle>
          <a:p>
            <a:fld id="{19AB4E72-7858-48F1-A40D-12FF09E4BFB8}" type="slidenum">
              <a:rPr lang="en-GB" smtClean="0"/>
              <a:pPr/>
              <a:t>‹Nº›</a:t>
            </a:fld>
            <a:endParaRPr lang="en-GB"/>
          </a:p>
        </p:txBody>
      </p:sp>
      <p:sp>
        <p:nvSpPr>
          <p:cNvPr id="36" name="Title 1"/>
          <p:cNvSpPr>
            <a:spLocks noGrp="1"/>
          </p:cNvSpPr>
          <p:nvPr>
            <p:ph type="ctrTitle" hasCustomPrompt="1"/>
          </p:nvPr>
        </p:nvSpPr>
        <p:spPr>
          <a:xfrm>
            <a:off x="343365" y="2867487"/>
            <a:ext cx="8460000" cy="443198"/>
          </a:xfrm>
          <a:prstGeom prst="rect">
            <a:avLst/>
          </a:prstGeom>
        </p:spPr>
        <p:txBody>
          <a:bodyPr lIns="0" tIns="0" rIns="0" bIns="0" anchor="b"/>
          <a:lstStyle>
            <a:lvl1pPr>
              <a:lnSpc>
                <a:spcPct val="90000"/>
              </a:lnSpc>
              <a:defRPr sz="3200" b="0">
                <a:solidFill>
                  <a:schemeClr val="bg1"/>
                </a:solidFill>
              </a:defRPr>
            </a:lvl1pPr>
          </a:lstStyle>
          <a:p>
            <a:r>
              <a:rPr lang="en-US" dirty="0" smtClean="0"/>
              <a:t>Click to edit Master title Style</a:t>
            </a:r>
            <a:endParaRPr lang="en-US" dirty="0"/>
          </a:p>
        </p:txBody>
      </p:sp>
      <p:sp>
        <p:nvSpPr>
          <p:cNvPr id="37" name="Subtitle 2"/>
          <p:cNvSpPr>
            <a:spLocks noGrp="1"/>
          </p:cNvSpPr>
          <p:nvPr>
            <p:ph type="subTitle" idx="1" hasCustomPrompt="1"/>
          </p:nvPr>
        </p:nvSpPr>
        <p:spPr>
          <a:xfrm>
            <a:off x="343364" y="3474100"/>
            <a:ext cx="8460000" cy="202165"/>
          </a:xfrm>
          <a:prstGeom prst="rect">
            <a:avLst/>
          </a:prstGeom>
        </p:spPr>
        <p:txBody>
          <a:bodyPr lIns="0" tIns="0" rIns="0" bIns="0">
            <a:noAutofit/>
          </a:bodyPr>
          <a:lstStyle>
            <a:lvl1pPr marL="0" indent="0" algn="l">
              <a:buNone/>
              <a:defRPr sz="1400">
                <a:solidFill>
                  <a:schemeClr val="tx2"/>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cxnSp>
        <p:nvCxnSpPr>
          <p:cNvPr id="38" name="Straight Connector 37"/>
          <p:cNvCxnSpPr/>
          <p:nvPr userDrawn="1"/>
        </p:nvCxnSpPr>
        <p:spPr>
          <a:xfrm>
            <a:off x="346086" y="3395058"/>
            <a:ext cx="8460000" cy="0"/>
          </a:xfrm>
          <a:prstGeom prst="line">
            <a:avLst/>
          </a:prstGeom>
          <a:ln w="12700"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73" name="Text Placeholder 2"/>
          <p:cNvSpPr>
            <a:spLocks noGrp="1"/>
          </p:cNvSpPr>
          <p:nvPr>
            <p:ph type="body" sz="quarter" idx="25" hasCustomPrompt="1"/>
          </p:nvPr>
        </p:nvSpPr>
        <p:spPr>
          <a:xfrm>
            <a:off x="3342796" y="4807465"/>
            <a:ext cx="1160462" cy="341313"/>
          </a:xfrm>
          <a:prstGeom prst="rect">
            <a:avLst/>
          </a:prstGeom>
        </p:spPr>
        <p:txBody>
          <a:bodyPr anchor="ctr"/>
          <a:lstStyle>
            <a:lvl1pPr marL="0" indent="0" algn="ctr">
              <a:buNone/>
              <a:defRPr sz="800">
                <a:solidFill>
                  <a:schemeClr val="bg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pic>
        <p:nvPicPr>
          <p:cNvPr id="74" name="Picture 7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68466" y="4829728"/>
            <a:ext cx="288000" cy="288000"/>
          </a:xfrm>
          <a:prstGeom prst="rect">
            <a:avLst/>
          </a:prstGeom>
        </p:spPr>
      </p:pic>
      <p:grpSp>
        <p:nvGrpSpPr>
          <p:cNvPr id="128" name="Group 127"/>
          <p:cNvGrpSpPr/>
          <p:nvPr userDrawn="1"/>
        </p:nvGrpSpPr>
        <p:grpSpPr>
          <a:xfrm>
            <a:off x="7686461" y="4906654"/>
            <a:ext cx="1124815" cy="151147"/>
            <a:chOff x="7686461" y="4581466"/>
            <a:chExt cx="1124815" cy="151147"/>
          </a:xfrm>
          <a:solidFill>
            <a:schemeClr val="bg1"/>
          </a:solidFill>
        </p:grpSpPr>
        <p:sp>
          <p:nvSpPr>
            <p:cNvPr id="129"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30"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31"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32"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33"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34"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35"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36"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37"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38"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39"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40"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41"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42"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43"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grpSp>
      <p:grpSp>
        <p:nvGrpSpPr>
          <p:cNvPr id="51" name="Group 50"/>
          <p:cNvGrpSpPr/>
          <p:nvPr userDrawn="1"/>
        </p:nvGrpSpPr>
        <p:grpSpPr>
          <a:xfrm>
            <a:off x="6223980" y="4846685"/>
            <a:ext cx="1123200" cy="262528"/>
            <a:chOff x="7673274" y="4343117"/>
            <a:chExt cx="1123200" cy="262528"/>
          </a:xfrm>
          <a:solidFill>
            <a:schemeClr val="bg1"/>
          </a:solidFill>
        </p:grpSpPr>
        <p:grpSp>
          <p:nvGrpSpPr>
            <p:cNvPr id="52" name="Group 51"/>
            <p:cNvGrpSpPr/>
            <p:nvPr userDrawn="1"/>
          </p:nvGrpSpPr>
          <p:grpSpPr>
            <a:xfrm>
              <a:off x="7909937" y="4494135"/>
              <a:ext cx="438357" cy="111510"/>
              <a:chOff x="7909937" y="4491754"/>
              <a:chExt cx="438357" cy="111510"/>
            </a:xfrm>
            <a:grpFill/>
          </p:grpSpPr>
          <p:sp>
            <p:nvSpPr>
              <p:cNvPr id="70" name="Freeform 21"/>
              <p:cNvSpPr>
                <a:spLocks noEditPoints="1"/>
              </p:cNvSpPr>
              <p:nvPr/>
            </p:nvSpPr>
            <p:spPr bwMode="auto">
              <a:xfrm>
                <a:off x="7909937" y="4496945"/>
                <a:ext cx="72264" cy="78286"/>
              </a:xfrm>
              <a:custGeom>
                <a:avLst/>
                <a:gdLst>
                  <a:gd name="T0" fmla="*/ 290 w 696"/>
                  <a:gd name="T1" fmla="*/ 0 h 754"/>
                  <a:gd name="T2" fmla="*/ 394 w 696"/>
                  <a:gd name="T3" fmla="*/ 0 h 754"/>
                  <a:gd name="T4" fmla="*/ 696 w 696"/>
                  <a:gd name="T5" fmla="*/ 754 h 754"/>
                  <a:gd name="T6" fmla="*/ 550 w 696"/>
                  <a:gd name="T7" fmla="*/ 754 h 754"/>
                  <a:gd name="T8" fmla="*/ 478 w 696"/>
                  <a:gd name="T9" fmla="*/ 566 h 754"/>
                  <a:gd name="T10" fmla="*/ 210 w 696"/>
                  <a:gd name="T11" fmla="*/ 566 h 754"/>
                  <a:gd name="T12" fmla="*/ 140 w 696"/>
                  <a:gd name="T13" fmla="*/ 754 h 754"/>
                  <a:gd name="T14" fmla="*/ 0 w 696"/>
                  <a:gd name="T15" fmla="*/ 754 h 754"/>
                  <a:gd name="T16" fmla="*/ 290 w 696"/>
                  <a:gd name="T17" fmla="*/ 0 h 754"/>
                  <a:gd name="T18" fmla="*/ 436 w 696"/>
                  <a:gd name="T19" fmla="*/ 456 h 754"/>
                  <a:gd name="T20" fmla="*/ 384 w 696"/>
                  <a:gd name="T21" fmla="*/ 306 h 754"/>
                  <a:gd name="T22" fmla="*/ 384 w 696"/>
                  <a:gd name="T23" fmla="*/ 306 h 754"/>
                  <a:gd name="T24" fmla="*/ 360 w 696"/>
                  <a:gd name="T25" fmla="*/ 236 h 754"/>
                  <a:gd name="T26" fmla="*/ 346 w 696"/>
                  <a:gd name="T27" fmla="*/ 190 h 754"/>
                  <a:gd name="T28" fmla="*/ 344 w 696"/>
                  <a:gd name="T29" fmla="*/ 190 h 754"/>
                  <a:gd name="T30" fmla="*/ 344 w 696"/>
                  <a:gd name="T31" fmla="*/ 190 h 754"/>
                  <a:gd name="T32" fmla="*/ 328 w 696"/>
                  <a:gd name="T33" fmla="*/ 236 h 754"/>
                  <a:gd name="T34" fmla="*/ 304 w 696"/>
                  <a:gd name="T35" fmla="*/ 306 h 754"/>
                  <a:gd name="T36" fmla="*/ 250 w 696"/>
                  <a:gd name="T37" fmla="*/ 456 h 754"/>
                  <a:gd name="T38" fmla="*/ 436 w 696"/>
                  <a:gd name="T39" fmla="*/ 456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6" h="754">
                    <a:moveTo>
                      <a:pt x="290" y="0"/>
                    </a:moveTo>
                    <a:lnTo>
                      <a:pt x="394" y="0"/>
                    </a:lnTo>
                    <a:lnTo>
                      <a:pt x="696" y="754"/>
                    </a:lnTo>
                    <a:lnTo>
                      <a:pt x="550" y="754"/>
                    </a:lnTo>
                    <a:lnTo>
                      <a:pt x="478" y="566"/>
                    </a:lnTo>
                    <a:lnTo>
                      <a:pt x="210" y="566"/>
                    </a:lnTo>
                    <a:lnTo>
                      <a:pt x="140" y="754"/>
                    </a:lnTo>
                    <a:lnTo>
                      <a:pt x="0" y="754"/>
                    </a:lnTo>
                    <a:lnTo>
                      <a:pt x="290" y="0"/>
                    </a:lnTo>
                    <a:close/>
                    <a:moveTo>
                      <a:pt x="436" y="456"/>
                    </a:moveTo>
                    <a:lnTo>
                      <a:pt x="384" y="306"/>
                    </a:lnTo>
                    <a:lnTo>
                      <a:pt x="384" y="306"/>
                    </a:lnTo>
                    <a:lnTo>
                      <a:pt x="360" y="236"/>
                    </a:lnTo>
                    <a:lnTo>
                      <a:pt x="346" y="190"/>
                    </a:lnTo>
                    <a:lnTo>
                      <a:pt x="344" y="190"/>
                    </a:lnTo>
                    <a:lnTo>
                      <a:pt x="344" y="190"/>
                    </a:lnTo>
                    <a:lnTo>
                      <a:pt x="328" y="236"/>
                    </a:lnTo>
                    <a:lnTo>
                      <a:pt x="304" y="306"/>
                    </a:lnTo>
                    <a:lnTo>
                      <a:pt x="250" y="456"/>
                    </a:lnTo>
                    <a:lnTo>
                      <a:pt x="436" y="4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22"/>
              <p:cNvSpPr>
                <a:spLocks noEditPoints="1"/>
              </p:cNvSpPr>
              <p:nvPr/>
            </p:nvSpPr>
            <p:spPr bwMode="auto">
              <a:xfrm>
                <a:off x="8047404" y="4517918"/>
                <a:ext cx="48591" cy="58558"/>
              </a:xfrm>
              <a:custGeom>
                <a:avLst/>
                <a:gdLst>
                  <a:gd name="T0" fmla="*/ 334 w 468"/>
                  <a:gd name="T1" fmla="*/ 502 h 564"/>
                  <a:gd name="T2" fmla="*/ 302 w 468"/>
                  <a:gd name="T3" fmla="*/ 526 h 564"/>
                  <a:gd name="T4" fmla="*/ 266 w 468"/>
                  <a:gd name="T5" fmla="*/ 546 h 564"/>
                  <a:gd name="T6" fmla="*/ 226 w 468"/>
                  <a:gd name="T7" fmla="*/ 560 h 564"/>
                  <a:gd name="T8" fmla="*/ 178 w 468"/>
                  <a:gd name="T9" fmla="*/ 564 h 564"/>
                  <a:gd name="T10" fmla="*/ 160 w 468"/>
                  <a:gd name="T11" fmla="*/ 564 h 564"/>
                  <a:gd name="T12" fmla="*/ 124 w 468"/>
                  <a:gd name="T13" fmla="*/ 558 h 564"/>
                  <a:gd name="T14" fmla="*/ 92 w 468"/>
                  <a:gd name="T15" fmla="*/ 546 h 564"/>
                  <a:gd name="T16" fmla="*/ 62 w 468"/>
                  <a:gd name="T17" fmla="*/ 528 h 564"/>
                  <a:gd name="T18" fmla="*/ 38 w 468"/>
                  <a:gd name="T19" fmla="*/ 506 h 564"/>
                  <a:gd name="T20" fmla="*/ 20 w 468"/>
                  <a:gd name="T21" fmla="*/ 478 h 564"/>
                  <a:gd name="T22" fmla="*/ 6 w 468"/>
                  <a:gd name="T23" fmla="*/ 446 h 564"/>
                  <a:gd name="T24" fmla="*/ 0 w 468"/>
                  <a:gd name="T25" fmla="*/ 412 h 564"/>
                  <a:gd name="T26" fmla="*/ 0 w 468"/>
                  <a:gd name="T27" fmla="*/ 392 h 564"/>
                  <a:gd name="T28" fmla="*/ 6 w 468"/>
                  <a:gd name="T29" fmla="*/ 342 h 564"/>
                  <a:gd name="T30" fmla="*/ 24 w 468"/>
                  <a:gd name="T31" fmla="*/ 302 h 564"/>
                  <a:gd name="T32" fmla="*/ 52 w 468"/>
                  <a:gd name="T33" fmla="*/ 270 h 564"/>
                  <a:gd name="T34" fmla="*/ 90 w 468"/>
                  <a:gd name="T35" fmla="*/ 246 h 564"/>
                  <a:gd name="T36" fmla="*/ 120 w 468"/>
                  <a:gd name="T37" fmla="*/ 232 h 564"/>
                  <a:gd name="T38" fmla="*/ 190 w 468"/>
                  <a:gd name="T39" fmla="*/ 218 h 564"/>
                  <a:gd name="T40" fmla="*/ 322 w 468"/>
                  <a:gd name="T41" fmla="*/ 210 h 564"/>
                  <a:gd name="T42" fmla="*/ 322 w 468"/>
                  <a:gd name="T43" fmla="*/ 194 h 564"/>
                  <a:gd name="T44" fmla="*/ 314 w 468"/>
                  <a:gd name="T45" fmla="*/ 154 h 564"/>
                  <a:gd name="T46" fmla="*/ 294 w 468"/>
                  <a:gd name="T47" fmla="*/ 126 h 564"/>
                  <a:gd name="T48" fmla="*/ 260 w 468"/>
                  <a:gd name="T49" fmla="*/ 108 h 564"/>
                  <a:gd name="T50" fmla="*/ 218 w 468"/>
                  <a:gd name="T51" fmla="*/ 104 h 564"/>
                  <a:gd name="T52" fmla="*/ 198 w 468"/>
                  <a:gd name="T53" fmla="*/ 104 h 564"/>
                  <a:gd name="T54" fmla="*/ 160 w 468"/>
                  <a:gd name="T55" fmla="*/ 110 h 564"/>
                  <a:gd name="T56" fmla="*/ 108 w 468"/>
                  <a:gd name="T57" fmla="*/ 126 h 564"/>
                  <a:gd name="T58" fmla="*/ 32 w 468"/>
                  <a:gd name="T59" fmla="*/ 54 h 564"/>
                  <a:gd name="T60" fmla="*/ 56 w 468"/>
                  <a:gd name="T61" fmla="*/ 42 h 564"/>
                  <a:gd name="T62" fmla="*/ 106 w 468"/>
                  <a:gd name="T63" fmla="*/ 22 h 564"/>
                  <a:gd name="T64" fmla="*/ 158 w 468"/>
                  <a:gd name="T65" fmla="*/ 8 h 564"/>
                  <a:gd name="T66" fmla="*/ 212 w 468"/>
                  <a:gd name="T67" fmla="*/ 0 h 564"/>
                  <a:gd name="T68" fmla="*/ 240 w 468"/>
                  <a:gd name="T69" fmla="*/ 0 h 564"/>
                  <a:gd name="T70" fmla="*/ 292 w 468"/>
                  <a:gd name="T71" fmla="*/ 4 h 564"/>
                  <a:gd name="T72" fmla="*/ 336 w 468"/>
                  <a:gd name="T73" fmla="*/ 12 h 564"/>
                  <a:gd name="T74" fmla="*/ 372 w 468"/>
                  <a:gd name="T75" fmla="*/ 28 h 564"/>
                  <a:gd name="T76" fmla="*/ 404 w 468"/>
                  <a:gd name="T77" fmla="*/ 50 h 564"/>
                  <a:gd name="T78" fmla="*/ 426 w 468"/>
                  <a:gd name="T79" fmla="*/ 76 h 564"/>
                  <a:gd name="T80" fmla="*/ 444 w 468"/>
                  <a:gd name="T81" fmla="*/ 110 h 564"/>
                  <a:gd name="T82" fmla="*/ 454 w 468"/>
                  <a:gd name="T83" fmla="*/ 150 h 564"/>
                  <a:gd name="T84" fmla="*/ 458 w 468"/>
                  <a:gd name="T85" fmla="*/ 196 h 564"/>
                  <a:gd name="T86" fmla="*/ 458 w 468"/>
                  <a:gd name="T87" fmla="*/ 414 h 564"/>
                  <a:gd name="T88" fmla="*/ 460 w 468"/>
                  <a:gd name="T89" fmla="*/ 496 h 564"/>
                  <a:gd name="T90" fmla="*/ 468 w 468"/>
                  <a:gd name="T91" fmla="*/ 552 h 564"/>
                  <a:gd name="T92" fmla="*/ 334 w 468"/>
                  <a:gd name="T93" fmla="*/ 502 h 564"/>
                  <a:gd name="T94" fmla="*/ 248 w 468"/>
                  <a:gd name="T95" fmla="*/ 304 h 564"/>
                  <a:gd name="T96" fmla="*/ 204 w 468"/>
                  <a:gd name="T97" fmla="*/ 310 h 564"/>
                  <a:gd name="T98" fmla="*/ 170 w 468"/>
                  <a:gd name="T99" fmla="*/ 322 h 564"/>
                  <a:gd name="T100" fmla="*/ 162 w 468"/>
                  <a:gd name="T101" fmla="*/ 326 h 564"/>
                  <a:gd name="T102" fmla="*/ 150 w 468"/>
                  <a:gd name="T103" fmla="*/ 340 h 564"/>
                  <a:gd name="T104" fmla="*/ 142 w 468"/>
                  <a:gd name="T105" fmla="*/ 354 h 564"/>
                  <a:gd name="T106" fmla="*/ 138 w 468"/>
                  <a:gd name="T107" fmla="*/ 382 h 564"/>
                  <a:gd name="T108" fmla="*/ 138 w 468"/>
                  <a:gd name="T109" fmla="*/ 400 h 564"/>
                  <a:gd name="T110" fmla="*/ 150 w 468"/>
                  <a:gd name="T111" fmla="*/ 426 h 564"/>
                  <a:gd name="T112" fmla="*/ 170 w 468"/>
                  <a:gd name="T113" fmla="*/ 446 h 564"/>
                  <a:gd name="T114" fmla="*/ 200 w 468"/>
                  <a:gd name="T115" fmla="*/ 456 h 564"/>
                  <a:gd name="T116" fmla="*/ 216 w 468"/>
                  <a:gd name="T117" fmla="*/ 456 h 564"/>
                  <a:gd name="T118" fmla="*/ 252 w 468"/>
                  <a:gd name="T119" fmla="*/ 452 h 564"/>
                  <a:gd name="T120" fmla="*/ 282 w 468"/>
                  <a:gd name="T121" fmla="*/ 442 h 564"/>
                  <a:gd name="T122" fmla="*/ 322 w 468"/>
                  <a:gd name="T123" fmla="*/ 418 h 564"/>
                  <a:gd name="T124" fmla="*/ 248 w 468"/>
                  <a:gd name="T125" fmla="*/ 30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8" h="564">
                    <a:moveTo>
                      <a:pt x="334" y="502"/>
                    </a:moveTo>
                    <a:lnTo>
                      <a:pt x="334" y="502"/>
                    </a:lnTo>
                    <a:lnTo>
                      <a:pt x="318" y="514"/>
                    </a:lnTo>
                    <a:lnTo>
                      <a:pt x="302" y="526"/>
                    </a:lnTo>
                    <a:lnTo>
                      <a:pt x="284" y="536"/>
                    </a:lnTo>
                    <a:lnTo>
                      <a:pt x="266" y="546"/>
                    </a:lnTo>
                    <a:lnTo>
                      <a:pt x="246" y="554"/>
                    </a:lnTo>
                    <a:lnTo>
                      <a:pt x="226" y="560"/>
                    </a:lnTo>
                    <a:lnTo>
                      <a:pt x="202" y="562"/>
                    </a:lnTo>
                    <a:lnTo>
                      <a:pt x="178" y="564"/>
                    </a:lnTo>
                    <a:lnTo>
                      <a:pt x="178" y="564"/>
                    </a:lnTo>
                    <a:lnTo>
                      <a:pt x="160" y="564"/>
                    </a:lnTo>
                    <a:lnTo>
                      <a:pt x="140" y="560"/>
                    </a:lnTo>
                    <a:lnTo>
                      <a:pt x="124" y="558"/>
                    </a:lnTo>
                    <a:lnTo>
                      <a:pt x="106" y="552"/>
                    </a:lnTo>
                    <a:lnTo>
                      <a:pt x="92" y="546"/>
                    </a:lnTo>
                    <a:lnTo>
                      <a:pt x="76" y="538"/>
                    </a:lnTo>
                    <a:lnTo>
                      <a:pt x="62" y="528"/>
                    </a:lnTo>
                    <a:lnTo>
                      <a:pt x="50" y="516"/>
                    </a:lnTo>
                    <a:lnTo>
                      <a:pt x="38" y="506"/>
                    </a:lnTo>
                    <a:lnTo>
                      <a:pt x="28" y="492"/>
                    </a:lnTo>
                    <a:lnTo>
                      <a:pt x="20" y="478"/>
                    </a:lnTo>
                    <a:lnTo>
                      <a:pt x="12" y="462"/>
                    </a:lnTo>
                    <a:lnTo>
                      <a:pt x="6" y="446"/>
                    </a:lnTo>
                    <a:lnTo>
                      <a:pt x="2" y="430"/>
                    </a:lnTo>
                    <a:lnTo>
                      <a:pt x="0" y="412"/>
                    </a:lnTo>
                    <a:lnTo>
                      <a:pt x="0" y="392"/>
                    </a:lnTo>
                    <a:lnTo>
                      <a:pt x="0" y="392"/>
                    </a:lnTo>
                    <a:lnTo>
                      <a:pt x="0" y="366"/>
                    </a:lnTo>
                    <a:lnTo>
                      <a:pt x="6" y="342"/>
                    </a:lnTo>
                    <a:lnTo>
                      <a:pt x="14" y="320"/>
                    </a:lnTo>
                    <a:lnTo>
                      <a:pt x="24" y="302"/>
                    </a:lnTo>
                    <a:lnTo>
                      <a:pt x="36" y="284"/>
                    </a:lnTo>
                    <a:lnTo>
                      <a:pt x="52" y="270"/>
                    </a:lnTo>
                    <a:lnTo>
                      <a:pt x="70" y="256"/>
                    </a:lnTo>
                    <a:lnTo>
                      <a:pt x="90" y="246"/>
                    </a:lnTo>
                    <a:lnTo>
                      <a:pt x="90" y="246"/>
                    </a:lnTo>
                    <a:lnTo>
                      <a:pt x="120" y="232"/>
                    </a:lnTo>
                    <a:lnTo>
                      <a:pt x="154" y="224"/>
                    </a:lnTo>
                    <a:lnTo>
                      <a:pt x="190" y="218"/>
                    </a:lnTo>
                    <a:lnTo>
                      <a:pt x="230" y="214"/>
                    </a:lnTo>
                    <a:lnTo>
                      <a:pt x="322" y="210"/>
                    </a:lnTo>
                    <a:lnTo>
                      <a:pt x="322" y="194"/>
                    </a:lnTo>
                    <a:lnTo>
                      <a:pt x="322" y="194"/>
                    </a:lnTo>
                    <a:lnTo>
                      <a:pt x="320" y="172"/>
                    </a:lnTo>
                    <a:lnTo>
                      <a:pt x="314" y="154"/>
                    </a:lnTo>
                    <a:lnTo>
                      <a:pt x="306" y="138"/>
                    </a:lnTo>
                    <a:lnTo>
                      <a:pt x="294" y="126"/>
                    </a:lnTo>
                    <a:lnTo>
                      <a:pt x="278" y="116"/>
                    </a:lnTo>
                    <a:lnTo>
                      <a:pt x="260" y="108"/>
                    </a:lnTo>
                    <a:lnTo>
                      <a:pt x="240" y="106"/>
                    </a:lnTo>
                    <a:lnTo>
                      <a:pt x="218" y="104"/>
                    </a:lnTo>
                    <a:lnTo>
                      <a:pt x="218" y="104"/>
                    </a:lnTo>
                    <a:lnTo>
                      <a:pt x="198" y="104"/>
                    </a:lnTo>
                    <a:lnTo>
                      <a:pt x="178" y="106"/>
                    </a:lnTo>
                    <a:lnTo>
                      <a:pt x="160" y="110"/>
                    </a:lnTo>
                    <a:lnTo>
                      <a:pt x="142" y="114"/>
                    </a:lnTo>
                    <a:lnTo>
                      <a:pt x="108" y="126"/>
                    </a:lnTo>
                    <a:lnTo>
                      <a:pt x="76" y="142"/>
                    </a:lnTo>
                    <a:lnTo>
                      <a:pt x="32" y="54"/>
                    </a:lnTo>
                    <a:lnTo>
                      <a:pt x="32" y="54"/>
                    </a:lnTo>
                    <a:lnTo>
                      <a:pt x="56" y="42"/>
                    </a:lnTo>
                    <a:lnTo>
                      <a:pt x="82" y="30"/>
                    </a:lnTo>
                    <a:lnTo>
                      <a:pt x="106" y="22"/>
                    </a:lnTo>
                    <a:lnTo>
                      <a:pt x="132" y="14"/>
                    </a:lnTo>
                    <a:lnTo>
                      <a:pt x="158" y="8"/>
                    </a:lnTo>
                    <a:lnTo>
                      <a:pt x="186" y="4"/>
                    </a:lnTo>
                    <a:lnTo>
                      <a:pt x="212" y="0"/>
                    </a:lnTo>
                    <a:lnTo>
                      <a:pt x="240" y="0"/>
                    </a:lnTo>
                    <a:lnTo>
                      <a:pt x="240" y="0"/>
                    </a:lnTo>
                    <a:lnTo>
                      <a:pt x="268" y="0"/>
                    </a:lnTo>
                    <a:lnTo>
                      <a:pt x="292" y="4"/>
                    </a:lnTo>
                    <a:lnTo>
                      <a:pt x="314" y="6"/>
                    </a:lnTo>
                    <a:lnTo>
                      <a:pt x="336" y="12"/>
                    </a:lnTo>
                    <a:lnTo>
                      <a:pt x="356" y="20"/>
                    </a:lnTo>
                    <a:lnTo>
                      <a:pt x="372" y="28"/>
                    </a:lnTo>
                    <a:lnTo>
                      <a:pt x="388" y="38"/>
                    </a:lnTo>
                    <a:lnTo>
                      <a:pt x="404" y="50"/>
                    </a:lnTo>
                    <a:lnTo>
                      <a:pt x="416" y="62"/>
                    </a:lnTo>
                    <a:lnTo>
                      <a:pt x="426" y="76"/>
                    </a:lnTo>
                    <a:lnTo>
                      <a:pt x="436" y="94"/>
                    </a:lnTo>
                    <a:lnTo>
                      <a:pt x="444" y="110"/>
                    </a:lnTo>
                    <a:lnTo>
                      <a:pt x="450" y="130"/>
                    </a:lnTo>
                    <a:lnTo>
                      <a:pt x="454" y="150"/>
                    </a:lnTo>
                    <a:lnTo>
                      <a:pt x="456" y="172"/>
                    </a:lnTo>
                    <a:lnTo>
                      <a:pt x="458" y="196"/>
                    </a:lnTo>
                    <a:lnTo>
                      <a:pt x="458" y="414"/>
                    </a:lnTo>
                    <a:lnTo>
                      <a:pt x="458" y="414"/>
                    </a:lnTo>
                    <a:lnTo>
                      <a:pt x="458" y="458"/>
                    </a:lnTo>
                    <a:lnTo>
                      <a:pt x="460" y="496"/>
                    </a:lnTo>
                    <a:lnTo>
                      <a:pt x="462" y="528"/>
                    </a:lnTo>
                    <a:lnTo>
                      <a:pt x="468" y="552"/>
                    </a:lnTo>
                    <a:lnTo>
                      <a:pt x="354" y="552"/>
                    </a:lnTo>
                    <a:lnTo>
                      <a:pt x="334" y="502"/>
                    </a:lnTo>
                    <a:close/>
                    <a:moveTo>
                      <a:pt x="248" y="304"/>
                    </a:moveTo>
                    <a:lnTo>
                      <a:pt x="248" y="304"/>
                    </a:lnTo>
                    <a:lnTo>
                      <a:pt x="224" y="306"/>
                    </a:lnTo>
                    <a:lnTo>
                      <a:pt x="204" y="310"/>
                    </a:lnTo>
                    <a:lnTo>
                      <a:pt x="186" y="314"/>
                    </a:lnTo>
                    <a:lnTo>
                      <a:pt x="170" y="322"/>
                    </a:lnTo>
                    <a:lnTo>
                      <a:pt x="170" y="322"/>
                    </a:lnTo>
                    <a:lnTo>
                      <a:pt x="162" y="326"/>
                    </a:lnTo>
                    <a:lnTo>
                      <a:pt x="156" y="332"/>
                    </a:lnTo>
                    <a:lnTo>
                      <a:pt x="150" y="340"/>
                    </a:lnTo>
                    <a:lnTo>
                      <a:pt x="146" y="346"/>
                    </a:lnTo>
                    <a:lnTo>
                      <a:pt x="142" y="354"/>
                    </a:lnTo>
                    <a:lnTo>
                      <a:pt x="140" y="364"/>
                    </a:lnTo>
                    <a:lnTo>
                      <a:pt x="138" y="382"/>
                    </a:lnTo>
                    <a:lnTo>
                      <a:pt x="138" y="382"/>
                    </a:lnTo>
                    <a:lnTo>
                      <a:pt x="138" y="400"/>
                    </a:lnTo>
                    <a:lnTo>
                      <a:pt x="142" y="414"/>
                    </a:lnTo>
                    <a:lnTo>
                      <a:pt x="150" y="426"/>
                    </a:lnTo>
                    <a:lnTo>
                      <a:pt x="158" y="438"/>
                    </a:lnTo>
                    <a:lnTo>
                      <a:pt x="170" y="446"/>
                    </a:lnTo>
                    <a:lnTo>
                      <a:pt x="184" y="452"/>
                    </a:lnTo>
                    <a:lnTo>
                      <a:pt x="200" y="456"/>
                    </a:lnTo>
                    <a:lnTo>
                      <a:pt x="216" y="456"/>
                    </a:lnTo>
                    <a:lnTo>
                      <a:pt x="216" y="456"/>
                    </a:lnTo>
                    <a:lnTo>
                      <a:pt x="234" y="456"/>
                    </a:lnTo>
                    <a:lnTo>
                      <a:pt x="252" y="452"/>
                    </a:lnTo>
                    <a:lnTo>
                      <a:pt x="268" y="448"/>
                    </a:lnTo>
                    <a:lnTo>
                      <a:pt x="282" y="442"/>
                    </a:lnTo>
                    <a:lnTo>
                      <a:pt x="304" y="430"/>
                    </a:lnTo>
                    <a:lnTo>
                      <a:pt x="322" y="418"/>
                    </a:lnTo>
                    <a:lnTo>
                      <a:pt x="322" y="302"/>
                    </a:lnTo>
                    <a:lnTo>
                      <a:pt x="248" y="3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23"/>
              <p:cNvSpPr>
                <a:spLocks/>
              </p:cNvSpPr>
              <p:nvPr/>
            </p:nvSpPr>
            <p:spPr bwMode="auto">
              <a:xfrm>
                <a:off x="8121536" y="4519372"/>
                <a:ext cx="62089" cy="83892"/>
              </a:xfrm>
              <a:custGeom>
                <a:avLst/>
                <a:gdLst>
                  <a:gd name="T0" fmla="*/ 34 w 598"/>
                  <a:gd name="T1" fmla="*/ 678 h 808"/>
                  <a:gd name="T2" fmla="*/ 34 w 598"/>
                  <a:gd name="T3" fmla="*/ 678 h 808"/>
                  <a:gd name="T4" fmla="*/ 54 w 598"/>
                  <a:gd name="T5" fmla="*/ 688 h 808"/>
                  <a:gd name="T6" fmla="*/ 74 w 598"/>
                  <a:gd name="T7" fmla="*/ 694 h 808"/>
                  <a:gd name="T8" fmla="*/ 94 w 598"/>
                  <a:gd name="T9" fmla="*/ 698 h 808"/>
                  <a:gd name="T10" fmla="*/ 116 w 598"/>
                  <a:gd name="T11" fmla="*/ 700 h 808"/>
                  <a:gd name="T12" fmla="*/ 116 w 598"/>
                  <a:gd name="T13" fmla="*/ 700 h 808"/>
                  <a:gd name="T14" fmla="*/ 138 w 598"/>
                  <a:gd name="T15" fmla="*/ 698 h 808"/>
                  <a:gd name="T16" fmla="*/ 158 w 598"/>
                  <a:gd name="T17" fmla="*/ 692 h 808"/>
                  <a:gd name="T18" fmla="*/ 168 w 598"/>
                  <a:gd name="T19" fmla="*/ 686 h 808"/>
                  <a:gd name="T20" fmla="*/ 178 w 598"/>
                  <a:gd name="T21" fmla="*/ 680 h 808"/>
                  <a:gd name="T22" fmla="*/ 188 w 598"/>
                  <a:gd name="T23" fmla="*/ 672 h 808"/>
                  <a:gd name="T24" fmla="*/ 198 w 598"/>
                  <a:gd name="T25" fmla="*/ 664 h 808"/>
                  <a:gd name="T26" fmla="*/ 216 w 598"/>
                  <a:gd name="T27" fmla="*/ 642 h 808"/>
                  <a:gd name="T28" fmla="*/ 234 w 598"/>
                  <a:gd name="T29" fmla="*/ 612 h 808"/>
                  <a:gd name="T30" fmla="*/ 250 w 598"/>
                  <a:gd name="T31" fmla="*/ 578 h 808"/>
                  <a:gd name="T32" fmla="*/ 266 w 598"/>
                  <a:gd name="T33" fmla="*/ 536 h 808"/>
                  <a:gd name="T34" fmla="*/ 24 w 598"/>
                  <a:gd name="T35" fmla="*/ 0 h 808"/>
                  <a:gd name="T36" fmla="*/ 164 w 598"/>
                  <a:gd name="T37" fmla="*/ 0 h 808"/>
                  <a:gd name="T38" fmla="*/ 328 w 598"/>
                  <a:gd name="T39" fmla="*/ 382 h 808"/>
                  <a:gd name="T40" fmla="*/ 330 w 598"/>
                  <a:gd name="T41" fmla="*/ 382 h 808"/>
                  <a:gd name="T42" fmla="*/ 460 w 598"/>
                  <a:gd name="T43" fmla="*/ 0 h 808"/>
                  <a:gd name="T44" fmla="*/ 598 w 598"/>
                  <a:gd name="T45" fmla="*/ 0 h 808"/>
                  <a:gd name="T46" fmla="*/ 392 w 598"/>
                  <a:gd name="T47" fmla="*/ 556 h 808"/>
                  <a:gd name="T48" fmla="*/ 392 w 598"/>
                  <a:gd name="T49" fmla="*/ 556 h 808"/>
                  <a:gd name="T50" fmla="*/ 376 w 598"/>
                  <a:gd name="T51" fmla="*/ 596 h 808"/>
                  <a:gd name="T52" fmla="*/ 360 w 598"/>
                  <a:gd name="T53" fmla="*/ 632 h 808"/>
                  <a:gd name="T54" fmla="*/ 344 w 598"/>
                  <a:gd name="T55" fmla="*/ 662 h 808"/>
                  <a:gd name="T56" fmla="*/ 326 w 598"/>
                  <a:gd name="T57" fmla="*/ 690 h 808"/>
                  <a:gd name="T58" fmla="*/ 308 w 598"/>
                  <a:gd name="T59" fmla="*/ 714 h 808"/>
                  <a:gd name="T60" fmla="*/ 292 w 598"/>
                  <a:gd name="T61" fmla="*/ 734 h 808"/>
                  <a:gd name="T62" fmla="*/ 274 w 598"/>
                  <a:gd name="T63" fmla="*/ 752 h 808"/>
                  <a:gd name="T64" fmla="*/ 256 w 598"/>
                  <a:gd name="T65" fmla="*/ 766 h 808"/>
                  <a:gd name="T66" fmla="*/ 238 w 598"/>
                  <a:gd name="T67" fmla="*/ 778 h 808"/>
                  <a:gd name="T68" fmla="*/ 220 w 598"/>
                  <a:gd name="T69" fmla="*/ 788 h 808"/>
                  <a:gd name="T70" fmla="*/ 200 w 598"/>
                  <a:gd name="T71" fmla="*/ 796 h 808"/>
                  <a:gd name="T72" fmla="*/ 182 w 598"/>
                  <a:gd name="T73" fmla="*/ 800 h 808"/>
                  <a:gd name="T74" fmla="*/ 164 w 598"/>
                  <a:gd name="T75" fmla="*/ 804 h 808"/>
                  <a:gd name="T76" fmla="*/ 146 w 598"/>
                  <a:gd name="T77" fmla="*/ 808 h 808"/>
                  <a:gd name="T78" fmla="*/ 108 w 598"/>
                  <a:gd name="T79" fmla="*/ 808 h 808"/>
                  <a:gd name="T80" fmla="*/ 108 w 598"/>
                  <a:gd name="T81" fmla="*/ 808 h 808"/>
                  <a:gd name="T82" fmla="*/ 78 w 598"/>
                  <a:gd name="T83" fmla="*/ 808 h 808"/>
                  <a:gd name="T84" fmla="*/ 52 w 598"/>
                  <a:gd name="T85" fmla="*/ 802 h 808"/>
                  <a:gd name="T86" fmla="*/ 26 w 598"/>
                  <a:gd name="T87" fmla="*/ 794 h 808"/>
                  <a:gd name="T88" fmla="*/ 0 w 598"/>
                  <a:gd name="T89" fmla="*/ 784 h 808"/>
                  <a:gd name="T90" fmla="*/ 34 w 598"/>
                  <a:gd name="T91" fmla="*/ 678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98" h="808">
                    <a:moveTo>
                      <a:pt x="34" y="678"/>
                    </a:moveTo>
                    <a:lnTo>
                      <a:pt x="34" y="678"/>
                    </a:lnTo>
                    <a:lnTo>
                      <a:pt x="54" y="688"/>
                    </a:lnTo>
                    <a:lnTo>
                      <a:pt x="74" y="694"/>
                    </a:lnTo>
                    <a:lnTo>
                      <a:pt x="94" y="698"/>
                    </a:lnTo>
                    <a:lnTo>
                      <a:pt x="116" y="700"/>
                    </a:lnTo>
                    <a:lnTo>
                      <a:pt x="116" y="700"/>
                    </a:lnTo>
                    <a:lnTo>
                      <a:pt x="138" y="698"/>
                    </a:lnTo>
                    <a:lnTo>
                      <a:pt x="158" y="692"/>
                    </a:lnTo>
                    <a:lnTo>
                      <a:pt x="168" y="686"/>
                    </a:lnTo>
                    <a:lnTo>
                      <a:pt x="178" y="680"/>
                    </a:lnTo>
                    <a:lnTo>
                      <a:pt x="188" y="672"/>
                    </a:lnTo>
                    <a:lnTo>
                      <a:pt x="198" y="664"/>
                    </a:lnTo>
                    <a:lnTo>
                      <a:pt x="216" y="642"/>
                    </a:lnTo>
                    <a:lnTo>
                      <a:pt x="234" y="612"/>
                    </a:lnTo>
                    <a:lnTo>
                      <a:pt x="250" y="578"/>
                    </a:lnTo>
                    <a:lnTo>
                      <a:pt x="266" y="536"/>
                    </a:lnTo>
                    <a:lnTo>
                      <a:pt x="24" y="0"/>
                    </a:lnTo>
                    <a:lnTo>
                      <a:pt x="164" y="0"/>
                    </a:lnTo>
                    <a:lnTo>
                      <a:pt x="328" y="382"/>
                    </a:lnTo>
                    <a:lnTo>
                      <a:pt x="330" y="382"/>
                    </a:lnTo>
                    <a:lnTo>
                      <a:pt x="460" y="0"/>
                    </a:lnTo>
                    <a:lnTo>
                      <a:pt x="598" y="0"/>
                    </a:lnTo>
                    <a:lnTo>
                      <a:pt x="392" y="556"/>
                    </a:lnTo>
                    <a:lnTo>
                      <a:pt x="392" y="556"/>
                    </a:lnTo>
                    <a:lnTo>
                      <a:pt x="376" y="596"/>
                    </a:lnTo>
                    <a:lnTo>
                      <a:pt x="360" y="632"/>
                    </a:lnTo>
                    <a:lnTo>
                      <a:pt x="344" y="662"/>
                    </a:lnTo>
                    <a:lnTo>
                      <a:pt x="326" y="690"/>
                    </a:lnTo>
                    <a:lnTo>
                      <a:pt x="308" y="714"/>
                    </a:lnTo>
                    <a:lnTo>
                      <a:pt x="292" y="734"/>
                    </a:lnTo>
                    <a:lnTo>
                      <a:pt x="274" y="752"/>
                    </a:lnTo>
                    <a:lnTo>
                      <a:pt x="256" y="766"/>
                    </a:lnTo>
                    <a:lnTo>
                      <a:pt x="238" y="778"/>
                    </a:lnTo>
                    <a:lnTo>
                      <a:pt x="220" y="788"/>
                    </a:lnTo>
                    <a:lnTo>
                      <a:pt x="200" y="796"/>
                    </a:lnTo>
                    <a:lnTo>
                      <a:pt x="182" y="800"/>
                    </a:lnTo>
                    <a:lnTo>
                      <a:pt x="164" y="804"/>
                    </a:lnTo>
                    <a:lnTo>
                      <a:pt x="146" y="808"/>
                    </a:lnTo>
                    <a:lnTo>
                      <a:pt x="108" y="808"/>
                    </a:lnTo>
                    <a:lnTo>
                      <a:pt x="108" y="808"/>
                    </a:lnTo>
                    <a:lnTo>
                      <a:pt x="78" y="808"/>
                    </a:lnTo>
                    <a:lnTo>
                      <a:pt x="52" y="802"/>
                    </a:lnTo>
                    <a:lnTo>
                      <a:pt x="26" y="794"/>
                    </a:lnTo>
                    <a:lnTo>
                      <a:pt x="0" y="784"/>
                    </a:lnTo>
                    <a:lnTo>
                      <a:pt x="34" y="6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24"/>
              <p:cNvSpPr>
                <a:spLocks/>
              </p:cNvSpPr>
              <p:nvPr/>
            </p:nvSpPr>
            <p:spPr bwMode="auto">
              <a:xfrm>
                <a:off x="8179056" y="4502136"/>
                <a:ext cx="45269" cy="74340"/>
              </a:xfrm>
              <a:custGeom>
                <a:avLst/>
                <a:gdLst>
                  <a:gd name="T0" fmla="*/ 124 w 436"/>
                  <a:gd name="T1" fmla="*/ 572 h 716"/>
                  <a:gd name="T2" fmla="*/ 124 w 436"/>
                  <a:gd name="T3" fmla="*/ 272 h 716"/>
                  <a:gd name="T4" fmla="*/ 0 w 436"/>
                  <a:gd name="T5" fmla="*/ 272 h 716"/>
                  <a:gd name="T6" fmla="*/ 28 w 436"/>
                  <a:gd name="T7" fmla="*/ 166 h 716"/>
                  <a:gd name="T8" fmla="*/ 124 w 436"/>
                  <a:gd name="T9" fmla="*/ 166 h 716"/>
                  <a:gd name="T10" fmla="*/ 124 w 436"/>
                  <a:gd name="T11" fmla="*/ 40 h 716"/>
                  <a:gd name="T12" fmla="*/ 260 w 436"/>
                  <a:gd name="T13" fmla="*/ 0 h 716"/>
                  <a:gd name="T14" fmla="*/ 260 w 436"/>
                  <a:gd name="T15" fmla="*/ 166 h 716"/>
                  <a:gd name="T16" fmla="*/ 424 w 436"/>
                  <a:gd name="T17" fmla="*/ 166 h 716"/>
                  <a:gd name="T18" fmla="*/ 390 w 436"/>
                  <a:gd name="T19" fmla="*/ 272 h 716"/>
                  <a:gd name="T20" fmla="*/ 260 w 436"/>
                  <a:gd name="T21" fmla="*/ 272 h 716"/>
                  <a:gd name="T22" fmla="*/ 260 w 436"/>
                  <a:gd name="T23" fmla="*/ 538 h 716"/>
                  <a:gd name="T24" fmla="*/ 260 w 436"/>
                  <a:gd name="T25" fmla="*/ 538 h 716"/>
                  <a:gd name="T26" fmla="*/ 262 w 436"/>
                  <a:gd name="T27" fmla="*/ 556 h 716"/>
                  <a:gd name="T28" fmla="*/ 264 w 436"/>
                  <a:gd name="T29" fmla="*/ 570 h 716"/>
                  <a:gd name="T30" fmla="*/ 268 w 436"/>
                  <a:gd name="T31" fmla="*/ 582 h 716"/>
                  <a:gd name="T32" fmla="*/ 274 w 436"/>
                  <a:gd name="T33" fmla="*/ 592 h 716"/>
                  <a:gd name="T34" fmla="*/ 280 w 436"/>
                  <a:gd name="T35" fmla="*/ 598 h 716"/>
                  <a:gd name="T36" fmla="*/ 290 w 436"/>
                  <a:gd name="T37" fmla="*/ 604 h 716"/>
                  <a:gd name="T38" fmla="*/ 300 w 436"/>
                  <a:gd name="T39" fmla="*/ 606 h 716"/>
                  <a:gd name="T40" fmla="*/ 312 w 436"/>
                  <a:gd name="T41" fmla="*/ 606 h 716"/>
                  <a:gd name="T42" fmla="*/ 312 w 436"/>
                  <a:gd name="T43" fmla="*/ 606 h 716"/>
                  <a:gd name="T44" fmla="*/ 336 w 436"/>
                  <a:gd name="T45" fmla="*/ 604 h 716"/>
                  <a:gd name="T46" fmla="*/ 358 w 436"/>
                  <a:gd name="T47" fmla="*/ 598 h 716"/>
                  <a:gd name="T48" fmla="*/ 378 w 436"/>
                  <a:gd name="T49" fmla="*/ 590 h 716"/>
                  <a:gd name="T50" fmla="*/ 394 w 436"/>
                  <a:gd name="T51" fmla="*/ 580 h 716"/>
                  <a:gd name="T52" fmla="*/ 436 w 436"/>
                  <a:gd name="T53" fmla="*/ 674 h 716"/>
                  <a:gd name="T54" fmla="*/ 436 w 436"/>
                  <a:gd name="T55" fmla="*/ 674 h 716"/>
                  <a:gd name="T56" fmla="*/ 420 w 436"/>
                  <a:gd name="T57" fmla="*/ 684 h 716"/>
                  <a:gd name="T58" fmla="*/ 402 w 436"/>
                  <a:gd name="T59" fmla="*/ 692 h 716"/>
                  <a:gd name="T60" fmla="*/ 384 w 436"/>
                  <a:gd name="T61" fmla="*/ 698 h 716"/>
                  <a:gd name="T62" fmla="*/ 362 w 436"/>
                  <a:gd name="T63" fmla="*/ 704 h 716"/>
                  <a:gd name="T64" fmla="*/ 342 w 436"/>
                  <a:gd name="T65" fmla="*/ 710 h 716"/>
                  <a:gd name="T66" fmla="*/ 320 w 436"/>
                  <a:gd name="T67" fmla="*/ 714 h 716"/>
                  <a:gd name="T68" fmla="*/ 300 w 436"/>
                  <a:gd name="T69" fmla="*/ 716 h 716"/>
                  <a:gd name="T70" fmla="*/ 278 w 436"/>
                  <a:gd name="T71" fmla="*/ 716 h 716"/>
                  <a:gd name="T72" fmla="*/ 278 w 436"/>
                  <a:gd name="T73" fmla="*/ 716 h 716"/>
                  <a:gd name="T74" fmla="*/ 260 w 436"/>
                  <a:gd name="T75" fmla="*/ 716 h 716"/>
                  <a:gd name="T76" fmla="*/ 244 w 436"/>
                  <a:gd name="T77" fmla="*/ 714 h 716"/>
                  <a:gd name="T78" fmla="*/ 228 w 436"/>
                  <a:gd name="T79" fmla="*/ 710 h 716"/>
                  <a:gd name="T80" fmla="*/ 214 w 436"/>
                  <a:gd name="T81" fmla="*/ 706 h 716"/>
                  <a:gd name="T82" fmla="*/ 200 w 436"/>
                  <a:gd name="T83" fmla="*/ 700 h 716"/>
                  <a:gd name="T84" fmla="*/ 188 w 436"/>
                  <a:gd name="T85" fmla="*/ 694 h 716"/>
                  <a:gd name="T86" fmla="*/ 176 w 436"/>
                  <a:gd name="T87" fmla="*/ 686 h 716"/>
                  <a:gd name="T88" fmla="*/ 166 w 436"/>
                  <a:gd name="T89" fmla="*/ 678 h 716"/>
                  <a:gd name="T90" fmla="*/ 156 w 436"/>
                  <a:gd name="T91" fmla="*/ 668 h 716"/>
                  <a:gd name="T92" fmla="*/ 148 w 436"/>
                  <a:gd name="T93" fmla="*/ 656 h 716"/>
                  <a:gd name="T94" fmla="*/ 142 w 436"/>
                  <a:gd name="T95" fmla="*/ 644 h 716"/>
                  <a:gd name="T96" fmla="*/ 136 w 436"/>
                  <a:gd name="T97" fmla="*/ 632 h 716"/>
                  <a:gd name="T98" fmla="*/ 130 w 436"/>
                  <a:gd name="T99" fmla="*/ 618 h 716"/>
                  <a:gd name="T100" fmla="*/ 128 w 436"/>
                  <a:gd name="T101" fmla="*/ 604 h 716"/>
                  <a:gd name="T102" fmla="*/ 126 w 436"/>
                  <a:gd name="T103" fmla="*/ 588 h 716"/>
                  <a:gd name="T104" fmla="*/ 124 w 436"/>
                  <a:gd name="T105" fmla="*/ 572 h 716"/>
                  <a:gd name="T106" fmla="*/ 124 w 436"/>
                  <a:gd name="T107" fmla="*/ 57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6" h="716">
                    <a:moveTo>
                      <a:pt x="124" y="572"/>
                    </a:moveTo>
                    <a:lnTo>
                      <a:pt x="124" y="272"/>
                    </a:lnTo>
                    <a:lnTo>
                      <a:pt x="0" y="272"/>
                    </a:lnTo>
                    <a:lnTo>
                      <a:pt x="28" y="166"/>
                    </a:lnTo>
                    <a:lnTo>
                      <a:pt x="124" y="166"/>
                    </a:lnTo>
                    <a:lnTo>
                      <a:pt x="124" y="40"/>
                    </a:lnTo>
                    <a:lnTo>
                      <a:pt x="260" y="0"/>
                    </a:lnTo>
                    <a:lnTo>
                      <a:pt x="260" y="166"/>
                    </a:lnTo>
                    <a:lnTo>
                      <a:pt x="424" y="166"/>
                    </a:lnTo>
                    <a:lnTo>
                      <a:pt x="390" y="272"/>
                    </a:lnTo>
                    <a:lnTo>
                      <a:pt x="260" y="272"/>
                    </a:lnTo>
                    <a:lnTo>
                      <a:pt x="260" y="538"/>
                    </a:lnTo>
                    <a:lnTo>
                      <a:pt x="260" y="538"/>
                    </a:lnTo>
                    <a:lnTo>
                      <a:pt x="262" y="556"/>
                    </a:lnTo>
                    <a:lnTo>
                      <a:pt x="264" y="570"/>
                    </a:lnTo>
                    <a:lnTo>
                      <a:pt x="268" y="582"/>
                    </a:lnTo>
                    <a:lnTo>
                      <a:pt x="274" y="592"/>
                    </a:lnTo>
                    <a:lnTo>
                      <a:pt x="280" y="598"/>
                    </a:lnTo>
                    <a:lnTo>
                      <a:pt x="290" y="604"/>
                    </a:lnTo>
                    <a:lnTo>
                      <a:pt x="300" y="606"/>
                    </a:lnTo>
                    <a:lnTo>
                      <a:pt x="312" y="606"/>
                    </a:lnTo>
                    <a:lnTo>
                      <a:pt x="312" y="606"/>
                    </a:lnTo>
                    <a:lnTo>
                      <a:pt x="336" y="604"/>
                    </a:lnTo>
                    <a:lnTo>
                      <a:pt x="358" y="598"/>
                    </a:lnTo>
                    <a:lnTo>
                      <a:pt x="378" y="590"/>
                    </a:lnTo>
                    <a:lnTo>
                      <a:pt x="394" y="580"/>
                    </a:lnTo>
                    <a:lnTo>
                      <a:pt x="436" y="674"/>
                    </a:lnTo>
                    <a:lnTo>
                      <a:pt x="436" y="674"/>
                    </a:lnTo>
                    <a:lnTo>
                      <a:pt x="420" y="684"/>
                    </a:lnTo>
                    <a:lnTo>
                      <a:pt x="402" y="692"/>
                    </a:lnTo>
                    <a:lnTo>
                      <a:pt x="384" y="698"/>
                    </a:lnTo>
                    <a:lnTo>
                      <a:pt x="362" y="704"/>
                    </a:lnTo>
                    <a:lnTo>
                      <a:pt x="342" y="710"/>
                    </a:lnTo>
                    <a:lnTo>
                      <a:pt x="320" y="714"/>
                    </a:lnTo>
                    <a:lnTo>
                      <a:pt x="300" y="716"/>
                    </a:lnTo>
                    <a:lnTo>
                      <a:pt x="278" y="716"/>
                    </a:lnTo>
                    <a:lnTo>
                      <a:pt x="278" y="716"/>
                    </a:lnTo>
                    <a:lnTo>
                      <a:pt x="260" y="716"/>
                    </a:lnTo>
                    <a:lnTo>
                      <a:pt x="244" y="714"/>
                    </a:lnTo>
                    <a:lnTo>
                      <a:pt x="228" y="710"/>
                    </a:lnTo>
                    <a:lnTo>
                      <a:pt x="214" y="706"/>
                    </a:lnTo>
                    <a:lnTo>
                      <a:pt x="200" y="700"/>
                    </a:lnTo>
                    <a:lnTo>
                      <a:pt x="188" y="694"/>
                    </a:lnTo>
                    <a:lnTo>
                      <a:pt x="176" y="686"/>
                    </a:lnTo>
                    <a:lnTo>
                      <a:pt x="166" y="678"/>
                    </a:lnTo>
                    <a:lnTo>
                      <a:pt x="156" y="668"/>
                    </a:lnTo>
                    <a:lnTo>
                      <a:pt x="148" y="656"/>
                    </a:lnTo>
                    <a:lnTo>
                      <a:pt x="142" y="644"/>
                    </a:lnTo>
                    <a:lnTo>
                      <a:pt x="136" y="632"/>
                    </a:lnTo>
                    <a:lnTo>
                      <a:pt x="130" y="618"/>
                    </a:lnTo>
                    <a:lnTo>
                      <a:pt x="128" y="604"/>
                    </a:lnTo>
                    <a:lnTo>
                      <a:pt x="126" y="588"/>
                    </a:lnTo>
                    <a:lnTo>
                      <a:pt x="124" y="572"/>
                    </a:lnTo>
                    <a:lnTo>
                      <a:pt x="124" y="5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25"/>
              <p:cNvSpPr>
                <a:spLocks/>
              </p:cNvSpPr>
              <p:nvPr/>
            </p:nvSpPr>
            <p:spPr bwMode="auto">
              <a:xfrm>
                <a:off x="8254227" y="4517918"/>
                <a:ext cx="47345" cy="58558"/>
              </a:xfrm>
              <a:custGeom>
                <a:avLst/>
                <a:gdLst>
                  <a:gd name="T0" fmla="*/ 0 w 456"/>
                  <a:gd name="T1" fmla="*/ 288 h 564"/>
                  <a:gd name="T2" fmla="*/ 4 w 456"/>
                  <a:gd name="T3" fmla="*/ 226 h 564"/>
                  <a:gd name="T4" fmla="*/ 22 w 456"/>
                  <a:gd name="T5" fmla="*/ 172 h 564"/>
                  <a:gd name="T6" fmla="*/ 48 w 456"/>
                  <a:gd name="T7" fmla="*/ 122 h 564"/>
                  <a:gd name="T8" fmla="*/ 82 w 456"/>
                  <a:gd name="T9" fmla="*/ 80 h 564"/>
                  <a:gd name="T10" fmla="*/ 124 w 456"/>
                  <a:gd name="T11" fmla="*/ 46 h 564"/>
                  <a:gd name="T12" fmla="*/ 172 w 456"/>
                  <a:gd name="T13" fmla="*/ 22 h 564"/>
                  <a:gd name="T14" fmla="*/ 226 w 456"/>
                  <a:gd name="T15" fmla="*/ 6 h 564"/>
                  <a:gd name="T16" fmla="*/ 284 w 456"/>
                  <a:gd name="T17" fmla="*/ 0 h 564"/>
                  <a:gd name="T18" fmla="*/ 308 w 456"/>
                  <a:gd name="T19" fmla="*/ 0 h 564"/>
                  <a:gd name="T20" fmla="*/ 352 w 456"/>
                  <a:gd name="T21" fmla="*/ 6 h 564"/>
                  <a:gd name="T22" fmla="*/ 388 w 456"/>
                  <a:gd name="T23" fmla="*/ 16 h 564"/>
                  <a:gd name="T24" fmla="*/ 428 w 456"/>
                  <a:gd name="T25" fmla="*/ 36 h 564"/>
                  <a:gd name="T26" fmla="*/ 428 w 456"/>
                  <a:gd name="T27" fmla="*/ 152 h 564"/>
                  <a:gd name="T28" fmla="*/ 400 w 456"/>
                  <a:gd name="T29" fmla="*/ 134 h 564"/>
                  <a:gd name="T30" fmla="*/ 368 w 456"/>
                  <a:gd name="T31" fmla="*/ 120 h 564"/>
                  <a:gd name="T32" fmla="*/ 336 w 456"/>
                  <a:gd name="T33" fmla="*/ 112 h 564"/>
                  <a:gd name="T34" fmla="*/ 298 w 456"/>
                  <a:gd name="T35" fmla="*/ 110 h 564"/>
                  <a:gd name="T36" fmla="*/ 280 w 456"/>
                  <a:gd name="T37" fmla="*/ 110 h 564"/>
                  <a:gd name="T38" fmla="*/ 246 w 456"/>
                  <a:gd name="T39" fmla="*/ 118 h 564"/>
                  <a:gd name="T40" fmla="*/ 216 w 456"/>
                  <a:gd name="T41" fmla="*/ 130 h 564"/>
                  <a:gd name="T42" fmla="*/ 192 w 456"/>
                  <a:gd name="T43" fmla="*/ 148 h 564"/>
                  <a:gd name="T44" fmla="*/ 170 w 456"/>
                  <a:gd name="T45" fmla="*/ 172 h 564"/>
                  <a:gd name="T46" fmla="*/ 156 w 456"/>
                  <a:gd name="T47" fmla="*/ 200 h 564"/>
                  <a:gd name="T48" fmla="*/ 144 w 456"/>
                  <a:gd name="T49" fmla="*/ 230 h 564"/>
                  <a:gd name="T50" fmla="*/ 140 w 456"/>
                  <a:gd name="T51" fmla="*/ 266 h 564"/>
                  <a:gd name="T52" fmla="*/ 138 w 456"/>
                  <a:gd name="T53" fmla="*/ 284 h 564"/>
                  <a:gd name="T54" fmla="*/ 142 w 456"/>
                  <a:gd name="T55" fmla="*/ 322 h 564"/>
                  <a:gd name="T56" fmla="*/ 150 w 456"/>
                  <a:gd name="T57" fmla="*/ 358 h 564"/>
                  <a:gd name="T58" fmla="*/ 162 w 456"/>
                  <a:gd name="T59" fmla="*/ 386 h 564"/>
                  <a:gd name="T60" fmla="*/ 180 w 456"/>
                  <a:gd name="T61" fmla="*/ 410 h 564"/>
                  <a:gd name="T62" fmla="*/ 202 w 456"/>
                  <a:gd name="T63" fmla="*/ 430 h 564"/>
                  <a:gd name="T64" fmla="*/ 228 w 456"/>
                  <a:gd name="T65" fmla="*/ 444 h 564"/>
                  <a:gd name="T66" fmla="*/ 258 w 456"/>
                  <a:gd name="T67" fmla="*/ 452 h 564"/>
                  <a:gd name="T68" fmla="*/ 292 w 456"/>
                  <a:gd name="T69" fmla="*/ 454 h 564"/>
                  <a:gd name="T70" fmla="*/ 310 w 456"/>
                  <a:gd name="T71" fmla="*/ 454 h 564"/>
                  <a:gd name="T72" fmla="*/ 342 w 456"/>
                  <a:gd name="T73" fmla="*/ 448 h 564"/>
                  <a:gd name="T74" fmla="*/ 388 w 456"/>
                  <a:gd name="T75" fmla="*/ 432 h 564"/>
                  <a:gd name="T76" fmla="*/ 456 w 456"/>
                  <a:gd name="T77" fmla="*/ 512 h 564"/>
                  <a:gd name="T78" fmla="*/ 438 w 456"/>
                  <a:gd name="T79" fmla="*/ 522 h 564"/>
                  <a:gd name="T80" fmla="*/ 398 w 456"/>
                  <a:gd name="T81" fmla="*/ 542 h 564"/>
                  <a:gd name="T82" fmla="*/ 352 w 456"/>
                  <a:gd name="T83" fmla="*/ 556 h 564"/>
                  <a:gd name="T84" fmla="*/ 300 w 456"/>
                  <a:gd name="T85" fmla="*/ 564 h 564"/>
                  <a:gd name="T86" fmla="*/ 272 w 456"/>
                  <a:gd name="T87" fmla="*/ 564 h 564"/>
                  <a:gd name="T88" fmla="*/ 210 w 456"/>
                  <a:gd name="T89" fmla="*/ 558 h 564"/>
                  <a:gd name="T90" fmla="*/ 156 w 456"/>
                  <a:gd name="T91" fmla="*/ 542 h 564"/>
                  <a:gd name="T92" fmla="*/ 108 w 456"/>
                  <a:gd name="T93" fmla="*/ 518 h 564"/>
                  <a:gd name="T94" fmla="*/ 70 w 456"/>
                  <a:gd name="T95" fmla="*/ 484 h 564"/>
                  <a:gd name="T96" fmla="*/ 40 w 456"/>
                  <a:gd name="T97" fmla="*/ 444 h 564"/>
                  <a:gd name="T98" fmla="*/ 18 w 456"/>
                  <a:gd name="T99" fmla="*/ 396 h 564"/>
                  <a:gd name="T100" fmla="*/ 4 w 456"/>
                  <a:gd name="T101" fmla="*/ 344 h 564"/>
                  <a:gd name="T102" fmla="*/ 0 w 456"/>
                  <a:gd name="T103" fmla="*/ 288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56" h="564">
                    <a:moveTo>
                      <a:pt x="0" y="288"/>
                    </a:moveTo>
                    <a:lnTo>
                      <a:pt x="0" y="288"/>
                    </a:lnTo>
                    <a:lnTo>
                      <a:pt x="0" y="256"/>
                    </a:lnTo>
                    <a:lnTo>
                      <a:pt x="4" y="226"/>
                    </a:lnTo>
                    <a:lnTo>
                      <a:pt x="12" y="198"/>
                    </a:lnTo>
                    <a:lnTo>
                      <a:pt x="22" y="172"/>
                    </a:lnTo>
                    <a:lnTo>
                      <a:pt x="32" y="146"/>
                    </a:lnTo>
                    <a:lnTo>
                      <a:pt x="48" y="122"/>
                    </a:lnTo>
                    <a:lnTo>
                      <a:pt x="64" y="100"/>
                    </a:lnTo>
                    <a:lnTo>
                      <a:pt x="82" y="80"/>
                    </a:lnTo>
                    <a:lnTo>
                      <a:pt x="102" y="62"/>
                    </a:lnTo>
                    <a:lnTo>
                      <a:pt x="124" y="46"/>
                    </a:lnTo>
                    <a:lnTo>
                      <a:pt x="146" y="32"/>
                    </a:lnTo>
                    <a:lnTo>
                      <a:pt x="172" y="22"/>
                    </a:lnTo>
                    <a:lnTo>
                      <a:pt x="198" y="12"/>
                    </a:lnTo>
                    <a:lnTo>
                      <a:pt x="226" y="6"/>
                    </a:lnTo>
                    <a:lnTo>
                      <a:pt x="254" y="2"/>
                    </a:lnTo>
                    <a:lnTo>
                      <a:pt x="284" y="0"/>
                    </a:lnTo>
                    <a:lnTo>
                      <a:pt x="284" y="0"/>
                    </a:lnTo>
                    <a:lnTo>
                      <a:pt x="308" y="0"/>
                    </a:lnTo>
                    <a:lnTo>
                      <a:pt x="332" y="4"/>
                    </a:lnTo>
                    <a:lnTo>
                      <a:pt x="352" y="6"/>
                    </a:lnTo>
                    <a:lnTo>
                      <a:pt x="372" y="12"/>
                    </a:lnTo>
                    <a:lnTo>
                      <a:pt x="388" y="16"/>
                    </a:lnTo>
                    <a:lnTo>
                      <a:pt x="404" y="24"/>
                    </a:lnTo>
                    <a:lnTo>
                      <a:pt x="428" y="36"/>
                    </a:lnTo>
                    <a:lnTo>
                      <a:pt x="428" y="152"/>
                    </a:lnTo>
                    <a:lnTo>
                      <a:pt x="428" y="152"/>
                    </a:lnTo>
                    <a:lnTo>
                      <a:pt x="414" y="142"/>
                    </a:lnTo>
                    <a:lnTo>
                      <a:pt x="400" y="134"/>
                    </a:lnTo>
                    <a:lnTo>
                      <a:pt x="384" y="126"/>
                    </a:lnTo>
                    <a:lnTo>
                      <a:pt x="368" y="120"/>
                    </a:lnTo>
                    <a:lnTo>
                      <a:pt x="352" y="116"/>
                    </a:lnTo>
                    <a:lnTo>
                      <a:pt x="336" y="112"/>
                    </a:lnTo>
                    <a:lnTo>
                      <a:pt x="316" y="110"/>
                    </a:lnTo>
                    <a:lnTo>
                      <a:pt x="298" y="110"/>
                    </a:lnTo>
                    <a:lnTo>
                      <a:pt x="298" y="110"/>
                    </a:lnTo>
                    <a:lnTo>
                      <a:pt x="280" y="110"/>
                    </a:lnTo>
                    <a:lnTo>
                      <a:pt x="262" y="112"/>
                    </a:lnTo>
                    <a:lnTo>
                      <a:pt x="246" y="118"/>
                    </a:lnTo>
                    <a:lnTo>
                      <a:pt x="230" y="122"/>
                    </a:lnTo>
                    <a:lnTo>
                      <a:pt x="216" y="130"/>
                    </a:lnTo>
                    <a:lnTo>
                      <a:pt x="204" y="138"/>
                    </a:lnTo>
                    <a:lnTo>
                      <a:pt x="192" y="148"/>
                    </a:lnTo>
                    <a:lnTo>
                      <a:pt x="180" y="160"/>
                    </a:lnTo>
                    <a:lnTo>
                      <a:pt x="170" y="172"/>
                    </a:lnTo>
                    <a:lnTo>
                      <a:pt x="162" y="186"/>
                    </a:lnTo>
                    <a:lnTo>
                      <a:pt x="156" y="200"/>
                    </a:lnTo>
                    <a:lnTo>
                      <a:pt x="150" y="214"/>
                    </a:lnTo>
                    <a:lnTo>
                      <a:pt x="144" y="230"/>
                    </a:lnTo>
                    <a:lnTo>
                      <a:pt x="142" y="248"/>
                    </a:lnTo>
                    <a:lnTo>
                      <a:pt x="140" y="266"/>
                    </a:lnTo>
                    <a:lnTo>
                      <a:pt x="138" y="284"/>
                    </a:lnTo>
                    <a:lnTo>
                      <a:pt x="138" y="284"/>
                    </a:lnTo>
                    <a:lnTo>
                      <a:pt x="140" y="304"/>
                    </a:lnTo>
                    <a:lnTo>
                      <a:pt x="142" y="322"/>
                    </a:lnTo>
                    <a:lnTo>
                      <a:pt x="144" y="340"/>
                    </a:lnTo>
                    <a:lnTo>
                      <a:pt x="150" y="358"/>
                    </a:lnTo>
                    <a:lnTo>
                      <a:pt x="156" y="372"/>
                    </a:lnTo>
                    <a:lnTo>
                      <a:pt x="162" y="386"/>
                    </a:lnTo>
                    <a:lnTo>
                      <a:pt x="170" y="400"/>
                    </a:lnTo>
                    <a:lnTo>
                      <a:pt x="180" y="410"/>
                    </a:lnTo>
                    <a:lnTo>
                      <a:pt x="190" y="420"/>
                    </a:lnTo>
                    <a:lnTo>
                      <a:pt x="202" y="430"/>
                    </a:lnTo>
                    <a:lnTo>
                      <a:pt x="214" y="438"/>
                    </a:lnTo>
                    <a:lnTo>
                      <a:pt x="228" y="444"/>
                    </a:lnTo>
                    <a:lnTo>
                      <a:pt x="242" y="448"/>
                    </a:lnTo>
                    <a:lnTo>
                      <a:pt x="258" y="452"/>
                    </a:lnTo>
                    <a:lnTo>
                      <a:pt x="274" y="454"/>
                    </a:lnTo>
                    <a:lnTo>
                      <a:pt x="292" y="454"/>
                    </a:lnTo>
                    <a:lnTo>
                      <a:pt x="292" y="454"/>
                    </a:lnTo>
                    <a:lnTo>
                      <a:pt x="310" y="454"/>
                    </a:lnTo>
                    <a:lnTo>
                      <a:pt x="326" y="452"/>
                    </a:lnTo>
                    <a:lnTo>
                      <a:pt x="342" y="448"/>
                    </a:lnTo>
                    <a:lnTo>
                      <a:pt x="358" y="444"/>
                    </a:lnTo>
                    <a:lnTo>
                      <a:pt x="388" y="432"/>
                    </a:lnTo>
                    <a:lnTo>
                      <a:pt x="416" y="418"/>
                    </a:lnTo>
                    <a:lnTo>
                      <a:pt x="456" y="512"/>
                    </a:lnTo>
                    <a:lnTo>
                      <a:pt x="456" y="512"/>
                    </a:lnTo>
                    <a:lnTo>
                      <a:pt x="438" y="522"/>
                    </a:lnTo>
                    <a:lnTo>
                      <a:pt x="420" y="532"/>
                    </a:lnTo>
                    <a:lnTo>
                      <a:pt x="398" y="542"/>
                    </a:lnTo>
                    <a:lnTo>
                      <a:pt x="376" y="550"/>
                    </a:lnTo>
                    <a:lnTo>
                      <a:pt x="352" y="556"/>
                    </a:lnTo>
                    <a:lnTo>
                      <a:pt x="326" y="560"/>
                    </a:lnTo>
                    <a:lnTo>
                      <a:pt x="300" y="564"/>
                    </a:lnTo>
                    <a:lnTo>
                      <a:pt x="272" y="564"/>
                    </a:lnTo>
                    <a:lnTo>
                      <a:pt x="272" y="564"/>
                    </a:lnTo>
                    <a:lnTo>
                      <a:pt x="240" y="562"/>
                    </a:lnTo>
                    <a:lnTo>
                      <a:pt x="210" y="558"/>
                    </a:lnTo>
                    <a:lnTo>
                      <a:pt x="182" y="552"/>
                    </a:lnTo>
                    <a:lnTo>
                      <a:pt x="156" y="542"/>
                    </a:lnTo>
                    <a:lnTo>
                      <a:pt x="130" y="532"/>
                    </a:lnTo>
                    <a:lnTo>
                      <a:pt x="108" y="518"/>
                    </a:lnTo>
                    <a:lnTo>
                      <a:pt x="88" y="502"/>
                    </a:lnTo>
                    <a:lnTo>
                      <a:pt x="70" y="484"/>
                    </a:lnTo>
                    <a:lnTo>
                      <a:pt x="54" y="464"/>
                    </a:lnTo>
                    <a:lnTo>
                      <a:pt x="40" y="444"/>
                    </a:lnTo>
                    <a:lnTo>
                      <a:pt x="28" y="420"/>
                    </a:lnTo>
                    <a:lnTo>
                      <a:pt x="18" y="396"/>
                    </a:lnTo>
                    <a:lnTo>
                      <a:pt x="10" y="370"/>
                    </a:lnTo>
                    <a:lnTo>
                      <a:pt x="4" y="344"/>
                    </a:lnTo>
                    <a:lnTo>
                      <a:pt x="0" y="316"/>
                    </a:lnTo>
                    <a:lnTo>
                      <a:pt x="0" y="288"/>
                    </a:lnTo>
                    <a:lnTo>
                      <a:pt x="0"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26"/>
              <p:cNvSpPr>
                <a:spLocks/>
              </p:cNvSpPr>
              <p:nvPr/>
            </p:nvSpPr>
            <p:spPr bwMode="auto">
              <a:xfrm>
                <a:off x="8304894" y="4517918"/>
                <a:ext cx="43400" cy="58558"/>
              </a:xfrm>
              <a:custGeom>
                <a:avLst/>
                <a:gdLst>
                  <a:gd name="T0" fmla="*/ 58 w 418"/>
                  <a:gd name="T1" fmla="*/ 422 h 564"/>
                  <a:gd name="T2" fmla="*/ 112 w 418"/>
                  <a:gd name="T3" fmla="*/ 444 h 564"/>
                  <a:gd name="T4" fmla="*/ 170 w 418"/>
                  <a:gd name="T5" fmla="*/ 456 h 564"/>
                  <a:gd name="T6" fmla="*/ 210 w 418"/>
                  <a:gd name="T7" fmla="*/ 456 h 564"/>
                  <a:gd name="T8" fmla="*/ 258 w 418"/>
                  <a:gd name="T9" fmla="*/ 444 h 564"/>
                  <a:gd name="T10" fmla="*/ 282 w 418"/>
                  <a:gd name="T11" fmla="*/ 414 h 564"/>
                  <a:gd name="T12" fmla="*/ 284 w 418"/>
                  <a:gd name="T13" fmla="*/ 392 h 564"/>
                  <a:gd name="T14" fmla="*/ 274 w 418"/>
                  <a:gd name="T15" fmla="*/ 372 h 564"/>
                  <a:gd name="T16" fmla="*/ 226 w 418"/>
                  <a:gd name="T17" fmla="*/ 340 h 564"/>
                  <a:gd name="T18" fmla="*/ 134 w 418"/>
                  <a:gd name="T19" fmla="*/ 304 h 564"/>
                  <a:gd name="T20" fmla="*/ 72 w 418"/>
                  <a:gd name="T21" fmla="*/ 264 h 564"/>
                  <a:gd name="T22" fmla="*/ 48 w 418"/>
                  <a:gd name="T23" fmla="*/ 232 h 564"/>
                  <a:gd name="T24" fmla="*/ 34 w 418"/>
                  <a:gd name="T25" fmla="*/ 194 h 564"/>
                  <a:gd name="T26" fmla="*/ 32 w 418"/>
                  <a:gd name="T27" fmla="*/ 162 h 564"/>
                  <a:gd name="T28" fmla="*/ 40 w 418"/>
                  <a:gd name="T29" fmla="*/ 112 h 564"/>
                  <a:gd name="T30" fmla="*/ 62 w 418"/>
                  <a:gd name="T31" fmla="*/ 70 h 564"/>
                  <a:gd name="T32" fmla="*/ 100 w 418"/>
                  <a:gd name="T33" fmla="*/ 36 h 564"/>
                  <a:gd name="T34" fmla="*/ 150 w 418"/>
                  <a:gd name="T35" fmla="*/ 12 h 564"/>
                  <a:gd name="T36" fmla="*/ 212 w 418"/>
                  <a:gd name="T37" fmla="*/ 0 h 564"/>
                  <a:gd name="T38" fmla="*/ 280 w 418"/>
                  <a:gd name="T39" fmla="*/ 2 h 564"/>
                  <a:gd name="T40" fmla="*/ 394 w 418"/>
                  <a:gd name="T41" fmla="*/ 26 h 564"/>
                  <a:gd name="T42" fmla="*/ 358 w 418"/>
                  <a:gd name="T43" fmla="*/ 128 h 564"/>
                  <a:gd name="T44" fmla="*/ 262 w 418"/>
                  <a:gd name="T45" fmla="*/ 108 h 564"/>
                  <a:gd name="T46" fmla="*/ 224 w 418"/>
                  <a:gd name="T47" fmla="*/ 108 h 564"/>
                  <a:gd name="T48" fmla="*/ 186 w 418"/>
                  <a:gd name="T49" fmla="*/ 118 h 564"/>
                  <a:gd name="T50" fmla="*/ 166 w 418"/>
                  <a:gd name="T51" fmla="*/ 144 h 564"/>
                  <a:gd name="T52" fmla="*/ 166 w 418"/>
                  <a:gd name="T53" fmla="*/ 164 h 564"/>
                  <a:gd name="T54" fmla="*/ 176 w 418"/>
                  <a:gd name="T55" fmla="*/ 184 h 564"/>
                  <a:gd name="T56" fmla="*/ 224 w 418"/>
                  <a:gd name="T57" fmla="*/ 212 h 564"/>
                  <a:gd name="T58" fmla="*/ 314 w 418"/>
                  <a:gd name="T59" fmla="*/ 248 h 564"/>
                  <a:gd name="T60" fmla="*/ 378 w 418"/>
                  <a:gd name="T61" fmla="*/ 292 h 564"/>
                  <a:gd name="T62" fmla="*/ 402 w 418"/>
                  <a:gd name="T63" fmla="*/ 324 h 564"/>
                  <a:gd name="T64" fmla="*/ 414 w 418"/>
                  <a:gd name="T65" fmla="*/ 364 h 564"/>
                  <a:gd name="T66" fmla="*/ 418 w 418"/>
                  <a:gd name="T67" fmla="*/ 396 h 564"/>
                  <a:gd name="T68" fmla="*/ 408 w 418"/>
                  <a:gd name="T69" fmla="*/ 456 h 564"/>
                  <a:gd name="T70" fmla="*/ 380 w 418"/>
                  <a:gd name="T71" fmla="*/ 502 h 564"/>
                  <a:gd name="T72" fmla="*/ 336 w 418"/>
                  <a:gd name="T73" fmla="*/ 534 h 564"/>
                  <a:gd name="T74" fmla="*/ 282 w 418"/>
                  <a:gd name="T75" fmla="*/ 554 h 564"/>
                  <a:gd name="T76" fmla="*/ 220 w 418"/>
                  <a:gd name="T77" fmla="*/ 564 h 564"/>
                  <a:gd name="T78" fmla="*/ 168 w 418"/>
                  <a:gd name="T79" fmla="*/ 562 h 564"/>
                  <a:gd name="T80" fmla="*/ 84 w 418"/>
                  <a:gd name="T81" fmla="*/ 548 h 564"/>
                  <a:gd name="T82" fmla="*/ 18 w 418"/>
                  <a:gd name="T83" fmla="*/ 522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8" h="564">
                    <a:moveTo>
                      <a:pt x="42" y="412"/>
                    </a:moveTo>
                    <a:lnTo>
                      <a:pt x="42" y="412"/>
                    </a:lnTo>
                    <a:lnTo>
                      <a:pt x="58" y="422"/>
                    </a:lnTo>
                    <a:lnTo>
                      <a:pt x="76" y="430"/>
                    </a:lnTo>
                    <a:lnTo>
                      <a:pt x="94" y="438"/>
                    </a:lnTo>
                    <a:lnTo>
                      <a:pt x="112" y="444"/>
                    </a:lnTo>
                    <a:lnTo>
                      <a:pt x="130" y="450"/>
                    </a:lnTo>
                    <a:lnTo>
                      <a:pt x="150" y="454"/>
                    </a:lnTo>
                    <a:lnTo>
                      <a:pt x="170" y="456"/>
                    </a:lnTo>
                    <a:lnTo>
                      <a:pt x="190" y="456"/>
                    </a:lnTo>
                    <a:lnTo>
                      <a:pt x="190" y="456"/>
                    </a:lnTo>
                    <a:lnTo>
                      <a:pt x="210" y="456"/>
                    </a:lnTo>
                    <a:lnTo>
                      <a:pt x="228" y="454"/>
                    </a:lnTo>
                    <a:lnTo>
                      <a:pt x="244" y="450"/>
                    </a:lnTo>
                    <a:lnTo>
                      <a:pt x="258" y="444"/>
                    </a:lnTo>
                    <a:lnTo>
                      <a:pt x="268" y="436"/>
                    </a:lnTo>
                    <a:lnTo>
                      <a:pt x="278" y="426"/>
                    </a:lnTo>
                    <a:lnTo>
                      <a:pt x="282" y="414"/>
                    </a:lnTo>
                    <a:lnTo>
                      <a:pt x="284" y="400"/>
                    </a:lnTo>
                    <a:lnTo>
                      <a:pt x="284" y="400"/>
                    </a:lnTo>
                    <a:lnTo>
                      <a:pt x="284" y="392"/>
                    </a:lnTo>
                    <a:lnTo>
                      <a:pt x="282" y="384"/>
                    </a:lnTo>
                    <a:lnTo>
                      <a:pt x="278" y="378"/>
                    </a:lnTo>
                    <a:lnTo>
                      <a:pt x="274" y="372"/>
                    </a:lnTo>
                    <a:lnTo>
                      <a:pt x="262" y="360"/>
                    </a:lnTo>
                    <a:lnTo>
                      <a:pt x="244" y="350"/>
                    </a:lnTo>
                    <a:lnTo>
                      <a:pt x="226" y="340"/>
                    </a:lnTo>
                    <a:lnTo>
                      <a:pt x="204" y="332"/>
                    </a:lnTo>
                    <a:lnTo>
                      <a:pt x="158" y="314"/>
                    </a:lnTo>
                    <a:lnTo>
                      <a:pt x="134" y="304"/>
                    </a:lnTo>
                    <a:lnTo>
                      <a:pt x="112" y="294"/>
                    </a:lnTo>
                    <a:lnTo>
                      <a:pt x="90" y="280"/>
                    </a:lnTo>
                    <a:lnTo>
                      <a:pt x="72" y="264"/>
                    </a:lnTo>
                    <a:lnTo>
                      <a:pt x="62" y="254"/>
                    </a:lnTo>
                    <a:lnTo>
                      <a:pt x="54" y="244"/>
                    </a:lnTo>
                    <a:lnTo>
                      <a:pt x="48" y="232"/>
                    </a:lnTo>
                    <a:lnTo>
                      <a:pt x="42" y="222"/>
                    </a:lnTo>
                    <a:lnTo>
                      <a:pt x="38" y="208"/>
                    </a:lnTo>
                    <a:lnTo>
                      <a:pt x="34" y="194"/>
                    </a:lnTo>
                    <a:lnTo>
                      <a:pt x="32" y="180"/>
                    </a:lnTo>
                    <a:lnTo>
                      <a:pt x="32" y="162"/>
                    </a:lnTo>
                    <a:lnTo>
                      <a:pt x="32" y="162"/>
                    </a:lnTo>
                    <a:lnTo>
                      <a:pt x="32" y="146"/>
                    </a:lnTo>
                    <a:lnTo>
                      <a:pt x="36" y="128"/>
                    </a:lnTo>
                    <a:lnTo>
                      <a:pt x="40" y="112"/>
                    </a:lnTo>
                    <a:lnTo>
                      <a:pt x="46" y="98"/>
                    </a:lnTo>
                    <a:lnTo>
                      <a:pt x="54" y="82"/>
                    </a:lnTo>
                    <a:lnTo>
                      <a:pt x="62" y="70"/>
                    </a:lnTo>
                    <a:lnTo>
                      <a:pt x="74" y="56"/>
                    </a:lnTo>
                    <a:lnTo>
                      <a:pt x="86" y="46"/>
                    </a:lnTo>
                    <a:lnTo>
                      <a:pt x="100" y="36"/>
                    </a:lnTo>
                    <a:lnTo>
                      <a:pt x="116" y="26"/>
                    </a:lnTo>
                    <a:lnTo>
                      <a:pt x="132" y="18"/>
                    </a:lnTo>
                    <a:lnTo>
                      <a:pt x="150" y="12"/>
                    </a:lnTo>
                    <a:lnTo>
                      <a:pt x="170" y="6"/>
                    </a:lnTo>
                    <a:lnTo>
                      <a:pt x="190" y="4"/>
                    </a:lnTo>
                    <a:lnTo>
                      <a:pt x="212" y="0"/>
                    </a:lnTo>
                    <a:lnTo>
                      <a:pt x="236" y="0"/>
                    </a:lnTo>
                    <a:lnTo>
                      <a:pt x="236" y="0"/>
                    </a:lnTo>
                    <a:lnTo>
                      <a:pt x="280" y="2"/>
                    </a:lnTo>
                    <a:lnTo>
                      <a:pt x="320" y="8"/>
                    </a:lnTo>
                    <a:lnTo>
                      <a:pt x="358" y="16"/>
                    </a:lnTo>
                    <a:lnTo>
                      <a:pt x="394" y="26"/>
                    </a:lnTo>
                    <a:lnTo>
                      <a:pt x="394" y="142"/>
                    </a:lnTo>
                    <a:lnTo>
                      <a:pt x="394" y="142"/>
                    </a:lnTo>
                    <a:lnTo>
                      <a:pt x="358" y="128"/>
                    </a:lnTo>
                    <a:lnTo>
                      <a:pt x="322" y="116"/>
                    </a:lnTo>
                    <a:lnTo>
                      <a:pt x="282" y="110"/>
                    </a:lnTo>
                    <a:lnTo>
                      <a:pt x="262" y="108"/>
                    </a:lnTo>
                    <a:lnTo>
                      <a:pt x="242" y="108"/>
                    </a:lnTo>
                    <a:lnTo>
                      <a:pt x="242" y="108"/>
                    </a:lnTo>
                    <a:lnTo>
                      <a:pt x="224" y="108"/>
                    </a:lnTo>
                    <a:lnTo>
                      <a:pt x="210" y="110"/>
                    </a:lnTo>
                    <a:lnTo>
                      <a:pt x="198" y="114"/>
                    </a:lnTo>
                    <a:lnTo>
                      <a:pt x="186" y="118"/>
                    </a:lnTo>
                    <a:lnTo>
                      <a:pt x="176" y="126"/>
                    </a:lnTo>
                    <a:lnTo>
                      <a:pt x="170" y="134"/>
                    </a:lnTo>
                    <a:lnTo>
                      <a:pt x="166" y="144"/>
                    </a:lnTo>
                    <a:lnTo>
                      <a:pt x="164" y="156"/>
                    </a:lnTo>
                    <a:lnTo>
                      <a:pt x="164" y="156"/>
                    </a:lnTo>
                    <a:lnTo>
                      <a:pt x="166" y="164"/>
                    </a:lnTo>
                    <a:lnTo>
                      <a:pt x="168" y="170"/>
                    </a:lnTo>
                    <a:lnTo>
                      <a:pt x="172" y="178"/>
                    </a:lnTo>
                    <a:lnTo>
                      <a:pt x="176" y="184"/>
                    </a:lnTo>
                    <a:lnTo>
                      <a:pt x="188" y="194"/>
                    </a:lnTo>
                    <a:lnTo>
                      <a:pt x="204" y="204"/>
                    </a:lnTo>
                    <a:lnTo>
                      <a:pt x="224" y="212"/>
                    </a:lnTo>
                    <a:lnTo>
                      <a:pt x="244" y="220"/>
                    </a:lnTo>
                    <a:lnTo>
                      <a:pt x="292" y="238"/>
                    </a:lnTo>
                    <a:lnTo>
                      <a:pt x="314" y="248"/>
                    </a:lnTo>
                    <a:lnTo>
                      <a:pt x="338" y="260"/>
                    </a:lnTo>
                    <a:lnTo>
                      <a:pt x="360" y="274"/>
                    </a:lnTo>
                    <a:lnTo>
                      <a:pt x="378" y="292"/>
                    </a:lnTo>
                    <a:lnTo>
                      <a:pt x="386" y="302"/>
                    </a:lnTo>
                    <a:lnTo>
                      <a:pt x="394" y="312"/>
                    </a:lnTo>
                    <a:lnTo>
                      <a:pt x="402" y="324"/>
                    </a:lnTo>
                    <a:lnTo>
                      <a:pt x="406" y="336"/>
                    </a:lnTo>
                    <a:lnTo>
                      <a:pt x="412" y="350"/>
                    </a:lnTo>
                    <a:lnTo>
                      <a:pt x="414" y="364"/>
                    </a:lnTo>
                    <a:lnTo>
                      <a:pt x="418" y="380"/>
                    </a:lnTo>
                    <a:lnTo>
                      <a:pt x="418" y="396"/>
                    </a:lnTo>
                    <a:lnTo>
                      <a:pt x="418" y="396"/>
                    </a:lnTo>
                    <a:lnTo>
                      <a:pt x="416" y="418"/>
                    </a:lnTo>
                    <a:lnTo>
                      <a:pt x="414" y="438"/>
                    </a:lnTo>
                    <a:lnTo>
                      <a:pt x="408" y="456"/>
                    </a:lnTo>
                    <a:lnTo>
                      <a:pt x="400" y="472"/>
                    </a:lnTo>
                    <a:lnTo>
                      <a:pt x="390" y="488"/>
                    </a:lnTo>
                    <a:lnTo>
                      <a:pt x="380" y="502"/>
                    </a:lnTo>
                    <a:lnTo>
                      <a:pt x="366" y="514"/>
                    </a:lnTo>
                    <a:lnTo>
                      <a:pt x="352" y="524"/>
                    </a:lnTo>
                    <a:lnTo>
                      <a:pt x="336" y="534"/>
                    </a:lnTo>
                    <a:lnTo>
                      <a:pt x="320" y="542"/>
                    </a:lnTo>
                    <a:lnTo>
                      <a:pt x="302" y="550"/>
                    </a:lnTo>
                    <a:lnTo>
                      <a:pt x="282" y="554"/>
                    </a:lnTo>
                    <a:lnTo>
                      <a:pt x="262" y="558"/>
                    </a:lnTo>
                    <a:lnTo>
                      <a:pt x="242" y="562"/>
                    </a:lnTo>
                    <a:lnTo>
                      <a:pt x="220" y="564"/>
                    </a:lnTo>
                    <a:lnTo>
                      <a:pt x="200" y="564"/>
                    </a:lnTo>
                    <a:lnTo>
                      <a:pt x="200" y="564"/>
                    </a:lnTo>
                    <a:lnTo>
                      <a:pt x="168" y="562"/>
                    </a:lnTo>
                    <a:lnTo>
                      <a:pt x="138" y="560"/>
                    </a:lnTo>
                    <a:lnTo>
                      <a:pt x="110" y="554"/>
                    </a:lnTo>
                    <a:lnTo>
                      <a:pt x="84" y="548"/>
                    </a:lnTo>
                    <a:lnTo>
                      <a:pt x="60" y="540"/>
                    </a:lnTo>
                    <a:lnTo>
                      <a:pt x="38" y="532"/>
                    </a:lnTo>
                    <a:lnTo>
                      <a:pt x="18" y="522"/>
                    </a:lnTo>
                    <a:lnTo>
                      <a:pt x="0" y="512"/>
                    </a:lnTo>
                    <a:lnTo>
                      <a:pt x="42" y="4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 name="Freeform 27"/>
              <p:cNvSpPr>
                <a:spLocks noEditPoints="1"/>
              </p:cNvSpPr>
              <p:nvPr/>
            </p:nvSpPr>
            <p:spPr bwMode="auto">
              <a:xfrm>
                <a:off x="8230347" y="4493623"/>
                <a:ext cx="17443" cy="81608"/>
              </a:xfrm>
              <a:custGeom>
                <a:avLst/>
                <a:gdLst>
                  <a:gd name="T0" fmla="*/ 84 w 168"/>
                  <a:gd name="T1" fmla="*/ 162 h 786"/>
                  <a:gd name="T2" fmla="*/ 84 w 168"/>
                  <a:gd name="T3" fmla="*/ 162 h 786"/>
                  <a:gd name="T4" fmla="*/ 68 w 168"/>
                  <a:gd name="T5" fmla="*/ 160 h 786"/>
                  <a:gd name="T6" fmla="*/ 52 w 168"/>
                  <a:gd name="T7" fmla="*/ 156 h 786"/>
                  <a:gd name="T8" fmla="*/ 38 w 168"/>
                  <a:gd name="T9" fmla="*/ 148 h 786"/>
                  <a:gd name="T10" fmla="*/ 26 w 168"/>
                  <a:gd name="T11" fmla="*/ 138 h 786"/>
                  <a:gd name="T12" fmla="*/ 14 w 168"/>
                  <a:gd name="T13" fmla="*/ 126 h 786"/>
                  <a:gd name="T14" fmla="*/ 8 w 168"/>
                  <a:gd name="T15" fmla="*/ 112 h 786"/>
                  <a:gd name="T16" fmla="*/ 2 w 168"/>
                  <a:gd name="T17" fmla="*/ 98 h 786"/>
                  <a:gd name="T18" fmla="*/ 0 w 168"/>
                  <a:gd name="T19" fmla="*/ 80 h 786"/>
                  <a:gd name="T20" fmla="*/ 0 w 168"/>
                  <a:gd name="T21" fmla="*/ 80 h 786"/>
                  <a:gd name="T22" fmla="*/ 2 w 168"/>
                  <a:gd name="T23" fmla="*/ 64 h 786"/>
                  <a:gd name="T24" fmla="*/ 8 w 168"/>
                  <a:gd name="T25" fmla="*/ 50 h 786"/>
                  <a:gd name="T26" fmla="*/ 14 w 168"/>
                  <a:gd name="T27" fmla="*/ 36 h 786"/>
                  <a:gd name="T28" fmla="*/ 26 w 168"/>
                  <a:gd name="T29" fmla="*/ 24 h 786"/>
                  <a:gd name="T30" fmla="*/ 38 w 168"/>
                  <a:gd name="T31" fmla="*/ 14 h 786"/>
                  <a:gd name="T32" fmla="*/ 52 w 168"/>
                  <a:gd name="T33" fmla="*/ 6 h 786"/>
                  <a:gd name="T34" fmla="*/ 68 w 168"/>
                  <a:gd name="T35" fmla="*/ 2 h 786"/>
                  <a:gd name="T36" fmla="*/ 84 w 168"/>
                  <a:gd name="T37" fmla="*/ 0 h 786"/>
                  <a:gd name="T38" fmla="*/ 84 w 168"/>
                  <a:gd name="T39" fmla="*/ 0 h 786"/>
                  <a:gd name="T40" fmla="*/ 102 w 168"/>
                  <a:gd name="T41" fmla="*/ 2 h 786"/>
                  <a:gd name="T42" fmla="*/ 118 w 168"/>
                  <a:gd name="T43" fmla="*/ 6 h 786"/>
                  <a:gd name="T44" fmla="*/ 132 w 168"/>
                  <a:gd name="T45" fmla="*/ 14 h 786"/>
                  <a:gd name="T46" fmla="*/ 144 w 168"/>
                  <a:gd name="T47" fmla="*/ 24 h 786"/>
                  <a:gd name="T48" fmla="*/ 154 w 168"/>
                  <a:gd name="T49" fmla="*/ 36 h 786"/>
                  <a:gd name="T50" fmla="*/ 162 w 168"/>
                  <a:gd name="T51" fmla="*/ 48 h 786"/>
                  <a:gd name="T52" fmla="*/ 166 w 168"/>
                  <a:gd name="T53" fmla="*/ 64 h 786"/>
                  <a:gd name="T54" fmla="*/ 168 w 168"/>
                  <a:gd name="T55" fmla="*/ 80 h 786"/>
                  <a:gd name="T56" fmla="*/ 168 w 168"/>
                  <a:gd name="T57" fmla="*/ 80 h 786"/>
                  <a:gd name="T58" fmla="*/ 166 w 168"/>
                  <a:gd name="T59" fmla="*/ 96 h 786"/>
                  <a:gd name="T60" fmla="*/ 162 w 168"/>
                  <a:gd name="T61" fmla="*/ 112 h 786"/>
                  <a:gd name="T62" fmla="*/ 154 w 168"/>
                  <a:gd name="T63" fmla="*/ 126 h 786"/>
                  <a:gd name="T64" fmla="*/ 144 w 168"/>
                  <a:gd name="T65" fmla="*/ 138 h 786"/>
                  <a:gd name="T66" fmla="*/ 132 w 168"/>
                  <a:gd name="T67" fmla="*/ 148 h 786"/>
                  <a:gd name="T68" fmla="*/ 118 w 168"/>
                  <a:gd name="T69" fmla="*/ 156 h 786"/>
                  <a:gd name="T70" fmla="*/ 102 w 168"/>
                  <a:gd name="T71" fmla="*/ 160 h 786"/>
                  <a:gd name="T72" fmla="*/ 84 w 168"/>
                  <a:gd name="T73" fmla="*/ 162 h 786"/>
                  <a:gd name="T74" fmla="*/ 84 w 168"/>
                  <a:gd name="T75" fmla="*/ 162 h 786"/>
                  <a:gd name="T76" fmla="*/ 16 w 168"/>
                  <a:gd name="T77" fmla="*/ 786 h 786"/>
                  <a:gd name="T78" fmla="*/ 16 w 168"/>
                  <a:gd name="T79" fmla="*/ 244 h 786"/>
                  <a:gd name="T80" fmla="*/ 152 w 168"/>
                  <a:gd name="T81" fmla="*/ 244 h 786"/>
                  <a:gd name="T82" fmla="*/ 152 w 168"/>
                  <a:gd name="T83" fmla="*/ 244 h 786"/>
                  <a:gd name="T84" fmla="*/ 152 w 168"/>
                  <a:gd name="T85" fmla="*/ 686 h 786"/>
                  <a:gd name="T86" fmla="*/ 152 w 168"/>
                  <a:gd name="T87" fmla="*/ 686 h 786"/>
                  <a:gd name="T88" fmla="*/ 150 w 168"/>
                  <a:gd name="T89" fmla="*/ 704 h 786"/>
                  <a:gd name="T90" fmla="*/ 146 w 168"/>
                  <a:gd name="T91" fmla="*/ 720 h 786"/>
                  <a:gd name="T92" fmla="*/ 138 w 168"/>
                  <a:gd name="T93" fmla="*/ 732 h 786"/>
                  <a:gd name="T94" fmla="*/ 130 w 168"/>
                  <a:gd name="T95" fmla="*/ 744 h 786"/>
                  <a:gd name="T96" fmla="*/ 120 w 168"/>
                  <a:gd name="T97" fmla="*/ 754 h 786"/>
                  <a:gd name="T98" fmla="*/ 108 w 168"/>
                  <a:gd name="T99" fmla="*/ 762 h 786"/>
                  <a:gd name="T100" fmla="*/ 96 w 168"/>
                  <a:gd name="T101" fmla="*/ 768 h 786"/>
                  <a:gd name="T102" fmla="*/ 84 w 168"/>
                  <a:gd name="T103" fmla="*/ 774 h 786"/>
                  <a:gd name="T104" fmla="*/ 60 w 168"/>
                  <a:gd name="T105" fmla="*/ 782 h 786"/>
                  <a:gd name="T106" fmla="*/ 38 w 168"/>
                  <a:gd name="T107" fmla="*/ 784 h 786"/>
                  <a:gd name="T108" fmla="*/ 16 w 168"/>
                  <a:gd name="T109" fmla="*/ 786 h 786"/>
                  <a:gd name="T110" fmla="*/ 16 w 168"/>
                  <a:gd name="T111" fmla="*/ 786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8" h="786">
                    <a:moveTo>
                      <a:pt x="84" y="162"/>
                    </a:moveTo>
                    <a:lnTo>
                      <a:pt x="84" y="162"/>
                    </a:lnTo>
                    <a:lnTo>
                      <a:pt x="68" y="160"/>
                    </a:lnTo>
                    <a:lnTo>
                      <a:pt x="52" y="156"/>
                    </a:lnTo>
                    <a:lnTo>
                      <a:pt x="38" y="148"/>
                    </a:lnTo>
                    <a:lnTo>
                      <a:pt x="26" y="138"/>
                    </a:lnTo>
                    <a:lnTo>
                      <a:pt x="14" y="126"/>
                    </a:lnTo>
                    <a:lnTo>
                      <a:pt x="8" y="112"/>
                    </a:lnTo>
                    <a:lnTo>
                      <a:pt x="2" y="98"/>
                    </a:lnTo>
                    <a:lnTo>
                      <a:pt x="0" y="80"/>
                    </a:lnTo>
                    <a:lnTo>
                      <a:pt x="0" y="80"/>
                    </a:lnTo>
                    <a:lnTo>
                      <a:pt x="2" y="64"/>
                    </a:lnTo>
                    <a:lnTo>
                      <a:pt x="8" y="50"/>
                    </a:lnTo>
                    <a:lnTo>
                      <a:pt x="14" y="36"/>
                    </a:lnTo>
                    <a:lnTo>
                      <a:pt x="26" y="24"/>
                    </a:lnTo>
                    <a:lnTo>
                      <a:pt x="38" y="14"/>
                    </a:lnTo>
                    <a:lnTo>
                      <a:pt x="52" y="6"/>
                    </a:lnTo>
                    <a:lnTo>
                      <a:pt x="68" y="2"/>
                    </a:lnTo>
                    <a:lnTo>
                      <a:pt x="84" y="0"/>
                    </a:lnTo>
                    <a:lnTo>
                      <a:pt x="84" y="0"/>
                    </a:lnTo>
                    <a:lnTo>
                      <a:pt x="102" y="2"/>
                    </a:lnTo>
                    <a:lnTo>
                      <a:pt x="118" y="6"/>
                    </a:lnTo>
                    <a:lnTo>
                      <a:pt x="132" y="14"/>
                    </a:lnTo>
                    <a:lnTo>
                      <a:pt x="144" y="24"/>
                    </a:lnTo>
                    <a:lnTo>
                      <a:pt x="154" y="36"/>
                    </a:lnTo>
                    <a:lnTo>
                      <a:pt x="162" y="48"/>
                    </a:lnTo>
                    <a:lnTo>
                      <a:pt x="166" y="64"/>
                    </a:lnTo>
                    <a:lnTo>
                      <a:pt x="168" y="80"/>
                    </a:lnTo>
                    <a:lnTo>
                      <a:pt x="168" y="80"/>
                    </a:lnTo>
                    <a:lnTo>
                      <a:pt x="166" y="96"/>
                    </a:lnTo>
                    <a:lnTo>
                      <a:pt x="162" y="112"/>
                    </a:lnTo>
                    <a:lnTo>
                      <a:pt x="154" y="126"/>
                    </a:lnTo>
                    <a:lnTo>
                      <a:pt x="144" y="138"/>
                    </a:lnTo>
                    <a:lnTo>
                      <a:pt x="132" y="148"/>
                    </a:lnTo>
                    <a:lnTo>
                      <a:pt x="118" y="156"/>
                    </a:lnTo>
                    <a:lnTo>
                      <a:pt x="102" y="160"/>
                    </a:lnTo>
                    <a:lnTo>
                      <a:pt x="84" y="162"/>
                    </a:lnTo>
                    <a:lnTo>
                      <a:pt x="84" y="162"/>
                    </a:lnTo>
                    <a:close/>
                    <a:moveTo>
                      <a:pt x="16" y="786"/>
                    </a:moveTo>
                    <a:lnTo>
                      <a:pt x="16" y="244"/>
                    </a:lnTo>
                    <a:lnTo>
                      <a:pt x="152" y="244"/>
                    </a:lnTo>
                    <a:lnTo>
                      <a:pt x="152" y="244"/>
                    </a:lnTo>
                    <a:lnTo>
                      <a:pt x="152" y="686"/>
                    </a:lnTo>
                    <a:lnTo>
                      <a:pt x="152" y="686"/>
                    </a:lnTo>
                    <a:lnTo>
                      <a:pt x="150" y="704"/>
                    </a:lnTo>
                    <a:lnTo>
                      <a:pt x="146" y="720"/>
                    </a:lnTo>
                    <a:lnTo>
                      <a:pt x="138" y="732"/>
                    </a:lnTo>
                    <a:lnTo>
                      <a:pt x="130" y="744"/>
                    </a:lnTo>
                    <a:lnTo>
                      <a:pt x="120" y="754"/>
                    </a:lnTo>
                    <a:lnTo>
                      <a:pt x="108" y="762"/>
                    </a:lnTo>
                    <a:lnTo>
                      <a:pt x="96" y="768"/>
                    </a:lnTo>
                    <a:lnTo>
                      <a:pt x="84" y="774"/>
                    </a:lnTo>
                    <a:lnTo>
                      <a:pt x="60" y="782"/>
                    </a:lnTo>
                    <a:lnTo>
                      <a:pt x="38" y="784"/>
                    </a:lnTo>
                    <a:lnTo>
                      <a:pt x="16" y="786"/>
                    </a:lnTo>
                    <a:lnTo>
                      <a:pt x="16" y="7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 name="Freeform 28"/>
              <p:cNvSpPr>
                <a:spLocks/>
              </p:cNvSpPr>
              <p:nvPr/>
            </p:nvSpPr>
            <p:spPr bwMode="auto">
              <a:xfrm>
                <a:off x="7989468" y="4518126"/>
                <a:ext cx="49837" cy="57313"/>
              </a:xfrm>
              <a:custGeom>
                <a:avLst/>
                <a:gdLst>
                  <a:gd name="T0" fmla="*/ 346 w 480"/>
                  <a:gd name="T1" fmla="*/ 230 h 552"/>
                  <a:gd name="T2" fmla="*/ 344 w 480"/>
                  <a:gd name="T3" fmla="*/ 210 h 552"/>
                  <a:gd name="T4" fmla="*/ 338 w 480"/>
                  <a:gd name="T5" fmla="*/ 170 h 552"/>
                  <a:gd name="T6" fmla="*/ 322 w 480"/>
                  <a:gd name="T7" fmla="*/ 138 h 552"/>
                  <a:gd name="T8" fmla="*/ 308 w 480"/>
                  <a:gd name="T9" fmla="*/ 126 h 552"/>
                  <a:gd name="T10" fmla="*/ 290 w 480"/>
                  <a:gd name="T11" fmla="*/ 118 h 552"/>
                  <a:gd name="T12" fmla="*/ 268 w 480"/>
                  <a:gd name="T13" fmla="*/ 116 h 552"/>
                  <a:gd name="T14" fmla="*/ 250 w 480"/>
                  <a:gd name="T15" fmla="*/ 116 h 552"/>
                  <a:gd name="T16" fmla="*/ 216 w 480"/>
                  <a:gd name="T17" fmla="*/ 126 h 552"/>
                  <a:gd name="T18" fmla="*/ 182 w 480"/>
                  <a:gd name="T19" fmla="*/ 140 h 552"/>
                  <a:gd name="T20" fmla="*/ 134 w 480"/>
                  <a:gd name="T21" fmla="*/ 172 h 552"/>
                  <a:gd name="T22" fmla="*/ 134 w 480"/>
                  <a:gd name="T23" fmla="*/ 452 h 552"/>
                  <a:gd name="T24" fmla="*/ 132 w 480"/>
                  <a:gd name="T25" fmla="*/ 470 h 552"/>
                  <a:gd name="T26" fmla="*/ 120 w 480"/>
                  <a:gd name="T27" fmla="*/ 498 h 552"/>
                  <a:gd name="T28" fmla="*/ 102 w 480"/>
                  <a:gd name="T29" fmla="*/ 518 h 552"/>
                  <a:gd name="T30" fmla="*/ 78 w 480"/>
                  <a:gd name="T31" fmla="*/ 534 h 552"/>
                  <a:gd name="T32" fmla="*/ 42 w 480"/>
                  <a:gd name="T33" fmla="*/ 546 h 552"/>
                  <a:gd name="T34" fmla="*/ 0 w 480"/>
                  <a:gd name="T35" fmla="*/ 552 h 552"/>
                  <a:gd name="T36" fmla="*/ 114 w 480"/>
                  <a:gd name="T37" fmla="*/ 14 h 552"/>
                  <a:gd name="T38" fmla="*/ 128 w 480"/>
                  <a:gd name="T39" fmla="*/ 70 h 552"/>
                  <a:gd name="T40" fmla="*/ 170 w 480"/>
                  <a:gd name="T41" fmla="*/ 42 h 552"/>
                  <a:gd name="T42" fmla="*/ 214 w 480"/>
                  <a:gd name="T43" fmla="*/ 20 h 552"/>
                  <a:gd name="T44" fmla="*/ 262 w 480"/>
                  <a:gd name="T45" fmla="*/ 6 h 552"/>
                  <a:gd name="T46" fmla="*/ 314 w 480"/>
                  <a:gd name="T47" fmla="*/ 0 h 552"/>
                  <a:gd name="T48" fmla="*/ 328 w 480"/>
                  <a:gd name="T49" fmla="*/ 2 h 552"/>
                  <a:gd name="T50" fmla="*/ 358 w 480"/>
                  <a:gd name="T51" fmla="*/ 6 h 552"/>
                  <a:gd name="T52" fmla="*/ 388 w 480"/>
                  <a:gd name="T53" fmla="*/ 16 h 552"/>
                  <a:gd name="T54" fmla="*/ 414 w 480"/>
                  <a:gd name="T55" fmla="*/ 32 h 552"/>
                  <a:gd name="T56" fmla="*/ 438 w 480"/>
                  <a:gd name="T57" fmla="*/ 54 h 552"/>
                  <a:gd name="T58" fmla="*/ 458 w 480"/>
                  <a:gd name="T59" fmla="*/ 84 h 552"/>
                  <a:gd name="T60" fmla="*/ 472 w 480"/>
                  <a:gd name="T61" fmla="*/ 120 h 552"/>
                  <a:gd name="T62" fmla="*/ 478 w 480"/>
                  <a:gd name="T63" fmla="*/ 166 h 552"/>
                  <a:gd name="T64" fmla="*/ 480 w 480"/>
                  <a:gd name="T65" fmla="*/ 190 h 552"/>
                  <a:gd name="T66" fmla="*/ 480 w 480"/>
                  <a:gd name="T67" fmla="*/ 452 h 552"/>
                  <a:gd name="T68" fmla="*/ 474 w 480"/>
                  <a:gd name="T69" fmla="*/ 484 h 552"/>
                  <a:gd name="T70" fmla="*/ 458 w 480"/>
                  <a:gd name="T71" fmla="*/ 510 h 552"/>
                  <a:gd name="T72" fmla="*/ 438 w 480"/>
                  <a:gd name="T73" fmla="*/ 528 h 552"/>
                  <a:gd name="T74" fmla="*/ 412 w 480"/>
                  <a:gd name="T75" fmla="*/ 540 h 552"/>
                  <a:gd name="T76" fmla="*/ 366 w 480"/>
                  <a:gd name="T77" fmla="*/ 550 h 552"/>
                  <a:gd name="T78" fmla="*/ 346 w 480"/>
                  <a:gd name="T79" fmla="*/ 552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80" h="552">
                    <a:moveTo>
                      <a:pt x="346" y="552"/>
                    </a:moveTo>
                    <a:lnTo>
                      <a:pt x="346" y="230"/>
                    </a:lnTo>
                    <a:lnTo>
                      <a:pt x="346" y="230"/>
                    </a:lnTo>
                    <a:lnTo>
                      <a:pt x="344" y="210"/>
                    </a:lnTo>
                    <a:lnTo>
                      <a:pt x="342" y="190"/>
                    </a:lnTo>
                    <a:lnTo>
                      <a:pt x="338" y="170"/>
                    </a:lnTo>
                    <a:lnTo>
                      <a:pt x="332" y="152"/>
                    </a:lnTo>
                    <a:lnTo>
                      <a:pt x="322" y="138"/>
                    </a:lnTo>
                    <a:lnTo>
                      <a:pt x="316" y="132"/>
                    </a:lnTo>
                    <a:lnTo>
                      <a:pt x="308" y="126"/>
                    </a:lnTo>
                    <a:lnTo>
                      <a:pt x="300" y="122"/>
                    </a:lnTo>
                    <a:lnTo>
                      <a:pt x="290" y="118"/>
                    </a:lnTo>
                    <a:lnTo>
                      <a:pt x="280" y="116"/>
                    </a:lnTo>
                    <a:lnTo>
                      <a:pt x="268" y="116"/>
                    </a:lnTo>
                    <a:lnTo>
                      <a:pt x="268" y="116"/>
                    </a:lnTo>
                    <a:lnTo>
                      <a:pt x="250" y="116"/>
                    </a:lnTo>
                    <a:lnTo>
                      <a:pt x="232" y="120"/>
                    </a:lnTo>
                    <a:lnTo>
                      <a:pt x="216" y="126"/>
                    </a:lnTo>
                    <a:lnTo>
                      <a:pt x="198" y="132"/>
                    </a:lnTo>
                    <a:lnTo>
                      <a:pt x="182" y="140"/>
                    </a:lnTo>
                    <a:lnTo>
                      <a:pt x="166" y="150"/>
                    </a:lnTo>
                    <a:lnTo>
                      <a:pt x="134" y="172"/>
                    </a:lnTo>
                    <a:lnTo>
                      <a:pt x="134" y="172"/>
                    </a:lnTo>
                    <a:lnTo>
                      <a:pt x="134" y="452"/>
                    </a:lnTo>
                    <a:lnTo>
                      <a:pt x="134" y="452"/>
                    </a:lnTo>
                    <a:lnTo>
                      <a:pt x="132" y="470"/>
                    </a:lnTo>
                    <a:lnTo>
                      <a:pt x="128" y="484"/>
                    </a:lnTo>
                    <a:lnTo>
                      <a:pt x="120" y="498"/>
                    </a:lnTo>
                    <a:lnTo>
                      <a:pt x="112" y="510"/>
                    </a:lnTo>
                    <a:lnTo>
                      <a:pt x="102" y="518"/>
                    </a:lnTo>
                    <a:lnTo>
                      <a:pt x="90" y="528"/>
                    </a:lnTo>
                    <a:lnTo>
                      <a:pt x="78" y="534"/>
                    </a:lnTo>
                    <a:lnTo>
                      <a:pt x="66" y="540"/>
                    </a:lnTo>
                    <a:lnTo>
                      <a:pt x="42" y="546"/>
                    </a:lnTo>
                    <a:lnTo>
                      <a:pt x="20" y="550"/>
                    </a:lnTo>
                    <a:lnTo>
                      <a:pt x="0" y="552"/>
                    </a:lnTo>
                    <a:lnTo>
                      <a:pt x="0" y="14"/>
                    </a:lnTo>
                    <a:lnTo>
                      <a:pt x="114" y="14"/>
                    </a:lnTo>
                    <a:lnTo>
                      <a:pt x="128" y="70"/>
                    </a:lnTo>
                    <a:lnTo>
                      <a:pt x="128" y="70"/>
                    </a:lnTo>
                    <a:lnTo>
                      <a:pt x="150" y="54"/>
                    </a:lnTo>
                    <a:lnTo>
                      <a:pt x="170" y="42"/>
                    </a:lnTo>
                    <a:lnTo>
                      <a:pt x="192" y="30"/>
                    </a:lnTo>
                    <a:lnTo>
                      <a:pt x="214" y="20"/>
                    </a:lnTo>
                    <a:lnTo>
                      <a:pt x="238" y="12"/>
                    </a:lnTo>
                    <a:lnTo>
                      <a:pt x="262" y="6"/>
                    </a:lnTo>
                    <a:lnTo>
                      <a:pt x="286" y="2"/>
                    </a:lnTo>
                    <a:lnTo>
                      <a:pt x="314" y="0"/>
                    </a:lnTo>
                    <a:lnTo>
                      <a:pt x="314" y="0"/>
                    </a:lnTo>
                    <a:lnTo>
                      <a:pt x="328" y="2"/>
                    </a:lnTo>
                    <a:lnTo>
                      <a:pt x="344" y="2"/>
                    </a:lnTo>
                    <a:lnTo>
                      <a:pt x="358" y="6"/>
                    </a:lnTo>
                    <a:lnTo>
                      <a:pt x="374" y="10"/>
                    </a:lnTo>
                    <a:lnTo>
                      <a:pt x="388" y="16"/>
                    </a:lnTo>
                    <a:lnTo>
                      <a:pt x="402" y="24"/>
                    </a:lnTo>
                    <a:lnTo>
                      <a:pt x="414" y="32"/>
                    </a:lnTo>
                    <a:lnTo>
                      <a:pt x="426" y="42"/>
                    </a:lnTo>
                    <a:lnTo>
                      <a:pt x="438" y="54"/>
                    </a:lnTo>
                    <a:lnTo>
                      <a:pt x="448" y="68"/>
                    </a:lnTo>
                    <a:lnTo>
                      <a:pt x="458" y="84"/>
                    </a:lnTo>
                    <a:lnTo>
                      <a:pt x="464" y="102"/>
                    </a:lnTo>
                    <a:lnTo>
                      <a:pt x="472" y="120"/>
                    </a:lnTo>
                    <a:lnTo>
                      <a:pt x="476" y="142"/>
                    </a:lnTo>
                    <a:lnTo>
                      <a:pt x="478" y="166"/>
                    </a:lnTo>
                    <a:lnTo>
                      <a:pt x="480" y="190"/>
                    </a:lnTo>
                    <a:lnTo>
                      <a:pt x="480" y="190"/>
                    </a:lnTo>
                    <a:lnTo>
                      <a:pt x="480" y="452"/>
                    </a:lnTo>
                    <a:lnTo>
                      <a:pt x="480" y="452"/>
                    </a:lnTo>
                    <a:lnTo>
                      <a:pt x="478" y="470"/>
                    </a:lnTo>
                    <a:lnTo>
                      <a:pt x="474" y="484"/>
                    </a:lnTo>
                    <a:lnTo>
                      <a:pt x="468" y="498"/>
                    </a:lnTo>
                    <a:lnTo>
                      <a:pt x="458" y="510"/>
                    </a:lnTo>
                    <a:lnTo>
                      <a:pt x="448" y="520"/>
                    </a:lnTo>
                    <a:lnTo>
                      <a:pt x="438" y="528"/>
                    </a:lnTo>
                    <a:lnTo>
                      <a:pt x="424" y="534"/>
                    </a:lnTo>
                    <a:lnTo>
                      <a:pt x="412" y="540"/>
                    </a:lnTo>
                    <a:lnTo>
                      <a:pt x="388" y="546"/>
                    </a:lnTo>
                    <a:lnTo>
                      <a:pt x="366" y="550"/>
                    </a:lnTo>
                    <a:lnTo>
                      <a:pt x="346" y="552"/>
                    </a:lnTo>
                    <a:lnTo>
                      <a:pt x="346" y="5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 name="Freeform 29"/>
              <p:cNvSpPr>
                <a:spLocks/>
              </p:cNvSpPr>
              <p:nvPr/>
            </p:nvSpPr>
            <p:spPr bwMode="auto">
              <a:xfrm>
                <a:off x="8106170" y="4491754"/>
                <a:ext cx="14120" cy="83477"/>
              </a:xfrm>
              <a:custGeom>
                <a:avLst/>
                <a:gdLst>
                  <a:gd name="T0" fmla="*/ 136 w 136"/>
                  <a:gd name="T1" fmla="*/ 704 h 804"/>
                  <a:gd name="T2" fmla="*/ 136 w 136"/>
                  <a:gd name="T3" fmla="*/ 704 h 804"/>
                  <a:gd name="T4" fmla="*/ 134 w 136"/>
                  <a:gd name="T5" fmla="*/ 722 h 804"/>
                  <a:gd name="T6" fmla="*/ 130 w 136"/>
                  <a:gd name="T7" fmla="*/ 738 h 804"/>
                  <a:gd name="T8" fmla="*/ 122 w 136"/>
                  <a:gd name="T9" fmla="*/ 750 h 804"/>
                  <a:gd name="T10" fmla="*/ 114 w 136"/>
                  <a:gd name="T11" fmla="*/ 762 h 804"/>
                  <a:gd name="T12" fmla="*/ 104 w 136"/>
                  <a:gd name="T13" fmla="*/ 772 h 804"/>
                  <a:gd name="T14" fmla="*/ 92 w 136"/>
                  <a:gd name="T15" fmla="*/ 780 h 804"/>
                  <a:gd name="T16" fmla="*/ 80 w 136"/>
                  <a:gd name="T17" fmla="*/ 786 h 804"/>
                  <a:gd name="T18" fmla="*/ 68 w 136"/>
                  <a:gd name="T19" fmla="*/ 792 h 804"/>
                  <a:gd name="T20" fmla="*/ 44 w 136"/>
                  <a:gd name="T21" fmla="*/ 800 h 804"/>
                  <a:gd name="T22" fmla="*/ 22 w 136"/>
                  <a:gd name="T23" fmla="*/ 802 h 804"/>
                  <a:gd name="T24" fmla="*/ 0 w 136"/>
                  <a:gd name="T25" fmla="*/ 804 h 804"/>
                  <a:gd name="T26" fmla="*/ 0 w 136"/>
                  <a:gd name="T27" fmla="*/ 0 h 804"/>
                  <a:gd name="T28" fmla="*/ 136 w 136"/>
                  <a:gd name="T29" fmla="*/ 0 h 804"/>
                  <a:gd name="T30" fmla="*/ 136 w 136"/>
                  <a:gd name="T31" fmla="*/ 0 h 804"/>
                  <a:gd name="T32" fmla="*/ 136 w 136"/>
                  <a:gd name="T33" fmla="*/ 704 h 804"/>
                  <a:gd name="T34" fmla="*/ 136 w 136"/>
                  <a:gd name="T35" fmla="*/ 70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04">
                    <a:moveTo>
                      <a:pt x="136" y="704"/>
                    </a:moveTo>
                    <a:lnTo>
                      <a:pt x="136" y="704"/>
                    </a:lnTo>
                    <a:lnTo>
                      <a:pt x="134" y="722"/>
                    </a:lnTo>
                    <a:lnTo>
                      <a:pt x="130" y="738"/>
                    </a:lnTo>
                    <a:lnTo>
                      <a:pt x="122" y="750"/>
                    </a:lnTo>
                    <a:lnTo>
                      <a:pt x="114" y="762"/>
                    </a:lnTo>
                    <a:lnTo>
                      <a:pt x="104" y="772"/>
                    </a:lnTo>
                    <a:lnTo>
                      <a:pt x="92" y="780"/>
                    </a:lnTo>
                    <a:lnTo>
                      <a:pt x="80" y="786"/>
                    </a:lnTo>
                    <a:lnTo>
                      <a:pt x="68" y="792"/>
                    </a:lnTo>
                    <a:lnTo>
                      <a:pt x="44" y="800"/>
                    </a:lnTo>
                    <a:lnTo>
                      <a:pt x="22" y="802"/>
                    </a:lnTo>
                    <a:lnTo>
                      <a:pt x="0" y="804"/>
                    </a:lnTo>
                    <a:lnTo>
                      <a:pt x="0" y="0"/>
                    </a:lnTo>
                    <a:lnTo>
                      <a:pt x="136" y="0"/>
                    </a:lnTo>
                    <a:lnTo>
                      <a:pt x="136" y="0"/>
                    </a:lnTo>
                    <a:lnTo>
                      <a:pt x="136" y="704"/>
                    </a:lnTo>
                    <a:lnTo>
                      <a:pt x="136" y="7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3" name="Group 52"/>
            <p:cNvGrpSpPr/>
            <p:nvPr userDrawn="1"/>
          </p:nvGrpSpPr>
          <p:grpSpPr>
            <a:xfrm>
              <a:off x="7673274" y="4343117"/>
              <a:ext cx="1123200" cy="148389"/>
              <a:chOff x="7665803" y="4864376"/>
              <a:chExt cx="1123200" cy="148389"/>
            </a:xfrm>
            <a:grpFill/>
          </p:grpSpPr>
          <p:sp>
            <p:nvSpPr>
              <p:cNvPr id="54" name="Freeform 6"/>
              <p:cNvSpPr>
                <a:spLocks/>
              </p:cNvSpPr>
              <p:nvPr userDrawn="1"/>
            </p:nvSpPr>
            <p:spPr bwMode="auto">
              <a:xfrm>
                <a:off x="8119644" y="4924717"/>
                <a:ext cx="103102" cy="66806"/>
              </a:xfrm>
              <a:custGeom>
                <a:avLst/>
                <a:gdLst>
                  <a:gd name="T0" fmla="*/ 111 w 136"/>
                  <a:gd name="T1" fmla="*/ 72 h 92"/>
                  <a:gd name="T2" fmla="*/ 87 w 136"/>
                  <a:gd name="T3" fmla="*/ 88 h 92"/>
                  <a:gd name="T4" fmla="*/ 68 w 136"/>
                  <a:gd name="T5" fmla="*/ 28 h 92"/>
                  <a:gd name="T6" fmla="*/ 67 w 136"/>
                  <a:gd name="T7" fmla="*/ 28 h 92"/>
                  <a:gd name="T8" fmla="*/ 53 w 136"/>
                  <a:gd name="T9" fmla="*/ 72 h 92"/>
                  <a:gd name="T10" fmla="*/ 31 w 136"/>
                  <a:gd name="T11" fmla="*/ 88 h 92"/>
                  <a:gd name="T12" fmla="*/ 0 w 136"/>
                  <a:gd name="T13" fmla="*/ 0 h 92"/>
                  <a:gd name="T14" fmla="*/ 22 w 136"/>
                  <a:gd name="T15" fmla="*/ 0 h 92"/>
                  <a:gd name="T16" fmla="*/ 41 w 136"/>
                  <a:gd name="T17" fmla="*/ 60 h 92"/>
                  <a:gd name="T18" fmla="*/ 41 w 136"/>
                  <a:gd name="T19" fmla="*/ 60 h 92"/>
                  <a:gd name="T20" fmla="*/ 60 w 136"/>
                  <a:gd name="T21" fmla="*/ 0 h 92"/>
                  <a:gd name="T22" fmla="*/ 77 w 136"/>
                  <a:gd name="T23" fmla="*/ 0 h 92"/>
                  <a:gd name="T24" fmla="*/ 96 w 136"/>
                  <a:gd name="T25" fmla="*/ 60 h 92"/>
                  <a:gd name="T26" fmla="*/ 97 w 136"/>
                  <a:gd name="T27" fmla="*/ 60 h 92"/>
                  <a:gd name="T28" fmla="*/ 115 w 136"/>
                  <a:gd name="T29" fmla="*/ 0 h 92"/>
                  <a:gd name="T30" fmla="*/ 136 w 136"/>
                  <a:gd name="T31" fmla="*/ 0 h 92"/>
                  <a:gd name="T32" fmla="*/ 111 w 136"/>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 h="92">
                    <a:moveTo>
                      <a:pt x="111" y="72"/>
                    </a:moveTo>
                    <a:cubicBezTo>
                      <a:pt x="103" y="92"/>
                      <a:pt x="87" y="88"/>
                      <a:pt x="87" y="88"/>
                    </a:cubicBezTo>
                    <a:cubicBezTo>
                      <a:pt x="68" y="28"/>
                      <a:pt x="68" y="28"/>
                      <a:pt x="68" y="28"/>
                    </a:cubicBezTo>
                    <a:cubicBezTo>
                      <a:pt x="67" y="28"/>
                      <a:pt x="67" y="28"/>
                      <a:pt x="67" y="28"/>
                    </a:cubicBezTo>
                    <a:cubicBezTo>
                      <a:pt x="67" y="28"/>
                      <a:pt x="58"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6" y="60"/>
                      <a:pt x="96" y="60"/>
                      <a:pt x="96" y="60"/>
                    </a:cubicBezTo>
                    <a:cubicBezTo>
                      <a:pt x="97" y="60"/>
                      <a:pt x="97" y="60"/>
                      <a:pt x="97" y="60"/>
                    </a:cubicBezTo>
                    <a:cubicBezTo>
                      <a:pt x="115" y="0"/>
                      <a:pt x="115" y="0"/>
                      <a:pt x="115" y="0"/>
                    </a:cubicBezTo>
                    <a:cubicBezTo>
                      <a:pt x="136" y="0"/>
                      <a:pt x="136" y="0"/>
                      <a:pt x="136" y="0"/>
                    </a:cubicBezTo>
                    <a:cubicBezTo>
                      <a:pt x="136"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55" name="Freeform 7"/>
              <p:cNvSpPr>
                <a:spLocks noEditPoints="1"/>
              </p:cNvSpPr>
              <p:nvPr userDrawn="1"/>
            </p:nvSpPr>
            <p:spPr bwMode="auto">
              <a:xfrm>
                <a:off x="8225958" y="4923177"/>
                <a:ext cx="57493" cy="66190"/>
              </a:xfrm>
              <a:custGeom>
                <a:avLst/>
                <a:gdLst>
                  <a:gd name="T0" fmla="*/ 57 w 76"/>
                  <a:gd name="T1" fmla="*/ 90 h 91"/>
                  <a:gd name="T2" fmla="*/ 53 w 76"/>
                  <a:gd name="T3" fmla="*/ 81 h 91"/>
                  <a:gd name="T4" fmla="*/ 28 w 76"/>
                  <a:gd name="T5" fmla="*/ 91 h 91"/>
                  <a:gd name="T6" fmla="*/ 0 w 76"/>
                  <a:gd name="T7" fmla="*/ 63 h 91"/>
                  <a:gd name="T8" fmla="*/ 36 w 76"/>
                  <a:gd name="T9" fmla="*/ 34 h 91"/>
                  <a:gd name="T10" fmla="*/ 51 w 76"/>
                  <a:gd name="T11" fmla="*/ 34 h 91"/>
                  <a:gd name="T12" fmla="*/ 51 w 76"/>
                  <a:gd name="T13" fmla="*/ 31 h 91"/>
                  <a:gd name="T14" fmla="*/ 35 w 76"/>
                  <a:gd name="T15" fmla="*/ 17 h 91"/>
                  <a:gd name="T16" fmla="*/ 12 w 76"/>
                  <a:gd name="T17" fmla="*/ 23 h 91"/>
                  <a:gd name="T18" fmla="*/ 5 w 76"/>
                  <a:gd name="T19" fmla="*/ 9 h 91"/>
                  <a:gd name="T20" fmla="*/ 39 w 76"/>
                  <a:gd name="T21" fmla="*/ 0 h 91"/>
                  <a:gd name="T22" fmla="*/ 74 w 76"/>
                  <a:gd name="T23" fmla="*/ 31 h 91"/>
                  <a:gd name="T24" fmla="*/ 74 w 76"/>
                  <a:gd name="T25" fmla="*/ 66 h 91"/>
                  <a:gd name="T26" fmla="*/ 76 w 76"/>
                  <a:gd name="T27" fmla="*/ 90 h 91"/>
                  <a:gd name="T28" fmla="*/ 57 w 76"/>
                  <a:gd name="T29" fmla="*/ 90 h 91"/>
                  <a:gd name="T30" fmla="*/ 51 w 76"/>
                  <a:gd name="T31" fmla="*/ 49 h 91"/>
                  <a:gd name="T32" fmla="*/ 39 w 76"/>
                  <a:gd name="T33" fmla="*/ 49 h 91"/>
                  <a:gd name="T34" fmla="*/ 22 w 76"/>
                  <a:gd name="T35" fmla="*/ 61 h 91"/>
                  <a:gd name="T36" fmla="*/ 36 w 76"/>
                  <a:gd name="T37" fmla="*/ 73 h 91"/>
                  <a:gd name="T38" fmla="*/ 51 w 76"/>
                  <a:gd name="T39" fmla="*/ 68 h 91"/>
                  <a:gd name="T40" fmla="*/ 51 w 76"/>
                  <a:gd name="T41" fmla="*/ 4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91">
                    <a:moveTo>
                      <a:pt x="57" y="90"/>
                    </a:moveTo>
                    <a:cubicBezTo>
                      <a:pt x="53" y="81"/>
                      <a:pt x="53" y="81"/>
                      <a:pt x="53" y="81"/>
                    </a:cubicBezTo>
                    <a:cubicBezTo>
                      <a:pt x="48" y="86"/>
                      <a:pt x="40" y="91"/>
                      <a:pt x="28" y="91"/>
                    </a:cubicBezTo>
                    <a:cubicBezTo>
                      <a:pt x="12" y="91"/>
                      <a:pt x="0" y="80"/>
                      <a:pt x="0" y="63"/>
                    </a:cubicBezTo>
                    <a:cubicBezTo>
                      <a:pt x="0" y="45"/>
                      <a:pt x="14" y="35"/>
                      <a:pt x="36" y="34"/>
                    </a:cubicBezTo>
                    <a:cubicBezTo>
                      <a:pt x="51" y="34"/>
                      <a:pt x="51" y="34"/>
                      <a:pt x="51" y="34"/>
                    </a:cubicBezTo>
                    <a:cubicBezTo>
                      <a:pt x="51" y="33"/>
                      <a:pt x="51" y="32"/>
                      <a:pt x="51" y="31"/>
                    </a:cubicBezTo>
                    <a:cubicBezTo>
                      <a:pt x="51" y="21"/>
                      <a:pt x="44" y="17"/>
                      <a:pt x="35" y="17"/>
                    </a:cubicBezTo>
                    <a:cubicBezTo>
                      <a:pt x="25" y="17"/>
                      <a:pt x="18" y="20"/>
                      <a:pt x="12" y="23"/>
                    </a:cubicBezTo>
                    <a:cubicBezTo>
                      <a:pt x="5" y="9"/>
                      <a:pt x="5" y="9"/>
                      <a:pt x="5" y="9"/>
                    </a:cubicBezTo>
                    <a:cubicBezTo>
                      <a:pt x="17" y="2"/>
                      <a:pt x="28" y="0"/>
                      <a:pt x="39" y="0"/>
                    </a:cubicBezTo>
                    <a:cubicBezTo>
                      <a:pt x="61" y="0"/>
                      <a:pt x="74" y="9"/>
                      <a:pt x="74" y="31"/>
                    </a:cubicBezTo>
                    <a:cubicBezTo>
                      <a:pt x="74" y="66"/>
                      <a:pt x="74" y="66"/>
                      <a:pt x="74" y="66"/>
                    </a:cubicBezTo>
                    <a:cubicBezTo>
                      <a:pt x="74" y="78"/>
                      <a:pt x="75" y="86"/>
                      <a:pt x="76" y="90"/>
                    </a:cubicBezTo>
                    <a:lnTo>
                      <a:pt x="57" y="90"/>
                    </a:lnTo>
                    <a:close/>
                    <a:moveTo>
                      <a:pt x="51" y="49"/>
                    </a:moveTo>
                    <a:cubicBezTo>
                      <a:pt x="39" y="49"/>
                      <a:pt x="39" y="49"/>
                      <a:pt x="39" y="49"/>
                    </a:cubicBezTo>
                    <a:cubicBezTo>
                      <a:pt x="27" y="50"/>
                      <a:pt x="22" y="54"/>
                      <a:pt x="22" y="61"/>
                    </a:cubicBezTo>
                    <a:cubicBezTo>
                      <a:pt x="22" y="68"/>
                      <a:pt x="27" y="73"/>
                      <a:pt x="36" y="73"/>
                    </a:cubicBezTo>
                    <a:cubicBezTo>
                      <a:pt x="44" y="73"/>
                      <a:pt x="49" y="70"/>
                      <a:pt x="51" y="68"/>
                    </a:cubicBezTo>
                    <a:lnTo>
                      <a:pt x="51" y="4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56" name="Freeform 8"/>
              <p:cNvSpPr>
                <a:spLocks noEditPoints="1"/>
              </p:cNvSpPr>
              <p:nvPr userDrawn="1"/>
            </p:nvSpPr>
            <p:spPr bwMode="auto">
              <a:xfrm>
                <a:off x="8342550" y="4892699"/>
                <a:ext cx="62311" cy="96668"/>
              </a:xfrm>
              <a:custGeom>
                <a:avLst/>
                <a:gdLst>
                  <a:gd name="T0" fmla="*/ 47 w 82"/>
                  <a:gd name="T1" fmla="*/ 133 h 133"/>
                  <a:gd name="T2" fmla="*/ 0 w 82"/>
                  <a:gd name="T3" fmla="*/ 88 h 133"/>
                  <a:gd name="T4" fmla="*/ 48 w 82"/>
                  <a:gd name="T5" fmla="*/ 42 h 133"/>
                  <a:gd name="T6" fmla="*/ 59 w 82"/>
                  <a:gd name="T7" fmla="*/ 42 h 133"/>
                  <a:gd name="T8" fmla="*/ 60 w 82"/>
                  <a:gd name="T9" fmla="*/ 0 h 133"/>
                  <a:gd name="T10" fmla="*/ 82 w 82"/>
                  <a:gd name="T11" fmla="*/ 0 h 133"/>
                  <a:gd name="T12" fmla="*/ 81 w 82"/>
                  <a:gd name="T13" fmla="*/ 126 h 133"/>
                  <a:gd name="T14" fmla="*/ 47 w 82"/>
                  <a:gd name="T15" fmla="*/ 133 h 133"/>
                  <a:gd name="T16" fmla="*/ 59 w 82"/>
                  <a:gd name="T17" fmla="*/ 60 h 133"/>
                  <a:gd name="T18" fmla="*/ 49 w 82"/>
                  <a:gd name="T19" fmla="*/ 59 h 133"/>
                  <a:gd name="T20" fmla="*/ 22 w 82"/>
                  <a:gd name="T21" fmla="*/ 87 h 133"/>
                  <a:gd name="T22" fmla="*/ 49 w 82"/>
                  <a:gd name="T23" fmla="*/ 114 h 133"/>
                  <a:gd name="T24" fmla="*/ 59 w 82"/>
                  <a:gd name="T25" fmla="*/ 113 h 133"/>
                  <a:gd name="T26" fmla="*/ 59 w 82"/>
                  <a:gd name="T27" fmla="*/ 6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3">
                    <a:moveTo>
                      <a:pt x="47" y="133"/>
                    </a:moveTo>
                    <a:cubicBezTo>
                      <a:pt x="21" y="133"/>
                      <a:pt x="0" y="117"/>
                      <a:pt x="0" y="88"/>
                    </a:cubicBezTo>
                    <a:cubicBezTo>
                      <a:pt x="0" y="61"/>
                      <a:pt x="20" y="42"/>
                      <a:pt x="48" y="42"/>
                    </a:cubicBezTo>
                    <a:cubicBezTo>
                      <a:pt x="52" y="42"/>
                      <a:pt x="56" y="42"/>
                      <a:pt x="59" y="42"/>
                    </a:cubicBezTo>
                    <a:cubicBezTo>
                      <a:pt x="60" y="0"/>
                      <a:pt x="60" y="0"/>
                      <a:pt x="60" y="0"/>
                    </a:cubicBezTo>
                    <a:cubicBezTo>
                      <a:pt x="82" y="0"/>
                      <a:pt x="82" y="0"/>
                      <a:pt x="82" y="0"/>
                    </a:cubicBezTo>
                    <a:cubicBezTo>
                      <a:pt x="81" y="126"/>
                      <a:pt x="81" y="126"/>
                      <a:pt x="81" y="126"/>
                    </a:cubicBezTo>
                    <a:cubicBezTo>
                      <a:pt x="73" y="130"/>
                      <a:pt x="62" y="133"/>
                      <a:pt x="47" y="133"/>
                    </a:cubicBezTo>
                    <a:close/>
                    <a:moveTo>
                      <a:pt x="59" y="60"/>
                    </a:moveTo>
                    <a:cubicBezTo>
                      <a:pt x="56" y="60"/>
                      <a:pt x="54" y="59"/>
                      <a:pt x="49" y="59"/>
                    </a:cubicBezTo>
                    <a:cubicBezTo>
                      <a:pt x="33" y="59"/>
                      <a:pt x="22" y="70"/>
                      <a:pt x="22" y="87"/>
                    </a:cubicBezTo>
                    <a:cubicBezTo>
                      <a:pt x="22" y="103"/>
                      <a:pt x="32" y="114"/>
                      <a:pt x="49" y="114"/>
                    </a:cubicBezTo>
                    <a:cubicBezTo>
                      <a:pt x="53" y="114"/>
                      <a:pt x="57" y="114"/>
                      <a:pt x="59" y="113"/>
                    </a:cubicBezTo>
                    <a:lnTo>
                      <a:pt x="59" y="60"/>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57" name="Freeform 9"/>
              <p:cNvSpPr>
                <a:spLocks/>
              </p:cNvSpPr>
              <p:nvPr userDrawn="1"/>
            </p:nvSpPr>
            <p:spPr bwMode="auto">
              <a:xfrm>
                <a:off x="8093949"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10"/>
              <p:cNvSpPr>
                <a:spLocks/>
              </p:cNvSpPr>
              <p:nvPr userDrawn="1"/>
            </p:nvSpPr>
            <p:spPr bwMode="auto">
              <a:xfrm>
                <a:off x="8060545"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59" name="Freeform 11"/>
              <p:cNvSpPr>
                <a:spLocks/>
              </p:cNvSpPr>
              <p:nvPr userDrawn="1"/>
            </p:nvSpPr>
            <p:spPr bwMode="auto">
              <a:xfrm>
                <a:off x="8297262" y="4923177"/>
                <a:ext cx="43039" cy="66190"/>
              </a:xfrm>
              <a:custGeom>
                <a:avLst/>
                <a:gdLst>
                  <a:gd name="T0" fmla="*/ 49 w 57"/>
                  <a:gd name="T1" fmla="*/ 22 h 91"/>
                  <a:gd name="T2" fmla="*/ 39 w 57"/>
                  <a:gd name="T3" fmla="*/ 20 h 91"/>
                  <a:gd name="T4" fmla="*/ 22 w 57"/>
                  <a:gd name="T5" fmla="*/ 27 h 91"/>
                  <a:gd name="T6" fmla="*/ 22 w 57"/>
                  <a:gd name="T7" fmla="*/ 74 h 91"/>
                  <a:gd name="T8" fmla="*/ 0 w 57"/>
                  <a:gd name="T9" fmla="*/ 90 h 91"/>
                  <a:gd name="T10" fmla="*/ 0 w 57"/>
                  <a:gd name="T11" fmla="*/ 2 h 91"/>
                  <a:gd name="T12" fmla="*/ 18 w 57"/>
                  <a:gd name="T13" fmla="*/ 2 h 91"/>
                  <a:gd name="T14" fmla="*/ 21 w 57"/>
                  <a:gd name="T15" fmla="*/ 11 h 91"/>
                  <a:gd name="T16" fmla="*/ 45 w 57"/>
                  <a:gd name="T17" fmla="*/ 0 h 91"/>
                  <a:gd name="T18" fmla="*/ 57 w 57"/>
                  <a:gd name="T19" fmla="*/ 4 h 91"/>
                  <a:gd name="T20" fmla="*/ 49 w 57"/>
                  <a:gd name="T21" fmla="*/ 2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1">
                    <a:moveTo>
                      <a:pt x="49" y="22"/>
                    </a:moveTo>
                    <a:cubicBezTo>
                      <a:pt x="45" y="20"/>
                      <a:pt x="41" y="20"/>
                      <a:pt x="39" y="20"/>
                    </a:cubicBezTo>
                    <a:cubicBezTo>
                      <a:pt x="34" y="20"/>
                      <a:pt x="28" y="22"/>
                      <a:pt x="22" y="27"/>
                    </a:cubicBezTo>
                    <a:cubicBezTo>
                      <a:pt x="22" y="27"/>
                      <a:pt x="22" y="57"/>
                      <a:pt x="22" y="74"/>
                    </a:cubicBezTo>
                    <a:cubicBezTo>
                      <a:pt x="22" y="91"/>
                      <a:pt x="0" y="90"/>
                      <a:pt x="0" y="90"/>
                    </a:cubicBezTo>
                    <a:cubicBezTo>
                      <a:pt x="0" y="2"/>
                      <a:pt x="0" y="2"/>
                      <a:pt x="0" y="2"/>
                    </a:cubicBezTo>
                    <a:cubicBezTo>
                      <a:pt x="18" y="2"/>
                      <a:pt x="18" y="2"/>
                      <a:pt x="18"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0" name="Freeform 12"/>
              <p:cNvSpPr>
                <a:spLocks/>
              </p:cNvSpPr>
              <p:nvPr userDrawn="1"/>
            </p:nvSpPr>
            <p:spPr bwMode="auto">
              <a:xfrm>
                <a:off x="7907980" y="4892699"/>
                <a:ext cx="98605" cy="95129"/>
              </a:xfrm>
              <a:custGeom>
                <a:avLst/>
                <a:gdLst>
                  <a:gd name="T0" fmla="*/ 106 w 130"/>
                  <a:gd name="T1" fmla="*/ 131 h 131"/>
                  <a:gd name="T2" fmla="*/ 106 w 130"/>
                  <a:gd name="T3" fmla="*/ 53 h 131"/>
                  <a:gd name="T4" fmla="*/ 107 w 130"/>
                  <a:gd name="T5" fmla="*/ 39 h 131"/>
                  <a:gd name="T6" fmla="*/ 106 w 130"/>
                  <a:gd name="T7" fmla="*/ 39 h 131"/>
                  <a:gd name="T8" fmla="*/ 99 w 130"/>
                  <a:gd name="T9" fmla="*/ 52 h 131"/>
                  <a:gd name="T10" fmla="*/ 72 w 130"/>
                  <a:gd name="T11" fmla="*/ 93 h 131"/>
                  <a:gd name="T12" fmla="*/ 60 w 130"/>
                  <a:gd name="T13" fmla="*/ 93 h 131"/>
                  <a:gd name="T14" fmla="*/ 32 w 130"/>
                  <a:gd name="T15" fmla="*/ 51 h 131"/>
                  <a:gd name="T16" fmla="*/ 24 w 130"/>
                  <a:gd name="T17" fmla="*/ 39 h 131"/>
                  <a:gd name="T18" fmla="*/ 23 w 130"/>
                  <a:gd name="T19" fmla="*/ 39 h 131"/>
                  <a:gd name="T20" fmla="*/ 24 w 130"/>
                  <a:gd name="T21" fmla="*/ 52 h 131"/>
                  <a:gd name="T22" fmla="*/ 24 w 130"/>
                  <a:gd name="T23" fmla="*/ 131 h 131"/>
                  <a:gd name="T24" fmla="*/ 0 w 130"/>
                  <a:gd name="T25" fmla="*/ 131 h 131"/>
                  <a:gd name="T26" fmla="*/ 0 w 130"/>
                  <a:gd name="T27" fmla="*/ 0 h 131"/>
                  <a:gd name="T28" fmla="*/ 22 w 130"/>
                  <a:gd name="T29" fmla="*/ 0 h 131"/>
                  <a:gd name="T30" fmla="*/ 58 w 130"/>
                  <a:gd name="T31" fmla="*/ 52 h 131"/>
                  <a:gd name="T32" fmla="*/ 66 w 130"/>
                  <a:gd name="T33" fmla="*/ 66 h 131"/>
                  <a:gd name="T34" fmla="*/ 67 w 130"/>
                  <a:gd name="T35" fmla="*/ 66 h 131"/>
                  <a:gd name="T36" fmla="*/ 75 w 130"/>
                  <a:gd name="T37" fmla="*/ 52 h 131"/>
                  <a:gd name="T38" fmla="*/ 108 w 130"/>
                  <a:gd name="T39" fmla="*/ 0 h 131"/>
                  <a:gd name="T40" fmla="*/ 130 w 130"/>
                  <a:gd name="T41" fmla="*/ 0 h 131"/>
                  <a:gd name="T42" fmla="*/ 130 w 130"/>
                  <a:gd name="T43" fmla="*/ 131 h 131"/>
                  <a:gd name="T44" fmla="*/ 106 w 130"/>
                  <a:gd name="T45"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0" h="131">
                    <a:moveTo>
                      <a:pt x="106" y="131"/>
                    </a:moveTo>
                    <a:cubicBezTo>
                      <a:pt x="106" y="53"/>
                      <a:pt x="106" y="53"/>
                      <a:pt x="106" y="53"/>
                    </a:cubicBezTo>
                    <a:cubicBezTo>
                      <a:pt x="106" y="48"/>
                      <a:pt x="106" y="44"/>
                      <a:pt x="107" y="39"/>
                    </a:cubicBezTo>
                    <a:cubicBezTo>
                      <a:pt x="106" y="39"/>
                      <a:pt x="106" y="39"/>
                      <a:pt x="106" y="39"/>
                    </a:cubicBezTo>
                    <a:cubicBezTo>
                      <a:pt x="105" y="43"/>
                      <a:pt x="101" y="49"/>
                      <a:pt x="99" y="52"/>
                    </a:cubicBezTo>
                    <a:cubicBezTo>
                      <a:pt x="72" y="93"/>
                      <a:pt x="72" y="93"/>
                      <a:pt x="72" y="93"/>
                    </a:cubicBezTo>
                    <a:cubicBezTo>
                      <a:pt x="60" y="93"/>
                      <a:pt x="60" y="93"/>
                      <a:pt x="60" y="93"/>
                    </a:cubicBezTo>
                    <a:cubicBezTo>
                      <a:pt x="32" y="51"/>
                      <a:pt x="32" y="51"/>
                      <a:pt x="32" y="51"/>
                    </a:cubicBezTo>
                    <a:cubicBezTo>
                      <a:pt x="29" y="48"/>
                      <a:pt x="26" y="44"/>
                      <a:pt x="24" y="39"/>
                    </a:cubicBezTo>
                    <a:cubicBezTo>
                      <a:pt x="23" y="39"/>
                      <a:pt x="23" y="39"/>
                      <a:pt x="23" y="39"/>
                    </a:cubicBezTo>
                    <a:cubicBezTo>
                      <a:pt x="24" y="44"/>
                      <a:pt x="24" y="48"/>
                      <a:pt x="24" y="52"/>
                    </a:cubicBezTo>
                    <a:cubicBezTo>
                      <a:pt x="24" y="131"/>
                      <a:pt x="24" y="131"/>
                      <a:pt x="24" y="131"/>
                    </a:cubicBezTo>
                    <a:cubicBezTo>
                      <a:pt x="0" y="131"/>
                      <a:pt x="0" y="131"/>
                      <a:pt x="0" y="131"/>
                    </a:cubicBezTo>
                    <a:cubicBezTo>
                      <a:pt x="0" y="0"/>
                      <a:pt x="0" y="0"/>
                      <a:pt x="0" y="0"/>
                    </a:cubicBezTo>
                    <a:cubicBezTo>
                      <a:pt x="22" y="0"/>
                      <a:pt x="22" y="0"/>
                      <a:pt x="22" y="0"/>
                    </a:cubicBezTo>
                    <a:cubicBezTo>
                      <a:pt x="58" y="52"/>
                      <a:pt x="58" y="52"/>
                      <a:pt x="58" y="52"/>
                    </a:cubicBezTo>
                    <a:cubicBezTo>
                      <a:pt x="61" y="57"/>
                      <a:pt x="64" y="61"/>
                      <a:pt x="66" y="66"/>
                    </a:cubicBezTo>
                    <a:cubicBezTo>
                      <a:pt x="67" y="66"/>
                      <a:pt x="67" y="66"/>
                      <a:pt x="67" y="66"/>
                    </a:cubicBezTo>
                    <a:cubicBezTo>
                      <a:pt x="69" y="61"/>
                      <a:pt x="71" y="57"/>
                      <a:pt x="75" y="52"/>
                    </a:cubicBezTo>
                    <a:cubicBezTo>
                      <a:pt x="108" y="0"/>
                      <a:pt x="108" y="0"/>
                      <a:pt x="108" y="0"/>
                    </a:cubicBezTo>
                    <a:cubicBezTo>
                      <a:pt x="130" y="0"/>
                      <a:pt x="130" y="0"/>
                      <a:pt x="130" y="0"/>
                    </a:cubicBezTo>
                    <a:cubicBezTo>
                      <a:pt x="130" y="131"/>
                      <a:pt x="130" y="131"/>
                      <a:pt x="130" y="131"/>
                    </a:cubicBezTo>
                    <a:lnTo>
                      <a:pt x="106" y="131"/>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1" name="Freeform 13"/>
              <p:cNvSpPr>
                <a:spLocks/>
              </p:cNvSpPr>
              <p:nvPr userDrawn="1"/>
            </p:nvSpPr>
            <p:spPr bwMode="auto">
              <a:xfrm>
                <a:off x="7665803" y="4864376"/>
                <a:ext cx="100854" cy="148389"/>
              </a:xfrm>
              <a:custGeom>
                <a:avLst/>
                <a:gdLst>
                  <a:gd name="T0" fmla="*/ 133 w 133"/>
                  <a:gd name="T1" fmla="*/ 23 h 204"/>
                  <a:gd name="T2" fmla="*/ 132 w 133"/>
                  <a:gd name="T3" fmla="*/ 22 h 204"/>
                  <a:gd name="T4" fmla="*/ 65 w 133"/>
                  <a:gd name="T5" fmla="*/ 20 h 204"/>
                  <a:gd name="T6" fmla="*/ 52 w 133"/>
                  <a:gd name="T7" fmla="*/ 52 h 204"/>
                  <a:gd name="T8" fmla="*/ 20 w 133"/>
                  <a:gd name="T9" fmla="*/ 65 h 204"/>
                  <a:gd name="T10" fmla="*/ 22 w 133"/>
                  <a:gd name="T11" fmla="*/ 132 h 204"/>
                  <a:gd name="T12" fmla="*/ 95 w 133"/>
                  <a:gd name="T13" fmla="*/ 204 h 204"/>
                  <a:gd name="T14" fmla="*/ 117 w 133"/>
                  <a:gd name="T15" fmla="*/ 182 h 204"/>
                  <a:gd name="T16" fmla="*/ 44 w 133"/>
                  <a:gd name="T17" fmla="*/ 110 h 204"/>
                  <a:gd name="T18" fmla="*/ 42 w 133"/>
                  <a:gd name="T19" fmla="*/ 86 h 204"/>
                  <a:gd name="T20" fmla="*/ 66 w 133"/>
                  <a:gd name="T21" fmla="*/ 88 h 204"/>
                  <a:gd name="T22" fmla="*/ 133 w 133"/>
                  <a:gd name="T23" fmla="*/ 155 h 204"/>
                  <a:gd name="T24" fmla="*/ 133 w 133"/>
                  <a:gd name="T25" fmla="*/ 111 h 204"/>
                  <a:gd name="T26" fmla="*/ 88 w 133"/>
                  <a:gd name="T27" fmla="*/ 66 h 204"/>
                  <a:gd name="T28" fmla="*/ 86 w 133"/>
                  <a:gd name="T29" fmla="*/ 42 h 204"/>
                  <a:gd name="T30" fmla="*/ 110 w 133"/>
                  <a:gd name="T31" fmla="*/ 44 h 204"/>
                  <a:gd name="T32" fmla="*/ 133 w 133"/>
                  <a:gd name="T33" fmla="*/ 66 h 204"/>
                  <a:gd name="T34" fmla="*/ 133 w 133"/>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204">
                    <a:moveTo>
                      <a:pt x="133" y="23"/>
                    </a:moveTo>
                    <a:cubicBezTo>
                      <a:pt x="132" y="22"/>
                      <a:pt x="132" y="22"/>
                      <a:pt x="132" y="22"/>
                    </a:cubicBezTo>
                    <a:cubicBezTo>
                      <a:pt x="110" y="0"/>
                      <a:pt x="82" y="2"/>
                      <a:pt x="65" y="20"/>
                    </a:cubicBezTo>
                    <a:cubicBezTo>
                      <a:pt x="53" y="32"/>
                      <a:pt x="51" y="46"/>
                      <a:pt x="52" y="52"/>
                    </a:cubicBezTo>
                    <a:cubicBezTo>
                      <a:pt x="47" y="51"/>
                      <a:pt x="32" y="52"/>
                      <a:pt x="20" y="65"/>
                    </a:cubicBezTo>
                    <a:cubicBezTo>
                      <a:pt x="3" y="82"/>
                      <a:pt x="0" y="110"/>
                      <a:pt x="22" y="132"/>
                    </a:cubicBezTo>
                    <a:cubicBezTo>
                      <a:pt x="95" y="204"/>
                      <a:pt x="95" y="204"/>
                      <a:pt x="95" y="204"/>
                    </a:cubicBezTo>
                    <a:cubicBezTo>
                      <a:pt x="117" y="182"/>
                      <a:pt x="117" y="182"/>
                      <a:pt x="117" y="182"/>
                    </a:cubicBezTo>
                    <a:cubicBezTo>
                      <a:pt x="44" y="110"/>
                      <a:pt x="44" y="110"/>
                      <a:pt x="44" y="110"/>
                    </a:cubicBezTo>
                    <a:cubicBezTo>
                      <a:pt x="35" y="101"/>
                      <a:pt x="36" y="91"/>
                      <a:pt x="42" y="86"/>
                    </a:cubicBezTo>
                    <a:cubicBezTo>
                      <a:pt x="47" y="80"/>
                      <a:pt x="58" y="79"/>
                      <a:pt x="66" y="88"/>
                    </a:cubicBezTo>
                    <a:cubicBezTo>
                      <a:pt x="133" y="155"/>
                      <a:pt x="133" y="155"/>
                      <a:pt x="133" y="155"/>
                    </a:cubicBezTo>
                    <a:cubicBezTo>
                      <a:pt x="133" y="111"/>
                      <a:pt x="133" y="111"/>
                      <a:pt x="133" y="111"/>
                    </a:cubicBezTo>
                    <a:cubicBezTo>
                      <a:pt x="88" y="66"/>
                      <a:pt x="88" y="66"/>
                      <a:pt x="88" y="66"/>
                    </a:cubicBezTo>
                    <a:cubicBezTo>
                      <a:pt x="80" y="57"/>
                      <a:pt x="80" y="47"/>
                      <a:pt x="86" y="42"/>
                    </a:cubicBezTo>
                    <a:cubicBezTo>
                      <a:pt x="92" y="36"/>
                      <a:pt x="102" y="35"/>
                      <a:pt x="110" y="44"/>
                    </a:cubicBezTo>
                    <a:cubicBezTo>
                      <a:pt x="133" y="66"/>
                      <a:pt x="133" y="66"/>
                      <a:pt x="133" y="66"/>
                    </a:cubicBezTo>
                    <a:lnTo>
                      <a:pt x="133"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2" name="Freeform 14"/>
              <p:cNvSpPr>
                <a:spLocks noEditPoints="1"/>
              </p:cNvSpPr>
              <p:nvPr userDrawn="1"/>
            </p:nvSpPr>
            <p:spPr bwMode="auto">
              <a:xfrm>
                <a:off x="8023287" y="4895470"/>
                <a:ext cx="20556" cy="93282"/>
              </a:xfrm>
              <a:custGeom>
                <a:avLst/>
                <a:gdLst>
                  <a:gd name="T0" fmla="*/ 14 w 27"/>
                  <a:gd name="T1" fmla="*/ 26 h 128"/>
                  <a:gd name="T2" fmla="*/ 0 w 27"/>
                  <a:gd name="T3" fmla="*/ 13 h 128"/>
                  <a:gd name="T4" fmla="*/ 14 w 27"/>
                  <a:gd name="T5" fmla="*/ 0 h 128"/>
                  <a:gd name="T6" fmla="*/ 27 w 27"/>
                  <a:gd name="T7" fmla="*/ 13 h 128"/>
                  <a:gd name="T8" fmla="*/ 14 w 27"/>
                  <a:gd name="T9" fmla="*/ 26 h 128"/>
                  <a:gd name="T10" fmla="*/ 3 w 27"/>
                  <a:gd name="T11" fmla="*/ 128 h 128"/>
                  <a:gd name="T12" fmla="*/ 3 w 27"/>
                  <a:gd name="T13" fmla="*/ 40 h 128"/>
                  <a:gd name="T14" fmla="*/ 25 w 27"/>
                  <a:gd name="T15" fmla="*/ 40 h 128"/>
                  <a:gd name="T16" fmla="*/ 25 w 27"/>
                  <a:gd name="T17" fmla="*/ 112 h 128"/>
                  <a:gd name="T18" fmla="*/ 3 w 27"/>
                  <a:gd name="T1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128">
                    <a:moveTo>
                      <a:pt x="14" y="26"/>
                    </a:moveTo>
                    <a:cubicBezTo>
                      <a:pt x="6" y="26"/>
                      <a:pt x="0" y="20"/>
                      <a:pt x="0" y="13"/>
                    </a:cubicBezTo>
                    <a:cubicBezTo>
                      <a:pt x="0" y="6"/>
                      <a:pt x="6" y="0"/>
                      <a:pt x="14" y="0"/>
                    </a:cubicBezTo>
                    <a:cubicBezTo>
                      <a:pt x="21" y="0"/>
                      <a:pt x="27" y="5"/>
                      <a:pt x="27" y="13"/>
                    </a:cubicBezTo>
                    <a:cubicBezTo>
                      <a:pt x="27" y="20"/>
                      <a:pt x="21" y="26"/>
                      <a:pt x="14" y="26"/>
                    </a:cubicBezTo>
                    <a:close/>
                    <a:moveTo>
                      <a:pt x="3" y="128"/>
                    </a:moveTo>
                    <a:cubicBezTo>
                      <a:pt x="3" y="40"/>
                      <a:pt x="3" y="40"/>
                      <a:pt x="3" y="40"/>
                    </a:cubicBezTo>
                    <a:cubicBezTo>
                      <a:pt x="25" y="40"/>
                      <a:pt x="25" y="40"/>
                      <a:pt x="25" y="40"/>
                    </a:cubicBezTo>
                    <a:cubicBezTo>
                      <a:pt x="25" y="40"/>
                      <a:pt x="25" y="95"/>
                      <a:pt x="25" y="112"/>
                    </a:cubicBezTo>
                    <a:cubicBezTo>
                      <a:pt x="25" y="128"/>
                      <a:pt x="3" y="128"/>
                      <a:pt x="3" y="1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3" name="Freeform 15"/>
              <p:cNvSpPr>
                <a:spLocks/>
              </p:cNvSpPr>
              <p:nvPr userDrawn="1"/>
            </p:nvSpPr>
            <p:spPr bwMode="auto">
              <a:xfrm>
                <a:off x="8615239" y="4924717"/>
                <a:ext cx="103744" cy="66806"/>
              </a:xfrm>
              <a:custGeom>
                <a:avLst/>
                <a:gdLst>
                  <a:gd name="T0" fmla="*/ 111 w 137"/>
                  <a:gd name="T1" fmla="*/ 72 h 92"/>
                  <a:gd name="T2" fmla="*/ 88 w 137"/>
                  <a:gd name="T3" fmla="*/ 88 h 92"/>
                  <a:gd name="T4" fmla="*/ 68 w 137"/>
                  <a:gd name="T5" fmla="*/ 28 h 92"/>
                  <a:gd name="T6" fmla="*/ 68 w 137"/>
                  <a:gd name="T7" fmla="*/ 28 h 92"/>
                  <a:gd name="T8" fmla="*/ 53 w 137"/>
                  <a:gd name="T9" fmla="*/ 72 h 92"/>
                  <a:gd name="T10" fmla="*/ 31 w 137"/>
                  <a:gd name="T11" fmla="*/ 88 h 92"/>
                  <a:gd name="T12" fmla="*/ 0 w 137"/>
                  <a:gd name="T13" fmla="*/ 0 h 92"/>
                  <a:gd name="T14" fmla="*/ 22 w 137"/>
                  <a:gd name="T15" fmla="*/ 0 h 92"/>
                  <a:gd name="T16" fmla="*/ 41 w 137"/>
                  <a:gd name="T17" fmla="*/ 60 h 92"/>
                  <a:gd name="T18" fmla="*/ 41 w 137"/>
                  <a:gd name="T19" fmla="*/ 60 h 92"/>
                  <a:gd name="T20" fmla="*/ 60 w 137"/>
                  <a:gd name="T21" fmla="*/ 0 h 92"/>
                  <a:gd name="T22" fmla="*/ 77 w 137"/>
                  <a:gd name="T23" fmla="*/ 0 h 92"/>
                  <a:gd name="T24" fmla="*/ 97 w 137"/>
                  <a:gd name="T25" fmla="*/ 60 h 92"/>
                  <a:gd name="T26" fmla="*/ 97 w 137"/>
                  <a:gd name="T27" fmla="*/ 60 h 92"/>
                  <a:gd name="T28" fmla="*/ 115 w 137"/>
                  <a:gd name="T29" fmla="*/ 0 h 92"/>
                  <a:gd name="T30" fmla="*/ 137 w 137"/>
                  <a:gd name="T31" fmla="*/ 0 h 92"/>
                  <a:gd name="T32" fmla="*/ 111 w 137"/>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 h="92">
                    <a:moveTo>
                      <a:pt x="111" y="72"/>
                    </a:moveTo>
                    <a:cubicBezTo>
                      <a:pt x="104" y="92"/>
                      <a:pt x="88" y="88"/>
                      <a:pt x="88" y="88"/>
                    </a:cubicBezTo>
                    <a:cubicBezTo>
                      <a:pt x="68" y="28"/>
                      <a:pt x="68" y="28"/>
                      <a:pt x="68" y="28"/>
                    </a:cubicBezTo>
                    <a:cubicBezTo>
                      <a:pt x="68" y="28"/>
                      <a:pt x="68" y="28"/>
                      <a:pt x="68" y="28"/>
                    </a:cubicBezTo>
                    <a:cubicBezTo>
                      <a:pt x="68" y="28"/>
                      <a:pt x="59"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7" y="60"/>
                      <a:pt x="97" y="60"/>
                      <a:pt x="97" y="60"/>
                    </a:cubicBezTo>
                    <a:cubicBezTo>
                      <a:pt x="97" y="60"/>
                      <a:pt x="97" y="60"/>
                      <a:pt x="97" y="60"/>
                    </a:cubicBezTo>
                    <a:cubicBezTo>
                      <a:pt x="115" y="0"/>
                      <a:pt x="115" y="0"/>
                      <a:pt x="115" y="0"/>
                    </a:cubicBezTo>
                    <a:cubicBezTo>
                      <a:pt x="137" y="0"/>
                      <a:pt x="137" y="0"/>
                      <a:pt x="137" y="0"/>
                    </a:cubicBezTo>
                    <a:cubicBezTo>
                      <a:pt x="137"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4" name="Freeform 16"/>
              <p:cNvSpPr>
                <a:spLocks noEditPoints="1"/>
              </p:cNvSpPr>
              <p:nvPr userDrawn="1"/>
            </p:nvSpPr>
            <p:spPr bwMode="auto">
              <a:xfrm>
                <a:off x="8423168" y="4892699"/>
                <a:ext cx="65844" cy="95129"/>
              </a:xfrm>
              <a:custGeom>
                <a:avLst/>
                <a:gdLst>
                  <a:gd name="T0" fmla="*/ 1 w 87"/>
                  <a:gd name="T1" fmla="*/ 0 h 131"/>
                  <a:gd name="T2" fmla="*/ 0 w 87"/>
                  <a:gd name="T3" fmla="*/ 131 h 131"/>
                  <a:gd name="T4" fmla="*/ 41 w 87"/>
                  <a:gd name="T5" fmla="*/ 131 h 131"/>
                  <a:gd name="T6" fmla="*/ 87 w 87"/>
                  <a:gd name="T7" fmla="*/ 92 h 131"/>
                  <a:gd name="T8" fmla="*/ 65 w 87"/>
                  <a:gd name="T9" fmla="*/ 61 h 131"/>
                  <a:gd name="T10" fmla="*/ 62 w 87"/>
                  <a:gd name="T11" fmla="*/ 60 h 131"/>
                  <a:gd name="T12" fmla="*/ 64 w 87"/>
                  <a:gd name="T13" fmla="*/ 59 h 131"/>
                  <a:gd name="T14" fmla="*/ 79 w 87"/>
                  <a:gd name="T15" fmla="*/ 32 h 131"/>
                  <a:gd name="T16" fmla="*/ 42 w 87"/>
                  <a:gd name="T17" fmla="*/ 0 h 131"/>
                  <a:gd name="T18" fmla="*/ 1 w 87"/>
                  <a:gd name="T19" fmla="*/ 0 h 131"/>
                  <a:gd name="T20" fmla="*/ 23 w 87"/>
                  <a:gd name="T21" fmla="*/ 17 h 131"/>
                  <a:gd name="T22" fmla="*/ 36 w 87"/>
                  <a:gd name="T23" fmla="*/ 17 h 131"/>
                  <a:gd name="T24" fmla="*/ 56 w 87"/>
                  <a:gd name="T25" fmla="*/ 35 h 131"/>
                  <a:gd name="T26" fmla="*/ 38 w 87"/>
                  <a:gd name="T27" fmla="*/ 55 h 131"/>
                  <a:gd name="T28" fmla="*/ 22 w 87"/>
                  <a:gd name="T29" fmla="*/ 55 h 131"/>
                  <a:gd name="T30" fmla="*/ 23 w 87"/>
                  <a:gd name="T31" fmla="*/ 17 h 131"/>
                  <a:gd name="T32" fmla="*/ 22 w 87"/>
                  <a:gd name="T33" fmla="*/ 74 h 131"/>
                  <a:gd name="T34" fmla="*/ 40 w 87"/>
                  <a:gd name="T35" fmla="*/ 74 h 131"/>
                  <a:gd name="T36" fmla="*/ 64 w 87"/>
                  <a:gd name="T37" fmla="*/ 92 h 131"/>
                  <a:gd name="T38" fmla="*/ 39 w 87"/>
                  <a:gd name="T39" fmla="*/ 113 h 131"/>
                  <a:gd name="T40" fmla="*/ 22 w 87"/>
                  <a:gd name="T41" fmla="*/ 113 h 131"/>
                  <a:gd name="T42" fmla="*/ 22 w 87"/>
                  <a:gd name="T43" fmla="*/ 7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131">
                    <a:moveTo>
                      <a:pt x="1" y="0"/>
                    </a:moveTo>
                    <a:cubicBezTo>
                      <a:pt x="1" y="3"/>
                      <a:pt x="0" y="129"/>
                      <a:pt x="0" y="131"/>
                    </a:cubicBezTo>
                    <a:cubicBezTo>
                      <a:pt x="2" y="131"/>
                      <a:pt x="41" y="131"/>
                      <a:pt x="41" y="131"/>
                    </a:cubicBezTo>
                    <a:cubicBezTo>
                      <a:pt x="73" y="131"/>
                      <a:pt x="87" y="111"/>
                      <a:pt x="87" y="92"/>
                    </a:cubicBezTo>
                    <a:cubicBezTo>
                      <a:pt x="87" y="77"/>
                      <a:pt x="79" y="65"/>
                      <a:pt x="65" y="61"/>
                    </a:cubicBezTo>
                    <a:cubicBezTo>
                      <a:pt x="62" y="60"/>
                      <a:pt x="62" y="60"/>
                      <a:pt x="62" y="60"/>
                    </a:cubicBezTo>
                    <a:cubicBezTo>
                      <a:pt x="64" y="59"/>
                      <a:pt x="64" y="59"/>
                      <a:pt x="64" y="59"/>
                    </a:cubicBezTo>
                    <a:cubicBezTo>
                      <a:pt x="74" y="54"/>
                      <a:pt x="79" y="44"/>
                      <a:pt x="79" y="32"/>
                    </a:cubicBezTo>
                    <a:cubicBezTo>
                      <a:pt x="79" y="17"/>
                      <a:pt x="68" y="0"/>
                      <a:pt x="42" y="0"/>
                    </a:cubicBezTo>
                    <a:cubicBezTo>
                      <a:pt x="42" y="0"/>
                      <a:pt x="3" y="0"/>
                      <a:pt x="1" y="0"/>
                    </a:cubicBezTo>
                    <a:close/>
                    <a:moveTo>
                      <a:pt x="23" y="17"/>
                    </a:moveTo>
                    <a:cubicBezTo>
                      <a:pt x="36" y="17"/>
                      <a:pt x="36" y="17"/>
                      <a:pt x="36" y="17"/>
                    </a:cubicBezTo>
                    <a:cubicBezTo>
                      <a:pt x="49" y="17"/>
                      <a:pt x="56" y="24"/>
                      <a:pt x="56" y="35"/>
                    </a:cubicBezTo>
                    <a:cubicBezTo>
                      <a:pt x="56" y="47"/>
                      <a:pt x="47" y="55"/>
                      <a:pt x="38" y="55"/>
                    </a:cubicBezTo>
                    <a:cubicBezTo>
                      <a:pt x="22" y="55"/>
                      <a:pt x="22" y="55"/>
                      <a:pt x="22" y="55"/>
                    </a:cubicBezTo>
                    <a:lnTo>
                      <a:pt x="23" y="17"/>
                    </a:lnTo>
                    <a:close/>
                    <a:moveTo>
                      <a:pt x="22" y="74"/>
                    </a:moveTo>
                    <a:cubicBezTo>
                      <a:pt x="40" y="74"/>
                      <a:pt x="40" y="74"/>
                      <a:pt x="40" y="74"/>
                    </a:cubicBezTo>
                    <a:cubicBezTo>
                      <a:pt x="55" y="74"/>
                      <a:pt x="64" y="81"/>
                      <a:pt x="64" y="92"/>
                    </a:cubicBezTo>
                    <a:cubicBezTo>
                      <a:pt x="64" y="105"/>
                      <a:pt x="55" y="113"/>
                      <a:pt x="39" y="113"/>
                    </a:cubicBezTo>
                    <a:cubicBezTo>
                      <a:pt x="22" y="113"/>
                      <a:pt x="22" y="113"/>
                      <a:pt x="22" y="113"/>
                    </a:cubicBezTo>
                    <a:lnTo>
                      <a:pt x="22" y="74"/>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5" name="Freeform 17"/>
              <p:cNvSpPr>
                <a:spLocks noEditPoints="1"/>
              </p:cNvSpPr>
              <p:nvPr userDrawn="1"/>
            </p:nvSpPr>
            <p:spPr bwMode="auto">
              <a:xfrm>
                <a:off x="8546184" y="4923177"/>
                <a:ext cx="66486" cy="66190"/>
              </a:xfrm>
              <a:custGeom>
                <a:avLst/>
                <a:gdLst>
                  <a:gd name="T0" fmla="*/ 75 w 88"/>
                  <a:gd name="T1" fmla="*/ 78 h 91"/>
                  <a:gd name="T2" fmla="*/ 44 w 88"/>
                  <a:gd name="T3" fmla="*/ 91 h 91"/>
                  <a:gd name="T4" fmla="*/ 14 w 88"/>
                  <a:gd name="T5" fmla="*/ 80 h 91"/>
                  <a:gd name="T6" fmla="*/ 0 w 88"/>
                  <a:gd name="T7" fmla="*/ 46 h 91"/>
                  <a:gd name="T8" fmla="*/ 13 w 88"/>
                  <a:gd name="T9" fmla="*/ 12 h 91"/>
                  <a:gd name="T10" fmla="*/ 44 w 88"/>
                  <a:gd name="T11" fmla="*/ 0 h 91"/>
                  <a:gd name="T12" fmla="*/ 76 w 88"/>
                  <a:gd name="T13" fmla="*/ 12 h 91"/>
                  <a:gd name="T14" fmla="*/ 88 w 88"/>
                  <a:gd name="T15" fmla="*/ 45 h 91"/>
                  <a:gd name="T16" fmla="*/ 75 w 88"/>
                  <a:gd name="T17" fmla="*/ 78 h 91"/>
                  <a:gd name="T18" fmla="*/ 44 w 88"/>
                  <a:gd name="T19" fmla="*/ 17 h 91"/>
                  <a:gd name="T20" fmla="*/ 23 w 88"/>
                  <a:gd name="T21" fmla="*/ 45 h 91"/>
                  <a:gd name="T22" fmla="*/ 44 w 88"/>
                  <a:gd name="T23" fmla="*/ 73 h 91"/>
                  <a:gd name="T24" fmla="*/ 65 w 88"/>
                  <a:gd name="T25" fmla="*/ 45 h 91"/>
                  <a:gd name="T26" fmla="*/ 44 w 88"/>
                  <a:gd name="T27"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91">
                    <a:moveTo>
                      <a:pt x="75" y="78"/>
                    </a:moveTo>
                    <a:cubicBezTo>
                      <a:pt x="68" y="86"/>
                      <a:pt x="57" y="91"/>
                      <a:pt x="44" y="91"/>
                    </a:cubicBezTo>
                    <a:cubicBezTo>
                      <a:pt x="32" y="91"/>
                      <a:pt x="21" y="87"/>
                      <a:pt x="14" y="80"/>
                    </a:cubicBezTo>
                    <a:cubicBezTo>
                      <a:pt x="5" y="72"/>
                      <a:pt x="0" y="60"/>
                      <a:pt x="0" y="46"/>
                    </a:cubicBezTo>
                    <a:cubicBezTo>
                      <a:pt x="0" y="32"/>
                      <a:pt x="5" y="20"/>
                      <a:pt x="13" y="12"/>
                    </a:cubicBezTo>
                    <a:cubicBezTo>
                      <a:pt x="21" y="4"/>
                      <a:pt x="31" y="0"/>
                      <a:pt x="44" y="0"/>
                    </a:cubicBezTo>
                    <a:cubicBezTo>
                      <a:pt x="57" y="0"/>
                      <a:pt x="68" y="4"/>
                      <a:pt x="76" y="12"/>
                    </a:cubicBezTo>
                    <a:cubicBezTo>
                      <a:pt x="84" y="20"/>
                      <a:pt x="88" y="32"/>
                      <a:pt x="88" y="45"/>
                    </a:cubicBezTo>
                    <a:cubicBezTo>
                      <a:pt x="88" y="58"/>
                      <a:pt x="83" y="70"/>
                      <a:pt x="75" y="78"/>
                    </a:cubicBezTo>
                    <a:close/>
                    <a:moveTo>
                      <a:pt x="44" y="17"/>
                    </a:moveTo>
                    <a:cubicBezTo>
                      <a:pt x="30" y="17"/>
                      <a:pt x="23" y="29"/>
                      <a:pt x="23" y="45"/>
                    </a:cubicBezTo>
                    <a:cubicBezTo>
                      <a:pt x="23" y="62"/>
                      <a:pt x="31" y="73"/>
                      <a:pt x="44" y="73"/>
                    </a:cubicBezTo>
                    <a:cubicBezTo>
                      <a:pt x="58" y="73"/>
                      <a:pt x="65" y="61"/>
                      <a:pt x="65" y="45"/>
                    </a:cubicBezTo>
                    <a:cubicBezTo>
                      <a:pt x="65" y="28"/>
                      <a:pt x="57" y="17"/>
                      <a:pt x="44" y="1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6" name="Freeform 18"/>
              <p:cNvSpPr>
                <a:spLocks/>
              </p:cNvSpPr>
              <p:nvPr userDrawn="1"/>
            </p:nvSpPr>
            <p:spPr bwMode="auto">
              <a:xfrm>
                <a:off x="8728298" y="4923177"/>
                <a:ext cx="60705" cy="65574"/>
              </a:xfrm>
              <a:custGeom>
                <a:avLst/>
                <a:gdLst>
                  <a:gd name="T0" fmla="*/ 58 w 80"/>
                  <a:gd name="T1" fmla="*/ 90 h 90"/>
                  <a:gd name="T2" fmla="*/ 58 w 80"/>
                  <a:gd name="T3" fmla="*/ 38 h 90"/>
                  <a:gd name="T4" fmla="*/ 45 w 80"/>
                  <a:gd name="T5" fmla="*/ 19 h 90"/>
                  <a:gd name="T6" fmla="*/ 23 w 80"/>
                  <a:gd name="T7" fmla="*/ 28 h 90"/>
                  <a:gd name="T8" fmla="*/ 23 w 80"/>
                  <a:gd name="T9" fmla="*/ 74 h 90"/>
                  <a:gd name="T10" fmla="*/ 0 w 80"/>
                  <a:gd name="T11" fmla="*/ 90 h 90"/>
                  <a:gd name="T12" fmla="*/ 0 w 80"/>
                  <a:gd name="T13" fmla="*/ 2 h 90"/>
                  <a:gd name="T14" fmla="*/ 19 w 80"/>
                  <a:gd name="T15" fmla="*/ 2 h 90"/>
                  <a:gd name="T16" fmla="*/ 22 w 80"/>
                  <a:gd name="T17" fmla="*/ 11 h 90"/>
                  <a:gd name="T18" fmla="*/ 52 w 80"/>
                  <a:gd name="T19" fmla="*/ 0 h 90"/>
                  <a:gd name="T20" fmla="*/ 80 w 80"/>
                  <a:gd name="T21" fmla="*/ 31 h 90"/>
                  <a:gd name="T22" fmla="*/ 80 w 80"/>
                  <a:gd name="T23" fmla="*/ 74 h 90"/>
                  <a:gd name="T24" fmla="*/ 58 w 80"/>
                  <a:gd name="T2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90">
                    <a:moveTo>
                      <a:pt x="58" y="90"/>
                    </a:moveTo>
                    <a:cubicBezTo>
                      <a:pt x="58" y="38"/>
                      <a:pt x="58" y="38"/>
                      <a:pt x="58" y="38"/>
                    </a:cubicBezTo>
                    <a:cubicBezTo>
                      <a:pt x="58" y="29"/>
                      <a:pt x="56" y="19"/>
                      <a:pt x="45" y="19"/>
                    </a:cubicBezTo>
                    <a:cubicBezTo>
                      <a:pt x="37" y="19"/>
                      <a:pt x="29" y="23"/>
                      <a:pt x="23" y="28"/>
                    </a:cubicBezTo>
                    <a:cubicBezTo>
                      <a:pt x="23" y="28"/>
                      <a:pt x="23" y="57"/>
                      <a:pt x="23" y="74"/>
                    </a:cubicBezTo>
                    <a:cubicBezTo>
                      <a:pt x="23" y="90"/>
                      <a:pt x="0" y="90"/>
                      <a:pt x="0" y="90"/>
                    </a:cubicBezTo>
                    <a:cubicBezTo>
                      <a:pt x="0" y="2"/>
                      <a:pt x="0" y="2"/>
                      <a:pt x="0" y="2"/>
                    </a:cubicBezTo>
                    <a:cubicBezTo>
                      <a:pt x="19" y="2"/>
                      <a:pt x="19" y="2"/>
                      <a:pt x="19" y="2"/>
                    </a:cubicBezTo>
                    <a:cubicBezTo>
                      <a:pt x="22" y="11"/>
                      <a:pt x="22" y="11"/>
                      <a:pt x="22" y="11"/>
                    </a:cubicBezTo>
                    <a:cubicBezTo>
                      <a:pt x="31" y="4"/>
                      <a:pt x="40" y="0"/>
                      <a:pt x="52" y="0"/>
                    </a:cubicBezTo>
                    <a:cubicBezTo>
                      <a:pt x="65" y="0"/>
                      <a:pt x="80" y="8"/>
                      <a:pt x="80" y="31"/>
                    </a:cubicBezTo>
                    <a:cubicBezTo>
                      <a:pt x="80" y="31"/>
                      <a:pt x="80" y="57"/>
                      <a:pt x="80" y="74"/>
                    </a:cubicBezTo>
                    <a:cubicBezTo>
                      <a:pt x="80" y="90"/>
                      <a:pt x="58" y="90"/>
                      <a:pt x="58" y="9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8" name="Freeform 19"/>
              <p:cNvSpPr>
                <a:spLocks/>
              </p:cNvSpPr>
              <p:nvPr userDrawn="1"/>
            </p:nvSpPr>
            <p:spPr bwMode="auto">
              <a:xfrm>
                <a:off x="8501217" y="4923177"/>
                <a:ext cx="43361" cy="65574"/>
              </a:xfrm>
              <a:custGeom>
                <a:avLst/>
                <a:gdLst>
                  <a:gd name="T0" fmla="*/ 49 w 57"/>
                  <a:gd name="T1" fmla="*/ 22 h 90"/>
                  <a:gd name="T2" fmla="*/ 39 w 57"/>
                  <a:gd name="T3" fmla="*/ 20 h 90"/>
                  <a:gd name="T4" fmla="*/ 22 w 57"/>
                  <a:gd name="T5" fmla="*/ 27 h 90"/>
                  <a:gd name="T6" fmla="*/ 22 w 57"/>
                  <a:gd name="T7" fmla="*/ 74 h 90"/>
                  <a:gd name="T8" fmla="*/ 0 w 57"/>
                  <a:gd name="T9" fmla="*/ 90 h 90"/>
                  <a:gd name="T10" fmla="*/ 0 w 57"/>
                  <a:gd name="T11" fmla="*/ 2 h 90"/>
                  <a:gd name="T12" fmla="*/ 19 w 57"/>
                  <a:gd name="T13" fmla="*/ 2 h 90"/>
                  <a:gd name="T14" fmla="*/ 21 w 57"/>
                  <a:gd name="T15" fmla="*/ 11 h 90"/>
                  <a:gd name="T16" fmla="*/ 45 w 57"/>
                  <a:gd name="T17" fmla="*/ 0 h 90"/>
                  <a:gd name="T18" fmla="*/ 57 w 57"/>
                  <a:gd name="T19" fmla="*/ 4 h 90"/>
                  <a:gd name="T20" fmla="*/ 49 w 57"/>
                  <a:gd name="T21" fmla="*/ 2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0">
                    <a:moveTo>
                      <a:pt x="49" y="22"/>
                    </a:moveTo>
                    <a:cubicBezTo>
                      <a:pt x="46" y="20"/>
                      <a:pt x="42" y="20"/>
                      <a:pt x="39" y="20"/>
                    </a:cubicBezTo>
                    <a:cubicBezTo>
                      <a:pt x="34" y="20"/>
                      <a:pt x="28" y="22"/>
                      <a:pt x="22" y="27"/>
                    </a:cubicBezTo>
                    <a:cubicBezTo>
                      <a:pt x="22" y="27"/>
                      <a:pt x="22" y="57"/>
                      <a:pt x="22" y="74"/>
                    </a:cubicBezTo>
                    <a:cubicBezTo>
                      <a:pt x="22" y="90"/>
                      <a:pt x="0" y="90"/>
                      <a:pt x="0" y="90"/>
                    </a:cubicBezTo>
                    <a:cubicBezTo>
                      <a:pt x="0" y="2"/>
                      <a:pt x="0" y="2"/>
                      <a:pt x="0" y="2"/>
                    </a:cubicBezTo>
                    <a:cubicBezTo>
                      <a:pt x="19" y="2"/>
                      <a:pt x="19" y="2"/>
                      <a:pt x="19"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9" name="Freeform 20"/>
              <p:cNvSpPr>
                <a:spLocks/>
              </p:cNvSpPr>
              <p:nvPr userDrawn="1"/>
            </p:nvSpPr>
            <p:spPr bwMode="auto">
              <a:xfrm>
                <a:off x="7766657" y="4864376"/>
                <a:ext cx="100211" cy="148389"/>
              </a:xfrm>
              <a:custGeom>
                <a:avLst/>
                <a:gdLst>
                  <a:gd name="T0" fmla="*/ 0 w 132"/>
                  <a:gd name="T1" fmla="*/ 23 h 204"/>
                  <a:gd name="T2" fmla="*/ 1 w 132"/>
                  <a:gd name="T3" fmla="*/ 22 h 204"/>
                  <a:gd name="T4" fmla="*/ 67 w 132"/>
                  <a:gd name="T5" fmla="*/ 20 h 204"/>
                  <a:gd name="T6" fmla="*/ 80 w 132"/>
                  <a:gd name="T7" fmla="*/ 52 h 204"/>
                  <a:gd name="T8" fmla="*/ 113 w 132"/>
                  <a:gd name="T9" fmla="*/ 65 h 204"/>
                  <a:gd name="T10" fmla="*/ 111 w 132"/>
                  <a:gd name="T11" fmla="*/ 132 h 204"/>
                  <a:gd name="T12" fmla="*/ 38 w 132"/>
                  <a:gd name="T13" fmla="*/ 204 h 204"/>
                  <a:gd name="T14" fmla="*/ 16 w 132"/>
                  <a:gd name="T15" fmla="*/ 182 h 204"/>
                  <a:gd name="T16" fmla="*/ 88 w 132"/>
                  <a:gd name="T17" fmla="*/ 110 h 204"/>
                  <a:gd name="T18" fmla="*/ 91 w 132"/>
                  <a:gd name="T19" fmla="*/ 86 h 204"/>
                  <a:gd name="T20" fmla="*/ 67 w 132"/>
                  <a:gd name="T21" fmla="*/ 88 h 204"/>
                  <a:gd name="T22" fmla="*/ 0 w 132"/>
                  <a:gd name="T23" fmla="*/ 155 h 204"/>
                  <a:gd name="T24" fmla="*/ 0 w 132"/>
                  <a:gd name="T25" fmla="*/ 111 h 204"/>
                  <a:gd name="T26" fmla="*/ 45 w 132"/>
                  <a:gd name="T27" fmla="*/ 66 h 204"/>
                  <a:gd name="T28" fmla="*/ 46 w 132"/>
                  <a:gd name="T29" fmla="*/ 42 h 204"/>
                  <a:gd name="T30" fmla="*/ 22 w 132"/>
                  <a:gd name="T31" fmla="*/ 44 h 204"/>
                  <a:gd name="T32" fmla="*/ 0 w 132"/>
                  <a:gd name="T33" fmla="*/ 66 h 204"/>
                  <a:gd name="T34" fmla="*/ 0 w 132"/>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204">
                    <a:moveTo>
                      <a:pt x="0" y="23"/>
                    </a:moveTo>
                    <a:cubicBezTo>
                      <a:pt x="1" y="22"/>
                      <a:pt x="1" y="22"/>
                      <a:pt x="1" y="22"/>
                    </a:cubicBezTo>
                    <a:cubicBezTo>
                      <a:pt x="23" y="0"/>
                      <a:pt x="50" y="2"/>
                      <a:pt x="67" y="20"/>
                    </a:cubicBezTo>
                    <a:cubicBezTo>
                      <a:pt x="80" y="32"/>
                      <a:pt x="81" y="46"/>
                      <a:pt x="80" y="52"/>
                    </a:cubicBezTo>
                    <a:cubicBezTo>
                      <a:pt x="86" y="51"/>
                      <a:pt x="100" y="52"/>
                      <a:pt x="113" y="65"/>
                    </a:cubicBezTo>
                    <a:cubicBezTo>
                      <a:pt x="130" y="82"/>
                      <a:pt x="132" y="110"/>
                      <a:pt x="111" y="132"/>
                    </a:cubicBezTo>
                    <a:cubicBezTo>
                      <a:pt x="38" y="204"/>
                      <a:pt x="38" y="204"/>
                      <a:pt x="38" y="204"/>
                    </a:cubicBezTo>
                    <a:cubicBezTo>
                      <a:pt x="16" y="182"/>
                      <a:pt x="16" y="182"/>
                      <a:pt x="16" y="182"/>
                    </a:cubicBezTo>
                    <a:cubicBezTo>
                      <a:pt x="88" y="110"/>
                      <a:pt x="88" y="110"/>
                      <a:pt x="88" y="110"/>
                    </a:cubicBezTo>
                    <a:cubicBezTo>
                      <a:pt x="97" y="101"/>
                      <a:pt x="96" y="91"/>
                      <a:pt x="91" y="86"/>
                    </a:cubicBezTo>
                    <a:cubicBezTo>
                      <a:pt x="85" y="80"/>
                      <a:pt x="75" y="79"/>
                      <a:pt x="67" y="88"/>
                    </a:cubicBezTo>
                    <a:cubicBezTo>
                      <a:pt x="0" y="155"/>
                      <a:pt x="0" y="155"/>
                      <a:pt x="0" y="155"/>
                    </a:cubicBezTo>
                    <a:cubicBezTo>
                      <a:pt x="0" y="111"/>
                      <a:pt x="0" y="111"/>
                      <a:pt x="0" y="111"/>
                    </a:cubicBezTo>
                    <a:cubicBezTo>
                      <a:pt x="45" y="66"/>
                      <a:pt x="45" y="66"/>
                      <a:pt x="45" y="66"/>
                    </a:cubicBezTo>
                    <a:cubicBezTo>
                      <a:pt x="53" y="57"/>
                      <a:pt x="52" y="47"/>
                      <a:pt x="46" y="42"/>
                    </a:cubicBezTo>
                    <a:cubicBezTo>
                      <a:pt x="41" y="36"/>
                      <a:pt x="31" y="35"/>
                      <a:pt x="22" y="44"/>
                    </a:cubicBezTo>
                    <a:cubicBezTo>
                      <a:pt x="0" y="66"/>
                      <a:pt x="0" y="66"/>
                      <a:pt x="0" y="66"/>
                    </a:cubicBezTo>
                    <a:lnTo>
                      <a:pt x="0"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grpSp>
      <p:sp>
        <p:nvSpPr>
          <p:cNvPr id="75"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solidFill>
                  <a:schemeClr val="tx1">
                    <a:lumMod val="50000"/>
                    <a:lumOff val="50000"/>
                  </a:schemeClr>
                </a:solidFill>
                <a:latin typeface="+mn-lt"/>
              </a:rPr>
              <a:t>Private and Confidental</a:t>
            </a:r>
            <a:endParaRPr lang="pt-BR" sz="500" dirty="0">
              <a:solidFill>
                <a:schemeClr val="tx1">
                  <a:lumMod val="50000"/>
                  <a:lumOff val="50000"/>
                </a:schemeClr>
              </a:solidFill>
              <a:latin typeface="+mn-lt"/>
            </a:endParaRPr>
          </a:p>
        </p:txBody>
      </p:sp>
    </p:spTree>
    <p:extLst>
      <p:ext uri="{BB962C8B-B14F-4D97-AF65-F5344CB8AC3E}">
        <p14:creationId xmlns:p14="http://schemas.microsoft.com/office/powerpoint/2010/main" val="2734941170"/>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_MB_Leaf">
    <p:bg>
      <p:bgPr>
        <a:solidFill>
          <a:schemeClr val="bg1"/>
        </a:solidFill>
        <a:effectLst/>
      </p:bgPr>
    </p:bg>
    <p:spTree>
      <p:nvGrpSpPr>
        <p:cNvPr id="1" name=""/>
        <p:cNvGrpSpPr/>
        <p:nvPr/>
      </p:nvGrpSpPr>
      <p:grpSpPr>
        <a:xfrm>
          <a:off x="0" y="0"/>
          <a:ext cx="0" cy="0"/>
          <a:chOff x="0" y="0"/>
          <a:chExt cx="0" cy="0"/>
        </a:xfrm>
      </p:grpSpPr>
      <p:sp>
        <p:nvSpPr>
          <p:cNvPr id="31" name="Rectangle 30"/>
          <p:cNvSpPr/>
          <p:nvPr userDrawn="1"/>
        </p:nvSpPr>
        <p:spPr>
          <a:xfrm>
            <a:off x="0" y="0"/>
            <a:ext cx="9144000" cy="5148263"/>
          </a:xfrm>
          <a:prstGeom prst="rect">
            <a:avLst/>
          </a:prstGeom>
          <a:solidFill>
            <a:schemeClr val="tx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en-GB" sz="1050" smtClean="0">
              <a:solidFill>
                <a:schemeClr val="bg1"/>
              </a:solidFill>
              <a:latin typeface="Arial" panose="020B0604020202020204" pitchFamily="34" charset="0"/>
              <a:cs typeface="Arial" panose="020B0604020202020204" pitchFamily="34" charset="0"/>
            </a:endParaRPr>
          </a:p>
        </p:txBody>
      </p:sp>
      <p:pic>
        <p:nvPicPr>
          <p:cNvPr id="33" name="Picture 32" descr="cookie_white.png"/>
          <p:cNvPicPr>
            <a:picLocks noChangeAspect="1"/>
          </p:cNvPicPr>
          <p:nvPr userDrawn="1"/>
        </p:nvPicPr>
        <p:blipFill rotWithShape="1">
          <a:blip r:embed="rId2" cstate="screen">
            <a:alphaModFix amt="16000"/>
            <a:extLst>
              <a:ext uri="{28A0092B-C50C-407E-A947-70E740481C1C}">
                <a14:useLocalDpi xmlns:a14="http://schemas.microsoft.com/office/drawing/2010/main"/>
              </a:ext>
            </a:extLst>
          </a:blip>
          <a:srcRect/>
          <a:stretch/>
        </p:blipFill>
        <p:spPr>
          <a:xfrm flipH="1">
            <a:off x="5149029" y="2289839"/>
            <a:ext cx="4020091" cy="2880000"/>
          </a:xfrm>
          <a:prstGeom prst="rect">
            <a:avLst/>
          </a:prstGeom>
        </p:spPr>
      </p:pic>
      <p:cxnSp>
        <p:nvCxnSpPr>
          <p:cNvPr id="32" name="Straight Connector 31"/>
          <p:cNvCxnSpPr/>
          <p:nvPr userDrawn="1"/>
        </p:nvCxnSpPr>
        <p:spPr>
          <a:xfrm>
            <a:off x="343365" y="470176"/>
            <a:ext cx="8460000" cy="0"/>
          </a:xfrm>
          <a:prstGeom prst="line">
            <a:avLst/>
          </a:prstGeom>
          <a:ln w="6350" cmpd="sng">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343365" y="4801146"/>
            <a:ext cx="8460000" cy="0"/>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sp>
        <p:nvSpPr>
          <p:cNvPr id="67"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rgbClr val="FFFFFF"/>
                </a:solidFill>
                <a:latin typeface="+mn-lt"/>
              </a:defRPr>
            </a:lvl1pPr>
          </a:lstStyle>
          <a:p>
            <a:fld id="{19AB4E72-7858-48F1-A40D-12FF09E4BFB8}" type="slidenum">
              <a:rPr lang="en-GB" smtClean="0"/>
              <a:pPr/>
              <a:t>‹Nº›</a:t>
            </a:fld>
            <a:endParaRPr lang="en-GB"/>
          </a:p>
        </p:txBody>
      </p:sp>
      <p:sp>
        <p:nvSpPr>
          <p:cNvPr id="36" name="Title 1"/>
          <p:cNvSpPr>
            <a:spLocks noGrp="1"/>
          </p:cNvSpPr>
          <p:nvPr>
            <p:ph type="ctrTitle" hasCustomPrompt="1"/>
          </p:nvPr>
        </p:nvSpPr>
        <p:spPr>
          <a:xfrm>
            <a:off x="343365" y="2867487"/>
            <a:ext cx="8460000" cy="443198"/>
          </a:xfrm>
          <a:prstGeom prst="rect">
            <a:avLst/>
          </a:prstGeom>
        </p:spPr>
        <p:txBody>
          <a:bodyPr lIns="0" tIns="0" rIns="0" bIns="0" anchor="b"/>
          <a:lstStyle>
            <a:lvl1pPr>
              <a:lnSpc>
                <a:spcPct val="90000"/>
              </a:lnSpc>
              <a:defRPr sz="3200" b="0">
                <a:solidFill>
                  <a:schemeClr val="bg1"/>
                </a:solidFill>
              </a:defRPr>
            </a:lvl1pPr>
          </a:lstStyle>
          <a:p>
            <a:r>
              <a:rPr lang="en-US" dirty="0" smtClean="0"/>
              <a:t>Click to edit Master title Style</a:t>
            </a:r>
            <a:endParaRPr lang="en-US" dirty="0"/>
          </a:p>
        </p:txBody>
      </p:sp>
      <p:sp>
        <p:nvSpPr>
          <p:cNvPr id="37" name="Subtitle 2"/>
          <p:cNvSpPr>
            <a:spLocks noGrp="1"/>
          </p:cNvSpPr>
          <p:nvPr>
            <p:ph type="subTitle" idx="1" hasCustomPrompt="1"/>
          </p:nvPr>
        </p:nvSpPr>
        <p:spPr>
          <a:xfrm>
            <a:off x="343364" y="3474100"/>
            <a:ext cx="8460000" cy="202165"/>
          </a:xfrm>
          <a:prstGeom prst="rect">
            <a:avLst/>
          </a:prstGeom>
        </p:spPr>
        <p:txBody>
          <a:bodyPr lIns="0" tIns="0" rIns="0" bIns="0">
            <a:noAutofit/>
          </a:bodyPr>
          <a:lstStyle>
            <a:lvl1pPr marL="0" indent="0" algn="l">
              <a:buNone/>
              <a:defRPr sz="14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cxnSp>
        <p:nvCxnSpPr>
          <p:cNvPr id="38" name="Straight Connector 37"/>
          <p:cNvCxnSpPr/>
          <p:nvPr userDrawn="1"/>
        </p:nvCxnSpPr>
        <p:spPr>
          <a:xfrm>
            <a:off x="346086" y="3395058"/>
            <a:ext cx="8460000" cy="0"/>
          </a:xfrm>
          <a:prstGeom prst="line">
            <a:avLst/>
          </a:prstGeom>
          <a:ln w="12700" cmpd="sng">
            <a:solidFill>
              <a:schemeClr val="bg1"/>
            </a:solidFill>
          </a:ln>
        </p:spPr>
        <p:style>
          <a:lnRef idx="1">
            <a:schemeClr val="accent1"/>
          </a:lnRef>
          <a:fillRef idx="0">
            <a:schemeClr val="accent1"/>
          </a:fillRef>
          <a:effectRef idx="0">
            <a:schemeClr val="accent1"/>
          </a:effectRef>
          <a:fontRef idx="minor">
            <a:schemeClr val="tx1"/>
          </a:fontRef>
        </p:style>
      </p:cxnSp>
      <p:grpSp>
        <p:nvGrpSpPr>
          <p:cNvPr id="51" name="Group 50"/>
          <p:cNvGrpSpPr/>
          <p:nvPr userDrawn="1"/>
        </p:nvGrpSpPr>
        <p:grpSpPr>
          <a:xfrm>
            <a:off x="6221475" y="4843403"/>
            <a:ext cx="1123200" cy="262117"/>
            <a:chOff x="7686782" y="4354553"/>
            <a:chExt cx="1123200" cy="262117"/>
          </a:xfrm>
          <a:solidFill>
            <a:schemeClr val="bg1"/>
          </a:solidFill>
        </p:grpSpPr>
        <p:sp>
          <p:nvSpPr>
            <p:cNvPr id="56" name="Freeform 55"/>
            <p:cNvSpPr>
              <a:spLocks/>
            </p:cNvSpPr>
            <p:nvPr/>
          </p:nvSpPr>
          <p:spPr bwMode="auto">
            <a:xfrm>
              <a:off x="8637817" y="4415076"/>
              <a:ext cx="103629" cy="66531"/>
            </a:xfrm>
            <a:custGeom>
              <a:avLst/>
              <a:gdLst>
                <a:gd name="T0" fmla="*/ 50 w 62"/>
                <a:gd name="T1" fmla="*/ 33 h 42"/>
                <a:gd name="T2" fmla="*/ 39 w 62"/>
                <a:gd name="T3" fmla="*/ 40 h 42"/>
                <a:gd name="T4" fmla="*/ 31 w 62"/>
                <a:gd name="T5" fmla="*/ 13 h 42"/>
                <a:gd name="T6" fmla="*/ 30 w 62"/>
                <a:gd name="T7" fmla="*/ 13 h 42"/>
                <a:gd name="T8" fmla="*/ 24 w 62"/>
                <a:gd name="T9" fmla="*/ 33 h 42"/>
                <a:gd name="T10" fmla="*/ 14 w 62"/>
                <a:gd name="T11" fmla="*/ 40 h 42"/>
                <a:gd name="T12" fmla="*/ 0 w 62"/>
                <a:gd name="T13" fmla="*/ 0 h 42"/>
                <a:gd name="T14" fmla="*/ 10 w 62"/>
                <a:gd name="T15" fmla="*/ 0 h 42"/>
                <a:gd name="T16" fmla="*/ 18 w 62"/>
                <a:gd name="T17" fmla="*/ 27 h 42"/>
                <a:gd name="T18" fmla="*/ 18 w 62"/>
                <a:gd name="T19" fmla="*/ 27 h 42"/>
                <a:gd name="T20" fmla="*/ 27 w 62"/>
                <a:gd name="T21" fmla="*/ 0 h 42"/>
                <a:gd name="T22" fmla="*/ 35 w 62"/>
                <a:gd name="T23" fmla="*/ 0 h 42"/>
                <a:gd name="T24" fmla="*/ 43 w 62"/>
                <a:gd name="T25" fmla="*/ 27 h 42"/>
                <a:gd name="T26" fmla="*/ 44 w 62"/>
                <a:gd name="T27" fmla="*/ 27 h 42"/>
                <a:gd name="T28" fmla="*/ 52 w 62"/>
                <a:gd name="T29" fmla="*/ 0 h 42"/>
                <a:gd name="T30" fmla="*/ 62 w 62"/>
                <a:gd name="T31" fmla="*/ 0 h 42"/>
                <a:gd name="T32" fmla="*/ 50 w 62"/>
                <a:gd name="T33" fmla="*/ 3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 h="42">
                  <a:moveTo>
                    <a:pt x="50" y="33"/>
                  </a:moveTo>
                  <a:cubicBezTo>
                    <a:pt x="47" y="42"/>
                    <a:pt x="39" y="40"/>
                    <a:pt x="39" y="40"/>
                  </a:cubicBezTo>
                  <a:cubicBezTo>
                    <a:pt x="31" y="13"/>
                    <a:pt x="31" y="13"/>
                    <a:pt x="31" y="13"/>
                  </a:cubicBezTo>
                  <a:cubicBezTo>
                    <a:pt x="30" y="13"/>
                    <a:pt x="30" y="13"/>
                    <a:pt x="30" y="13"/>
                  </a:cubicBezTo>
                  <a:cubicBezTo>
                    <a:pt x="30" y="13"/>
                    <a:pt x="26" y="26"/>
                    <a:pt x="24" y="33"/>
                  </a:cubicBezTo>
                  <a:cubicBezTo>
                    <a:pt x="21" y="42"/>
                    <a:pt x="14" y="40"/>
                    <a:pt x="14" y="40"/>
                  </a:cubicBezTo>
                  <a:cubicBezTo>
                    <a:pt x="0" y="0"/>
                    <a:pt x="0" y="0"/>
                    <a:pt x="0" y="0"/>
                  </a:cubicBezTo>
                  <a:cubicBezTo>
                    <a:pt x="10" y="0"/>
                    <a:pt x="10" y="0"/>
                    <a:pt x="10" y="0"/>
                  </a:cubicBezTo>
                  <a:cubicBezTo>
                    <a:pt x="18" y="27"/>
                    <a:pt x="18" y="27"/>
                    <a:pt x="18" y="27"/>
                  </a:cubicBezTo>
                  <a:cubicBezTo>
                    <a:pt x="18" y="27"/>
                    <a:pt x="18" y="27"/>
                    <a:pt x="18" y="27"/>
                  </a:cubicBezTo>
                  <a:cubicBezTo>
                    <a:pt x="27" y="0"/>
                    <a:pt x="27" y="0"/>
                    <a:pt x="27" y="0"/>
                  </a:cubicBezTo>
                  <a:cubicBezTo>
                    <a:pt x="35" y="0"/>
                    <a:pt x="35" y="0"/>
                    <a:pt x="35" y="0"/>
                  </a:cubicBezTo>
                  <a:cubicBezTo>
                    <a:pt x="43" y="27"/>
                    <a:pt x="43" y="27"/>
                    <a:pt x="43" y="27"/>
                  </a:cubicBezTo>
                  <a:cubicBezTo>
                    <a:pt x="44" y="27"/>
                    <a:pt x="44" y="27"/>
                    <a:pt x="44" y="27"/>
                  </a:cubicBezTo>
                  <a:cubicBezTo>
                    <a:pt x="52" y="0"/>
                    <a:pt x="52" y="0"/>
                    <a:pt x="52" y="0"/>
                  </a:cubicBezTo>
                  <a:cubicBezTo>
                    <a:pt x="62" y="0"/>
                    <a:pt x="62" y="0"/>
                    <a:pt x="62" y="0"/>
                  </a:cubicBezTo>
                  <a:cubicBezTo>
                    <a:pt x="62" y="0"/>
                    <a:pt x="52" y="26"/>
                    <a:pt x="5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56"/>
            <p:cNvSpPr>
              <a:spLocks noEditPoints="1"/>
            </p:cNvSpPr>
            <p:nvPr/>
          </p:nvSpPr>
          <p:spPr bwMode="auto">
            <a:xfrm>
              <a:off x="8445631" y="4383257"/>
              <a:ext cx="65239" cy="93677"/>
            </a:xfrm>
            <a:custGeom>
              <a:avLst/>
              <a:gdLst>
                <a:gd name="T0" fmla="*/ 0 w 39"/>
                <a:gd name="T1" fmla="*/ 0 h 59"/>
                <a:gd name="T2" fmla="*/ 0 w 39"/>
                <a:gd name="T3" fmla="*/ 59 h 59"/>
                <a:gd name="T4" fmla="*/ 18 w 39"/>
                <a:gd name="T5" fmla="*/ 59 h 59"/>
                <a:gd name="T6" fmla="*/ 39 w 39"/>
                <a:gd name="T7" fmla="*/ 42 h 59"/>
                <a:gd name="T8" fmla="*/ 29 w 39"/>
                <a:gd name="T9" fmla="*/ 28 h 59"/>
                <a:gd name="T10" fmla="*/ 28 w 39"/>
                <a:gd name="T11" fmla="*/ 27 h 59"/>
                <a:gd name="T12" fmla="*/ 29 w 39"/>
                <a:gd name="T13" fmla="*/ 27 h 59"/>
                <a:gd name="T14" fmla="*/ 35 w 39"/>
                <a:gd name="T15" fmla="*/ 15 h 59"/>
                <a:gd name="T16" fmla="*/ 19 w 39"/>
                <a:gd name="T17" fmla="*/ 0 h 59"/>
                <a:gd name="T18" fmla="*/ 0 w 39"/>
                <a:gd name="T19" fmla="*/ 0 h 59"/>
                <a:gd name="T20" fmla="*/ 10 w 39"/>
                <a:gd name="T21" fmla="*/ 8 h 59"/>
                <a:gd name="T22" fmla="*/ 16 w 39"/>
                <a:gd name="T23" fmla="*/ 8 h 59"/>
                <a:gd name="T24" fmla="*/ 25 w 39"/>
                <a:gd name="T25" fmla="*/ 16 h 59"/>
                <a:gd name="T26" fmla="*/ 17 w 39"/>
                <a:gd name="T27" fmla="*/ 25 h 59"/>
                <a:gd name="T28" fmla="*/ 10 w 39"/>
                <a:gd name="T29" fmla="*/ 25 h 59"/>
                <a:gd name="T30" fmla="*/ 10 w 39"/>
                <a:gd name="T31" fmla="*/ 8 h 59"/>
                <a:gd name="T32" fmla="*/ 10 w 39"/>
                <a:gd name="T33" fmla="*/ 33 h 59"/>
                <a:gd name="T34" fmla="*/ 18 w 39"/>
                <a:gd name="T35" fmla="*/ 33 h 59"/>
                <a:gd name="T36" fmla="*/ 29 w 39"/>
                <a:gd name="T37" fmla="*/ 42 h 59"/>
                <a:gd name="T38" fmla="*/ 17 w 39"/>
                <a:gd name="T39" fmla="*/ 51 h 59"/>
                <a:gd name="T40" fmla="*/ 10 w 39"/>
                <a:gd name="T41" fmla="*/ 51 h 59"/>
                <a:gd name="T42" fmla="*/ 10 w 39"/>
                <a:gd name="T43"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9">
                  <a:moveTo>
                    <a:pt x="0" y="0"/>
                  </a:moveTo>
                  <a:cubicBezTo>
                    <a:pt x="0" y="1"/>
                    <a:pt x="0" y="59"/>
                    <a:pt x="0" y="59"/>
                  </a:cubicBezTo>
                  <a:cubicBezTo>
                    <a:pt x="1" y="59"/>
                    <a:pt x="18" y="59"/>
                    <a:pt x="18" y="59"/>
                  </a:cubicBezTo>
                  <a:cubicBezTo>
                    <a:pt x="33" y="59"/>
                    <a:pt x="39" y="51"/>
                    <a:pt x="39" y="42"/>
                  </a:cubicBezTo>
                  <a:cubicBezTo>
                    <a:pt x="39" y="35"/>
                    <a:pt x="36" y="29"/>
                    <a:pt x="29" y="28"/>
                  </a:cubicBezTo>
                  <a:cubicBezTo>
                    <a:pt x="28" y="27"/>
                    <a:pt x="28" y="27"/>
                    <a:pt x="28" y="27"/>
                  </a:cubicBezTo>
                  <a:cubicBezTo>
                    <a:pt x="29" y="27"/>
                    <a:pt x="29" y="27"/>
                    <a:pt x="29" y="27"/>
                  </a:cubicBezTo>
                  <a:cubicBezTo>
                    <a:pt x="33" y="24"/>
                    <a:pt x="35" y="20"/>
                    <a:pt x="35" y="15"/>
                  </a:cubicBezTo>
                  <a:cubicBezTo>
                    <a:pt x="35" y="8"/>
                    <a:pt x="30" y="0"/>
                    <a:pt x="19" y="0"/>
                  </a:cubicBezTo>
                  <a:cubicBezTo>
                    <a:pt x="19" y="0"/>
                    <a:pt x="1" y="0"/>
                    <a:pt x="0" y="0"/>
                  </a:cubicBezTo>
                  <a:close/>
                  <a:moveTo>
                    <a:pt x="10" y="8"/>
                  </a:moveTo>
                  <a:cubicBezTo>
                    <a:pt x="16" y="8"/>
                    <a:pt x="16" y="8"/>
                    <a:pt x="16" y="8"/>
                  </a:cubicBezTo>
                  <a:cubicBezTo>
                    <a:pt x="22" y="8"/>
                    <a:pt x="25" y="11"/>
                    <a:pt x="25" y="16"/>
                  </a:cubicBezTo>
                  <a:cubicBezTo>
                    <a:pt x="25" y="21"/>
                    <a:pt x="21" y="25"/>
                    <a:pt x="17" y="25"/>
                  </a:cubicBezTo>
                  <a:cubicBezTo>
                    <a:pt x="10" y="25"/>
                    <a:pt x="10" y="25"/>
                    <a:pt x="10" y="25"/>
                  </a:cubicBezTo>
                  <a:lnTo>
                    <a:pt x="10" y="8"/>
                  </a:lnTo>
                  <a:close/>
                  <a:moveTo>
                    <a:pt x="10" y="33"/>
                  </a:moveTo>
                  <a:cubicBezTo>
                    <a:pt x="18" y="33"/>
                    <a:pt x="18" y="33"/>
                    <a:pt x="18" y="33"/>
                  </a:cubicBezTo>
                  <a:cubicBezTo>
                    <a:pt x="25" y="33"/>
                    <a:pt x="29" y="37"/>
                    <a:pt x="29" y="42"/>
                  </a:cubicBezTo>
                  <a:cubicBezTo>
                    <a:pt x="29" y="48"/>
                    <a:pt x="25" y="51"/>
                    <a:pt x="17" y="51"/>
                  </a:cubicBezTo>
                  <a:cubicBezTo>
                    <a:pt x="10" y="51"/>
                    <a:pt x="10" y="51"/>
                    <a:pt x="10" y="51"/>
                  </a:cubicBezTo>
                  <a:lnTo>
                    <a:pt x="1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57"/>
            <p:cNvSpPr>
              <a:spLocks noEditPoints="1"/>
            </p:cNvSpPr>
            <p:nvPr/>
          </p:nvSpPr>
          <p:spPr bwMode="auto">
            <a:xfrm>
              <a:off x="8567631" y="4413518"/>
              <a:ext cx="66888" cy="64973"/>
            </a:xfrm>
            <a:custGeom>
              <a:avLst/>
              <a:gdLst>
                <a:gd name="T0" fmla="*/ 34 w 40"/>
                <a:gd name="T1" fmla="*/ 36 h 41"/>
                <a:gd name="T2" fmla="*/ 20 w 40"/>
                <a:gd name="T3" fmla="*/ 41 h 41"/>
                <a:gd name="T4" fmla="*/ 7 w 40"/>
                <a:gd name="T5" fmla="*/ 36 h 41"/>
                <a:gd name="T6" fmla="*/ 0 w 40"/>
                <a:gd name="T7" fmla="*/ 21 h 41"/>
                <a:gd name="T8" fmla="*/ 6 w 40"/>
                <a:gd name="T9" fmla="*/ 6 h 41"/>
                <a:gd name="T10" fmla="*/ 20 w 40"/>
                <a:gd name="T11" fmla="*/ 0 h 41"/>
                <a:gd name="T12" fmla="*/ 35 w 40"/>
                <a:gd name="T13" fmla="*/ 6 h 41"/>
                <a:gd name="T14" fmla="*/ 40 w 40"/>
                <a:gd name="T15" fmla="*/ 20 h 41"/>
                <a:gd name="T16" fmla="*/ 34 w 40"/>
                <a:gd name="T17" fmla="*/ 36 h 41"/>
                <a:gd name="T18" fmla="*/ 20 w 40"/>
                <a:gd name="T19" fmla="*/ 8 h 41"/>
                <a:gd name="T20" fmla="*/ 11 w 40"/>
                <a:gd name="T21" fmla="*/ 21 h 41"/>
                <a:gd name="T22" fmla="*/ 20 w 40"/>
                <a:gd name="T23" fmla="*/ 33 h 41"/>
                <a:gd name="T24" fmla="*/ 30 w 40"/>
                <a:gd name="T25" fmla="*/ 21 h 41"/>
                <a:gd name="T26" fmla="*/ 20 w 40"/>
                <a:gd name="T27" fmla="*/ 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4" y="36"/>
                  </a:moveTo>
                  <a:cubicBezTo>
                    <a:pt x="31" y="39"/>
                    <a:pt x="26" y="41"/>
                    <a:pt x="20" y="41"/>
                  </a:cubicBezTo>
                  <a:cubicBezTo>
                    <a:pt x="15" y="41"/>
                    <a:pt x="10" y="39"/>
                    <a:pt x="7" y="36"/>
                  </a:cubicBezTo>
                  <a:cubicBezTo>
                    <a:pt x="3" y="33"/>
                    <a:pt x="0" y="27"/>
                    <a:pt x="0" y="21"/>
                  </a:cubicBezTo>
                  <a:cubicBezTo>
                    <a:pt x="0" y="15"/>
                    <a:pt x="2" y="9"/>
                    <a:pt x="6" y="6"/>
                  </a:cubicBezTo>
                  <a:cubicBezTo>
                    <a:pt x="10" y="2"/>
                    <a:pt x="14" y="0"/>
                    <a:pt x="20" y="0"/>
                  </a:cubicBezTo>
                  <a:cubicBezTo>
                    <a:pt x="26" y="0"/>
                    <a:pt x="31" y="2"/>
                    <a:pt x="35" y="6"/>
                  </a:cubicBezTo>
                  <a:cubicBezTo>
                    <a:pt x="38" y="9"/>
                    <a:pt x="40" y="14"/>
                    <a:pt x="40" y="20"/>
                  </a:cubicBezTo>
                  <a:cubicBezTo>
                    <a:pt x="40" y="26"/>
                    <a:pt x="38" y="32"/>
                    <a:pt x="34" y="36"/>
                  </a:cubicBezTo>
                  <a:close/>
                  <a:moveTo>
                    <a:pt x="20" y="8"/>
                  </a:moveTo>
                  <a:cubicBezTo>
                    <a:pt x="14" y="8"/>
                    <a:pt x="11" y="13"/>
                    <a:pt x="11" y="21"/>
                  </a:cubicBezTo>
                  <a:cubicBezTo>
                    <a:pt x="11" y="28"/>
                    <a:pt x="14" y="33"/>
                    <a:pt x="20" y="33"/>
                  </a:cubicBezTo>
                  <a:cubicBezTo>
                    <a:pt x="27" y="33"/>
                    <a:pt x="30" y="28"/>
                    <a:pt x="30" y="21"/>
                  </a:cubicBezTo>
                  <a:cubicBezTo>
                    <a:pt x="30" y="13"/>
                    <a:pt x="26" y="8"/>
                    <a:pt x="2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58"/>
            <p:cNvSpPr>
              <a:spLocks/>
            </p:cNvSpPr>
            <p:nvPr/>
          </p:nvSpPr>
          <p:spPr bwMode="auto">
            <a:xfrm>
              <a:off x="8751573" y="4413518"/>
              <a:ext cx="58409" cy="64973"/>
            </a:xfrm>
            <a:custGeom>
              <a:avLst/>
              <a:gdLst>
                <a:gd name="T0" fmla="*/ 25 w 35"/>
                <a:gd name="T1" fmla="*/ 41 h 41"/>
                <a:gd name="T2" fmla="*/ 25 w 35"/>
                <a:gd name="T3" fmla="*/ 17 h 41"/>
                <a:gd name="T4" fmla="*/ 20 w 35"/>
                <a:gd name="T5" fmla="*/ 9 h 41"/>
                <a:gd name="T6" fmla="*/ 10 w 35"/>
                <a:gd name="T7" fmla="*/ 13 h 41"/>
                <a:gd name="T8" fmla="*/ 10 w 35"/>
                <a:gd name="T9" fmla="*/ 34 h 41"/>
                <a:gd name="T10" fmla="*/ 0 w 35"/>
                <a:gd name="T11" fmla="*/ 41 h 41"/>
                <a:gd name="T12" fmla="*/ 0 w 35"/>
                <a:gd name="T13" fmla="*/ 1 h 41"/>
                <a:gd name="T14" fmla="*/ 8 w 35"/>
                <a:gd name="T15" fmla="*/ 1 h 41"/>
                <a:gd name="T16" fmla="*/ 9 w 35"/>
                <a:gd name="T17" fmla="*/ 5 h 41"/>
                <a:gd name="T18" fmla="*/ 23 w 35"/>
                <a:gd name="T19" fmla="*/ 0 h 41"/>
                <a:gd name="T20" fmla="*/ 35 w 35"/>
                <a:gd name="T21" fmla="*/ 14 h 41"/>
                <a:gd name="T22" fmla="*/ 35 w 35"/>
                <a:gd name="T23" fmla="*/ 34 h 41"/>
                <a:gd name="T24" fmla="*/ 25 w 35"/>
                <a:gd name="T25"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41">
                  <a:moveTo>
                    <a:pt x="25" y="41"/>
                  </a:moveTo>
                  <a:cubicBezTo>
                    <a:pt x="25" y="17"/>
                    <a:pt x="25" y="17"/>
                    <a:pt x="25" y="17"/>
                  </a:cubicBezTo>
                  <a:cubicBezTo>
                    <a:pt x="25" y="13"/>
                    <a:pt x="25" y="9"/>
                    <a:pt x="20" y="9"/>
                  </a:cubicBezTo>
                  <a:cubicBezTo>
                    <a:pt x="16" y="9"/>
                    <a:pt x="13" y="10"/>
                    <a:pt x="10" y="13"/>
                  </a:cubicBezTo>
                  <a:cubicBezTo>
                    <a:pt x="10" y="13"/>
                    <a:pt x="10" y="26"/>
                    <a:pt x="10" y="34"/>
                  </a:cubicBezTo>
                  <a:cubicBezTo>
                    <a:pt x="10" y="41"/>
                    <a:pt x="0" y="41"/>
                    <a:pt x="0" y="41"/>
                  </a:cubicBezTo>
                  <a:cubicBezTo>
                    <a:pt x="0" y="1"/>
                    <a:pt x="0" y="1"/>
                    <a:pt x="0" y="1"/>
                  </a:cubicBezTo>
                  <a:cubicBezTo>
                    <a:pt x="8" y="1"/>
                    <a:pt x="8" y="1"/>
                    <a:pt x="8" y="1"/>
                  </a:cubicBezTo>
                  <a:cubicBezTo>
                    <a:pt x="9" y="5"/>
                    <a:pt x="9" y="5"/>
                    <a:pt x="9" y="5"/>
                  </a:cubicBezTo>
                  <a:cubicBezTo>
                    <a:pt x="13" y="2"/>
                    <a:pt x="18" y="0"/>
                    <a:pt x="23" y="0"/>
                  </a:cubicBezTo>
                  <a:cubicBezTo>
                    <a:pt x="29" y="0"/>
                    <a:pt x="35" y="3"/>
                    <a:pt x="35" y="14"/>
                  </a:cubicBezTo>
                  <a:cubicBezTo>
                    <a:pt x="35" y="14"/>
                    <a:pt x="35" y="26"/>
                    <a:pt x="35" y="34"/>
                  </a:cubicBezTo>
                  <a:cubicBezTo>
                    <a:pt x="35" y="41"/>
                    <a:pt x="25" y="41"/>
                    <a:pt x="2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59"/>
            <p:cNvSpPr>
              <a:spLocks/>
            </p:cNvSpPr>
            <p:nvPr/>
          </p:nvSpPr>
          <p:spPr bwMode="auto">
            <a:xfrm>
              <a:off x="8522411" y="4413518"/>
              <a:ext cx="43571" cy="64973"/>
            </a:xfrm>
            <a:custGeom>
              <a:avLst/>
              <a:gdLst>
                <a:gd name="T0" fmla="*/ 23 w 26"/>
                <a:gd name="T1" fmla="*/ 10 h 41"/>
                <a:gd name="T2" fmla="*/ 18 w 26"/>
                <a:gd name="T3" fmla="*/ 9 h 41"/>
                <a:gd name="T4" fmla="*/ 11 w 26"/>
                <a:gd name="T5" fmla="*/ 12 h 41"/>
                <a:gd name="T6" fmla="*/ 11 w 26"/>
                <a:gd name="T7" fmla="*/ 34 h 41"/>
                <a:gd name="T8" fmla="*/ 0 w 26"/>
                <a:gd name="T9" fmla="*/ 41 h 41"/>
                <a:gd name="T10" fmla="*/ 0 w 26"/>
                <a:gd name="T11" fmla="*/ 1 h 41"/>
                <a:gd name="T12" fmla="*/ 9 w 26"/>
                <a:gd name="T13" fmla="*/ 1 h 41"/>
                <a:gd name="T14" fmla="*/ 10 w 26"/>
                <a:gd name="T15" fmla="*/ 5 h 41"/>
                <a:gd name="T16" fmla="*/ 21 w 26"/>
                <a:gd name="T17" fmla="*/ 0 h 41"/>
                <a:gd name="T18" fmla="*/ 26 w 26"/>
                <a:gd name="T19" fmla="*/ 2 h 41"/>
                <a:gd name="T20" fmla="*/ 23 w 26"/>
                <a:gd name="T21" fmla="*/ 1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41">
                  <a:moveTo>
                    <a:pt x="23" y="10"/>
                  </a:moveTo>
                  <a:cubicBezTo>
                    <a:pt x="21" y="9"/>
                    <a:pt x="19" y="9"/>
                    <a:pt x="18" y="9"/>
                  </a:cubicBezTo>
                  <a:cubicBezTo>
                    <a:pt x="16" y="9"/>
                    <a:pt x="13" y="10"/>
                    <a:pt x="11" y="12"/>
                  </a:cubicBezTo>
                  <a:cubicBezTo>
                    <a:pt x="11" y="12"/>
                    <a:pt x="11" y="26"/>
                    <a:pt x="11" y="34"/>
                  </a:cubicBezTo>
                  <a:cubicBezTo>
                    <a:pt x="11" y="41"/>
                    <a:pt x="0" y="41"/>
                    <a:pt x="0" y="41"/>
                  </a:cubicBezTo>
                  <a:cubicBezTo>
                    <a:pt x="0" y="1"/>
                    <a:pt x="0" y="1"/>
                    <a:pt x="0" y="1"/>
                  </a:cubicBezTo>
                  <a:cubicBezTo>
                    <a:pt x="9" y="1"/>
                    <a:pt x="9" y="1"/>
                    <a:pt x="9" y="1"/>
                  </a:cubicBezTo>
                  <a:cubicBezTo>
                    <a:pt x="10" y="5"/>
                    <a:pt x="10" y="5"/>
                    <a:pt x="10" y="5"/>
                  </a:cubicBezTo>
                  <a:cubicBezTo>
                    <a:pt x="14" y="2"/>
                    <a:pt x="17" y="0"/>
                    <a:pt x="21" y="0"/>
                  </a:cubicBezTo>
                  <a:cubicBezTo>
                    <a:pt x="23" y="0"/>
                    <a:pt x="25" y="1"/>
                    <a:pt x="26" y="2"/>
                  </a:cubicBezTo>
                  <a:lnTo>
                    <a:pt x="23"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Freeform 60"/>
            <p:cNvSpPr>
              <a:spLocks/>
            </p:cNvSpPr>
            <p:nvPr/>
          </p:nvSpPr>
          <p:spPr bwMode="auto">
            <a:xfrm>
              <a:off x="7787114" y="4354553"/>
              <a:ext cx="101745" cy="147747"/>
            </a:xfrm>
            <a:custGeom>
              <a:avLst/>
              <a:gdLst>
                <a:gd name="T0" fmla="*/ 0 w 61"/>
                <a:gd name="T1" fmla="*/ 11 h 93"/>
                <a:gd name="T2" fmla="*/ 1 w 61"/>
                <a:gd name="T3" fmla="*/ 10 h 93"/>
                <a:gd name="T4" fmla="*/ 31 w 61"/>
                <a:gd name="T5" fmla="*/ 9 h 93"/>
                <a:gd name="T6" fmla="*/ 37 w 61"/>
                <a:gd name="T7" fmla="*/ 24 h 93"/>
                <a:gd name="T8" fmla="*/ 52 w 61"/>
                <a:gd name="T9" fmla="*/ 30 h 93"/>
                <a:gd name="T10" fmla="*/ 51 w 61"/>
                <a:gd name="T11" fmla="*/ 60 h 93"/>
                <a:gd name="T12" fmla="*/ 18 w 61"/>
                <a:gd name="T13" fmla="*/ 93 h 93"/>
                <a:gd name="T14" fmla="*/ 8 w 61"/>
                <a:gd name="T15" fmla="*/ 83 h 93"/>
                <a:gd name="T16" fmla="*/ 41 w 61"/>
                <a:gd name="T17" fmla="*/ 50 h 93"/>
                <a:gd name="T18" fmla="*/ 42 w 61"/>
                <a:gd name="T19" fmla="*/ 39 h 93"/>
                <a:gd name="T20" fmla="*/ 31 w 61"/>
                <a:gd name="T21" fmla="*/ 40 h 93"/>
                <a:gd name="T22" fmla="*/ 0 w 61"/>
                <a:gd name="T23" fmla="*/ 70 h 93"/>
                <a:gd name="T24" fmla="*/ 0 w 61"/>
                <a:gd name="T25" fmla="*/ 50 h 93"/>
                <a:gd name="T26" fmla="*/ 21 w 61"/>
                <a:gd name="T27" fmla="*/ 30 h 93"/>
                <a:gd name="T28" fmla="*/ 22 w 61"/>
                <a:gd name="T29" fmla="*/ 19 h 93"/>
                <a:gd name="T30" fmla="*/ 11 w 61"/>
                <a:gd name="T31" fmla="*/ 20 h 93"/>
                <a:gd name="T32" fmla="*/ 0 w 61"/>
                <a:gd name="T33" fmla="*/ 30 h 93"/>
                <a:gd name="T34" fmla="*/ 0 w 61"/>
                <a:gd name="T35" fmla="*/ 1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 h="93">
                  <a:moveTo>
                    <a:pt x="0" y="11"/>
                  </a:moveTo>
                  <a:cubicBezTo>
                    <a:pt x="1" y="10"/>
                    <a:pt x="1" y="10"/>
                    <a:pt x="1" y="10"/>
                  </a:cubicBezTo>
                  <a:cubicBezTo>
                    <a:pt x="11" y="0"/>
                    <a:pt x="23" y="1"/>
                    <a:pt x="31" y="9"/>
                  </a:cubicBezTo>
                  <a:cubicBezTo>
                    <a:pt x="37" y="15"/>
                    <a:pt x="37" y="21"/>
                    <a:pt x="37" y="24"/>
                  </a:cubicBezTo>
                  <a:cubicBezTo>
                    <a:pt x="40" y="24"/>
                    <a:pt x="46" y="24"/>
                    <a:pt x="52" y="30"/>
                  </a:cubicBezTo>
                  <a:cubicBezTo>
                    <a:pt x="60" y="38"/>
                    <a:pt x="61" y="50"/>
                    <a:pt x="51" y="60"/>
                  </a:cubicBezTo>
                  <a:cubicBezTo>
                    <a:pt x="18" y="93"/>
                    <a:pt x="18" y="93"/>
                    <a:pt x="18" y="93"/>
                  </a:cubicBezTo>
                  <a:cubicBezTo>
                    <a:pt x="8" y="83"/>
                    <a:pt x="8" y="83"/>
                    <a:pt x="8" y="83"/>
                  </a:cubicBezTo>
                  <a:cubicBezTo>
                    <a:pt x="41" y="50"/>
                    <a:pt x="41" y="50"/>
                    <a:pt x="41" y="50"/>
                  </a:cubicBezTo>
                  <a:cubicBezTo>
                    <a:pt x="45" y="46"/>
                    <a:pt x="44" y="42"/>
                    <a:pt x="42" y="39"/>
                  </a:cubicBezTo>
                  <a:cubicBezTo>
                    <a:pt x="39" y="37"/>
                    <a:pt x="35" y="36"/>
                    <a:pt x="31" y="40"/>
                  </a:cubicBezTo>
                  <a:cubicBezTo>
                    <a:pt x="0" y="70"/>
                    <a:pt x="0" y="70"/>
                    <a:pt x="0" y="70"/>
                  </a:cubicBezTo>
                  <a:cubicBezTo>
                    <a:pt x="0" y="50"/>
                    <a:pt x="0" y="50"/>
                    <a:pt x="0" y="50"/>
                  </a:cubicBezTo>
                  <a:cubicBezTo>
                    <a:pt x="21" y="30"/>
                    <a:pt x="21" y="30"/>
                    <a:pt x="21" y="30"/>
                  </a:cubicBezTo>
                  <a:cubicBezTo>
                    <a:pt x="25" y="26"/>
                    <a:pt x="24" y="22"/>
                    <a:pt x="22" y="19"/>
                  </a:cubicBezTo>
                  <a:cubicBezTo>
                    <a:pt x="19" y="17"/>
                    <a:pt x="15" y="16"/>
                    <a:pt x="11" y="20"/>
                  </a:cubicBezTo>
                  <a:cubicBezTo>
                    <a:pt x="0" y="30"/>
                    <a:pt x="0" y="30"/>
                    <a:pt x="0" y="30"/>
                  </a:cubicBezTo>
                  <a:lnTo>
                    <a:pt x="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61"/>
            <p:cNvSpPr>
              <a:spLocks/>
            </p:cNvSpPr>
            <p:nvPr/>
          </p:nvSpPr>
          <p:spPr bwMode="auto">
            <a:xfrm>
              <a:off x="7686782" y="4354553"/>
              <a:ext cx="100332" cy="147747"/>
            </a:xfrm>
            <a:custGeom>
              <a:avLst/>
              <a:gdLst>
                <a:gd name="T0" fmla="*/ 60 w 60"/>
                <a:gd name="T1" fmla="*/ 11 h 93"/>
                <a:gd name="T2" fmla="*/ 60 w 60"/>
                <a:gd name="T3" fmla="*/ 10 h 93"/>
                <a:gd name="T4" fmla="*/ 30 w 60"/>
                <a:gd name="T5" fmla="*/ 9 h 93"/>
                <a:gd name="T6" fmla="*/ 24 w 60"/>
                <a:gd name="T7" fmla="*/ 24 h 93"/>
                <a:gd name="T8" fmla="*/ 9 w 60"/>
                <a:gd name="T9" fmla="*/ 30 h 93"/>
                <a:gd name="T10" fmla="*/ 10 w 60"/>
                <a:gd name="T11" fmla="*/ 60 h 93"/>
                <a:gd name="T12" fmla="*/ 43 w 60"/>
                <a:gd name="T13" fmla="*/ 93 h 93"/>
                <a:gd name="T14" fmla="*/ 53 w 60"/>
                <a:gd name="T15" fmla="*/ 83 h 93"/>
                <a:gd name="T16" fmla="*/ 20 w 60"/>
                <a:gd name="T17" fmla="*/ 50 h 93"/>
                <a:gd name="T18" fmla="*/ 19 w 60"/>
                <a:gd name="T19" fmla="*/ 39 h 93"/>
                <a:gd name="T20" fmla="*/ 30 w 60"/>
                <a:gd name="T21" fmla="*/ 40 h 93"/>
                <a:gd name="T22" fmla="*/ 60 w 60"/>
                <a:gd name="T23" fmla="*/ 70 h 93"/>
                <a:gd name="T24" fmla="*/ 60 w 60"/>
                <a:gd name="T25" fmla="*/ 50 h 93"/>
                <a:gd name="T26" fmla="*/ 40 w 60"/>
                <a:gd name="T27" fmla="*/ 30 h 93"/>
                <a:gd name="T28" fmla="*/ 39 w 60"/>
                <a:gd name="T29" fmla="*/ 19 h 93"/>
                <a:gd name="T30" fmla="*/ 50 w 60"/>
                <a:gd name="T31" fmla="*/ 20 h 93"/>
                <a:gd name="T32" fmla="*/ 60 w 60"/>
                <a:gd name="T33" fmla="*/ 30 h 93"/>
                <a:gd name="T34" fmla="*/ 60 w 60"/>
                <a:gd name="T35" fmla="*/ 1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93">
                  <a:moveTo>
                    <a:pt x="60" y="11"/>
                  </a:moveTo>
                  <a:cubicBezTo>
                    <a:pt x="60" y="10"/>
                    <a:pt x="60" y="10"/>
                    <a:pt x="60" y="10"/>
                  </a:cubicBezTo>
                  <a:cubicBezTo>
                    <a:pt x="50" y="0"/>
                    <a:pt x="37" y="1"/>
                    <a:pt x="30" y="9"/>
                  </a:cubicBezTo>
                  <a:cubicBezTo>
                    <a:pt x="24" y="15"/>
                    <a:pt x="23" y="21"/>
                    <a:pt x="24" y="24"/>
                  </a:cubicBezTo>
                  <a:cubicBezTo>
                    <a:pt x="21" y="24"/>
                    <a:pt x="15" y="24"/>
                    <a:pt x="9" y="30"/>
                  </a:cubicBezTo>
                  <a:cubicBezTo>
                    <a:pt x="1" y="38"/>
                    <a:pt x="0" y="50"/>
                    <a:pt x="10" y="60"/>
                  </a:cubicBezTo>
                  <a:cubicBezTo>
                    <a:pt x="43" y="93"/>
                    <a:pt x="43" y="93"/>
                    <a:pt x="43" y="93"/>
                  </a:cubicBezTo>
                  <a:cubicBezTo>
                    <a:pt x="53" y="83"/>
                    <a:pt x="53" y="83"/>
                    <a:pt x="53" y="83"/>
                  </a:cubicBezTo>
                  <a:cubicBezTo>
                    <a:pt x="20" y="50"/>
                    <a:pt x="20" y="50"/>
                    <a:pt x="20" y="50"/>
                  </a:cubicBezTo>
                  <a:cubicBezTo>
                    <a:pt x="16" y="46"/>
                    <a:pt x="17" y="42"/>
                    <a:pt x="19" y="39"/>
                  </a:cubicBezTo>
                  <a:cubicBezTo>
                    <a:pt x="22" y="37"/>
                    <a:pt x="26" y="36"/>
                    <a:pt x="30" y="40"/>
                  </a:cubicBezTo>
                  <a:cubicBezTo>
                    <a:pt x="60" y="70"/>
                    <a:pt x="60" y="70"/>
                    <a:pt x="60" y="70"/>
                  </a:cubicBezTo>
                  <a:cubicBezTo>
                    <a:pt x="60" y="50"/>
                    <a:pt x="60" y="50"/>
                    <a:pt x="60" y="50"/>
                  </a:cubicBezTo>
                  <a:cubicBezTo>
                    <a:pt x="40" y="30"/>
                    <a:pt x="40" y="30"/>
                    <a:pt x="40" y="30"/>
                  </a:cubicBezTo>
                  <a:cubicBezTo>
                    <a:pt x="36" y="26"/>
                    <a:pt x="37" y="22"/>
                    <a:pt x="39" y="19"/>
                  </a:cubicBezTo>
                  <a:cubicBezTo>
                    <a:pt x="42" y="17"/>
                    <a:pt x="46" y="16"/>
                    <a:pt x="50" y="20"/>
                  </a:cubicBezTo>
                  <a:cubicBezTo>
                    <a:pt x="60" y="30"/>
                    <a:pt x="60" y="30"/>
                    <a:pt x="60" y="30"/>
                  </a:cubicBezTo>
                  <a:lnTo>
                    <a:pt x="60" y="11"/>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63" name="Freeform 62"/>
            <p:cNvSpPr>
              <a:spLocks/>
            </p:cNvSpPr>
            <p:nvPr/>
          </p:nvSpPr>
          <p:spPr bwMode="auto">
            <a:xfrm>
              <a:off x="8141337" y="4415076"/>
              <a:ext cx="103629" cy="66531"/>
            </a:xfrm>
            <a:custGeom>
              <a:avLst/>
              <a:gdLst>
                <a:gd name="T0" fmla="*/ 50 w 62"/>
                <a:gd name="T1" fmla="*/ 33 h 42"/>
                <a:gd name="T2" fmla="*/ 40 w 62"/>
                <a:gd name="T3" fmla="*/ 40 h 42"/>
                <a:gd name="T4" fmla="*/ 31 w 62"/>
                <a:gd name="T5" fmla="*/ 13 h 42"/>
                <a:gd name="T6" fmla="*/ 30 w 62"/>
                <a:gd name="T7" fmla="*/ 13 h 42"/>
                <a:gd name="T8" fmla="*/ 24 w 62"/>
                <a:gd name="T9" fmla="*/ 33 h 42"/>
                <a:gd name="T10" fmla="*/ 14 w 62"/>
                <a:gd name="T11" fmla="*/ 40 h 42"/>
                <a:gd name="T12" fmla="*/ 0 w 62"/>
                <a:gd name="T13" fmla="*/ 0 h 42"/>
                <a:gd name="T14" fmla="*/ 10 w 62"/>
                <a:gd name="T15" fmla="*/ 0 h 42"/>
                <a:gd name="T16" fmla="*/ 18 w 62"/>
                <a:gd name="T17" fmla="*/ 27 h 42"/>
                <a:gd name="T18" fmla="*/ 18 w 62"/>
                <a:gd name="T19" fmla="*/ 27 h 42"/>
                <a:gd name="T20" fmla="*/ 27 w 62"/>
                <a:gd name="T21" fmla="*/ 0 h 42"/>
                <a:gd name="T22" fmla="*/ 35 w 62"/>
                <a:gd name="T23" fmla="*/ 0 h 42"/>
                <a:gd name="T24" fmla="*/ 44 w 62"/>
                <a:gd name="T25" fmla="*/ 27 h 42"/>
                <a:gd name="T26" fmla="*/ 44 w 62"/>
                <a:gd name="T27" fmla="*/ 27 h 42"/>
                <a:gd name="T28" fmla="*/ 52 w 62"/>
                <a:gd name="T29" fmla="*/ 0 h 42"/>
                <a:gd name="T30" fmla="*/ 62 w 62"/>
                <a:gd name="T31" fmla="*/ 0 h 42"/>
                <a:gd name="T32" fmla="*/ 50 w 62"/>
                <a:gd name="T33" fmla="*/ 3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 h="42">
                  <a:moveTo>
                    <a:pt x="50" y="33"/>
                  </a:moveTo>
                  <a:cubicBezTo>
                    <a:pt x="47" y="42"/>
                    <a:pt x="40" y="40"/>
                    <a:pt x="40" y="40"/>
                  </a:cubicBezTo>
                  <a:cubicBezTo>
                    <a:pt x="31" y="13"/>
                    <a:pt x="31" y="13"/>
                    <a:pt x="31" y="13"/>
                  </a:cubicBezTo>
                  <a:cubicBezTo>
                    <a:pt x="30" y="13"/>
                    <a:pt x="30" y="13"/>
                    <a:pt x="30" y="13"/>
                  </a:cubicBezTo>
                  <a:cubicBezTo>
                    <a:pt x="30" y="13"/>
                    <a:pt x="26" y="26"/>
                    <a:pt x="24" y="33"/>
                  </a:cubicBezTo>
                  <a:cubicBezTo>
                    <a:pt x="21" y="42"/>
                    <a:pt x="14" y="40"/>
                    <a:pt x="14" y="40"/>
                  </a:cubicBezTo>
                  <a:cubicBezTo>
                    <a:pt x="0" y="0"/>
                    <a:pt x="0" y="0"/>
                    <a:pt x="0" y="0"/>
                  </a:cubicBezTo>
                  <a:cubicBezTo>
                    <a:pt x="10" y="0"/>
                    <a:pt x="10" y="0"/>
                    <a:pt x="10" y="0"/>
                  </a:cubicBezTo>
                  <a:cubicBezTo>
                    <a:pt x="18" y="27"/>
                    <a:pt x="18" y="27"/>
                    <a:pt x="18" y="27"/>
                  </a:cubicBezTo>
                  <a:cubicBezTo>
                    <a:pt x="18" y="27"/>
                    <a:pt x="18" y="27"/>
                    <a:pt x="18" y="27"/>
                  </a:cubicBezTo>
                  <a:cubicBezTo>
                    <a:pt x="27" y="0"/>
                    <a:pt x="27" y="0"/>
                    <a:pt x="27" y="0"/>
                  </a:cubicBezTo>
                  <a:cubicBezTo>
                    <a:pt x="35" y="0"/>
                    <a:pt x="35" y="0"/>
                    <a:pt x="35" y="0"/>
                  </a:cubicBezTo>
                  <a:cubicBezTo>
                    <a:pt x="44" y="27"/>
                    <a:pt x="44" y="27"/>
                    <a:pt x="44" y="27"/>
                  </a:cubicBezTo>
                  <a:cubicBezTo>
                    <a:pt x="44" y="27"/>
                    <a:pt x="44" y="27"/>
                    <a:pt x="44" y="27"/>
                  </a:cubicBezTo>
                  <a:cubicBezTo>
                    <a:pt x="52" y="0"/>
                    <a:pt x="52" y="0"/>
                    <a:pt x="52" y="0"/>
                  </a:cubicBezTo>
                  <a:cubicBezTo>
                    <a:pt x="62" y="0"/>
                    <a:pt x="62" y="0"/>
                    <a:pt x="62" y="0"/>
                  </a:cubicBezTo>
                  <a:cubicBezTo>
                    <a:pt x="62" y="0"/>
                    <a:pt x="53" y="26"/>
                    <a:pt x="50" y="33"/>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64" name="Freeform 63"/>
            <p:cNvSpPr>
              <a:spLocks noEditPoints="1"/>
            </p:cNvSpPr>
            <p:nvPr/>
          </p:nvSpPr>
          <p:spPr bwMode="auto">
            <a:xfrm>
              <a:off x="8246615" y="4413518"/>
              <a:ext cx="58645" cy="64973"/>
            </a:xfrm>
            <a:custGeom>
              <a:avLst/>
              <a:gdLst>
                <a:gd name="T0" fmla="*/ 27 w 35"/>
                <a:gd name="T1" fmla="*/ 41 h 41"/>
                <a:gd name="T2" fmla="*/ 25 w 35"/>
                <a:gd name="T3" fmla="*/ 37 h 41"/>
                <a:gd name="T4" fmla="*/ 13 w 35"/>
                <a:gd name="T5" fmla="*/ 41 h 41"/>
                <a:gd name="T6" fmla="*/ 0 w 35"/>
                <a:gd name="T7" fmla="*/ 29 h 41"/>
                <a:gd name="T8" fmla="*/ 17 w 35"/>
                <a:gd name="T9" fmla="*/ 16 h 41"/>
                <a:gd name="T10" fmla="*/ 24 w 35"/>
                <a:gd name="T11" fmla="*/ 15 h 41"/>
                <a:gd name="T12" fmla="*/ 24 w 35"/>
                <a:gd name="T13" fmla="*/ 14 h 41"/>
                <a:gd name="T14" fmla="*/ 16 w 35"/>
                <a:gd name="T15" fmla="*/ 8 h 41"/>
                <a:gd name="T16" fmla="*/ 6 w 35"/>
                <a:gd name="T17" fmla="*/ 11 h 41"/>
                <a:gd name="T18" fmla="*/ 3 w 35"/>
                <a:gd name="T19" fmla="*/ 4 h 41"/>
                <a:gd name="T20" fmla="*/ 18 w 35"/>
                <a:gd name="T21" fmla="*/ 0 h 41"/>
                <a:gd name="T22" fmla="*/ 34 w 35"/>
                <a:gd name="T23" fmla="*/ 14 h 41"/>
                <a:gd name="T24" fmla="*/ 34 w 35"/>
                <a:gd name="T25" fmla="*/ 30 h 41"/>
                <a:gd name="T26" fmla="*/ 35 w 35"/>
                <a:gd name="T27" fmla="*/ 41 h 41"/>
                <a:gd name="T28" fmla="*/ 27 w 35"/>
                <a:gd name="T29" fmla="*/ 41 h 41"/>
                <a:gd name="T30" fmla="*/ 24 w 35"/>
                <a:gd name="T31" fmla="*/ 22 h 41"/>
                <a:gd name="T32" fmla="*/ 18 w 35"/>
                <a:gd name="T33" fmla="*/ 22 h 41"/>
                <a:gd name="T34" fmla="*/ 10 w 35"/>
                <a:gd name="T35" fmla="*/ 28 h 41"/>
                <a:gd name="T36" fmla="*/ 17 w 35"/>
                <a:gd name="T37" fmla="*/ 33 h 41"/>
                <a:gd name="T38" fmla="*/ 24 w 35"/>
                <a:gd name="T39" fmla="*/ 31 h 41"/>
                <a:gd name="T40" fmla="*/ 24 w 35"/>
                <a:gd name="T41" fmla="*/ 2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 h="41">
                  <a:moveTo>
                    <a:pt x="27" y="41"/>
                  </a:moveTo>
                  <a:cubicBezTo>
                    <a:pt x="25" y="37"/>
                    <a:pt x="25" y="37"/>
                    <a:pt x="25" y="37"/>
                  </a:cubicBezTo>
                  <a:cubicBezTo>
                    <a:pt x="22" y="39"/>
                    <a:pt x="18" y="41"/>
                    <a:pt x="13" y="41"/>
                  </a:cubicBezTo>
                  <a:cubicBezTo>
                    <a:pt x="6" y="41"/>
                    <a:pt x="0" y="36"/>
                    <a:pt x="0" y="29"/>
                  </a:cubicBezTo>
                  <a:cubicBezTo>
                    <a:pt x="0" y="20"/>
                    <a:pt x="7" y="16"/>
                    <a:pt x="17" y="16"/>
                  </a:cubicBezTo>
                  <a:cubicBezTo>
                    <a:pt x="24" y="15"/>
                    <a:pt x="24" y="15"/>
                    <a:pt x="24" y="15"/>
                  </a:cubicBezTo>
                  <a:cubicBezTo>
                    <a:pt x="24" y="15"/>
                    <a:pt x="24" y="15"/>
                    <a:pt x="24" y="14"/>
                  </a:cubicBezTo>
                  <a:cubicBezTo>
                    <a:pt x="24" y="10"/>
                    <a:pt x="21" y="8"/>
                    <a:pt x="16" y="8"/>
                  </a:cubicBezTo>
                  <a:cubicBezTo>
                    <a:pt x="12" y="8"/>
                    <a:pt x="9" y="9"/>
                    <a:pt x="6" y="11"/>
                  </a:cubicBezTo>
                  <a:cubicBezTo>
                    <a:pt x="3" y="4"/>
                    <a:pt x="3" y="4"/>
                    <a:pt x="3" y="4"/>
                  </a:cubicBezTo>
                  <a:cubicBezTo>
                    <a:pt x="8" y="1"/>
                    <a:pt x="13" y="0"/>
                    <a:pt x="18" y="0"/>
                  </a:cubicBezTo>
                  <a:cubicBezTo>
                    <a:pt x="28" y="0"/>
                    <a:pt x="34" y="4"/>
                    <a:pt x="34" y="14"/>
                  </a:cubicBezTo>
                  <a:cubicBezTo>
                    <a:pt x="34" y="30"/>
                    <a:pt x="34" y="30"/>
                    <a:pt x="34" y="30"/>
                  </a:cubicBezTo>
                  <a:cubicBezTo>
                    <a:pt x="34" y="36"/>
                    <a:pt x="34" y="39"/>
                    <a:pt x="35" y="41"/>
                  </a:cubicBezTo>
                  <a:lnTo>
                    <a:pt x="27" y="41"/>
                  </a:lnTo>
                  <a:close/>
                  <a:moveTo>
                    <a:pt x="24" y="22"/>
                  </a:moveTo>
                  <a:cubicBezTo>
                    <a:pt x="18" y="22"/>
                    <a:pt x="18" y="22"/>
                    <a:pt x="18" y="22"/>
                  </a:cubicBezTo>
                  <a:cubicBezTo>
                    <a:pt x="13" y="23"/>
                    <a:pt x="10" y="24"/>
                    <a:pt x="10" y="28"/>
                  </a:cubicBezTo>
                  <a:cubicBezTo>
                    <a:pt x="10" y="31"/>
                    <a:pt x="13" y="33"/>
                    <a:pt x="17" y="33"/>
                  </a:cubicBezTo>
                  <a:cubicBezTo>
                    <a:pt x="20" y="33"/>
                    <a:pt x="23" y="32"/>
                    <a:pt x="24" y="31"/>
                  </a:cubicBezTo>
                  <a:lnTo>
                    <a:pt x="24" y="22"/>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65" name="Freeform 64"/>
            <p:cNvSpPr>
              <a:spLocks noEditPoints="1"/>
            </p:cNvSpPr>
            <p:nvPr/>
          </p:nvSpPr>
          <p:spPr bwMode="auto">
            <a:xfrm>
              <a:off x="8363669" y="4383257"/>
              <a:ext cx="63591" cy="95234"/>
            </a:xfrm>
            <a:custGeom>
              <a:avLst/>
              <a:gdLst>
                <a:gd name="T0" fmla="*/ 22 w 38"/>
                <a:gd name="T1" fmla="*/ 60 h 60"/>
                <a:gd name="T2" fmla="*/ 0 w 38"/>
                <a:gd name="T3" fmla="*/ 40 h 60"/>
                <a:gd name="T4" fmla="*/ 22 w 38"/>
                <a:gd name="T5" fmla="*/ 19 h 60"/>
                <a:gd name="T6" fmla="*/ 27 w 38"/>
                <a:gd name="T7" fmla="*/ 19 h 60"/>
                <a:gd name="T8" fmla="*/ 28 w 38"/>
                <a:gd name="T9" fmla="*/ 0 h 60"/>
                <a:gd name="T10" fmla="*/ 38 w 38"/>
                <a:gd name="T11" fmla="*/ 0 h 60"/>
                <a:gd name="T12" fmla="*/ 37 w 38"/>
                <a:gd name="T13" fmla="*/ 57 h 60"/>
                <a:gd name="T14" fmla="*/ 22 w 38"/>
                <a:gd name="T15" fmla="*/ 60 h 60"/>
                <a:gd name="T16" fmla="*/ 27 w 38"/>
                <a:gd name="T17" fmla="*/ 27 h 60"/>
                <a:gd name="T18" fmla="*/ 23 w 38"/>
                <a:gd name="T19" fmla="*/ 27 h 60"/>
                <a:gd name="T20" fmla="*/ 10 w 38"/>
                <a:gd name="T21" fmla="*/ 39 h 60"/>
                <a:gd name="T22" fmla="*/ 23 w 38"/>
                <a:gd name="T23" fmla="*/ 52 h 60"/>
                <a:gd name="T24" fmla="*/ 27 w 38"/>
                <a:gd name="T25" fmla="*/ 51 h 60"/>
                <a:gd name="T26" fmla="*/ 27 w 38"/>
                <a:gd name="T27" fmla="*/ 2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60">
                  <a:moveTo>
                    <a:pt x="22" y="60"/>
                  </a:moveTo>
                  <a:cubicBezTo>
                    <a:pt x="10" y="60"/>
                    <a:pt x="0" y="53"/>
                    <a:pt x="0" y="40"/>
                  </a:cubicBezTo>
                  <a:cubicBezTo>
                    <a:pt x="0" y="28"/>
                    <a:pt x="9" y="19"/>
                    <a:pt x="22" y="19"/>
                  </a:cubicBezTo>
                  <a:cubicBezTo>
                    <a:pt x="24" y="19"/>
                    <a:pt x="26" y="19"/>
                    <a:pt x="27" y="19"/>
                  </a:cubicBezTo>
                  <a:cubicBezTo>
                    <a:pt x="28" y="0"/>
                    <a:pt x="28" y="0"/>
                    <a:pt x="28" y="0"/>
                  </a:cubicBezTo>
                  <a:cubicBezTo>
                    <a:pt x="38" y="0"/>
                    <a:pt x="38" y="0"/>
                    <a:pt x="38" y="0"/>
                  </a:cubicBezTo>
                  <a:cubicBezTo>
                    <a:pt x="37" y="57"/>
                    <a:pt x="37" y="57"/>
                    <a:pt x="37" y="57"/>
                  </a:cubicBezTo>
                  <a:cubicBezTo>
                    <a:pt x="34" y="59"/>
                    <a:pt x="29" y="60"/>
                    <a:pt x="22" y="60"/>
                  </a:cubicBezTo>
                  <a:close/>
                  <a:moveTo>
                    <a:pt x="27" y="27"/>
                  </a:moveTo>
                  <a:cubicBezTo>
                    <a:pt x="26" y="27"/>
                    <a:pt x="25" y="27"/>
                    <a:pt x="23" y="27"/>
                  </a:cubicBezTo>
                  <a:cubicBezTo>
                    <a:pt x="16" y="27"/>
                    <a:pt x="10" y="32"/>
                    <a:pt x="10" y="39"/>
                  </a:cubicBezTo>
                  <a:cubicBezTo>
                    <a:pt x="10" y="47"/>
                    <a:pt x="15" y="52"/>
                    <a:pt x="23" y="52"/>
                  </a:cubicBezTo>
                  <a:cubicBezTo>
                    <a:pt x="24" y="52"/>
                    <a:pt x="26" y="52"/>
                    <a:pt x="27" y="51"/>
                  </a:cubicBezTo>
                  <a:lnTo>
                    <a:pt x="27" y="2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66" name="Freeform 65"/>
            <p:cNvSpPr>
              <a:spLocks/>
            </p:cNvSpPr>
            <p:nvPr/>
          </p:nvSpPr>
          <p:spPr bwMode="auto">
            <a:xfrm>
              <a:off x="8114724" y="4383257"/>
              <a:ext cx="16722" cy="95234"/>
            </a:xfrm>
            <a:custGeom>
              <a:avLst/>
              <a:gdLst>
                <a:gd name="T0" fmla="*/ 10 w 10"/>
                <a:gd name="T1" fmla="*/ 53 h 60"/>
                <a:gd name="T2" fmla="*/ 0 w 10"/>
                <a:gd name="T3" fmla="*/ 60 h 60"/>
                <a:gd name="T4" fmla="*/ 0 w 10"/>
                <a:gd name="T5" fmla="*/ 0 h 60"/>
                <a:gd name="T6" fmla="*/ 10 w 10"/>
                <a:gd name="T7" fmla="*/ 0 h 60"/>
                <a:gd name="T8" fmla="*/ 10 w 10"/>
                <a:gd name="T9" fmla="*/ 53 h 60"/>
              </a:gdLst>
              <a:ahLst/>
              <a:cxnLst>
                <a:cxn ang="0">
                  <a:pos x="T0" y="T1"/>
                </a:cxn>
                <a:cxn ang="0">
                  <a:pos x="T2" y="T3"/>
                </a:cxn>
                <a:cxn ang="0">
                  <a:pos x="T4" y="T5"/>
                </a:cxn>
                <a:cxn ang="0">
                  <a:pos x="T6" y="T7"/>
                </a:cxn>
                <a:cxn ang="0">
                  <a:pos x="T8" y="T9"/>
                </a:cxn>
              </a:cxnLst>
              <a:rect l="0" t="0" r="r" b="b"/>
              <a:pathLst>
                <a:path w="10" h="60">
                  <a:moveTo>
                    <a:pt x="10" y="53"/>
                  </a:moveTo>
                  <a:cubicBezTo>
                    <a:pt x="10" y="60"/>
                    <a:pt x="0" y="60"/>
                    <a:pt x="0" y="60"/>
                  </a:cubicBezTo>
                  <a:cubicBezTo>
                    <a:pt x="0" y="0"/>
                    <a:pt x="0" y="0"/>
                    <a:pt x="0" y="0"/>
                  </a:cubicBezTo>
                  <a:cubicBezTo>
                    <a:pt x="10" y="0"/>
                    <a:pt x="10" y="0"/>
                    <a:pt x="10" y="0"/>
                  </a:cubicBezTo>
                  <a:cubicBezTo>
                    <a:pt x="10" y="0"/>
                    <a:pt x="10" y="45"/>
                    <a:pt x="10" y="53"/>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69" name="Freeform 68"/>
            <p:cNvSpPr>
              <a:spLocks/>
            </p:cNvSpPr>
            <p:nvPr/>
          </p:nvSpPr>
          <p:spPr bwMode="auto">
            <a:xfrm>
              <a:off x="8081279" y="4383257"/>
              <a:ext cx="16722" cy="95234"/>
            </a:xfrm>
            <a:custGeom>
              <a:avLst/>
              <a:gdLst>
                <a:gd name="T0" fmla="*/ 10 w 10"/>
                <a:gd name="T1" fmla="*/ 53 h 60"/>
                <a:gd name="T2" fmla="*/ 0 w 10"/>
                <a:gd name="T3" fmla="*/ 60 h 60"/>
                <a:gd name="T4" fmla="*/ 0 w 10"/>
                <a:gd name="T5" fmla="*/ 0 h 60"/>
                <a:gd name="T6" fmla="*/ 10 w 10"/>
                <a:gd name="T7" fmla="*/ 0 h 60"/>
                <a:gd name="T8" fmla="*/ 10 w 10"/>
                <a:gd name="T9" fmla="*/ 53 h 60"/>
              </a:gdLst>
              <a:ahLst/>
              <a:cxnLst>
                <a:cxn ang="0">
                  <a:pos x="T0" y="T1"/>
                </a:cxn>
                <a:cxn ang="0">
                  <a:pos x="T2" y="T3"/>
                </a:cxn>
                <a:cxn ang="0">
                  <a:pos x="T4" y="T5"/>
                </a:cxn>
                <a:cxn ang="0">
                  <a:pos x="T6" y="T7"/>
                </a:cxn>
                <a:cxn ang="0">
                  <a:pos x="T8" y="T9"/>
                </a:cxn>
              </a:cxnLst>
              <a:rect l="0" t="0" r="r" b="b"/>
              <a:pathLst>
                <a:path w="10" h="60">
                  <a:moveTo>
                    <a:pt x="10" y="53"/>
                  </a:moveTo>
                  <a:cubicBezTo>
                    <a:pt x="10" y="60"/>
                    <a:pt x="0" y="60"/>
                    <a:pt x="0" y="60"/>
                  </a:cubicBezTo>
                  <a:cubicBezTo>
                    <a:pt x="0" y="0"/>
                    <a:pt x="0" y="0"/>
                    <a:pt x="0" y="0"/>
                  </a:cubicBezTo>
                  <a:cubicBezTo>
                    <a:pt x="10" y="0"/>
                    <a:pt x="10" y="0"/>
                    <a:pt x="10" y="0"/>
                  </a:cubicBezTo>
                  <a:cubicBezTo>
                    <a:pt x="10" y="0"/>
                    <a:pt x="10" y="45"/>
                    <a:pt x="10" y="53"/>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70" name="Freeform 69"/>
            <p:cNvSpPr>
              <a:spLocks/>
            </p:cNvSpPr>
            <p:nvPr/>
          </p:nvSpPr>
          <p:spPr bwMode="auto">
            <a:xfrm>
              <a:off x="8318450" y="4413518"/>
              <a:ext cx="43571" cy="64973"/>
            </a:xfrm>
            <a:custGeom>
              <a:avLst/>
              <a:gdLst>
                <a:gd name="T0" fmla="*/ 22 w 26"/>
                <a:gd name="T1" fmla="*/ 10 h 41"/>
                <a:gd name="T2" fmla="*/ 18 w 26"/>
                <a:gd name="T3" fmla="*/ 9 h 41"/>
                <a:gd name="T4" fmla="*/ 10 w 26"/>
                <a:gd name="T5" fmla="*/ 12 h 41"/>
                <a:gd name="T6" fmla="*/ 10 w 26"/>
                <a:gd name="T7" fmla="*/ 34 h 41"/>
                <a:gd name="T8" fmla="*/ 0 w 26"/>
                <a:gd name="T9" fmla="*/ 41 h 41"/>
                <a:gd name="T10" fmla="*/ 0 w 26"/>
                <a:gd name="T11" fmla="*/ 1 h 41"/>
                <a:gd name="T12" fmla="*/ 9 w 26"/>
                <a:gd name="T13" fmla="*/ 1 h 41"/>
                <a:gd name="T14" fmla="*/ 10 w 26"/>
                <a:gd name="T15" fmla="*/ 5 h 41"/>
                <a:gd name="T16" fmla="*/ 21 w 26"/>
                <a:gd name="T17" fmla="*/ 0 h 41"/>
                <a:gd name="T18" fmla="*/ 26 w 26"/>
                <a:gd name="T19" fmla="*/ 2 h 41"/>
                <a:gd name="T20" fmla="*/ 22 w 26"/>
                <a:gd name="T21" fmla="*/ 1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41">
                  <a:moveTo>
                    <a:pt x="22" y="10"/>
                  </a:moveTo>
                  <a:cubicBezTo>
                    <a:pt x="21" y="9"/>
                    <a:pt x="19" y="9"/>
                    <a:pt x="18" y="9"/>
                  </a:cubicBezTo>
                  <a:cubicBezTo>
                    <a:pt x="15" y="9"/>
                    <a:pt x="13" y="10"/>
                    <a:pt x="10" y="12"/>
                  </a:cubicBezTo>
                  <a:cubicBezTo>
                    <a:pt x="10" y="12"/>
                    <a:pt x="10" y="26"/>
                    <a:pt x="10" y="34"/>
                  </a:cubicBezTo>
                  <a:cubicBezTo>
                    <a:pt x="10" y="41"/>
                    <a:pt x="0" y="41"/>
                    <a:pt x="0" y="41"/>
                  </a:cubicBezTo>
                  <a:cubicBezTo>
                    <a:pt x="0" y="1"/>
                    <a:pt x="0" y="1"/>
                    <a:pt x="0" y="1"/>
                  </a:cubicBezTo>
                  <a:cubicBezTo>
                    <a:pt x="9" y="1"/>
                    <a:pt x="9" y="1"/>
                    <a:pt x="9" y="1"/>
                  </a:cubicBezTo>
                  <a:cubicBezTo>
                    <a:pt x="10" y="5"/>
                    <a:pt x="10" y="5"/>
                    <a:pt x="10" y="5"/>
                  </a:cubicBezTo>
                  <a:cubicBezTo>
                    <a:pt x="14" y="2"/>
                    <a:pt x="17" y="0"/>
                    <a:pt x="21" y="0"/>
                  </a:cubicBezTo>
                  <a:cubicBezTo>
                    <a:pt x="23" y="0"/>
                    <a:pt x="25" y="1"/>
                    <a:pt x="26" y="2"/>
                  </a:cubicBezTo>
                  <a:lnTo>
                    <a:pt x="22" y="1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71" name="Freeform 70"/>
            <p:cNvSpPr>
              <a:spLocks/>
            </p:cNvSpPr>
            <p:nvPr/>
          </p:nvSpPr>
          <p:spPr bwMode="auto">
            <a:xfrm>
              <a:off x="7929133" y="4383257"/>
              <a:ext cx="98684" cy="93677"/>
            </a:xfrm>
            <a:custGeom>
              <a:avLst/>
              <a:gdLst>
                <a:gd name="T0" fmla="*/ 48 w 59"/>
                <a:gd name="T1" fmla="*/ 59 h 59"/>
                <a:gd name="T2" fmla="*/ 48 w 59"/>
                <a:gd name="T3" fmla="*/ 24 h 59"/>
                <a:gd name="T4" fmla="*/ 49 w 59"/>
                <a:gd name="T5" fmla="*/ 18 h 59"/>
                <a:gd name="T6" fmla="*/ 48 w 59"/>
                <a:gd name="T7" fmla="*/ 18 h 59"/>
                <a:gd name="T8" fmla="*/ 45 w 59"/>
                <a:gd name="T9" fmla="*/ 24 h 59"/>
                <a:gd name="T10" fmla="*/ 33 w 59"/>
                <a:gd name="T11" fmla="*/ 42 h 59"/>
                <a:gd name="T12" fmla="*/ 28 w 59"/>
                <a:gd name="T13" fmla="*/ 42 h 59"/>
                <a:gd name="T14" fmla="*/ 14 w 59"/>
                <a:gd name="T15" fmla="*/ 23 h 59"/>
                <a:gd name="T16" fmla="*/ 11 w 59"/>
                <a:gd name="T17" fmla="*/ 18 h 59"/>
                <a:gd name="T18" fmla="*/ 11 w 59"/>
                <a:gd name="T19" fmla="*/ 18 h 59"/>
                <a:gd name="T20" fmla="*/ 11 w 59"/>
                <a:gd name="T21" fmla="*/ 24 h 59"/>
                <a:gd name="T22" fmla="*/ 11 w 59"/>
                <a:gd name="T23" fmla="*/ 59 h 59"/>
                <a:gd name="T24" fmla="*/ 0 w 59"/>
                <a:gd name="T25" fmla="*/ 59 h 59"/>
                <a:gd name="T26" fmla="*/ 0 w 59"/>
                <a:gd name="T27" fmla="*/ 0 h 59"/>
                <a:gd name="T28" fmla="*/ 10 w 59"/>
                <a:gd name="T29" fmla="*/ 0 h 59"/>
                <a:gd name="T30" fmla="*/ 26 w 59"/>
                <a:gd name="T31" fmla="*/ 24 h 59"/>
                <a:gd name="T32" fmla="*/ 30 w 59"/>
                <a:gd name="T33" fmla="*/ 30 h 59"/>
                <a:gd name="T34" fmla="*/ 30 w 59"/>
                <a:gd name="T35" fmla="*/ 30 h 59"/>
                <a:gd name="T36" fmla="*/ 34 w 59"/>
                <a:gd name="T37" fmla="*/ 24 h 59"/>
                <a:gd name="T38" fmla="*/ 49 w 59"/>
                <a:gd name="T39" fmla="*/ 0 h 59"/>
                <a:gd name="T40" fmla="*/ 59 w 59"/>
                <a:gd name="T41" fmla="*/ 0 h 59"/>
                <a:gd name="T42" fmla="*/ 59 w 59"/>
                <a:gd name="T43" fmla="*/ 59 h 59"/>
                <a:gd name="T44" fmla="*/ 48 w 59"/>
                <a:gd name="T4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9" h="59">
                  <a:moveTo>
                    <a:pt x="48" y="59"/>
                  </a:moveTo>
                  <a:cubicBezTo>
                    <a:pt x="48" y="24"/>
                    <a:pt x="48" y="24"/>
                    <a:pt x="48" y="24"/>
                  </a:cubicBezTo>
                  <a:cubicBezTo>
                    <a:pt x="48" y="22"/>
                    <a:pt x="48" y="20"/>
                    <a:pt x="49" y="18"/>
                  </a:cubicBezTo>
                  <a:cubicBezTo>
                    <a:pt x="48" y="18"/>
                    <a:pt x="48" y="18"/>
                    <a:pt x="48" y="18"/>
                  </a:cubicBezTo>
                  <a:cubicBezTo>
                    <a:pt x="48" y="19"/>
                    <a:pt x="46" y="22"/>
                    <a:pt x="45" y="24"/>
                  </a:cubicBezTo>
                  <a:cubicBezTo>
                    <a:pt x="33" y="42"/>
                    <a:pt x="33" y="42"/>
                    <a:pt x="33" y="42"/>
                  </a:cubicBezTo>
                  <a:cubicBezTo>
                    <a:pt x="28" y="42"/>
                    <a:pt x="28" y="42"/>
                    <a:pt x="28" y="42"/>
                  </a:cubicBezTo>
                  <a:cubicBezTo>
                    <a:pt x="14" y="23"/>
                    <a:pt x="14" y="23"/>
                    <a:pt x="14" y="23"/>
                  </a:cubicBezTo>
                  <a:cubicBezTo>
                    <a:pt x="13" y="22"/>
                    <a:pt x="12" y="20"/>
                    <a:pt x="11" y="18"/>
                  </a:cubicBezTo>
                  <a:cubicBezTo>
                    <a:pt x="11" y="18"/>
                    <a:pt x="11" y="18"/>
                    <a:pt x="11" y="18"/>
                  </a:cubicBezTo>
                  <a:cubicBezTo>
                    <a:pt x="11" y="20"/>
                    <a:pt x="11" y="22"/>
                    <a:pt x="11" y="24"/>
                  </a:cubicBezTo>
                  <a:cubicBezTo>
                    <a:pt x="11" y="59"/>
                    <a:pt x="11" y="59"/>
                    <a:pt x="11" y="59"/>
                  </a:cubicBezTo>
                  <a:cubicBezTo>
                    <a:pt x="0" y="59"/>
                    <a:pt x="0" y="59"/>
                    <a:pt x="0" y="59"/>
                  </a:cubicBezTo>
                  <a:cubicBezTo>
                    <a:pt x="0" y="0"/>
                    <a:pt x="0" y="0"/>
                    <a:pt x="0" y="0"/>
                  </a:cubicBezTo>
                  <a:cubicBezTo>
                    <a:pt x="10" y="0"/>
                    <a:pt x="10" y="0"/>
                    <a:pt x="10" y="0"/>
                  </a:cubicBezTo>
                  <a:cubicBezTo>
                    <a:pt x="26" y="24"/>
                    <a:pt x="26" y="24"/>
                    <a:pt x="26" y="24"/>
                  </a:cubicBezTo>
                  <a:cubicBezTo>
                    <a:pt x="28" y="26"/>
                    <a:pt x="29" y="28"/>
                    <a:pt x="30" y="30"/>
                  </a:cubicBezTo>
                  <a:cubicBezTo>
                    <a:pt x="30" y="30"/>
                    <a:pt x="30" y="30"/>
                    <a:pt x="30" y="30"/>
                  </a:cubicBezTo>
                  <a:cubicBezTo>
                    <a:pt x="31" y="28"/>
                    <a:pt x="32" y="26"/>
                    <a:pt x="34" y="24"/>
                  </a:cubicBezTo>
                  <a:cubicBezTo>
                    <a:pt x="49" y="0"/>
                    <a:pt x="49" y="0"/>
                    <a:pt x="49" y="0"/>
                  </a:cubicBezTo>
                  <a:cubicBezTo>
                    <a:pt x="59" y="0"/>
                    <a:pt x="59" y="0"/>
                    <a:pt x="59" y="0"/>
                  </a:cubicBezTo>
                  <a:cubicBezTo>
                    <a:pt x="59" y="59"/>
                    <a:pt x="59" y="59"/>
                    <a:pt x="59" y="59"/>
                  </a:cubicBezTo>
                  <a:lnTo>
                    <a:pt x="48" y="5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72" name="Freeform 71"/>
            <p:cNvSpPr>
              <a:spLocks noEditPoints="1"/>
            </p:cNvSpPr>
            <p:nvPr/>
          </p:nvSpPr>
          <p:spPr bwMode="auto">
            <a:xfrm>
              <a:off x="8044539" y="4386372"/>
              <a:ext cx="21668" cy="92119"/>
            </a:xfrm>
            <a:custGeom>
              <a:avLst/>
              <a:gdLst>
                <a:gd name="T0" fmla="*/ 6 w 13"/>
                <a:gd name="T1" fmla="*/ 12 h 58"/>
                <a:gd name="T2" fmla="*/ 0 w 13"/>
                <a:gd name="T3" fmla="*/ 6 h 58"/>
                <a:gd name="T4" fmla="*/ 6 w 13"/>
                <a:gd name="T5" fmla="*/ 0 h 58"/>
                <a:gd name="T6" fmla="*/ 13 w 13"/>
                <a:gd name="T7" fmla="*/ 6 h 58"/>
                <a:gd name="T8" fmla="*/ 6 w 13"/>
                <a:gd name="T9" fmla="*/ 12 h 58"/>
                <a:gd name="T10" fmla="*/ 1 w 13"/>
                <a:gd name="T11" fmla="*/ 58 h 58"/>
                <a:gd name="T12" fmla="*/ 1 w 13"/>
                <a:gd name="T13" fmla="*/ 18 h 58"/>
                <a:gd name="T14" fmla="*/ 11 w 13"/>
                <a:gd name="T15" fmla="*/ 18 h 58"/>
                <a:gd name="T16" fmla="*/ 11 w 13"/>
                <a:gd name="T17" fmla="*/ 51 h 58"/>
                <a:gd name="T18" fmla="*/ 1 w 13"/>
                <a:gd name="T19"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58">
                  <a:moveTo>
                    <a:pt x="6" y="12"/>
                  </a:moveTo>
                  <a:cubicBezTo>
                    <a:pt x="3" y="12"/>
                    <a:pt x="0" y="9"/>
                    <a:pt x="0" y="6"/>
                  </a:cubicBezTo>
                  <a:cubicBezTo>
                    <a:pt x="0" y="2"/>
                    <a:pt x="3" y="0"/>
                    <a:pt x="6" y="0"/>
                  </a:cubicBezTo>
                  <a:cubicBezTo>
                    <a:pt x="10" y="0"/>
                    <a:pt x="13" y="2"/>
                    <a:pt x="13" y="6"/>
                  </a:cubicBezTo>
                  <a:cubicBezTo>
                    <a:pt x="13" y="9"/>
                    <a:pt x="10" y="12"/>
                    <a:pt x="6" y="12"/>
                  </a:cubicBezTo>
                  <a:close/>
                  <a:moveTo>
                    <a:pt x="1" y="58"/>
                  </a:moveTo>
                  <a:cubicBezTo>
                    <a:pt x="1" y="18"/>
                    <a:pt x="1" y="18"/>
                    <a:pt x="1" y="18"/>
                  </a:cubicBezTo>
                  <a:cubicBezTo>
                    <a:pt x="11" y="18"/>
                    <a:pt x="11" y="18"/>
                    <a:pt x="11" y="18"/>
                  </a:cubicBezTo>
                  <a:cubicBezTo>
                    <a:pt x="11" y="18"/>
                    <a:pt x="11" y="43"/>
                    <a:pt x="11" y="51"/>
                  </a:cubicBezTo>
                  <a:cubicBezTo>
                    <a:pt x="11" y="58"/>
                    <a:pt x="1" y="58"/>
                    <a:pt x="1" y="58"/>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73" name="Freeform 72"/>
            <p:cNvSpPr>
              <a:spLocks/>
            </p:cNvSpPr>
            <p:nvPr/>
          </p:nvSpPr>
          <p:spPr bwMode="auto">
            <a:xfrm>
              <a:off x="8224947" y="4510310"/>
              <a:ext cx="13425" cy="79436"/>
            </a:xfrm>
            <a:custGeom>
              <a:avLst/>
              <a:gdLst>
                <a:gd name="T0" fmla="*/ 8 w 8"/>
                <a:gd name="T1" fmla="*/ 44 h 50"/>
                <a:gd name="T2" fmla="*/ 0 w 8"/>
                <a:gd name="T3" fmla="*/ 50 h 50"/>
                <a:gd name="T4" fmla="*/ 0 w 8"/>
                <a:gd name="T5" fmla="*/ 0 h 50"/>
                <a:gd name="T6" fmla="*/ 8 w 8"/>
                <a:gd name="T7" fmla="*/ 0 h 50"/>
                <a:gd name="T8" fmla="*/ 8 w 8"/>
                <a:gd name="T9" fmla="*/ 44 h 50"/>
              </a:gdLst>
              <a:ahLst/>
              <a:cxnLst>
                <a:cxn ang="0">
                  <a:pos x="T0" y="T1"/>
                </a:cxn>
                <a:cxn ang="0">
                  <a:pos x="T2" y="T3"/>
                </a:cxn>
                <a:cxn ang="0">
                  <a:pos x="T4" y="T5"/>
                </a:cxn>
                <a:cxn ang="0">
                  <a:pos x="T6" y="T7"/>
                </a:cxn>
                <a:cxn ang="0">
                  <a:pos x="T8" y="T9"/>
                </a:cxn>
              </a:cxnLst>
              <a:rect l="0" t="0" r="r" b="b"/>
              <a:pathLst>
                <a:path w="8" h="50">
                  <a:moveTo>
                    <a:pt x="8" y="44"/>
                  </a:moveTo>
                  <a:cubicBezTo>
                    <a:pt x="8" y="50"/>
                    <a:pt x="0" y="50"/>
                    <a:pt x="0" y="50"/>
                  </a:cubicBezTo>
                  <a:cubicBezTo>
                    <a:pt x="0" y="0"/>
                    <a:pt x="0" y="0"/>
                    <a:pt x="0" y="0"/>
                  </a:cubicBezTo>
                  <a:cubicBezTo>
                    <a:pt x="8" y="0"/>
                    <a:pt x="8" y="0"/>
                    <a:pt x="8" y="0"/>
                  </a:cubicBezTo>
                  <a:cubicBezTo>
                    <a:pt x="8" y="0"/>
                    <a:pt x="8" y="37"/>
                    <a:pt x="8"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Freeform 73"/>
            <p:cNvSpPr>
              <a:spLocks noEditPoints="1"/>
            </p:cNvSpPr>
            <p:nvPr/>
          </p:nvSpPr>
          <p:spPr bwMode="auto">
            <a:xfrm>
              <a:off x="8007562" y="4513425"/>
              <a:ext cx="18371" cy="76321"/>
            </a:xfrm>
            <a:custGeom>
              <a:avLst/>
              <a:gdLst>
                <a:gd name="T0" fmla="*/ 5 w 11"/>
                <a:gd name="T1" fmla="*/ 10 h 48"/>
                <a:gd name="T2" fmla="*/ 0 w 11"/>
                <a:gd name="T3" fmla="*/ 5 h 48"/>
                <a:gd name="T4" fmla="*/ 5 w 11"/>
                <a:gd name="T5" fmla="*/ 0 h 48"/>
                <a:gd name="T6" fmla="*/ 11 w 11"/>
                <a:gd name="T7" fmla="*/ 5 h 48"/>
                <a:gd name="T8" fmla="*/ 5 w 11"/>
                <a:gd name="T9" fmla="*/ 10 h 48"/>
                <a:gd name="T10" fmla="*/ 1 w 11"/>
                <a:gd name="T11" fmla="*/ 48 h 48"/>
                <a:gd name="T12" fmla="*/ 1 w 11"/>
                <a:gd name="T13" fmla="*/ 15 h 48"/>
                <a:gd name="T14" fmla="*/ 10 w 11"/>
                <a:gd name="T15" fmla="*/ 15 h 48"/>
                <a:gd name="T16" fmla="*/ 10 w 11"/>
                <a:gd name="T17" fmla="*/ 42 h 48"/>
                <a:gd name="T18" fmla="*/ 1 w 11"/>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48">
                  <a:moveTo>
                    <a:pt x="5" y="10"/>
                  </a:moveTo>
                  <a:cubicBezTo>
                    <a:pt x="3" y="10"/>
                    <a:pt x="0" y="7"/>
                    <a:pt x="0" y="5"/>
                  </a:cubicBezTo>
                  <a:cubicBezTo>
                    <a:pt x="0" y="2"/>
                    <a:pt x="3" y="0"/>
                    <a:pt x="5" y="0"/>
                  </a:cubicBezTo>
                  <a:cubicBezTo>
                    <a:pt x="8" y="0"/>
                    <a:pt x="11" y="2"/>
                    <a:pt x="11" y="5"/>
                  </a:cubicBezTo>
                  <a:cubicBezTo>
                    <a:pt x="11" y="7"/>
                    <a:pt x="8" y="10"/>
                    <a:pt x="5" y="10"/>
                  </a:cubicBezTo>
                  <a:close/>
                  <a:moveTo>
                    <a:pt x="1" y="48"/>
                  </a:moveTo>
                  <a:cubicBezTo>
                    <a:pt x="1" y="15"/>
                    <a:pt x="1" y="15"/>
                    <a:pt x="1" y="15"/>
                  </a:cubicBezTo>
                  <a:cubicBezTo>
                    <a:pt x="10" y="15"/>
                    <a:pt x="10" y="15"/>
                    <a:pt x="10" y="15"/>
                  </a:cubicBezTo>
                  <a:cubicBezTo>
                    <a:pt x="10" y="15"/>
                    <a:pt x="10" y="36"/>
                    <a:pt x="10" y="42"/>
                  </a:cubicBezTo>
                  <a:cubicBezTo>
                    <a:pt x="10" y="48"/>
                    <a:pt x="1" y="48"/>
                    <a:pt x="1"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97"/>
            <p:cNvSpPr>
              <a:spLocks noEditPoints="1"/>
            </p:cNvSpPr>
            <p:nvPr/>
          </p:nvSpPr>
          <p:spPr bwMode="auto">
            <a:xfrm>
              <a:off x="8094469" y="4513425"/>
              <a:ext cx="16722" cy="76321"/>
            </a:xfrm>
            <a:custGeom>
              <a:avLst/>
              <a:gdLst>
                <a:gd name="T0" fmla="*/ 5 w 10"/>
                <a:gd name="T1" fmla="*/ 10 h 48"/>
                <a:gd name="T2" fmla="*/ 0 w 10"/>
                <a:gd name="T3" fmla="*/ 5 h 48"/>
                <a:gd name="T4" fmla="*/ 5 w 10"/>
                <a:gd name="T5" fmla="*/ 0 h 48"/>
                <a:gd name="T6" fmla="*/ 10 w 10"/>
                <a:gd name="T7" fmla="*/ 5 h 48"/>
                <a:gd name="T8" fmla="*/ 5 w 10"/>
                <a:gd name="T9" fmla="*/ 10 h 48"/>
                <a:gd name="T10" fmla="*/ 1 w 10"/>
                <a:gd name="T11" fmla="*/ 48 h 48"/>
                <a:gd name="T12" fmla="*/ 1 w 10"/>
                <a:gd name="T13" fmla="*/ 15 h 48"/>
                <a:gd name="T14" fmla="*/ 9 w 10"/>
                <a:gd name="T15" fmla="*/ 15 h 48"/>
                <a:gd name="T16" fmla="*/ 9 w 10"/>
                <a:gd name="T17" fmla="*/ 42 h 48"/>
                <a:gd name="T18" fmla="*/ 1 w 10"/>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48">
                  <a:moveTo>
                    <a:pt x="5" y="10"/>
                  </a:moveTo>
                  <a:cubicBezTo>
                    <a:pt x="2" y="10"/>
                    <a:pt x="0" y="8"/>
                    <a:pt x="0" y="5"/>
                  </a:cubicBezTo>
                  <a:cubicBezTo>
                    <a:pt x="0" y="2"/>
                    <a:pt x="2" y="0"/>
                    <a:pt x="5" y="0"/>
                  </a:cubicBezTo>
                  <a:cubicBezTo>
                    <a:pt x="8" y="0"/>
                    <a:pt x="10" y="2"/>
                    <a:pt x="10" y="5"/>
                  </a:cubicBezTo>
                  <a:cubicBezTo>
                    <a:pt x="10" y="8"/>
                    <a:pt x="8" y="10"/>
                    <a:pt x="5" y="10"/>
                  </a:cubicBezTo>
                  <a:close/>
                  <a:moveTo>
                    <a:pt x="1" y="48"/>
                  </a:moveTo>
                  <a:cubicBezTo>
                    <a:pt x="1" y="15"/>
                    <a:pt x="1" y="15"/>
                    <a:pt x="1" y="15"/>
                  </a:cubicBezTo>
                  <a:cubicBezTo>
                    <a:pt x="9" y="15"/>
                    <a:pt x="9" y="15"/>
                    <a:pt x="9" y="15"/>
                  </a:cubicBezTo>
                  <a:cubicBezTo>
                    <a:pt x="9" y="15"/>
                    <a:pt x="9" y="36"/>
                    <a:pt x="9" y="42"/>
                  </a:cubicBezTo>
                  <a:cubicBezTo>
                    <a:pt x="9" y="48"/>
                    <a:pt x="1" y="48"/>
                    <a:pt x="1"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98"/>
            <p:cNvSpPr>
              <a:spLocks noEditPoints="1"/>
            </p:cNvSpPr>
            <p:nvPr/>
          </p:nvSpPr>
          <p:spPr bwMode="auto">
            <a:xfrm>
              <a:off x="7929133" y="4510310"/>
              <a:ext cx="70185" cy="77879"/>
            </a:xfrm>
            <a:custGeom>
              <a:avLst/>
              <a:gdLst>
                <a:gd name="T0" fmla="*/ 0 w 42"/>
                <a:gd name="T1" fmla="*/ 0 h 49"/>
                <a:gd name="T2" fmla="*/ 15 w 42"/>
                <a:gd name="T3" fmla="*/ 0 h 49"/>
                <a:gd name="T4" fmla="*/ 42 w 42"/>
                <a:gd name="T5" fmla="*/ 25 h 49"/>
                <a:gd name="T6" fmla="*/ 14 w 42"/>
                <a:gd name="T7" fmla="*/ 49 h 49"/>
                <a:gd name="T8" fmla="*/ 0 w 42"/>
                <a:gd name="T9" fmla="*/ 49 h 49"/>
                <a:gd name="T10" fmla="*/ 0 w 42"/>
                <a:gd name="T11" fmla="*/ 0 h 49"/>
                <a:gd name="T12" fmla="*/ 14 w 42"/>
                <a:gd name="T13" fmla="*/ 42 h 49"/>
                <a:gd name="T14" fmla="*/ 32 w 42"/>
                <a:gd name="T15" fmla="*/ 25 h 49"/>
                <a:gd name="T16" fmla="*/ 14 w 42"/>
                <a:gd name="T17" fmla="*/ 8 h 49"/>
                <a:gd name="T18" fmla="*/ 8 w 42"/>
                <a:gd name="T19" fmla="*/ 8 h 49"/>
                <a:gd name="T20" fmla="*/ 8 w 42"/>
                <a:gd name="T21" fmla="*/ 42 h 49"/>
                <a:gd name="T22" fmla="*/ 14 w 42"/>
                <a:gd name="T23" fmla="*/ 4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49">
                  <a:moveTo>
                    <a:pt x="0" y="0"/>
                  </a:moveTo>
                  <a:cubicBezTo>
                    <a:pt x="15" y="0"/>
                    <a:pt x="15" y="0"/>
                    <a:pt x="15" y="0"/>
                  </a:cubicBezTo>
                  <a:cubicBezTo>
                    <a:pt x="32" y="0"/>
                    <a:pt x="42" y="10"/>
                    <a:pt x="42" y="25"/>
                  </a:cubicBezTo>
                  <a:cubicBezTo>
                    <a:pt x="42" y="40"/>
                    <a:pt x="31" y="49"/>
                    <a:pt x="14" y="49"/>
                  </a:cubicBezTo>
                  <a:cubicBezTo>
                    <a:pt x="0" y="49"/>
                    <a:pt x="0" y="49"/>
                    <a:pt x="0" y="49"/>
                  </a:cubicBezTo>
                  <a:lnTo>
                    <a:pt x="0" y="0"/>
                  </a:lnTo>
                  <a:close/>
                  <a:moveTo>
                    <a:pt x="14" y="42"/>
                  </a:moveTo>
                  <a:cubicBezTo>
                    <a:pt x="27" y="42"/>
                    <a:pt x="32" y="34"/>
                    <a:pt x="32" y="25"/>
                  </a:cubicBezTo>
                  <a:cubicBezTo>
                    <a:pt x="32" y="15"/>
                    <a:pt x="26" y="8"/>
                    <a:pt x="14" y="8"/>
                  </a:cubicBezTo>
                  <a:cubicBezTo>
                    <a:pt x="8" y="8"/>
                    <a:pt x="8" y="8"/>
                    <a:pt x="8" y="8"/>
                  </a:cubicBezTo>
                  <a:cubicBezTo>
                    <a:pt x="8" y="42"/>
                    <a:pt x="8" y="42"/>
                    <a:pt x="8" y="42"/>
                  </a:cubicBezTo>
                  <a:lnTo>
                    <a:pt x="1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 name="Freeform 99"/>
            <p:cNvSpPr>
              <a:spLocks noEditPoints="1"/>
            </p:cNvSpPr>
            <p:nvPr/>
          </p:nvSpPr>
          <p:spPr bwMode="auto">
            <a:xfrm>
              <a:off x="8031114" y="4529223"/>
              <a:ext cx="58409" cy="87447"/>
            </a:xfrm>
            <a:custGeom>
              <a:avLst/>
              <a:gdLst>
                <a:gd name="T0" fmla="*/ 0 w 35"/>
                <a:gd name="T1" fmla="*/ 45 h 55"/>
                <a:gd name="T2" fmla="*/ 6 w 35"/>
                <a:gd name="T3" fmla="*/ 37 h 55"/>
                <a:gd name="T4" fmla="*/ 4 w 35"/>
                <a:gd name="T5" fmla="*/ 32 h 55"/>
                <a:gd name="T6" fmla="*/ 8 w 35"/>
                <a:gd name="T7" fmla="*/ 26 h 55"/>
                <a:gd name="T8" fmla="*/ 2 w 35"/>
                <a:gd name="T9" fmla="*/ 15 h 55"/>
                <a:gd name="T10" fmla="*/ 16 w 35"/>
                <a:gd name="T11" fmla="*/ 2 h 55"/>
                <a:gd name="T12" fmla="*/ 23 w 35"/>
                <a:gd name="T13" fmla="*/ 3 h 55"/>
                <a:gd name="T14" fmla="*/ 24 w 35"/>
                <a:gd name="T15" fmla="*/ 3 h 55"/>
                <a:gd name="T16" fmla="*/ 33 w 35"/>
                <a:gd name="T17" fmla="*/ 0 h 55"/>
                <a:gd name="T18" fmla="*/ 35 w 35"/>
                <a:gd name="T19" fmla="*/ 0 h 55"/>
                <a:gd name="T20" fmla="*/ 33 w 35"/>
                <a:gd name="T21" fmla="*/ 7 h 55"/>
                <a:gd name="T22" fmla="*/ 31 w 35"/>
                <a:gd name="T23" fmla="*/ 6 h 55"/>
                <a:gd name="T24" fmla="*/ 28 w 35"/>
                <a:gd name="T25" fmla="*/ 7 h 55"/>
                <a:gd name="T26" fmla="*/ 31 w 35"/>
                <a:gd name="T27" fmla="*/ 15 h 55"/>
                <a:gd name="T28" fmla="*/ 17 w 35"/>
                <a:gd name="T29" fmla="*/ 28 h 55"/>
                <a:gd name="T30" fmla="*/ 12 w 35"/>
                <a:gd name="T31" fmla="*/ 28 h 55"/>
                <a:gd name="T32" fmla="*/ 12 w 35"/>
                <a:gd name="T33" fmla="*/ 30 h 55"/>
                <a:gd name="T34" fmla="*/ 35 w 35"/>
                <a:gd name="T35" fmla="*/ 44 h 55"/>
                <a:gd name="T36" fmla="*/ 16 w 35"/>
                <a:gd name="T37" fmla="*/ 55 h 55"/>
                <a:gd name="T38" fmla="*/ 0 w 35"/>
                <a:gd name="T39" fmla="*/ 45 h 55"/>
                <a:gd name="T40" fmla="*/ 26 w 35"/>
                <a:gd name="T41" fmla="*/ 45 h 55"/>
                <a:gd name="T42" fmla="*/ 10 w 35"/>
                <a:gd name="T43" fmla="*/ 39 h 55"/>
                <a:gd name="T44" fmla="*/ 8 w 35"/>
                <a:gd name="T45" fmla="*/ 44 h 55"/>
                <a:gd name="T46" fmla="*/ 17 w 35"/>
                <a:gd name="T47" fmla="*/ 49 h 55"/>
                <a:gd name="T48" fmla="*/ 26 w 35"/>
                <a:gd name="T49" fmla="*/ 45 h 55"/>
                <a:gd name="T50" fmla="*/ 23 w 35"/>
                <a:gd name="T51" fmla="*/ 15 h 55"/>
                <a:gd name="T52" fmla="*/ 17 w 35"/>
                <a:gd name="T53" fmla="*/ 9 h 55"/>
                <a:gd name="T54" fmla="*/ 10 w 35"/>
                <a:gd name="T55" fmla="*/ 15 h 55"/>
                <a:gd name="T56" fmla="*/ 17 w 35"/>
                <a:gd name="T57" fmla="*/ 22 h 55"/>
                <a:gd name="T58" fmla="*/ 23 w 35"/>
                <a:gd name="T59" fmla="*/ 1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 h="55">
                  <a:moveTo>
                    <a:pt x="0" y="45"/>
                  </a:moveTo>
                  <a:cubicBezTo>
                    <a:pt x="0" y="41"/>
                    <a:pt x="2" y="38"/>
                    <a:pt x="6" y="37"/>
                  </a:cubicBezTo>
                  <a:cubicBezTo>
                    <a:pt x="5" y="36"/>
                    <a:pt x="4" y="34"/>
                    <a:pt x="4" y="32"/>
                  </a:cubicBezTo>
                  <a:cubicBezTo>
                    <a:pt x="4" y="30"/>
                    <a:pt x="5" y="28"/>
                    <a:pt x="8" y="26"/>
                  </a:cubicBezTo>
                  <a:cubicBezTo>
                    <a:pt x="4" y="24"/>
                    <a:pt x="2" y="19"/>
                    <a:pt x="2" y="15"/>
                  </a:cubicBezTo>
                  <a:cubicBezTo>
                    <a:pt x="2" y="8"/>
                    <a:pt x="7" y="2"/>
                    <a:pt x="16" y="2"/>
                  </a:cubicBezTo>
                  <a:cubicBezTo>
                    <a:pt x="20" y="2"/>
                    <a:pt x="22" y="3"/>
                    <a:pt x="23" y="3"/>
                  </a:cubicBezTo>
                  <a:cubicBezTo>
                    <a:pt x="24" y="4"/>
                    <a:pt x="24" y="3"/>
                    <a:pt x="24" y="3"/>
                  </a:cubicBezTo>
                  <a:cubicBezTo>
                    <a:pt x="26" y="1"/>
                    <a:pt x="28" y="0"/>
                    <a:pt x="33" y="0"/>
                  </a:cubicBezTo>
                  <a:cubicBezTo>
                    <a:pt x="34" y="0"/>
                    <a:pt x="35" y="0"/>
                    <a:pt x="35" y="0"/>
                  </a:cubicBezTo>
                  <a:cubicBezTo>
                    <a:pt x="33" y="7"/>
                    <a:pt x="33" y="7"/>
                    <a:pt x="33" y="7"/>
                  </a:cubicBezTo>
                  <a:cubicBezTo>
                    <a:pt x="33" y="7"/>
                    <a:pt x="32" y="6"/>
                    <a:pt x="31" y="6"/>
                  </a:cubicBezTo>
                  <a:cubicBezTo>
                    <a:pt x="30" y="6"/>
                    <a:pt x="29" y="7"/>
                    <a:pt x="28" y="7"/>
                  </a:cubicBezTo>
                  <a:cubicBezTo>
                    <a:pt x="30" y="9"/>
                    <a:pt x="31" y="12"/>
                    <a:pt x="31" y="15"/>
                  </a:cubicBezTo>
                  <a:cubicBezTo>
                    <a:pt x="31" y="23"/>
                    <a:pt x="25" y="28"/>
                    <a:pt x="17" y="28"/>
                  </a:cubicBezTo>
                  <a:cubicBezTo>
                    <a:pt x="15" y="28"/>
                    <a:pt x="14" y="28"/>
                    <a:pt x="12" y="28"/>
                  </a:cubicBezTo>
                  <a:cubicBezTo>
                    <a:pt x="12" y="29"/>
                    <a:pt x="12" y="30"/>
                    <a:pt x="12" y="30"/>
                  </a:cubicBezTo>
                  <a:cubicBezTo>
                    <a:pt x="12" y="37"/>
                    <a:pt x="35" y="31"/>
                    <a:pt x="35" y="44"/>
                  </a:cubicBezTo>
                  <a:cubicBezTo>
                    <a:pt x="35" y="50"/>
                    <a:pt x="28" y="55"/>
                    <a:pt x="16" y="55"/>
                  </a:cubicBezTo>
                  <a:cubicBezTo>
                    <a:pt x="6" y="55"/>
                    <a:pt x="0" y="51"/>
                    <a:pt x="0" y="45"/>
                  </a:cubicBezTo>
                  <a:close/>
                  <a:moveTo>
                    <a:pt x="26" y="45"/>
                  </a:moveTo>
                  <a:cubicBezTo>
                    <a:pt x="26" y="40"/>
                    <a:pt x="15" y="41"/>
                    <a:pt x="10" y="39"/>
                  </a:cubicBezTo>
                  <a:cubicBezTo>
                    <a:pt x="9" y="40"/>
                    <a:pt x="8" y="41"/>
                    <a:pt x="8" y="44"/>
                  </a:cubicBezTo>
                  <a:cubicBezTo>
                    <a:pt x="8" y="47"/>
                    <a:pt x="11" y="49"/>
                    <a:pt x="17" y="49"/>
                  </a:cubicBezTo>
                  <a:cubicBezTo>
                    <a:pt x="23" y="49"/>
                    <a:pt x="26" y="47"/>
                    <a:pt x="26" y="45"/>
                  </a:cubicBezTo>
                  <a:close/>
                  <a:moveTo>
                    <a:pt x="23" y="15"/>
                  </a:moveTo>
                  <a:cubicBezTo>
                    <a:pt x="23" y="12"/>
                    <a:pt x="20" y="9"/>
                    <a:pt x="17" y="9"/>
                  </a:cubicBezTo>
                  <a:cubicBezTo>
                    <a:pt x="13" y="9"/>
                    <a:pt x="10" y="11"/>
                    <a:pt x="10" y="15"/>
                  </a:cubicBezTo>
                  <a:cubicBezTo>
                    <a:pt x="10" y="19"/>
                    <a:pt x="13" y="22"/>
                    <a:pt x="17" y="22"/>
                  </a:cubicBezTo>
                  <a:cubicBezTo>
                    <a:pt x="20" y="22"/>
                    <a:pt x="23" y="19"/>
                    <a:pt x="23"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 name="Freeform 100"/>
            <p:cNvSpPr>
              <a:spLocks/>
            </p:cNvSpPr>
            <p:nvPr/>
          </p:nvSpPr>
          <p:spPr bwMode="auto">
            <a:xfrm>
              <a:off x="8116372" y="4516540"/>
              <a:ext cx="44984" cy="74763"/>
            </a:xfrm>
            <a:custGeom>
              <a:avLst/>
              <a:gdLst>
                <a:gd name="T0" fmla="*/ 7 w 27"/>
                <a:gd name="T1" fmla="*/ 37 h 47"/>
                <a:gd name="T2" fmla="*/ 7 w 27"/>
                <a:gd name="T3" fmla="*/ 18 h 47"/>
                <a:gd name="T4" fmla="*/ 0 w 27"/>
                <a:gd name="T5" fmla="*/ 18 h 47"/>
                <a:gd name="T6" fmla="*/ 0 w 27"/>
                <a:gd name="T7" fmla="*/ 11 h 47"/>
                <a:gd name="T8" fmla="*/ 7 w 27"/>
                <a:gd name="T9" fmla="*/ 11 h 47"/>
                <a:gd name="T10" fmla="*/ 7 w 27"/>
                <a:gd name="T11" fmla="*/ 3 h 47"/>
                <a:gd name="T12" fmla="*/ 15 w 27"/>
                <a:gd name="T13" fmla="*/ 0 h 47"/>
                <a:gd name="T14" fmla="*/ 15 w 27"/>
                <a:gd name="T15" fmla="*/ 11 h 47"/>
                <a:gd name="T16" fmla="*/ 26 w 27"/>
                <a:gd name="T17" fmla="*/ 11 h 47"/>
                <a:gd name="T18" fmla="*/ 24 w 27"/>
                <a:gd name="T19" fmla="*/ 18 h 47"/>
                <a:gd name="T20" fmla="*/ 15 w 27"/>
                <a:gd name="T21" fmla="*/ 18 h 47"/>
                <a:gd name="T22" fmla="*/ 15 w 27"/>
                <a:gd name="T23" fmla="*/ 35 h 47"/>
                <a:gd name="T24" fmla="*/ 19 w 27"/>
                <a:gd name="T25" fmla="*/ 40 h 47"/>
                <a:gd name="T26" fmla="*/ 24 w 27"/>
                <a:gd name="T27" fmla="*/ 38 h 47"/>
                <a:gd name="T28" fmla="*/ 27 w 27"/>
                <a:gd name="T29" fmla="*/ 44 h 47"/>
                <a:gd name="T30" fmla="*/ 17 w 27"/>
                <a:gd name="T31" fmla="*/ 47 h 47"/>
                <a:gd name="T32" fmla="*/ 7 w 27"/>
                <a:gd name="T33" fmla="*/ 3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 h="47">
                  <a:moveTo>
                    <a:pt x="7" y="37"/>
                  </a:moveTo>
                  <a:cubicBezTo>
                    <a:pt x="7" y="18"/>
                    <a:pt x="7" y="18"/>
                    <a:pt x="7" y="18"/>
                  </a:cubicBezTo>
                  <a:cubicBezTo>
                    <a:pt x="0" y="18"/>
                    <a:pt x="0" y="18"/>
                    <a:pt x="0" y="18"/>
                  </a:cubicBezTo>
                  <a:cubicBezTo>
                    <a:pt x="0" y="11"/>
                    <a:pt x="0" y="11"/>
                    <a:pt x="0" y="11"/>
                  </a:cubicBezTo>
                  <a:cubicBezTo>
                    <a:pt x="7" y="11"/>
                    <a:pt x="7" y="11"/>
                    <a:pt x="7" y="11"/>
                  </a:cubicBezTo>
                  <a:cubicBezTo>
                    <a:pt x="7" y="3"/>
                    <a:pt x="7" y="3"/>
                    <a:pt x="7" y="3"/>
                  </a:cubicBezTo>
                  <a:cubicBezTo>
                    <a:pt x="15" y="0"/>
                    <a:pt x="15" y="0"/>
                    <a:pt x="15" y="0"/>
                  </a:cubicBezTo>
                  <a:cubicBezTo>
                    <a:pt x="15" y="11"/>
                    <a:pt x="15" y="11"/>
                    <a:pt x="15" y="11"/>
                  </a:cubicBezTo>
                  <a:cubicBezTo>
                    <a:pt x="26" y="11"/>
                    <a:pt x="26" y="11"/>
                    <a:pt x="26" y="11"/>
                  </a:cubicBezTo>
                  <a:cubicBezTo>
                    <a:pt x="24" y="18"/>
                    <a:pt x="24" y="18"/>
                    <a:pt x="24" y="18"/>
                  </a:cubicBezTo>
                  <a:cubicBezTo>
                    <a:pt x="15" y="18"/>
                    <a:pt x="15" y="18"/>
                    <a:pt x="15" y="18"/>
                  </a:cubicBezTo>
                  <a:cubicBezTo>
                    <a:pt x="15" y="35"/>
                    <a:pt x="15" y="35"/>
                    <a:pt x="15" y="35"/>
                  </a:cubicBezTo>
                  <a:cubicBezTo>
                    <a:pt x="15" y="38"/>
                    <a:pt x="17" y="40"/>
                    <a:pt x="19" y="40"/>
                  </a:cubicBezTo>
                  <a:cubicBezTo>
                    <a:pt x="21" y="40"/>
                    <a:pt x="23" y="39"/>
                    <a:pt x="24" y="38"/>
                  </a:cubicBezTo>
                  <a:cubicBezTo>
                    <a:pt x="27" y="44"/>
                    <a:pt x="27" y="44"/>
                    <a:pt x="27" y="44"/>
                  </a:cubicBezTo>
                  <a:cubicBezTo>
                    <a:pt x="24" y="46"/>
                    <a:pt x="20" y="47"/>
                    <a:pt x="17" y="47"/>
                  </a:cubicBezTo>
                  <a:cubicBezTo>
                    <a:pt x="10" y="47"/>
                    <a:pt x="7" y="43"/>
                    <a:pt x="7"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 name="Freeform 101"/>
            <p:cNvSpPr>
              <a:spLocks noEditPoints="1"/>
            </p:cNvSpPr>
            <p:nvPr/>
          </p:nvSpPr>
          <p:spPr bwMode="auto">
            <a:xfrm>
              <a:off x="8163005" y="4532562"/>
              <a:ext cx="51814" cy="58743"/>
            </a:xfrm>
            <a:custGeom>
              <a:avLst/>
              <a:gdLst>
                <a:gd name="T0" fmla="*/ 22 w 31"/>
                <a:gd name="T1" fmla="*/ 33 h 37"/>
                <a:gd name="T2" fmla="*/ 12 w 31"/>
                <a:gd name="T3" fmla="*/ 37 h 37"/>
                <a:gd name="T4" fmla="*/ 0 w 31"/>
                <a:gd name="T5" fmla="*/ 26 h 37"/>
                <a:gd name="T6" fmla="*/ 6 w 31"/>
                <a:gd name="T7" fmla="*/ 16 h 37"/>
                <a:gd name="T8" fmla="*/ 15 w 31"/>
                <a:gd name="T9" fmla="*/ 14 h 37"/>
                <a:gd name="T10" fmla="*/ 21 w 31"/>
                <a:gd name="T11" fmla="*/ 14 h 37"/>
                <a:gd name="T12" fmla="*/ 21 w 31"/>
                <a:gd name="T13" fmla="*/ 13 h 37"/>
                <a:gd name="T14" fmla="*/ 15 w 31"/>
                <a:gd name="T15" fmla="*/ 7 h 37"/>
                <a:gd name="T16" fmla="*/ 5 w 31"/>
                <a:gd name="T17" fmla="*/ 9 h 37"/>
                <a:gd name="T18" fmla="*/ 3 w 31"/>
                <a:gd name="T19" fmla="*/ 4 h 37"/>
                <a:gd name="T20" fmla="*/ 16 w 31"/>
                <a:gd name="T21" fmla="*/ 0 h 37"/>
                <a:gd name="T22" fmla="*/ 30 w 31"/>
                <a:gd name="T23" fmla="*/ 13 h 37"/>
                <a:gd name="T24" fmla="*/ 30 w 31"/>
                <a:gd name="T25" fmla="*/ 27 h 37"/>
                <a:gd name="T26" fmla="*/ 31 w 31"/>
                <a:gd name="T27" fmla="*/ 36 h 37"/>
                <a:gd name="T28" fmla="*/ 24 w 31"/>
                <a:gd name="T29" fmla="*/ 36 h 37"/>
                <a:gd name="T30" fmla="*/ 22 w 31"/>
                <a:gd name="T31" fmla="*/ 33 h 37"/>
                <a:gd name="T32" fmla="*/ 17 w 31"/>
                <a:gd name="T33" fmla="*/ 20 h 37"/>
                <a:gd name="T34" fmla="*/ 12 w 31"/>
                <a:gd name="T35" fmla="*/ 21 h 37"/>
                <a:gd name="T36" fmla="*/ 9 w 31"/>
                <a:gd name="T37" fmla="*/ 25 h 37"/>
                <a:gd name="T38" fmla="*/ 15 w 31"/>
                <a:gd name="T39" fmla="*/ 30 h 37"/>
                <a:gd name="T40" fmla="*/ 21 w 31"/>
                <a:gd name="T41" fmla="*/ 27 h 37"/>
                <a:gd name="T42" fmla="*/ 21 w 31"/>
                <a:gd name="T43" fmla="*/ 20 h 37"/>
                <a:gd name="T44" fmla="*/ 17 w 31"/>
                <a:gd name="T45"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7">
                  <a:moveTo>
                    <a:pt x="22" y="33"/>
                  </a:moveTo>
                  <a:cubicBezTo>
                    <a:pt x="20" y="35"/>
                    <a:pt x="16" y="37"/>
                    <a:pt x="12" y="37"/>
                  </a:cubicBezTo>
                  <a:cubicBezTo>
                    <a:pt x="5" y="37"/>
                    <a:pt x="0" y="32"/>
                    <a:pt x="0" y="26"/>
                  </a:cubicBezTo>
                  <a:cubicBezTo>
                    <a:pt x="0" y="21"/>
                    <a:pt x="3" y="18"/>
                    <a:pt x="6" y="16"/>
                  </a:cubicBezTo>
                  <a:cubicBezTo>
                    <a:pt x="9" y="15"/>
                    <a:pt x="12" y="14"/>
                    <a:pt x="15" y="14"/>
                  </a:cubicBezTo>
                  <a:cubicBezTo>
                    <a:pt x="21" y="14"/>
                    <a:pt x="21" y="14"/>
                    <a:pt x="21" y="14"/>
                  </a:cubicBezTo>
                  <a:cubicBezTo>
                    <a:pt x="21" y="13"/>
                    <a:pt x="21" y="13"/>
                    <a:pt x="21" y="13"/>
                  </a:cubicBezTo>
                  <a:cubicBezTo>
                    <a:pt x="21" y="9"/>
                    <a:pt x="19" y="7"/>
                    <a:pt x="15" y="7"/>
                  </a:cubicBezTo>
                  <a:cubicBezTo>
                    <a:pt x="11" y="7"/>
                    <a:pt x="8" y="8"/>
                    <a:pt x="5" y="9"/>
                  </a:cubicBezTo>
                  <a:cubicBezTo>
                    <a:pt x="3" y="4"/>
                    <a:pt x="3" y="4"/>
                    <a:pt x="3" y="4"/>
                  </a:cubicBezTo>
                  <a:cubicBezTo>
                    <a:pt x="7" y="1"/>
                    <a:pt x="11" y="0"/>
                    <a:pt x="16" y="0"/>
                  </a:cubicBezTo>
                  <a:cubicBezTo>
                    <a:pt x="26" y="0"/>
                    <a:pt x="30" y="4"/>
                    <a:pt x="30" y="13"/>
                  </a:cubicBezTo>
                  <a:cubicBezTo>
                    <a:pt x="30" y="27"/>
                    <a:pt x="30" y="27"/>
                    <a:pt x="30" y="27"/>
                  </a:cubicBezTo>
                  <a:cubicBezTo>
                    <a:pt x="30" y="31"/>
                    <a:pt x="30" y="34"/>
                    <a:pt x="31" y="36"/>
                  </a:cubicBezTo>
                  <a:cubicBezTo>
                    <a:pt x="24" y="36"/>
                    <a:pt x="24" y="36"/>
                    <a:pt x="24" y="36"/>
                  </a:cubicBezTo>
                  <a:lnTo>
                    <a:pt x="22" y="33"/>
                  </a:lnTo>
                  <a:close/>
                  <a:moveTo>
                    <a:pt x="17" y="20"/>
                  </a:moveTo>
                  <a:cubicBezTo>
                    <a:pt x="14" y="20"/>
                    <a:pt x="13" y="20"/>
                    <a:pt x="12" y="21"/>
                  </a:cubicBezTo>
                  <a:cubicBezTo>
                    <a:pt x="10" y="22"/>
                    <a:pt x="9" y="23"/>
                    <a:pt x="9" y="25"/>
                  </a:cubicBezTo>
                  <a:cubicBezTo>
                    <a:pt x="9" y="28"/>
                    <a:pt x="11" y="30"/>
                    <a:pt x="15" y="30"/>
                  </a:cubicBezTo>
                  <a:cubicBezTo>
                    <a:pt x="18" y="30"/>
                    <a:pt x="20" y="28"/>
                    <a:pt x="21" y="27"/>
                  </a:cubicBezTo>
                  <a:cubicBezTo>
                    <a:pt x="21" y="20"/>
                    <a:pt x="21" y="20"/>
                    <a:pt x="21" y="20"/>
                  </a:cubicBezTo>
                  <a:lnTo>
                    <a:pt x="17"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19" name="Text Placeholder 2"/>
          <p:cNvSpPr>
            <a:spLocks noGrp="1"/>
          </p:cNvSpPr>
          <p:nvPr>
            <p:ph type="body" sz="quarter" idx="25" hasCustomPrompt="1"/>
          </p:nvPr>
        </p:nvSpPr>
        <p:spPr>
          <a:xfrm>
            <a:off x="4727636" y="4807465"/>
            <a:ext cx="1160462" cy="341313"/>
          </a:xfrm>
          <a:prstGeom prst="rect">
            <a:avLst/>
          </a:prstGeom>
        </p:spPr>
        <p:txBody>
          <a:bodyPr anchor="ctr"/>
          <a:lstStyle>
            <a:lvl1pPr marL="0" indent="0" algn="ctr">
              <a:buNone/>
              <a:defRPr sz="800">
                <a:solidFill>
                  <a:schemeClr val="bg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grpSp>
        <p:nvGrpSpPr>
          <p:cNvPr id="50" name="Group 49"/>
          <p:cNvGrpSpPr/>
          <p:nvPr userDrawn="1"/>
        </p:nvGrpSpPr>
        <p:grpSpPr>
          <a:xfrm>
            <a:off x="7686461" y="4906654"/>
            <a:ext cx="1124815" cy="151147"/>
            <a:chOff x="7686461" y="4581466"/>
            <a:chExt cx="1124815" cy="151147"/>
          </a:xfrm>
          <a:solidFill>
            <a:schemeClr val="bg1"/>
          </a:solidFill>
        </p:grpSpPr>
        <p:sp>
          <p:nvSpPr>
            <p:cNvPr id="52"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3"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4"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5"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8"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75"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76"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77"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78"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79"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0"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1"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2"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3"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4"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grpSp>
      <p:sp>
        <p:nvSpPr>
          <p:cNvPr id="85"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solidFill>
                  <a:schemeClr val="tx2">
                    <a:lumMod val="75000"/>
                  </a:schemeClr>
                </a:solidFill>
                <a:latin typeface="+mn-lt"/>
              </a:rPr>
              <a:t>Private and Confidental</a:t>
            </a:r>
            <a:endParaRPr lang="pt-BR" sz="500" dirty="0">
              <a:solidFill>
                <a:schemeClr val="tx2">
                  <a:lumMod val="75000"/>
                </a:schemeClr>
              </a:solidFill>
              <a:latin typeface="+mn-lt"/>
            </a:endParaRPr>
          </a:p>
        </p:txBody>
      </p:sp>
    </p:spTree>
    <p:extLst>
      <p:ext uri="{BB962C8B-B14F-4D97-AF65-F5344CB8AC3E}">
        <p14:creationId xmlns:p14="http://schemas.microsoft.com/office/powerpoint/2010/main" val="230459498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Titles - 1/4 Text">
    <p:bg>
      <p:bgPr>
        <a:solidFill>
          <a:schemeClr val="bg1"/>
        </a:solidFill>
        <a:effectLst/>
      </p:bgPr>
    </p:bg>
    <p:spTree>
      <p:nvGrpSpPr>
        <p:cNvPr id="1" name=""/>
        <p:cNvGrpSpPr/>
        <p:nvPr/>
      </p:nvGrpSpPr>
      <p:grpSpPr>
        <a:xfrm>
          <a:off x="0" y="0"/>
          <a:ext cx="0" cy="0"/>
          <a:chOff x="0" y="0"/>
          <a:chExt cx="0" cy="0"/>
        </a:xfrm>
      </p:grpSpPr>
      <p:sp>
        <p:nvSpPr>
          <p:cNvPr id="9" name="Title Placeholder 6"/>
          <p:cNvSpPr>
            <a:spLocks noGrp="1"/>
          </p:cNvSpPr>
          <p:nvPr>
            <p:ph type="title"/>
          </p:nvPr>
        </p:nvSpPr>
        <p:spPr>
          <a:xfrm>
            <a:off x="347474" y="323727"/>
            <a:ext cx="8460000" cy="416186"/>
          </a:xfrm>
          <a:prstGeom prst="rect">
            <a:avLst/>
          </a:prstGeom>
        </p:spPr>
        <p:txBody>
          <a:bodyPr vert="horz" lIns="0" tIns="45720" rIns="0" bIns="45720" rtlCol="0" anchor="b">
            <a:noAutofit/>
          </a:bodyPr>
          <a:lstStyle>
            <a:lvl1pPr>
              <a:defRPr sz="2000">
                <a:solidFill>
                  <a:schemeClr val="tx1">
                    <a:lumMod val="75000"/>
                    <a:lumOff val="25000"/>
                  </a:schemeClr>
                </a:solidFill>
              </a:defRPr>
            </a:lvl1pPr>
          </a:lstStyle>
          <a:p>
            <a:r>
              <a:rPr lang="en-US" dirty="0" smtClean="0"/>
              <a:t>Click to edit Master title style</a:t>
            </a:r>
            <a:endParaRPr lang="en-GB" dirty="0"/>
          </a:p>
        </p:txBody>
      </p:sp>
      <p:sp>
        <p:nvSpPr>
          <p:cNvPr id="7" name="Footer Placeholder 6"/>
          <p:cNvSpPr>
            <a:spLocks noGrp="1"/>
          </p:cNvSpPr>
          <p:nvPr>
            <p:ph type="ftr" sz="quarter" idx="11"/>
          </p:nvPr>
        </p:nvSpPr>
        <p:spPr>
          <a:xfrm>
            <a:off x="608553" y="4836662"/>
            <a:ext cx="5040000" cy="311601"/>
          </a:xfrm>
          <a:prstGeom prst="rect">
            <a:avLst/>
          </a:prstGeom>
        </p:spPr>
        <p:txBody>
          <a:bodyPr lIns="0" rIns="0" bIns="0"/>
          <a:lstStyle>
            <a:lvl1pPr>
              <a:defRPr sz="600">
                <a:solidFill>
                  <a:schemeClr val="bg1">
                    <a:lumMod val="75000"/>
                  </a:schemeClr>
                </a:solidFill>
                <a:latin typeface="+mj-lt"/>
              </a:defRPr>
            </a:lvl1pPr>
          </a:lstStyle>
          <a:p>
            <a:endParaRPr lang="pt-BR"/>
          </a:p>
        </p:txBody>
      </p:sp>
      <p:sp>
        <p:nvSpPr>
          <p:cNvPr id="10"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chemeClr val="bg1">
                    <a:lumMod val="75000"/>
                  </a:schemeClr>
                </a:solidFill>
                <a:latin typeface="+mn-lt"/>
              </a:defRPr>
            </a:lvl1pPr>
          </a:lstStyle>
          <a:p>
            <a:fld id="{19AB4E72-7858-48F1-A40D-12FF09E4BFB8}" type="slidenum">
              <a:rPr lang="en-GB" smtClean="0"/>
              <a:pPr/>
              <a:t>‹Nº›</a:t>
            </a:fld>
            <a:endParaRPr lang="en-GB"/>
          </a:p>
        </p:txBody>
      </p:sp>
      <p:sp>
        <p:nvSpPr>
          <p:cNvPr id="12" name="Text Placeholder 7"/>
          <p:cNvSpPr>
            <a:spLocks noGrp="1"/>
          </p:cNvSpPr>
          <p:nvPr>
            <p:ph type="body" sz="quarter" idx="20"/>
          </p:nvPr>
        </p:nvSpPr>
        <p:spPr>
          <a:xfrm>
            <a:off x="347473" y="808579"/>
            <a:ext cx="8460000" cy="393270"/>
          </a:xfrm>
          <a:prstGeom prst="rect">
            <a:avLst/>
          </a:prstGeom>
        </p:spPr>
        <p:txBody>
          <a:bodyPr lIns="0" rIns="0"/>
          <a:lstStyle>
            <a:lvl1pPr marL="0" indent="0">
              <a:spcBef>
                <a:spcPts val="0"/>
              </a:spcBef>
              <a:buNone/>
              <a:defRPr lang="en-US" sz="1100" b="1" i="1" kern="1200" dirty="0" smtClean="0">
                <a:solidFill>
                  <a:schemeClr val="tx2"/>
                </a:solidFill>
                <a:latin typeface="+mj-lt"/>
                <a:ea typeface="+mn-ea"/>
                <a:cs typeface="Arial"/>
              </a:defRPr>
            </a:lvl1pPr>
            <a:lvl2pPr marL="0" indent="0">
              <a:spcBef>
                <a:spcPts val="0"/>
              </a:spcBef>
              <a:buNone/>
              <a:defRPr lang="en-US" sz="1100" b="0" i="0" kern="1200" dirty="0" smtClean="0">
                <a:solidFill>
                  <a:schemeClr val="tx1">
                    <a:lumMod val="75000"/>
                    <a:lumOff val="25000"/>
                  </a:schemeClr>
                </a:solidFill>
                <a:latin typeface="+mj-lt"/>
                <a:ea typeface="+mn-ea"/>
                <a:cs typeface="Arial"/>
              </a:defRPr>
            </a:lvl2pPr>
          </a:lstStyle>
          <a:p>
            <a:pPr lvl="0"/>
            <a:r>
              <a:rPr lang="en-US" dirty="0" smtClean="0"/>
              <a:t>Click to edit Master text styles</a:t>
            </a:r>
          </a:p>
          <a:p>
            <a:pPr lvl="1"/>
            <a:r>
              <a:rPr lang="en-US" dirty="0" smtClean="0"/>
              <a:t>Second level</a:t>
            </a:r>
          </a:p>
        </p:txBody>
      </p:sp>
      <p:cxnSp>
        <p:nvCxnSpPr>
          <p:cNvPr id="13" name="Straight Connector 12"/>
          <p:cNvCxnSpPr/>
          <p:nvPr userDrawn="1"/>
        </p:nvCxnSpPr>
        <p:spPr>
          <a:xfrm>
            <a:off x="343366" y="739913"/>
            <a:ext cx="8460000" cy="0"/>
          </a:xfrm>
          <a:prstGeom prst="line">
            <a:avLst/>
          </a:prstGeom>
          <a:ln w="12700">
            <a:solidFill>
              <a:schemeClr val="tx1">
                <a:lumMod val="75000"/>
                <a:lumOff val="25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351670" y="1270022"/>
            <a:ext cx="8460000" cy="0"/>
          </a:xfrm>
          <a:prstGeom prst="line">
            <a:avLst/>
          </a:prstGeom>
          <a:ln w="12700" cap="rnd">
            <a:solidFill>
              <a:schemeClr val="tx1">
                <a:lumMod val="75000"/>
                <a:lumOff val="25000"/>
              </a:schemeClr>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15" name="Text Placeholder 46"/>
          <p:cNvSpPr>
            <a:spLocks noGrp="1"/>
          </p:cNvSpPr>
          <p:nvPr>
            <p:ph idx="1"/>
          </p:nvPr>
        </p:nvSpPr>
        <p:spPr>
          <a:xfrm>
            <a:off x="351670" y="1454341"/>
            <a:ext cx="1980000" cy="3240000"/>
          </a:xfrm>
          <a:prstGeom prst="rect">
            <a:avLst/>
          </a:prstGeom>
        </p:spPr>
        <p:txBody>
          <a:bodyPr vert="horz" lIns="0" tIns="45720" rIns="0" bIns="45720" rtlCol="0">
            <a:noAutofit/>
          </a:bodyPr>
          <a:lstStyle>
            <a:lvl1pPr marL="0" indent="0">
              <a:spcBef>
                <a:spcPts val="600"/>
              </a:spcBef>
              <a:buClr>
                <a:schemeClr val="tx2"/>
              </a:buClr>
              <a:buNone/>
              <a:defRPr sz="1050" b="1">
                <a:solidFill>
                  <a:schemeClr val="tx2"/>
                </a:solidFill>
                <a:latin typeface="Arial"/>
                <a:cs typeface="Arial"/>
              </a:defRPr>
            </a:lvl1pPr>
            <a:lvl2pPr marL="179388" indent="-179388">
              <a:spcBef>
                <a:spcPts val="600"/>
              </a:spcBef>
              <a:buClr>
                <a:schemeClr val="tx2"/>
              </a:buClr>
              <a:defRPr sz="1000">
                <a:latin typeface="Arial"/>
                <a:cs typeface="Arial"/>
              </a:defRPr>
            </a:lvl2pPr>
            <a:lvl3pPr marL="179388" indent="-179388">
              <a:spcBef>
                <a:spcPts val="600"/>
              </a:spcBef>
              <a:buClr>
                <a:schemeClr val="tx2"/>
              </a:buClr>
              <a:defRPr sz="1000">
                <a:latin typeface="Arial"/>
                <a:cs typeface="Arial"/>
              </a:defRPr>
            </a:lvl3pPr>
            <a:lvl4pPr marL="179388" indent="-179388">
              <a:spcBef>
                <a:spcPts val="600"/>
              </a:spcBef>
              <a:buClr>
                <a:schemeClr val="tx2"/>
              </a:buClr>
              <a:tabLst/>
              <a:defRPr sz="1000">
                <a:latin typeface="Arial"/>
                <a:cs typeface="Arial"/>
              </a:defRPr>
            </a:lvl4pPr>
            <a:lvl5pPr marL="179388" indent="-179388">
              <a:spcBef>
                <a:spcPts val="600"/>
              </a:spcBef>
              <a:buClr>
                <a:schemeClr val="tx2"/>
              </a:buClr>
              <a:defRPr sz="1000">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1" name="Text Placeholder 2"/>
          <p:cNvSpPr>
            <a:spLocks noGrp="1"/>
          </p:cNvSpPr>
          <p:nvPr>
            <p:ph type="body" sz="quarter" idx="25" hasCustomPrompt="1"/>
          </p:nvPr>
        </p:nvSpPr>
        <p:spPr>
          <a:xfrm>
            <a:off x="6202363" y="4807465"/>
            <a:ext cx="1160462" cy="341313"/>
          </a:xfrm>
          <a:prstGeom prst="rect">
            <a:avLst/>
          </a:prstGeom>
        </p:spPr>
        <p:txBody>
          <a:bodyPr anchor="ctr"/>
          <a:lstStyle>
            <a:lvl1pPr marL="0" indent="0" algn="ctr">
              <a:buNone/>
              <a:defRPr sz="800">
                <a:solidFill>
                  <a:schemeClr val="tx1">
                    <a:lumMod val="75000"/>
                    <a:lumOff val="25000"/>
                  </a:schemeClr>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sp>
        <p:nvSpPr>
          <p:cNvPr id="16" name="Slide Number Placeholder 1"/>
          <p:cNvSpPr txBox="1">
            <a:spLocks/>
          </p:cNvSpPr>
          <p:nvPr userDrawn="1"/>
        </p:nvSpPr>
        <p:spPr>
          <a:xfrm>
            <a:off x="347517" y="4836661"/>
            <a:ext cx="208119" cy="311601"/>
          </a:xfrm>
          <a:prstGeom prst="rect">
            <a:avLst/>
          </a:prstGeom>
        </p:spPr>
        <p:txBody>
          <a:bodyPr lIns="0" rIns="0" bIns="0" anchor="ctr"/>
          <a:lstStyle>
            <a:defPPr>
              <a:defRPr lang="en-US"/>
            </a:defPPr>
            <a:lvl1pPr marL="0" algn="l" defTabSz="914400" rtl="0" eaLnBrk="1" latinLnBrk="0" hangingPunct="1">
              <a:defRPr sz="7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9AB4E72-7858-48F1-A40D-12FF09E4BFB8}" type="slidenum">
              <a:rPr lang="en-GB" smtClean="0"/>
              <a:pPr/>
              <a:t>‹Nº›</a:t>
            </a:fld>
            <a:endParaRPr lang="en-GB"/>
          </a:p>
        </p:txBody>
      </p:sp>
      <p:sp>
        <p:nvSpPr>
          <p:cNvPr id="17"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latin typeface="+mn-lt"/>
              </a:rPr>
              <a:t>Private and Confidental</a:t>
            </a:r>
            <a:endParaRPr lang="pt-BR" sz="500" dirty="0">
              <a:latin typeface="+mn-lt"/>
            </a:endParaRPr>
          </a:p>
        </p:txBody>
      </p:sp>
    </p:spTree>
    <p:extLst>
      <p:ext uri="{BB962C8B-B14F-4D97-AF65-F5344CB8AC3E}">
        <p14:creationId xmlns:p14="http://schemas.microsoft.com/office/powerpoint/2010/main" val="1233580426"/>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_MB_Slate3">
    <p:bg>
      <p:bgPr>
        <a:solidFill>
          <a:schemeClr val="bg1"/>
        </a:solidFill>
        <a:effectLst/>
      </p:bgPr>
    </p:bg>
    <p:spTree>
      <p:nvGrpSpPr>
        <p:cNvPr id="1" name=""/>
        <p:cNvGrpSpPr/>
        <p:nvPr/>
      </p:nvGrpSpPr>
      <p:grpSpPr>
        <a:xfrm>
          <a:off x="0" y="0"/>
          <a:ext cx="0" cy="0"/>
          <a:chOff x="0" y="0"/>
          <a:chExt cx="0" cy="0"/>
        </a:xfrm>
      </p:grpSpPr>
      <p:sp>
        <p:nvSpPr>
          <p:cNvPr id="31" name="Rectangle 30"/>
          <p:cNvSpPr/>
          <p:nvPr userDrawn="1"/>
        </p:nvSpPr>
        <p:spPr>
          <a:xfrm>
            <a:off x="0" y="0"/>
            <a:ext cx="9144000" cy="5148263"/>
          </a:xfrm>
          <a:prstGeom prst="rect">
            <a:avLst/>
          </a:prstGeom>
          <a:solidFill>
            <a:srgbClr val="4B4E53"/>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en-GB" sz="1050" smtClean="0">
              <a:solidFill>
                <a:schemeClr val="bg1"/>
              </a:solidFill>
              <a:latin typeface="Arial" panose="020B0604020202020204" pitchFamily="34" charset="0"/>
              <a:cs typeface="Arial" panose="020B0604020202020204" pitchFamily="34" charset="0"/>
            </a:endParaRPr>
          </a:p>
        </p:txBody>
      </p:sp>
      <p:pic>
        <p:nvPicPr>
          <p:cNvPr id="33" name="Picture 32" descr="cookie_white.png"/>
          <p:cNvPicPr>
            <a:picLocks noChangeAspect="1"/>
          </p:cNvPicPr>
          <p:nvPr userDrawn="1"/>
        </p:nvPicPr>
        <p:blipFill rotWithShape="1">
          <a:blip r:embed="rId2" cstate="screen">
            <a:alphaModFix amt="16000"/>
            <a:extLst>
              <a:ext uri="{28A0092B-C50C-407E-A947-70E740481C1C}">
                <a14:useLocalDpi xmlns:a14="http://schemas.microsoft.com/office/drawing/2010/main"/>
              </a:ext>
            </a:extLst>
          </a:blip>
          <a:srcRect/>
          <a:stretch/>
        </p:blipFill>
        <p:spPr>
          <a:xfrm flipH="1">
            <a:off x="5149029" y="2289839"/>
            <a:ext cx="4020091" cy="2880000"/>
          </a:xfrm>
          <a:prstGeom prst="rect">
            <a:avLst/>
          </a:prstGeom>
        </p:spPr>
      </p:pic>
      <p:cxnSp>
        <p:nvCxnSpPr>
          <p:cNvPr id="32" name="Straight Connector 31"/>
          <p:cNvCxnSpPr/>
          <p:nvPr userDrawn="1"/>
        </p:nvCxnSpPr>
        <p:spPr>
          <a:xfrm>
            <a:off x="343365" y="470176"/>
            <a:ext cx="8460000" cy="0"/>
          </a:xfrm>
          <a:prstGeom prst="line">
            <a:avLst/>
          </a:prstGeom>
          <a:ln w="6350" cmpd="sng">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343365" y="4801146"/>
            <a:ext cx="8460000" cy="0"/>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sp>
        <p:nvSpPr>
          <p:cNvPr id="67"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rgbClr val="FFFFFF"/>
                </a:solidFill>
                <a:latin typeface="+mn-lt"/>
              </a:defRPr>
            </a:lvl1pPr>
          </a:lstStyle>
          <a:p>
            <a:fld id="{19AB4E72-7858-48F1-A40D-12FF09E4BFB8}" type="slidenum">
              <a:rPr lang="en-GB" smtClean="0"/>
              <a:pPr/>
              <a:t>‹Nº›</a:t>
            </a:fld>
            <a:endParaRPr lang="en-GB"/>
          </a:p>
        </p:txBody>
      </p:sp>
      <p:sp>
        <p:nvSpPr>
          <p:cNvPr id="36" name="Title 1"/>
          <p:cNvSpPr>
            <a:spLocks noGrp="1"/>
          </p:cNvSpPr>
          <p:nvPr>
            <p:ph type="ctrTitle" hasCustomPrompt="1"/>
          </p:nvPr>
        </p:nvSpPr>
        <p:spPr>
          <a:xfrm>
            <a:off x="343365" y="2867487"/>
            <a:ext cx="8460000" cy="443198"/>
          </a:xfrm>
          <a:prstGeom prst="rect">
            <a:avLst/>
          </a:prstGeom>
        </p:spPr>
        <p:txBody>
          <a:bodyPr lIns="0" tIns="0" rIns="0" bIns="0" anchor="b"/>
          <a:lstStyle>
            <a:lvl1pPr>
              <a:lnSpc>
                <a:spcPct val="90000"/>
              </a:lnSpc>
              <a:defRPr sz="3200" b="0">
                <a:solidFill>
                  <a:schemeClr val="bg1"/>
                </a:solidFill>
              </a:defRPr>
            </a:lvl1pPr>
          </a:lstStyle>
          <a:p>
            <a:r>
              <a:rPr lang="en-US" dirty="0" smtClean="0"/>
              <a:t>Click to edit Master title Style</a:t>
            </a:r>
            <a:endParaRPr lang="en-US" dirty="0"/>
          </a:p>
        </p:txBody>
      </p:sp>
      <p:sp>
        <p:nvSpPr>
          <p:cNvPr id="37" name="Subtitle 2"/>
          <p:cNvSpPr>
            <a:spLocks noGrp="1"/>
          </p:cNvSpPr>
          <p:nvPr>
            <p:ph type="subTitle" idx="1" hasCustomPrompt="1"/>
          </p:nvPr>
        </p:nvSpPr>
        <p:spPr>
          <a:xfrm>
            <a:off x="343364" y="3474100"/>
            <a:ext cx="8460000" cy="202165"/>
          </a:xfrm>
          <a:prstGeom prst="rect">
            <a:avLst/>
          </a:prstGeom>
        </p:spPr>
        <p:txBody>
          <a:bodyPr lIns="0" tIns="0" rIns="0" bIns="0">
            <a:noAutofit/>
          </a:bodyPr>
          <a:lstStyle>
            <a:lvl1pPr marL="0" indent="0" algn="l">
              <a:buNone/>
              <a:defRPr sz="1400">
                <a:solidFill>
                  <a:schemeClr val="tx2"/>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cxnSp>
        <p:nvCxnSpPr>
          <p:cNvPr id="38" name="Straight Connector 37"/>
          <p:cNvCxnSpPr/>
          <p:nvPr userDrawn="1"/>
        </p:nvCxnSpPr>
        <p:spPr>
          <a:xfrm>
            <a:off x="346086" y="3395058"/>
            <a:ext cx="8460000" cy="0"/>
          </a:xfrm>
          <a:prstGeom prst="line">
            <a:avLst/>
          </a:prstGeom>
          <a:ln w="12700" cmpd="sng">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8" name="Group 27"/>
          <p:cNvGrpSpPr/>
          <p:nvPr userDrawn="1"/>
        </p:nvGrpSpPr>
        <p:grpSpPr>
          <a:xfrm>
            <a:off x="6221475" y="4843403"/>
            <a:ext cx="1123200" cy="262117"/>
            <a:chOff x="7686782" y="4354553"/>
            <a:chExt cx="1123200" cy="262117"/>
          </a:xfrm>
          <a:solidFill>
            <a:schemeClr val="bg1"/>
          </a:solidFill>
        </p:grpSpPr>
        <p:sp>
          <p:nvSpPr>
            <p:cNvPr id="29" name="Freeform 28"/>
            <p:cNvSpPr>
              <a:spLocks/>
            </p:cNvSpPr>
            <p:nvPr/>
          </p:nvSpPr>
          <p:spPr bwMode="auto">
            <a:xfrm>
              <a:off x="8637817" y="4415076"/>
              <a:ext cx="103629" cy="66531"/>
            </a:xfrm>
            <a:custGeom>
              <a:avLst/>
              <a:gdLst>
                <a:gd name="T0" fmla="*/ 50 w 62"/>
                <a:gd name="T1" fmla="*/ 33 h 42"/>
                <a:gd name="T2" fmla="*/ 39 w 62"/>
                <a:gd name="T3" fmla="*/ 40 h 42"/>
                <a:gd name="T4" fmla="*/ 31 w 62"/>
                <a:gd name="T5" fmla="*/ 13 h 42"/>
                <a:gd name="T6" fmla="*/ 30 w 62"/>
                <a:gd name="T7" fmla="*/ 13 h 42"/>
                <a:gd name="T8" fmla="*/ 24 w 62"/>
                <a:gd name="T9" fmla="*/ 33 h 42"/>
                <a:gd name="T10" fmla="*/ 14 w 62"/>
                <a:gd name="T11" fmla="*/ 40 h 42"/>
                <a:gd name="T12" fmla="*/ 0 w 62"/>
                <a:gd name="T13" fmla="*/ 0 h 42"/>
                <a:gd name="T14" fmla="*/ 10 w 62"/>
                <a:gd name="T15" fmla="*/ 0 h 42"/>
                <a:gd name="T16" fmla="*/ 18 w 62"/>
                <a:gd name="T17" fmla="*/ 27 h 42"/>
                <a:gd name="T18" fmla="*/ 18 w 62"/>
                <a:gd name="T19" fmla="*/ 27 h 42"/>
                <a:gd name="T20" fmla="*/ 27 w 62"/>
                <a:gd name="T21" fmla="*/ 0 h 42"/>
                <a:gd name="T22" fmla="*/ 35 w 62"/>
                <a:gd name="T23" fmla="*/ 0 h 42"/>
                <a:gd name="T24" fmla="*/ 43 w 62"/>
                <a:gd name="T25" fmla="*/ 27 h 42"/>
                <a:gd name="T26" fmla="*/ 44 w 62"/>
                <a:gd name="T27" fmla="*/ 27 h 42"/>
                <a:gd name="T28" fmla="*/ 52 w 62"/>
                <a:gd name="T29" fmla="*/ 0 h 42"/>
                <a:gd name="T30" fmla="*/ 62 w 62"/>
                <a:gd name="T31" fmla="*/ 0 h 42"/>
                <a:gd name="T32" fmla="*/ 50 w 62"/>
                <a:gd name="T33" fmla="*/ 3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 h="42">
                  <a:moveTo>
                    <a:pt x="50" y="33"/>
                  </a:moveTo>
                  <a:cubicBezTo>
                    <a:pt x="47" y="42"/>
                    <a:pt x="39" y="40"/>
                    <a:pt x="39" y="40"/>
                  </a:cubicBezTo>
                  <a:cubicBezTo>
                    <a:pt x="31" y="13"/>
                    <a:pt x="31" y="13"/>
                    <a:pt x="31" y="13"/>
                  </a:cubicBezTo>
                  <a:cubicBezTo>
                    <a:pt x="30" y="13"/>
                    <a:pt x="30" y="13"/>
                    <a:pt x="30" y="13"/>
                  </a:cubicBezTo>
                  <a:cubicBezTo>
                    <a:pt x="30" y="13"/>
                    <a:pt x="26" y="26"/>
                    <a:pt x="24" y="33"/>
                  </a:cubicBezTo>
                  <a:cubicBezTo>
                    <a:pt x="21" y="42"/>
                    <a:pt x="14" y="40"/>
                    <a:pt x="14" y="40"/>
                  </a:cubicBezTo>
                  <a:cubicBezTo>
                    <a:pt x="0" y="0"/>
                    <a:pt x="0" y="0"/>
                    <a:pt x="0" y="0"/>
                  </a:cubicBezTo>
                  <a:cubicBezTo>
                    <a:pt x="10" y="0"/>
                    <a:pt x="10" y="0"/>
                    <a:pt x="10" y="0"/>
                  </a:cubicBezTo>
                  <a:cubicBezTo>
                    <a:pt x="18" y="27"/>
                    <a:pt x="18" y="27"/>
                    <a:pt x="18" y="27"/>
                  </a:cubicBezTo>
                  <a:cubicBezTo>
                    <a:pt x="18" y="27"/>
                    <a:pt x="18" y="27"/>
                    <a:pt x="18" y="27"/>
                  </a:cubicBezTo>
                  <a:cubicBezTo>
                    <a:pt x="27" y="0"/>
                    <a:pt x="27" y="0"/>
                    <a:pt x="27" y="0"/>
                  </a:cubicBezTo>
                  <a:cubicBezTo>
                    <a:pt x="35" y="0"/>
                    <a:pt x="35" y="0"/>
                    <a:pt x="35" y="0"/>
                  </a:cubicBezTo>
                  <a:cubicBezTo>
                    <a:pt x="43" y="27"/>
                    <a:pt x="43" y="27"/>
                    <a:pt x="43" y="27"/>
                  </a:cubicBezTo>
                  <a:cubicBezTo>
                    <a:pt x="44" y="27"/>
                    <a:pt x="44" y="27"/>
                    <a:pt x="44" y="27"/>
                  </a:cubicBezTo>
                  <a:cubicBezTo>
                    <a:pt x="52" y="0"/>
                    <a:pt x="52" y="0"/>
                    <a:pt x="52" y="0"/>
                  </a:cubicBezTo>
                  <a:cubicBezTo>
                    <a:pt x="62" y="0"/>
                    <a:pt x="62" y="0"/>
                    <a:pt x="62" y="0"/>
                  </a:cubicBezTo>
                  <a:cubicBezTo>
                    <a:pt x="62" y="0"/>
                    <a:pt x="52" y="26"/>
                    <a:pt x="5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29"/>
            <p:cNvSpPr>
              <a:spLocks noEditPoints="1"/>
            </p:cNvSpPr>
            <p:nvPr/>
          </p:nvSpPr>
          <p:spPr bwMode="auto">
            <a:xfrm>
              <a:off x="8445631" y="4383257"/>
              <a:ext cx="65239" cy="93677"/>
            </a:xfrm>
            <a:custGeom>
              <a:avLst/>
              <a:gdLst>
                <a:gd name="T0" fmla="*/ 0 w 39"/>
                <a:gd name="T1" fmla="*/ 0 h 59"/>
                <a:gd name="T2" fmla="*/ 0 w 39"/>
                <a:gd name="T3" fmla="*/ 59 h 59"/>
                <a:gd name="T4" fmla="*/ 18 w 39"/>
                <a:gd name="T5" fmla="*/ 59 h 59"/>
                <a:gd name="T6" fmla="*/ 39 w 39"/>
                <a:gd name="T7" fmla="*/ 42 h 59"/>
                <a:gd name="T8" fmla="*/ 29 w 39"/>
                <a:gd name="T9" fmla="*/ 28 h 59"/>
                <a:gd name="T10" fmla="*/ 28 w 39"/>
                <a:gd name="T11" fmla="*/ 27 h 59"/>
                <a:gd name="T12" fmla="*/ 29 w 39"/>
                <a:gd name="T13" fmla="*/ 27 h 59"/>
                <a:gd name="T14" fmla="*/ 35 w 39"/>
                <a:gd name="T15" fmla="*/ 15 h 59"/>
                <a:gd name="T16" fmla="*/ 19 w 39"/>
                <a:gd name="T17" fmla="*/ 0 h 59"/>
                <a:gd name="T18" fmla="*/ 0 w 39"/>
                <a:gd name="T19" fmla="*/ 0 h 59"/>
                <a:gd name="T20" fmla="*/ 10 w 39"/>
                <a:gd name="T21" fmla="*/ 8 h 59"/>
                <a:gd name="T22" fmla="*/ 16 w 39"/>
                <a:gd name="T23" fmla="*/ 8 h 59"/>
                <a:gd name="T24" fmla="*/ 25 w 39"/>
                <a:gd name="T25" fmla="*/ 16 h 59"/>
                <a:gd name="T26" fmla="*/ 17 w 39"/>
                <a:gd name="T27" fmla="*/ 25 h 59"/>
                <a:gd name="T28" fmla="*/ 10 w 39"/>
                <a:gd name="T29" fmla="*/ 25 h 59"/>
                <a:gd name="T30" fmla="*/ 10 w 39"/>
                <a:gd name="T31" fmla="*/ 8 h 59"/>
                <a:gd name="T32" fmla="*/ 10 w 39"/>
                <a:gd name="T33" fmla="*/ 33 h 59"/>
                <a:gd name="T34" fmla="*/ 18 w 39"/>
                <a:gd name="T35" fmla="*/ 33 h 59"/>
                <a:gd name="T36" fmla="*/ 29 w 39"/>
                <a:gd name="T37" fmla="*/ 42 h 59"/>
                <a:gd name="T38" fmla="*/ 17 w 39"/>
                <a:gd name="T39" fmla="*/ 51 h 59"/>
                <a:gd name="T40" fmla="*/ 10 w 39"/>
                <a:gd name="T41" fmla="*/ 51 h 59"/>
                <a:gd name="T42" fmla="*/ 10 w 39"/>
                <a:gd name="T43"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9">
                  <a:moveTo>
                    <a:pt x="0" y="0"/>
                  </a:moveTo>
                  <a:cubicBezTo>
                    <a:pt x="0" y="1"/>
                    <a:pt x="0" y="59"/>
                    <a:pt x="0" y="59"/>
                  </a:cubicBezTo>
                  <a:cubicBezTo>
                    <a:pt x="1" y="59"/>
                    <a:pt x="18" y="59"/>
                    <a:pt x="18" y="59"/>
                  </a:cubicBezTo>
                  <a:cubicBezTo>
                    <a:pt x="33" y="59"/>
                    <a:pt x="39" y="51"/>
                    <a:pt x="39" y="42"/>
                  </a:cubicBezTo>
                  <a:cubicBezTo>
                    <a:pt x="39" y="35"/>
                    <a:pt x="36" y="29"/>
                    <a:pt x="29" y="28"/>
                  </a:cubicBezTo>
                  <a:cubicBezTo>
                    <a:pt x="28" y="27"/>
                    <a:pt x="28" y="27"/>
                    <a:pt x="28" y="27"/>
                  </a:cubicBezTo>
                  <a:cubicBezTo>
                    <a:pt x="29" y="27"/>
                    <a:pt x="29" y="27"/>
                    <a:pt x="29" y="27"/>
                  </a:cubicBezTo>
                  <a:cubicBezTo>
                    <a:pt x="33" y="24"/>
                    <a:pt x="35" y="20"/>
                    <a:pt x="35" y="15"/>
                  </a:cubicBezTo>
                  <a:cubicBezTo>
                    <a:pt x="35" y="8"/>
                    <a:pt x="30" y="0"/>
                    <a:pt x="19" y="0"/>
                  </a:cubicBezTo>
                  <a:cubicBezTo>
                    <a:pt x="19" y="0"/>
                    <a:pt x="1" y="0"/>
                    <a:pt x="0" y="0"/>
                  </a:cubicBezTo>
                  <a:close/>
                  <a:moveTo>
                    <a:pt x="10" y="8"/>
                  </a:moveTo>
                  <a:cubicBezTo>
                    <a:pt x="16" y="8"/>
                    <a:pt x="16" y="8"/>
                    <a:pt x="16" y="8"/>
                  </a:cubicBezTo>
                  <a:cubicBezTo>
                    <a:pt x="22" y="8"/>
                    <a:pt x="25" y="11"/>
                    <a:pt x="25" y="16"/>
                  </a:cubicBezTo>
                  <a:cubicBezTo>
                    <a:pt x="25" y="21"/>
                    <a:pt x="21" y="25"/>
                    <a:pt x="17" y="25"/>
                  </a:cubicBezTo>
                  <a:cubicBezTo>
                    <a:pt x="10" y="25"/>
                    <a:pt x="10" y="25"/>
                    <a:pt x="10" y="25"/>
                  </a:cubicBezTo>
                  <a:lnTo>
                    <a:pt x="10" y="8"/>
                  </a:lnTo>
                  <a:close/>
                  <a:moveTo>
                    <a:pt x="10" y="33"/>
                  </a:moveTo>
                  <a:cubicBezTo>
                    <a:pt x="18" y="33"/>
                    <a:pt x="18" y="33"/>
                    <a:pt x="18" y="33"/>
                  </a:cubicBezTo>
                  <a:cubicBezTo>
                    <a:pt x="25" y="33"/>
                    <a:pt x="29" y="37"/>
                    <a:pt x="29" y="42"/>
                  </a:cubicBezTo>
                  <a:cubicBezTo>
                    <a:pt x="29" y="48"/>
                    <a:pt x="25" y="51"/>
                    <a:pt x="17" y="51"/>
                  </a:cubicBezTo>
                  <a:cubicBezTo>
                    <a:pt x="10" y="51"/>
                    <a:pt x="10" y="51"/>
                    <a:pt x="10" y="51"/>
                  </a:cubicBezTo>
                  <a:lnTo>
                    <a:pt x="1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33"/>
            <p:cNvSpPr>
              <a:spLocks noEditPoints="1"/>
            </p:cNvSpPr>
            <p:nvPr/>
          </p:nvSpPr>
          <p:spPr bwMode="auto">
            <a:xfrm>
              <a:off x="8567631" y="4413518"/>
              <a:ext cx="66888" cy="64973"/>
            </a:xfrm>
            <a:custGeom>
              <a:avLst/>
              <a:gdLst>
                <a:gd name="T0" fmla="*/ 34 w 40"/>
                <a:gd name="T1" fmla="*/ 36 h 41"/>
                <a:gd name="T2" fmla="*/ 20 w 40"/>
                <a:gd name="T3" fmla="*/ 41 h 41"/>
                <a:gd name="T4" fmla="*/ 7 w 40"/>
                <a:gd name="T5" fmla="*/ 36 h 41"/>
                <a:gd name="T6" fmla="*/ 0 w 40"/>
                <a:gd name="T7" fmla="*/ 21 h 41"/>
                <a:gd name="T8" fmla="*/ 6 w 40"/>
                <a:gd name="T9" fmla="*/ 6 h 41"/>
                <a:gd name="T10" fmla="*/ 20 w 40"/>
                <a:gd name="T11" fmla="*/ 0 h 41"/>
                <a:gd name="T12" fmla="*/ 35 w 40"/>
                <a:gd name="T13" fmla="*/ 6 h 41"/>
                <a:gd name="T14" fmla="*/ 40 w 40"/>
                <a:gd name="T15" fmla="*/ 20 h 41"/>
                <a:gd name="T16" fmla="*/ 34 w 40"/>
                <a:gd name="T17" fmla="*/ 36 h 41"/>
                <a:gd name="T18" fmla="*/ 20 w 40"/>
                <a:gd name="T19" fmla="*/ 8 h 41"/>
                <a:gd name="T20" fmla="*/ 11 w 40"/>
                <a:gd name="T21" fmla="*/ 21 h 41"/>
                <a:gd name="T22" fmla="*/ 20 w 40"/>
                <a:gd name="T23" fmla="*/ 33 h 41"/>
                <a:gd name="T24" fmla="*/ 30 w 40"/>
                <a:gd name="T25" fmla="*/ 21 h 41"/>
                <a:gd name="T26" fmla="*/ 20 w 40"/>
                <a:gd name="T27" fmla="*/ 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4" y="36"/>
                  </a:moveTo>
                  <a:cubicBezTo>
                    <a:pt x="31" y="39"/>
                    <a:pt x="26" y="41"/>
                    <a:pt x="20" y="41"/>
                  </a:cubicBezTo>
                  <a:cubicBezTo>
                    <a:pt x="15" y="41"/>
                    <a:pt x="10" y="39"/>
                    <a:pt x="7" y="36"/>
                  </a:cubicBezTo>
                  <a:cubicBezTo>
                    <a:pt x="3" y="33"/>
                    <a:pt x="0" y="27"/>
                    <a:pt x="0" y="21"/>
                  </a:cubicBezTo>
                  <a:cubicBezTo>
                    <a:pt x="0" y="15"/>
                    <a:pt x="2" y="9"/>
                    <a:pt x="6" y="6"/>
                  </a:cubicBezTo>
                  <a:cubicBezTo>
                    <a:pt x="10" y="2"/>
                    <a:pt x="14" y="0"/>
                    <a:pt x="20" y="0"/>
                  </a:cubicBezTo>
                  <a:cubicBezTo>
                    <a:pt x="26" y="0"/>
                    <a:pt x="31" y="2"/>
                    <a:pt x="35" y="6"/>
                  </a:cubicBezTo>
                  <a:cubicBezTo>
                    <a:pt x="38" y="9"/>
                    <a:pt x="40" y="14"/>
                    <a:pt x="40" y="20"/>
                  </a:cubicBezTo>
                  <a:cubicBezTo>
                    <a:pt x="40" y="26"/>
                    <a:pt x="38" y="32"/>
                    <a:pt x="34" y="36"/>
                  </a:cubicBezTo>
                  <a:close/>
                  <a:moveTo>
                    <a:pt x="20" y="8"/>
                  </a:moveTo>
                  <a:cubicBezTo>
                    <a:pt x="14" y="8"/>
                    <a:pt x="11" y="13"/>
                    <a:pt x="11" y="21"/>
                  </a:cubicBezTo>
                  <a:cubicBezTo>
                    <a:pt x="11" y="28"/>
                    <a:pt x="14" y="33"/>
                    <a:pt x="20" y="33"/>
                  </a:cubicBezTo>
                  <a:cubicBezTo>
                    <a:pt x="27" y="33"/>
                    <a:pt x="30" y="28"/>
                    <a:pt x="30" y="21"/>
                  </a:cubicBezTo>
                  <a:cubicBezTo>
                    <a:pt x="30" y="13"/>
                    <a:pt x="26" y="8"/>
                    <a:pt x="2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34"/>
            <p:cNvSpPr>
              <a:spLocks/>
            </p:cNvSpPr>
            <p:nvPr/>
          </p:nvSpPr>
          <p:spPr bwMode="auto">
            <a:xfrm>
              <a:off x="8751573" y="4413518"/>
              <a:ext cx="58409" cy="64973"/>
            </a:xfrm>
            <a:custGeom>
              <a:avLst/>
              <a:gdLst>
                <a:gd name="T0" fmla="*/ 25 w 35"/>
                <a:gd name="T1" fmla="*/ 41 h 41"/>
                <a:gd name="T2" fmla="*/ 25 w 35"/>
                <a:gd name="T3" fmla="*/ 17 h 41"/>
                <a:gd name="T4" fmla="*/ 20 w 35"/>
                <a:gd name="T5" fmla="*/ 9 h 41"/>
                <a:gd name="T6" fmla="*/ 10 w 35"/>
                <a:gd name="T7" fmla="*/ 13 h 41"/>
                <a:gd name="T8" fmla="*/ 10 w 35"/>
                <a:gd name="T9" fmla="*/ 34 h 41"/>
                <a:gd name="T10" fmla="*/ 0 w 35"/>
                <a:gd name="T11" fmla="*/ 41 h 41"/>
                <a:gd name="T12" fmla="*/ 0 w 35"/>
                <a:gd name="T13" fmla="*/ 1 h 41"/>
                <a:gd name="T14" fmla="*/ 8 w 35"/>
                <a:gd name="T15" fmla="*/ 1 h 41"/>
                <a:gd name="T16" fmla="*/ 9 w 35"/>
                <a:gd name="T17" fmla="*/ 5 h 41"/>
                <a:gd name="T18" fmla="*/ 23 w 35"/>
                <a:gd name="T19" fmla="*/ 0 h 41"/>
                <a:gd name="T20" fmla="*/ 35 w 35"/>
                <a:gd name="T21" fmla="*/ 14 h 41"/>
                <a:gd name="T22" fmla="*/ 35 w 35"/>
                <a:gd name="T23" fmla="*/ 34 h 41"/>
                <a:gd name="T24" fmla="*/ 25 w 35"/>
                <a:gd name="T25"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41">
                  <a:moveTo>
                    <a:pt x="25" y="41"/>
                  </a:moveTo>
                  <a:cubicBezTo>
                    <a:pt x="25" y="17"/>
                    <a:pt x="25" y="17"/>
                    <a:pt x="25" y="17"/>
                  </a:cubicBezTo>
                  <a:cubicBezTo>
                    <a:pt x="25" y="13"/>
                    <a:pt x="25" y="9"/>
                    <a:pt x="20" y="9"/>
                  </a:cubicBezTo>
                  <a:cubicBezTo>
                    <a:pt x="16" y="9"/>
                    <a:pt x="13" y="10"/>
                    <a:pt x="10" y="13"/>
                  </a:cubicBezTo>
                  <a:cubicBezTo>
                    <a:pt x="10" y="13"/>
                    <a:pt x="10" y="26"/>
                    <a:pt x="10" y="34"/>
                  </a:cubicBezTo>
                  <a:cubicBezTo>
                    <a:pt x="10" y="41"/>
                    <a:pt x="0" y="41"/>
                    <a:pt x="0" y="41"/>
                  </a:cubicBezTo>
                  <a:cubicBezTo>
                    <a:pt x="0" y="1"/>
                    <a:pt x="0" y="1"/>
                    <a:pt x="0" y="1"/>
                  </a:cubicBezTo>
                  <a:cubicBezTo>
                    <a:pt x="8" y="1"/>
                    <a:pt x="8" y="1"/>
                    <a:pt x="8" y="1"/>
                  </a:cubicBezTo>
                  <a:cubicBezTo>
                    <a:pt x="9" y="5"/>
                    <a:pt x="9" y="5"/>
                    <a:pt x="9" y="5"/>
                  </a:cubicBezTo>
                  <a:cubicBezTo>
                    <a:pt x="13" y="2"/>
                    <a:pt x="18" y="0"/>
                    <a:pt x="23" y="0"/>
                  </a:cubicBezTo>
                  <a:cubicBezTo>
                    <a:pt x="29" y="0"/>
                    <a:pt x="35" y="3"/>
                    <a:pt x="35" y="14"/>
                  </a:cubicBezTo>
                  <a:cubicBezTo>
                    <a:pt x="35" y="14"/>
                    <a:pt x="35" y="26"/>
                    <a:pt x="35" y="34"/>
                  </a:cubicBezTo>
                  <a:cubicBezTo>
                    <a:pt x="35" y="41"/>
                    <a:pt x="25" y="41"/>
                    <a:pt x="2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38"/>
            <p:cNvSpPr>
              <a:spLocks/>
            </p:cNvSpPr>
            <p:nvPr/>
          </p:nvSpPr>
          <p:spPr bwMode="auto">
            <a:xfrm>
              <a:off x="8522411" y="4413518"/>
              <a:ext cx="43571" cy="64973"/>
            </a:xfrm>
            <a:custGeom>
              <a:avLst/>
              <a:gdLst>
                <a:gd name="T0" fmla="*/ 23 w 26"/>
                <a:gd name="T1" fmla="*/ 10 h 41"/>
                <a:gd name="T2" fmla="*/ 18 w 26"/>
                <a:gd name="T3" fmla="*/ 9 h 41"/>
                <a:gd name="T4" fmla="*/ 11 w 26"/>
                <a:gd name="T5" fmla="*/ 12 h 41"/>
                <a:gd name="T6" fmla="*/ 11 w 26"/>
                <a:gd name="T7" fmla="*/ 34 h 41"/>
                <a:gd name="T8" fmla="*/ 0 w 26"/>
                <a:gd name="T9" fmla="*/ 41 h 41"/>
                <a:gd name="T10" fmla="*/ 0 w 26"/>
                <a:gd name="T11" fmla="*/ 1 h 41"/>
                <a:gd name="T12" fmla="*/ 9 w 26"/>
                <a:gd name="T13" fmla="*/ 1 h 41"/>
                <a:gd name="T14" fmla="*/ 10 w 26"/>
                <a:gd name="T15" fmla="*/ 5 h 41"/>
                <a:gd name="T16" fmla="*/ 21 w 26"/>
                <a:gd name="T17" fmla="*/ 0 h 41"/>
                <a:gd name="T18" fmla="*/ 26 w 26"/>
                <a:gd name="T19" fmla="*/ 2 h 41"/>
                <a:gd name="T20" fmla="*/ 23 w 26"/>
                <a:gd name="T21" fmla="*/ 1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41">
                  <a:moveTo>
                    <a:pt x="23" y="10"/>
                  </a:moveTo>
                  <a:cubicBezTo>
                    <a:pt x="21" y="9"/>
                    <a:pt x="19" y="9"/>
                    <a:pt x="18" y="9"/>
                  </a:cubicBezTo>
                  <a:cubicBezTo>
                    <a:pt x="16" y="9"/>
                    <a:pt x="13" y="10"/>
                    <a:pt x="11" y="12"/>
                  </a:cubicBezTo>
                  <a:cubicBezTo>
                    <a:pt x="11" y="12"/>
                    <a:pt x="11" y="26"/>
                    <a:pt x="11" y="34"/>
                  </a:cubicBezTo>
                  <a:cubicBezTo>
                    <a:pt x="11" y="41"/>
                    <a:pt x="0" y="41"/>
                    <a:pt x="0" y="41"/>
                  </a:cubicBezTo>
                  <a:cubicBezTo>
                    <a:pt x="0" y="1"/>
                    <a:pt x="0" y="1"/>
                    <a:pt x="0" y="1"/>
                  </a:cubicBezTo>
                  <a:cubicBezTo>
                    <a:pt x="9" y="1"/>
                    <a:pt x="9" y="1"/>
                    <a:pt x="9" y="1"/>
                  </a:cubicBezTo>
                  <a:cubicBezTo>
                    <a:pt x="10" y="5"/>
                    <a:pt x="10" y="5"/>
                    <a:pt x="10" y="5"/>
                  </a:cubicBezTo>
                  <a:cubicBezTo>
                    <a:pt x="14" y="2"/>
                    <a:pt x="17" y="0"/>
                    <a:pt x="21" y="0"/>
                  </a:cubicBezTo>
                  <a:cubicBezTo>
                    <a:pt x="23" y="0"/>
                    <a:pt x="25" y="1"/>
                    <a:pt x="26" y="2"/>
                  </a:cubicBezTo>
                  <a:lnTo>
                    <a:pt x="23"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39"/>
            <p:cNvSpPr>
              <a:spLocks/>
            </p:cNvSpPr>
            <p:nvPr/>
          </p:nvSpPr>
          <p:spPr bwMode="auto">
            <a:xfrm>
              <a:off x="7787114" y="4354553"/>
              <a:ext cx="101745" cy="147747"/>
            </a:xfrm>
            <a:custGeom>
              <a:avLst/>
              <a:gdLst>
                <a:gd name="T0" fmla="*/ 0 w 61"/>
                <a:gd name="T1" fmla="*/ 11 h 93"/>
                <a:gd name="T2" fmla="*/ 1 w 61"/>
                <a:gd name="T3" fmla="*/ 10 h 93"/>
                <a:gd name="T4" fmla="*/ 31 w 61"/>
                <a:gd name="T5" fmla="*/ 9 h 93"/>
                <a:gd name="T6" fmla="*/ 37 w 61"/>
                <a:gd name="T7" fmla="*/ 24 h 93"/>
                <a:gd name="T8" fmla="*/ 52 w 61"/>
                <a:gd name="T9" fmla="*/ 30 h 93"/>
                <a:gd name="T10" fmla="*/ 51 w 61"/>
                <a:gd name="T11" fmla="*/ 60 h 93"/>
                <a:gd name="T12" fmla="*/ 18 w 61"/>
                <a:gd name="T13" fmla="*/ 93 h 93"/>
                <a:gd name="T14" fmla="*/ 8 w 61"/>
                <a:gd name="T15" fmla="*/ 83 h 93"/>
                <a:gd name="T16" fmla="*/ 41 w 61"/>
                <a:gd name="T17" fmla="*/ 50 h 93"/>
                <a:gd name="T18" fmla="*/ 42 w 61"/>
                <a:gd name="T19" fmla="*/ 39 h 93"/>
                <a:gd name="T20" fmla="*/ 31 w 61"/>
                <a:gd name="T21" fmla="*/ 40 h 93"/>
                <a:gd name="T22" fmla="*/ 0 w 61"/>
                <a:gd name="T23" fmla="*/ 70 h 93"/>
                <a:gd name="T24" fmla="*/ 0 w 61"/>
                <a:gd name="T25" fmla="*/ 50 h 93"/>
                <a:gd name="T26" fmla="*/ 21 w 61"/>
                <a:gd name="T27" fmla="*/ 30 h 93"/>
                <a:gd name="T28" fmla="*/ 22 w 61"/>
                <a:gd name="T29" fmla="*/ 19 h 93"/>
                <a:gd name="T30" fmla="*/ 11 w 61"/>
                <a:gd name="T31" fmla="*/ 20 h 93"/>
                <a:gd name="T32" fmla="*/ 0 w 61"/>
                <a:gd name="T33" fmla="*/ 30 h 93"/>
                <a:gd name="T34" fmla="*/ 0 w 61"/>
                <a:gd name="T35" fmla="*/ 1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 h="93">
                  <a:moveTo>
                    <a:pt x="0" y="11"/>
                  </a:moveTo>
                  <a:cubicBezTo>
                    <a:pt x="1" y="10"/>
                    <a:pt x="1" y="10"/>
                    <a:pt x="1" y="10"/>
                  </a:cubicBezTo>
                  <a:cubicBezTo>
                    <a:pt x="11" y="0"/>
                    <a:pt x="23" y="1"/>
                    <a:pt x="31" y="9"/>
                  </a:cubicBezTo>
                  <a:cubicBezTo>
                    <a:pt x="37" y="15"/>
                    <a:pt x="37" y="21"/>
                    <a:pt x="37" y="24"/>
                  </a:cubicBezTo>
                  <a:cubicBezTo>
                    <a:pt x="40" y="24"/>
                    <a:pt x="46" y="24"/>
                    <a:pt x="52" y="30"/>
                  </a:cubicBezTo>
                  <a:cubicBezTo>
                    <a:pt x="60" y="38"/>
                    <a:pt x="61" y="50"/>
                    <a:pt x="51" y="60"/>
                  </a:cubicBezTo>
                  <a:cubicBezTo>
                    <a:pt x="18" y="93"/>
                    <a:pt x="18" y="93"/>
                    <a:pt x="18" y="93"/>
                  </a:cubicBezTo>
                  <a:cubicBezTo>
                    <a:pt x="8" y="83"/>
                    <a:pt x="8" y="83"/>
                    <a:pt x="8" y="83"/>
                  </a:cubicBezTo>
                  <a:cubicBezTo>
                    <a:pt x="41" y="50"/>
                    <a:pt x="41" y="50"/>
                    <a:pt x="41" y="50"/>
                  </a:cubicBezTo>
                  <a:cubicBezTo>
                    <a:pt x="45" y="46"/>
                    <a:pt x="44" y="42"/>
                    <a:pt x="42" y="39"/>
                  </a:cubicBezTo>
                  <a:cubicBezTo>
                    <a:pt x="39" y="37"/>
                    <a:pt x="35" y="36"/>
                    <a:pt x="31" y="40"/>
                  </a:cubicBezTo>
                  <a:cubicBezTo>
                    <a:pt x="0" y="70"/>
                    <a:pt x="0" y="70"/>
                    <a:pt x="0" y="70"/>
                  </a:cubicBezTo>
                  <a:cubicBezTo>
                    <a:pt x="0" y="50"/>
                    <a:pt x="0" y="50"/>
                    <a:pt x="0" y="50"/>
                  </a:cubicBezTo>
                  <a:cubicBezTo>
                    <a:pt x="21" y="30"/>
                    <a:pt x="21" y="30"/>
                    <a:pt x="21" y="30"/>
                  </a:cubicBezTo>
                  <a:cubicBezTo>
                    <a:pt x="25" y="26"/>
                    <a:pt x="24" y="22"/>
                    <a:pt x="22" y="19"/>
                  </a:cubicBezTo>
                  <a:cubicBezTo>
                    <a:pt x="19" y="17"/>
                    <a:pt x="15" y="16"/>
                    <a:pt x="11" y="20"/>
                  </a:cubicBezTo>
                  <a:cubicBezTo>
                    <a:pt x="0" y="30"/>
                    <a:pt x="0" y="30"/>
                    <a:pt x="0" y="30"/>
                  </a:cubicBezTo>
                  <a:lnTo>
                    <a:pt x="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40"/>
            <p:cNvSpPr>
              <a:spLocks/>
            </p:cNvSpPr>
            <p:nvPr/>
          </p:nvSpPr>
          <p:spPr bwMode="auto">
            <a:xfrm>
              <a:off x="7686782" y="4354553"/>
              <a:ext cx="100332" cy="147747"/>
            </a:xfrm>
            <a:custGeom>
              <a:avLst/>
              <a:gdLst>
                <a:gd name="T0" fmla="*/ 60 w 60"/>
                <a:gd name="T1" fmla="*/ 11 h 93"/>
                <a:gd name="T2" fmla="*/ 60 w 60"/>
                <a:gd name="T3" fmla="*/ 10 h 93"/>
                <a:gd name="T4" fmla="*/ 30 w 60"/>
                <a:gd name="T5" fmla="*/ 9 h 93"/>
                <a:gd name="T6" fmla="*/ 24 w 60"/>
                <a:gd name="T7" fmla="*/ 24 h 93"/>
                <a:gd name="T8" fmla="*/ 9 w 60"/>
                <a:gd name="T9" fmla="*/ 30 h 93"/>
                <a:gd name="T10" fmla="*/ 10 w 60"/>
                <a:gd name="T11" fmla="*/ 60 h 93"/>
                <a:gd name="T12" fmla="*/ 43 w 60"/>
                <a:gd name="T13" fmla="*/ 93 h 93"/>
                <a:gd name="T14" fmla="*/ 53 w 60"/>
                <a:gd name="T15" fmla="*/ 83 h 93"/>
                <a:gd name="T16" fmla="*/ 20 w 60"/>
                <a:gd name="T17" fmla="*/ 50 h 93"/>
                <a:gd name="T18" fmla="*/ 19 w 60"/>
                <a:gd name="T19" fmla="*/ 39 h 93"/>
                <a:gd name="T20" fmla="*/ 30 w 60"/>
                <a:gd name="T21" fmla="*/ 40 h 93"/>
                <a:gd name="T22" fmla="*/ 60 w 60"/>
                <a:gd name="T23" fmla="*/ 70 h 93"/>
                <a:gd name="T24" fmla="*/ 60 w 60"/>
                <a:gd name="T25" fmla="*/ 50 h 93"/>
                <a:gd name="T26" fmla="*/ 40 w 60"/>
                <a:gd name="T27" fmla="*/ 30 h 93"/>
                <a:gd name="T28" fmla="*/ 39 w 60"/>
                <a:gd name="T29" fmla="*/ 19 h 93"/>
                <a:gd name="T30" fmla="*/ 50 w 60"/>
                <a:gd name="T31" fmla="*/ 20 h 93"/>
                <a:gd name="T32" fmla="*/ 60 w 60"/>
                <a:gd name="T33" fmla="*/ 30 h 93"/>
                <a:gd name="T34" fmla="*/ 60 w 60"/>
                <a:gd name="T35" fmla="*/ 1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93">
                  <a:moveTo>
                    <a:pt x="60" y="11"/>
                  </a:moveTo>
                  <a:cubicBezTo>
                    <a:pt x="60" y="10"/>
                    <a:pt x="60" y="10"/>
                    <a:pt x="60" y="10"/>
                  </a:cubicBezTo>
                  <a:cubicBezTo>
                    <a:pt x="50" y="0"/>
                    <a:pt x="37" y="1"/>
                    <a:pt x="30" y="9"/>
                  </a:cubicBezTo>
                  <a:cubicBezTo>
                    <a:pt x="24" y="15"/>
                    <a:pt x="23" y="21"/>
                    <a:pt x="24" y="24"/>
                  </a:cubicBezTo>
                  <a:cubicBezTo>
                    <a:pt x="21" y="24"/>
                    <a:pt x="15" y="24"/>
                    <a:pt x="9" y="30"/>
                  </a:cubicBezTo>
                  <a:cubicBezTo>
                    <a:pt x="1" y="38"/>
                    <a:pt x="0" y="50"/>
                    <a:pt x="10" y="60"/>
                  </a:cubicBezTo>
                  <a:cubicBezTo>
                    <a:pt x="43" y="93"/>
                    <a:pt x="43" y="93"/>
                    <a:pt x="43" y="93"/>
                  </a:cubicBezTo>
                  <a:cubicBezTo>
                    <a:pt x="53" y="83"/>
                    <a:pt x="53" y="83"/>
                    <a:pt x="53" y="83"/>
                  </a:cubicBezTo>
                  <a:cubicBezTo>
                    <a:pt x="20" y="50"/>
                    <a:pt x="20" y="50"/>
                    <a:pt x="20" y="50"/>
                  </a:cubicBezTo>
                  <a:cubicBezTo>
                    <a:pt x="16" y="46"/>
                    <a:pt x="17" y="42"/>
                    <a:pt x="19" y="39"/>
                  </a:cubicBezTo>
                  <a:cubicBezTo>
                    <a:pt x="22" y="37"/>
                    <a:pt x="26" y="36"/>
                    <a:pt x="30" y="40"/>
                  </a:cubicBezTo>
                  <a:cubicBezTo>
                    <a:pt x="60" y="70"/>
                    <a:pt x="60" y="70"/>
                    <a:pt x="60" y="70"/>
                  </a:cubicBezTo>
                  <a:cubicBezTo>
                    <a:pt x="60" y="50"/>
                    <a:pt x="60" y="50"/>
                    <a:pt x="60" y="50"/>
                  </a:cubicBezTo>
                  <a:cubicBezTo>
                    <a:pt x="40" y="30"/>
                    <a:pt x="40" y="30"/>
                    <a:pt x="40" y="30"/>
                  </a:cubicBezTo>
                  <a:cubicBezTo>
                    <a:pt x="36" y="26"/>
                    <a:pt x="37" y="22"/>
                    <a:pt x="39" y="19"/>
                  </a:cubicBezTo>
                  <a:cubicBezTo>
                    <a:pt x="42" y="17"/>
                    <a:pt x="46" y="16"/>
                    <a:pt x="50" y="20"/>
                  </a:cubicBezTo>
                  <a:cubicBezTo>
                    <a:pt x="60" y="30"/>
                    <a:pt x="60" y="30"/>
                    <a:pt x="60" y="30"/>
                  </a:cubicBezTo>
                  <a:lnTo>
                    <a:pt x="60" y="11"/>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42" name="Freeform 41"/>
            <p:cNvSpPr>
              <a:spLocks/>
            </p:cNvSpPr>
            <p:nvPr/>
          </p:nvSpPr>
          <p:spPr bwMode="auto">
            <a:xfrm>
              <a:off x="8141337" y="4415076"/>
              <a:ext cx="103629" cy="66531"/>
            </a:xfrm>
            <a:custGeom>
              <a:avLst/>
              <a:gdLst>
                <a:gd name="T0" fmla="*/ 50 w 62"/>
                <a:gd name="T1" fmla="*/ 33 h 42"/>
                <a:gd name="T2" fmla="*/ 40 w 62"/>
                <a:gd name="T3" fmla="*/ 40 h 42"/>
                <a:gd name="T4" fmla="*/ 31 w 62"/>
                <a:gd name="T5" fmla="*/ 13 h 42"/>
                <a:gd name="T6" fmla="*/ 30 w 62"/>
                <a:gd name="T7" fmla="*/ 13 h 42"/>
                <a:gd name="T8" fmla="*/ 24 w 62"/>
                <a:gd name="T9" fmla="*/ 33 h 42"/>
                <a:gd name="T10" fmla="*/ 14 w 62"/>
                <a:gd name="T11" fmla="*/ 40 h 42"/>
                <a:gd name="T12" fmla="*/ 0 w 62"/>
                <a:gd name="T13" fmla="*/ 0 h 42"/>
                <a:gd name="T14" fmla="*/ 10 w 62"/>
                <a:gd name="T15" fmla="*/ 0 h 42"/>
                <a:gd name="T16" fmla="*/ 18 w 62"/>
                <a:gd name="T17" fmla="*/ 27 h 42"/>
                <a:gd name="T18" fmla="*/ 18 w 62"/>
                <a:gd name="T19" fmla="*/ 27 h 42"/>
                <a:gd name="T20" fmla="*/ 27 w 62"/>
                <a:gd name="T21" fmla="*/ 0 h 42"/>
                <a:gd name="T22" fmla="*/ 35 w 62"/>
                <a:gd name="T23" fmla="*/ 0 h 42"/>
                <a:gd name="T24" fmla="*/ 44 w 62"/>
                <a:gd name="T25" fmla="*/ 27 h 42"/>
                <a:gd name="T26" fmla="*/ 44 w 62"/>
                <a:gd name="T27" fmla="*/ 27 h 42"/>
                <a:gd name="T28" fmla="*/ 52 w 62"/>
                <a:gd name="T29" fmla="*/ 0 h 42"/>
                <a:gd name="T30" fmla="*/ 62 w 62"/>
                <a:gd name="T31" fmla="*/ 0 h 42"/>
                <a:gd name="T32" fmla="*/ 50 w 62"/>
                <a:gd name="T33" fmla="*/ 3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 h="42">
                  <a:moveTo>
                    <a:pt x="50" y="33"/>
                  </a:moveTo>
                  <a:cubicBezTo>
                    <a:pt x="47" y="42"/>
                    <a:pt x="40" y="40"/>
                    <a:pt x="40" y="40"/>
                  </a:cubicBezTo>
                  <a:cubicBezTo>
                    <a:pt x="31" y="13"/>
                    <a:pt x="31" y="13"/>
                    <a:pt x="31" y="13"/>
                  </a:cubicBezTo>
                  <a:cubicBezTo>
                    <a:pt x="30" y="13"/>
                    <a:pt x="30" y="13"/>
                    <a:pt x="30" y="13"/>
                  </a:cubicBezTo>
                  <a:cubicBezTo>
                    <a:pt x="30" y="13"/>
                    <a:pt x="26" y="26"/>
                    <a:pt x="24" y="33"/>
                  </a:cubicBezTo>
                  <a:cubicBezTo>
                    <a:pt x="21" y="42"/>
                    <a:pt x="14" y="40"/>
                    <a:pt x="14" y="40"/>
                  </a:cubicBezTo>
                  <a:cubicBezTo>
                    <a:pt x="0" y="0"/>
                    <a:pt x="0" y="0"/>
                    <a:pt x="0" y="0"/>
                  </a:cubicBezTo>
                  <a:cubicBezTo>
                    <a:pt x="10" y="0"/>
                    <a:pt x="10" y="0"/>
                    <a:pt x="10" y="0"/>
                  </a:cubicBezTo>
                  <a:cubicBezTo>
                    <a:pt x="18" y="27"/>
                    <a:pt x="18" y="27"/>
                    <a:pt x="18" y="27"/>
                  </a:cubicBezTo>
                  <a:cubicBezTo>
                    <a:pt x="18" y="27"/>
                    <a:pt x="18" y="27"/>
                    <a:pt x="18" y="27"/>
                  </a:cubicBezTo>
                  <a:cubicBezTo>
                    <a:pt x="27" y="0"/>
                    <a:pt x="27" y="0"/>
                    <a:pt x="27" y="0"/>
                  </a:cubicBezTo>
                  <a:cubicBezTo>
                    <a:pt x="35" y="0"/>
                    <a:pt x="35" y="0"/>
                    <a:pt x="35" y="0"/>
                  </a:cubicBezTo>
                  <a:cubicBezTo>
                    <a:pt x="44" y="27"/>
                    <a:pt x="44" y="27"/>
                    <a:pt x="44" y="27"/>
                  </a:cubicBezTo>
                  <a:cubicBezTo>
                    <a:pt x="44" y="27"/>
                    <a:pt x="44" y="27"/>
                    <a:pt x="44" y="27"/>
                  </a:cubicBezTo>
                  <a:cubicBezTo>
                    <a:pt x="52" y="0"/>
                    <a:pt x="52" y="0"/>
                    <a:pt x="52" y="0"/>
                  </a:cubicBezTo>
                  <a:cubicBezTo>
                    <a:pt x="62" y="0"/>
                    <a:pt x="62" y="0"/>
                    <a:pt x="62" y="0"/>
                  </a:cubicBezTo>
                  <a:cubicBezTo>
                    <a:pt x="62" y="0"/>
                    <a:pt x="53" y="26"/>
                    <a:pt x="50" y="33"/>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43" name="Freeform 42"/>
            <p:cNvSpPr>
              <a:spLocks noEditPoints="1"/>
            </p:cNvSpPr>
            <p:nvPr/>
          </p:nvSpPr>
          <p:spPr bwMode="auto">
            <a:xfrm>
              <a:off x="8246615" y="4413518"/>
              <a:ext cx="58645" cy="64973"/>
            </a:xfrm>
            <a:custGeom>
              <a:avLst/>
              <a:gdLst>
                <a:gd name="T0" fmla="*/ 27 w 35"/>
                <a:gd name="T1" fmla="*/ 41 h 41"/>
                <a:gd name="T2" fmla="*/ 25 w 35"/>
                <a:gd name="T3" fmla="*/ 37 h 41"/>
                <a:gd name="T4" fmla="*/ 13 w 35"/>
                <a:gd name="T5" fmla="*/ 41 h 41"/>
                <a:gd name="T6" fmla="*/ 0 w 35"/>
                <a:gd name="T7" fmla="*/ 29 h 41"/>
                <a:gd name="T8" fmla="*/ 17 w 35"/>
                <a:gd name="T9" fmla="*/ 16 h 41"/>
                <a:gd name="T10" fmla="*/ 24 w 35"/>
                <a:gd name="T11" fmla="*/ 15 h 41"/>
                <a:gd name="T12" fmla="*/ 24 w 35"/>
                <a:gd name="T13" fmla="*/ 14 h 41"/>
                <a:gd name="T14" fmla="*/ 16 w 35"/>
                <a:gd name="T15" fmla="*/ 8 h 41"/>
                <a:gd name="T16" fmla="*/ 6 w 35"/>
                <a:gd name="T17" fmla="*/ 11 h 41"/>
                <a:gd name="T18" fmla="*/ 3 w 35"/>
                <a:gd name="T19" fmla="*/ 4 h 41"/>
                <a:gd name="T20" fmla="*/ 18 w 35"/>
                <a:gd name="T21" fmla="*/ 0 h 41"/>
                <a:gd name="T22" fmla="*/ 34 w 35"/>
                <a:gd name="T23" fmla="*/ 14 h 41"/>
                <a:gd name="T24" fmla="*/ 34 w 35"/>
                <a:gd name="T25" fmla="*/ 30 h 41"/>
                <a:gd name="T26" fmla="*/ 35 w 35"/>
                <a:gd name="T27" fmla="*/ 41 h 41"/>
                <a:gd name="T28" fmla="*/ 27 w 35"/>
                <a:gd name="T29" fmla="*/ 41 h 41"/>
                <a:gd name="T30" fmla="*/ 24 w 35"/>
                <a:gd name="T31" fmla="*/ 22 h 41"/>
                <a:gd name="T32" fmla="*/ 18 w 35"/>
                <a:gd name="T33" fmla="*/ 22 h 41"/>
                <a:gd name="T34" fmla="*/ 10 w 35"/>
                <a:gd name="T35" fmla="*/ 28 h 41"/>
                <a:gd name="T36" fmla="*/ 17 w 35"/>
                <a:gd name="T37" fmla="*/ 33 h 41"/>
                <a:gd name="T38" fmla="*/ 24 w 35"/>
                <a:gd name="T39" fmla="*/ 31 h 41"/>
                <a:gd name="T40" fmla="*/ 24 w 35"/>
                <a:gd name="T41" fmla="*/ 2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 h="41">
                  <a:moveTo>
                    <a:pt x="27" y="41"/>
                  </a:moveTo>
                  <a:cubicBezTo>
                    <a:pt x="25" y="37"/>
                    <a:pt x="25" y="37"/>
                    <a:pt x="25" y="37"/>
                  </a:cubicBezTo>
                  <a:cubicBezTo>
                    <a:pt x="22" y="39"/>
                    <a:pt x="18" y="41"/>
                    <a:pt x="13" y="41"/>
                  </a:cubicBezTo>
                  <a:cubicBezTo>
                    <a:pt x="6" y="41"/>
                    <a:pt x="0" y="36"/>
                    <a:pt x="0" y="29"/>
                  </a:cubicBezTo>
                  <a:cubicBezTo>
                    <a:pt x="0" y="20"/>
                    <a:pt x="7" y="16"/>
                    <a:pt x="17" y="16"/>
                  </a:cubicBezTo>
                  <a:cubicBezTo>
                    <a:pt x="24" y="15"/>
                    <a:pt x="24" y="15"/>
                    <a:pt x="24" y="15"/>
                  </a:cubicBezTo>
                  <a:cubicBezTo>
                    <a:pt x="24" y="15"/>
                    <a:pt x="24" y="15"/>
                    <a:pt x="24" y="14"/>
                  </a:cubicBezTo>
                  <a:cubicBezTo>
                    <a:pt x="24" y="10"/>
                    <a:pt x="21" y="8"/>
                    <a:pt x="16" y="8"/>
                  </a:cubicBezTo>
                  <a:cubicBezTo>
                    <a:pt x="12" y="8"/>
                    <a:pt x="9" y="9"/>
                    <a:pt x="6" y="11"/>
                  </a:cubicBezTo>
                  <a:cubicBezTo>
                    <a:pt x="3" y="4"/>
                    <a:pt x="3" y="4"/>
                    <a:pt x="3" y="4"/>
                  </a:cubicBezTo>
                  <a:cubicBezTo>
                    <a:pt x="8" y="1"/>
                    <a:pt x="13" y="0"/>
                    <a:pt x="18" y="0"/>
                  </a:cubicBezTo>
                  <a:cubicBezTo>
                    <a:pt x="28" y="0"/>
                    <a:pt x="34" y="4"/>
                    <a:pt x="34" y="14"/>
                  </a:cubicBezTo>
                  <a:cubicBezTo>
                    <a:pt x="34" y="30"/>
                    <a:pt x="34" y="30"/>
                    <a:pt x="34" y="30"/>
                  </a:cubicBezTo>
                  <a:cubicBezTo>
                    <a:pt x="34" y="36"/>
                    <a:pt x="34" y="39"/>
                    <a:pt x="35" y="41"/>
                  </a:cubicBezTo>
                  <a:lnTo>
                    <a:pt x="27" y="41"/>
                  </a:lnTo>
                  <a:close/>
                  <a:moveTo>
                    <a:pt x="24" y="22"/>
                  </a:moveTo>
                  <a:cubicBezTo>
                    <a:pt x="18" y="22"/>
                    <a:pt x="18" y="22"/>
                    <a:pt x="18" y="22"/>
                  </a:cubicBezTo>
                  <a:cubicBezTo>
                    <a:pt x="13" y="23"/>
                    <a:pt x="10" y="24"/>
                    <a:pt x="10" y="28"/>
                  </a:cubicBezTo>
                  <a:cubicBezTo>
                    <a:pt x="10" y="31"/>
                    <a:pt x="13" y="33"/>
                    <a:pt x="17" y="33"/>
                  </a:cubicBezTo>
                  <a:cubicBezTo>
                    <a:pt x="20" y="33"/>
                    <a:pt x="23" y="32"/>
                    <a:pt x="24" y="31"/>
                  </a:cubicBezTo>
                  <a:lnTo>
                    <a:pt x="24" y="22"/>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44" name="Freeform 43"/>
            <p:cNvSpPr>
              <a:spLocks noEditPoints="1"/>
            </p:cNvSpPr>
            <p:nvPr/>
          </p:nvSpPr>
          <p:spPr bwMode="auto">
            <a:xfrm>
              <a:off x="8363669" y="4383257"/>
              <a:ext cx="63591" cy="95234"/>
            </a:xfrm>
            <a:custGeom>
              <a:avLst/>
              <a:gdLst>
                <a:gd name="T0" fmla="*/ 22 w 38"/>
                <a:gd name="T1" fmla="*/ 60 h 60"/>
                <a:gd name="T2" fmla="*/ 0 w 38"/>
                <a:gd name="T3" fmla="*/ 40 h 60"/>
                <a:gd name="T4" fmla="*/ 22 w 38"/>
                <a:gd name="T5" fmla="*/ 19 h 60"/>
                <a:gd name="T6" fmla="*/ 27 w 38"/>
                <a:gd name="T7" fmla="*/ 19 h 60"/>
                <a:gd name="T8" fmla="*/ 28 w 38"/>
                <a:gd name="T9" fmla="*/ 0 h 60"/>
                <a:gd name="T10" fmla="*/ 38 w 38"/>
                <a:gd name="T11" fmla="*/ 0 h 60"/>
                <a:gd name="T12" fmla="*/ 37 w 38"/>
                <a:gd name="T13" fmla="*/ 57 h 60"/>
                <a:gd name="T14" fmla="*/ 22 w 38"/>
                <a:gd name="T15" fmla="*/ 60 h 60"/>
                <a:gd name="T16" fmla="*/ 27 w 38"/>
                <a:gd name="T17" fmla="*/ 27 h 60"/>
                <a:gd name="T18" fmla="*/ 23 w 38"/>
                <a:gd name="T19" fmla="*/ 27 h 60"/>
                <a:gd name="T20" fmla="*/ 10 w 38"/>
                <a:gd name="T21" fmla="*/ 39 h 60"/>
                <a:gd name="T22" fmla="*/ 23 w 38"/>
                <a:gd name="T23" fmla="*/ 52 h 60"/>
                <a:gd name="T24" fmla="*/ 27 w 38"/>
                <a:gd name="T25" fmla="*/ 51 h 60"/>
                <a:gd name="T26" fmla="*/ 27 w 38"/>
                <a:gd name="T27" fmla="*/ 2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60">
                  <a:moveTo>
                    <a:pt x="22" y="60"/>
                  </a:moveTo>
                  <a:cubicBezTo>
                    <a:pt x="10" y="60"/>
                    <a:pt x="0" y="53"/>
                    <a:pt x="0" y="40"/>
                  </a:cubicBezTo>
                  <a:cubicBezTo>
                    <a:pt x="0" y="28"/>
                    <a:pt x="9" y="19"/>
                    <a:pt x="22" y="19"/>
                  </a:cubicBezTo>
                  <a:cubicBezTo>
                    <a:pt x="24" y="19"/>
                    <a:pt x="26" y="19"/>
                    <a:pt x="27" y="19"/>
                  </a:cubicBezTo>
                  <a:cubicBezTo>
                    <a:pt x="28" y="0"/>
                    <a:pt x="28" y="0"/>
                    <a:pt x="28" y="0"/>
                  </a:cubicBezTo>
                  <a:cubicBezTo>
                    <a:pt x="38" y="0"/>
                    <a:pt x="38" y="0"/>
                    <a:pt x="38" y="0"/>
                  </a:cubicBezTo>
                  <a:cubicBezTo>
                    <a:pt x="37" y="57"/>
                    <a:pt x="37" y="57"/>
                    <a:pt x="37" y="57"/>
                  </a:cubicBezTo>
                  <a:cubicBezTo>
                    <a:pt x="34" y="59"/>
                    <a:pt x="29" y="60"/>
                    <a:pt x="22" y="60"/>
                  </a:cubicBezTo>
                  <a:close/>
                  <a:moveTo>
                    <a:pt x="27" y="27"/>
                  </a:moveTo>
                  <a:cubicBezTo>
                    <a:pt x="26" y="27"/>
                    <a:pt x="25" y="27"/>
                    <a:pt x="23" y="27"/>
                  </a:cubicBezTo>
                  <a:cubicBezTo>
                    <a:pt x="16" y="27"/>
                    <a:pt x="10" y="32"/>
                    <a:pt x="10" y="39"/>
                  </a:cubicBezTo>
                  <a:cubicBezTo>
                    <a:pt x="10" y="47"/>
                    <a:pt x="15" y="52"/>
                    <a:pt x="23" y="52"/>
                  </a:cubicBezTo>
                  <a:cubicBezTo>
                    <a:pt x="24" y="52"/>
                    <a:pt x="26" y="52"/>
                    <a:pt x="27" y="51"/>
                  </a:cubicBezTo>
                  <a:lnTo>
                    <a:pt x="27" y="2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45" name="Freeform 44"/>
            <p:cNvSpPr>
              <a:spLocks/>
            </p:cNvSpPr>
            <p:nvPr/>
          </p:nvSpPr>
          <p:spPr bwMode="auto">
            <a:xfrm>
              <a:off x="8114724" y="4383257"/>
              <a:ext cx="16722" cy="95234"/>
            </a:xfrm>
            <a:custGeom>
              <a:avLst/>
              <a:gdLst>
                <a:gd name="T0" fmla="*/ 10 w 10"/>
                <a:gd name="T1" fmla="*/ 53 h 60"/>
                <a:gd name="T2" fmla="*/ 0 w 10"/>
                <a:gd name="T3" fmla="*/ 60 h 60"/>
                <a:gd name="T4" fmla="*/ 0 w 10"/>
                <a:gd name="T5" fmla="*/ 0 h 60"/>
                <a:gd name="T6" fmla="*/ 10 w 10"/>
                <a:gd name="T7" fmla="*/ 0 h 60"/>
                <a:gd name="T8" fmla="*/ 10 w 10"/>
                <a:gd name="T9" fmla="*/ 53 h 60"/>
              </a:gdLst>
              <a:ahLst/>
              <a:cxnLst>
                <a:cxn ang="0">
                  <a:pos x="T0" y="T1"/>
                </a:cxn>
                <a:cxn ang="0">
                  <a:pos x="T2" y="T3"/>
                </a:cxn>
                <a:cxn ang="0">
                  <a:pos x="T4" y="T5"/>
                </a:cxn>
                <a:cxn ang="0">
                  <a:pos x="T6" y="T7"/>
                </a:cxn>
                <a:cxn ang="0">
                  <a:pos x="T8" y="T9"/>
                </a:cxn>
              </a:cxnLst>
              <a:rect l="0" t="0" r="r" b="b"/>
              <a:pathLst>
                <a:path w="10" h="60">
                  <a:moveTo>
                    <a:pt x="10" y="53"/>
                  </a:moveTo>
                  <a:cubicBezTo>
                    <a:pt x="10" y="60"/>
                    <a:pt x="0" y="60"/>
                    <a:pt x="0" y="60"/>
                  </a:cubicBezTo>
                  <a:cubicBezTo>
                    <a:pt x="0" y="0"/>
                    <a:pt x="0" y="0"/>
                    <a:pt x="0" y="0"/>
                  </a:cubicBezTo>
                  <a:cubicBezTo>
                    <a:pt x="10" y="0"/>
                    <a:pt x="10" y="0"/>
                    <a:pt x="10" y="0"/>
                  </a:cubicBezTo>
                  <a:cubicBezTo>
                    <a:pt x="10" y="0"/>
                    <a:pt x="10" y="45"/>
                    <a:pt x="10" y="53"/>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46" name="Freeform 45"/>
            <p:cNvSpPr>
              <a:spLocks/>
            </p:cNvSpPr>
            <p:nvPr/>
          </p:nvSpPr>
          <p:spPr bwMode="auto">
            <a:xfrm>
              <a:off x="8081279" y="4383257"/>
              <a:ext cx="16722" cy="95234"/>
            </a:xfrm>
            <a:custGeom>
              <a:avLst/>
              <a:gdLst>
                <a:gd name="T0" fmla="*/ 10 w 10"/>
                <a:gd name="T1" fmla="*/ 53 h 60"/>
                <a:gd name="T2" fmla="*/ 0 w 10"/>
                <a:gd name="T3" fmla="*/ 60 h 60"/>
                <a:gd name="T4" fmla="*/ 0 w 10"/>
                <a:gd name="T5" fmla="*/ 0 h 60"/>
                <a:gd name="T6" fmla="*/ 10 w 10"/>
                <a:gd name="T7" fmla="*/ 0 h 60"/>
                <a:gd name="T8" fmla="*/ 10 w 10"/>
                <a:gd name="T9" fmla="*/ 53 h 60"/>
              </a:gdLst>
              <a:ahLst/>
              <a:cxnLst>
                <a:cxn ang="0">
                  <a:pos x="T0" y="T1"/>
                </a:cxn>
                <a:cxn ang="0">
                  <a:pos x="T2" y="T3"/>
                </a:cxn>
                <a:cxn ang="0">
                  <a:pos x="T4" y="T5"/>
                </a:cxn>
                <a:cxn ang="0">
                  <a:pos x="T6" y="T7"/>
                </a:cxn>
                <a:cxn ang="0">
                  <a:pos x="T8" y="T9"/>
                </a:cxn>
              </a:cxnLst>
              <a:rect l="0" t="0" r="r" b="b"/>
              <a:pathLst>
                <a:path w="10" h="60">
                  <a:moveTo>
                    <a:pt x="10" y="53"/>
                  </a:moveTo>
                  <a:cubicBezTo>
                    <a:pt x="10" y="60"/>
                    <a:pt x="0" y="60"/>
                    <a:pt x="0" y="60"/>
                  </a:cubicBezTo>
                  <a:cubicBezTo>
                    <a:pt x="0" y="0"/>
                    <a:pt x="0" y="0"/>
                    <a:pt x="0" y="0"/>
                  </a:cubicBezTo>
                  <a:cubicBezTo>
                    <a:pt x="10" y="0"/>
                    <a:pt x="10" y="0"/>
                    <a:pt x="10" y="0"/>
                  </a:cubicBezTo>
                  <a:cubicBezTo>
                    <a:pt x="10" y="0"/>
                    <a:pt x="10" y="45"/>
                    <a:pt x="10" y="53"/>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47" name="Freeform 46"/>
            <p:cNvSpPr>
              <a:spLocks/>
            </p:cNvSpPr>
            <p:nvPr/>
          </p:nvSpPr>
          <p:spPr bwMode="auto">
            <a:xfrm>
              <a:off x="8318450" y="4413518"/>
              <a:ext cx="43571" cy="64973"/>
            </a:xfrm>
            <a:custGeom>
              <a:avLst/>
              <a:gdLst>
                <a:gd name="T0" fmla="*/ 22 w 26"/>
                <a:gd name="T1" fmla="*/ 10 h 41"/>
                <a:gd name="T2" fmla="*/ 18 w 26"/>
                <a:gd name="T3" fmla="*/ 9 h 41"/>
                <a:gd name="T4" fmla="*/ 10 w 26"/>
                <a:gd name="T5" fmla="*/ 12 h 41"/>
                <a:gd name="T6" fmla="*/ 10 w 26"/>
                <a:gd name="T7" fmla="*/ 34 h 41"/>
                <a:gd name="T8" fmla="*/ 0 w 26"/>
                <a:gd name="T9" fmla="*/ 41 h 41"/>
                <a:gd name="T10" fmla="*/ 0 w 26"/>
                <a:gd name="T11" fmla="*/ 1 h 41"/>
                <a:gd name="T12" fmla="*/ 9 w 26"/>
                <a:gd name="T13" fmla="*/ 1 h 41"/>
                <a:gd name="T14" fmla="*/ 10 w 26"/>
                <a:gd name="T15" fmla="*/ 5 h 41"/>
                <a:gd name="T16" fmla="*/ 21 w 26"/>
                <a:gd name="T17" fmla="*/ 0 h 41"/>
                <a:gd name="T18" fmla="*/ 26 w 26"/>
                <a:gd name="T19" fmla="*/ 2 h 41"/>
                <a:gd name="T20" fmla="*/ 22 w 26"/>
                <a:gd name="T21" fmla="*/ 1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41">
                  <a:moveTo>
                    <a:pt x="22" y="10"/>
                  </a:moveTo>
                  <a:cubicBezTo>
                    <a:pt x="21" y="9"/>
                    <a:pt x="19" y="9"/>
                    <a:pt x="18" y="9"/>
                  </a:cubicBezTo>
                  <a:cubicBezTo>
                    <a:pt x="15" y="9"/>
                    <a:pt x="13" y="10"/>
                    <a:pt x="10" y="12"/>
                  </a:cubicBezTo>
                  <a:cubicBezTo>
                    <a:pt x="10" y="12"/>
                    <a:pt x="10" y="26"/>
                    <a:pt x="10" y="34"/>
                  </a:cubicBezTo>
                  <a:cubicBezTo>
                    <a:pt x="10" y="41"/>
                    <a:pt x="0" y="41"/>
                    <a:pt x="0" y="41"/>
                  </a:cubicBezTo>
                  <a:cubicBezTo>
                    <a:pt x="0" y="1"/>
                    <a:pt x="0" y="1"/>
                    <a:pt x="0" y="1"/>
                  </a:cubicBezTo>
                  <a:cubicBezTo>
                    <a:pt x="9" y="1"/>
                    <a:pt x="9" y="1"/>
                    <a:pt x="9" y="1"/>
                  </a:cubicBezTo>
                  <a:cubicBezTo>
                    <a:pt x="10" y="5"/>
                    <a:pt x="10" y="5"/>
                    <a:pt x="10" y="5"/>
                  </a:cubicBezTo>
                  <a:cubicBezTo>
                    <a:pt x="14" y="2"/>
                    <a:pt x="17" y="0"/>
                    <a:pt x="21" y="0"/>
                  </a:cubicBezTo>
                  <a:cubicBezTo>
                    <a:pt x="23" y="0"/>
                    <a:pt x="25" y="1"/>
                    <a:pt x="26" y="2"/>
                  </a:cubicBezTo>
                  <a:lnTo>
                    <a:pt x="22" y="1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48" name="Freeform 47"/>
            <p:cNvSpPr>
              <a:spLocks/>
            </p:cNvSpPr>
            <p:nvPr/>
          </p:nvSpPr>
          <p:spPr bwMode="auto">
            <a:xfrm>
              <a:off x="7929133" y="4383257"/>
              <a:ext cx="98684" cy="93677"/>
            </a:xfrm>
            <a:custGeom>
              <a:avLst/>
              <a:gdLst>
                <a:gd name="T0" fmla="*/ 48 w 59"/>
                <a:gd name="T1" fmla="*/ 59 h 59"/>
                <a:gd name="T2" fmla="*/ 48 w 59"/>
                <a:gd name="T3" fmla="*/ 24 h 59"/>
                <a:gd name="T4" fmla="*/ 49 w 59"/>
                <a:gd name="T5" fmla="*/ 18 h 59"/>
                <a:gd name="T6" fmla="*/ 48 w 59"/>
                <a:gd name="T7" fmla="*/ 18 h 59"/>
                <a:gd name="T8" fmla="*/ 45 w 59"/>
                <a:gd name="T9" fmla="*/ 24 h 59"/>
                <a:gd name="T10" fmla="*/ 33 w 59"/>
                <a:gd name="T11" fmla="*/ 42 h 59"/>
                <a:gd name="T12" fmla="*/ 28 w 59"/>
                <a:gd name="T13" fmla="*/ 42 h 59"/>
                <a:gd name="T14" fmla="*/ 14 w 59"/>
                <a:gd name="T15" fmla="*/ 23 h 59"/>
                <a:gd name="T16" fmla="*/ 11 w 59"/>
                <a:gd name="T17" fmla="*/ 18 h 59"/>
                <a:gd name="T18" fmla="*/ 11 w 59"/>
                <a:gd name="T19" fmla="*/ 18 h 59"/>
                <a:gd name="T20" fmla="*/ 11 w 59"/>
                <a:gd name="T21" fmla="*/ 24 h 59"/>
                <a:gd name="T22" fmla="*/ 11 w 59"/>
                <a:gd name="T23" fmla="*/ 59 h 59"/>
                <a:gd name="T24" fmla="*/ 0 w 59"/>
                <a:gd name="T25" fmla="*/ 59 h 59"/>
                <a:gd name="T26" fmla="*/ 0 w 59"/>
                <a:gd name="T27" fmla="*/ 0 h 59"/>
                <a:gd name="T28" fmla="*/ 10 w 59"/>
                <a:gd name="T29" fmla="*/ 0 h 59"/>
                <a:gd name="T30" fmla="*/ 26 w 59"/>
                <a:gd name="T31" fmla="*/ 24 h 59"/>
                <a:gd name="T32" fmla="*/ 30 w 59"/>
                <a:gd name="T33" fmla="*/ 30 h 59"/>
                <a:gd name="T34" fmla="*/ 30 w 59"/>
                <a:gd name="T35" fmla="*/ 30 h 59"/>
                <a:gd name="T36" fmla="*/ 34 w 59"/>
                <a:gd name="T37" fmla="*/ 24 h 59"/>
                <a:gd name="T38" fmla="*/ 49 w 59"/>
                <a:gd name="T39" fmla="*/ 0 h 59"/>
                <a:gd name="T40" fmla="*/ 59 w 59"/>
                <a:gd name="T41" fmla="*/ 0 h 59"/>
                <a:gd name="T42" fmla="*/ 59 w 59"/>
                <a:gd name="T43" fmla="*/ 59 h 59"/>
                <a:gd name="T44" fmla="*/ 48 w 59"/>
                <a:gd name="T4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9" h="59">
                  <a:moveTo>
                    <a:pt x="48" y="59"/>
                  </a:moveTo>
                  <a:cubicBezTo>
                    <a:pt x="48" y="24"/>
                    <a:pt x="48" y="24"/>
                    <a:pt x="48" y="24"/>
                  </a:cubicBezTo>
                  <a:cubicBezTo>
                    <a:pt x="48" y="22"/>
                    <a:pt x="48" y="20"/>
                    <a:pt x="49" y="18"/>
                  </a:cubicBezTo>
                  <a:cubicBezTo>
                    <a:pt x="48" y="18"/>
                    <a:pt x="48" y="18"/>
                    <a:pt x="48" y="18"/>
                  </a:cubicBezTo>
                  <a:cubicBezTo>
                    <a:pt x="48" y="19"/>
                    <a:pt x="46" y="22"/>
                    <a:pt x="45" y="24"/>
                  </a:cubicBezTo>
                  <a:cubicBezTo>
                    <a:pt x="33" y="42"/>
                    <a:pt x="33" y="42"/>
                    <a:pt x="33" y="42"/>
                  </a:cubicBezTo>
                  <a:cubicBezTo>
                    <a:pt x="28" y="42"/>
                    <a:pt x="28" y="42"/>
                    <a:pt x="28" y="42"/>
                  </a:cubicBezTo>
                  <a:cubicBezTo>
                    <a:pt x="14" y="23"/>
                    <a:pt x="14" y="23"/>
                    <a:pt x="14" y="23"/>
                  </a:cubicBezTo>
                  <a:cubicBezTo>
                    <a:pt x="13" y="22"/>
                    <a:pt x="12" y="20"/>
                    <a:pt x="11" y="18"/>
                  </a:cubicBezTo>
                  <a:cubicBezTo>
                    <a:pt x="11" y="18"/>
                    <a:pt x="11" y="18"/>
                    <a:pt x="11" y="18"/>
                  </a:cubicBezTo>
                  <a:cubicBezTo>
                    <a:pt x="11" y="20"/>
                    <a:pt x="11" y="22"/>
                    <a:pt x="11" y="24"/>
                  </a:cubicBezTo>
                  <a:cubicBezTo>
                    <a:pt x="11" y="59"/>
                    <a:pt x="11" y="59"/>
                    <a:pt x="11" y="59"/>
                  </a:cubicBezTo>
                  <a:cubicBezTo>
                    <a:pt x="0" y="59"/>
                    <a:pt x="0" y="59"/>
                    <a:pt x="0" y="59"/>
                  </a:cubicBezTo>
                  <a:cubicBezTo>
                    <a:pt x="0" y="0"/>
                    <a:pt x="0" y="0"/>
                    <a:pt x="0" y="0"/>
                  </a:cubicBezTo>
                  <a:cubicBezTo>
                    <a:pt x="10" y="0"/>
                    <a:pt x="10" y="0"/>
                    <a:pt x="10" y="0"/>
                  </a:cubicBezTo>
                  <a:cubicBezTo>
                    <a:pt x="26" y="24"/>
                    <a:pt x="26" y="24"/>
                    <a:pt x="26" y="24"/>
                  </a:cubicBezTo>
                  <a:cubicBezTo>
                    <a:pt x="28" y="26"/>
                    <a:pt x="29" y="28"/>
                    <a:pt x="30" y="30"/>
                  </a:cubicBezTo>
                  <a:cubicBezTo>
                    <a:pt x="30" y="30"/>
                    <a:pt x="30" y="30"/>
                    <a:pt x="30" y="30"/>
                  </a:cubicBezTo>
                  <a:cubicBezTo>
                    <a:pt x="31" y="28"/>
                    <a:pt x="32" y="26"/>
                    <a:pt x="34" y="24"/>
                  </a:cubicBezTo>
                  <a:cubicBezTo>
                    <a:pt x="49" y="0"/>
                    <a:pt x="49" y="0"/>
                    <a:pt x="49" y="0"/>
                  </a:cubicBezTo>
                  <a:cubicBezTo>
                    <a:pt x="59" y="0"/>
                    <a:pt x="59" y="0"/>
                    <a:pt x="59" y="0"/>
                  </a:cubicBezTo>
                  <a:cubicBezTo>
                    <a:pt x="59" y="59"/>
                    <a:pt x="59" y="59"/>
                    <a:pt x="59" y="59"/>
                  </a:cubicBezTo>
                  <a:lnTo>
                    <a:pt x="48" y="5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49" name="Freeform 48"/>
            <p:cNvSpPr>
              <a:spLocks noEditPoints="1"/>
            </p:cNvSpPr>
            <p:nvPr/>
          </p:nvSpPr>
          <p:spPr bwMode="auto">
            <a:xfrm>
              <a:off x="8044539" y="4386372"/>
              <a:ext cx="21668" cy="92119"/>
            </a:xfrm>
            <a:custGeom>
              <a:avLst/>
              <a:gdLst>
                <a:gd name="T0" fmla="*/ 6 w 13"/>
                <a:gd name="T1" fmla="*/ 12 h 58"/>
                <a:gd name="T2" fmla="*/ 0 w 13"/>
                <a:gd name="T3" fmla="*/ 6 h 58"/>
                <a:gd name="T4" fmla="*/ 6 w 13"/>
                <a:gd name="T5" fmla="*/ 0 h 58"/>
                <a:gd name="T6" fmla="*/ 13 w 13"/>
                <a:gd name="T7" fmla="*/ 6 h 58"/>
                <a:gd name="T8" fmla="*/ 6 w 13"/>
                <a:gd name="T9" fmla="*/ 12 h 58"/>
                <a:gd name="T10" fmla="*/ 1 w 13"/>
                <a:gd name="T11" fmla="*/ 58 h 58"/>
                <a:gd name="T12" fmla="*/ 1 w 13"/>
                <a:gd name="T13" fmla="*/ 18 h 58"/>
                <a:gd name="T14" fmla="*/ 11 w 13"/>
                <a:gd name="T15" fmla="*/ 18 h 58"/>
                <a:gd name="T16" fmla="*/ 11 w 13"/>
                <a:gd name="T17" fmla="*/ 51 h 58"/>
                <a:gd name="T18" fmla="*/ 1 w 13"/>
                <a:gd name="T19"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58">
                  <a:moveTo>
                    <a:pt x="6" y="12"/>
                  </a:moveTo>
                  <a:cubicBezTo>
                    <a:pt x="3" y="12"/>
                    <a:pt x="0" y="9"/>
                    <a:pt x="0" y="6"/>
                  </a:cubicBezTo>
                  <a:cubicBezTo>
                    <a:pt x="0" y="2"/>
                    <a:pt x="3" y="0"/>
                    <a:pt x="6" y="0"/>
                  </a:cubicBezTo>
                  <a:cubicBezTo>
                    <a:pt x="10" y="0"/>
                    <a:pt x="13" y="2"/>
                    <a:pt x="13" y="6"/>
                  </a:cubicBezTo>
                  <a:cubicBezTo>
                    <a:pt x="13" y="9"/>
                    <a:pt x="10" y="12"/>
                    <a:pt x="6" y="12"/>
                  </a:cubicBezTo>
                  <a:close/>
                  <a:moveTo>
                    <a:pt x="1" y="58"/>
                  </a:moveTo>
                  <a:cubicBezTo>
                    <a:pt x="1" y="18"/>
                    <a:pt x="1" y="18"/>
                    <a:pt x="1" y="18"/>
                  </a:cubicBezTo>
                  <a:cubicBezTo>
                    <a:pt x="11" y="18"/>
                    <a:pt x="11" y="18"/>
                    <a:pt x="11" y="18"/>
                  </a:cubicBezTo>
                  <a:cubicBezTo>
                    <a:pt x="11" y="18"/>
                    <a:pt x="11" y="43"/>
                    <a:pt x="11" y="51"/>
                  </a:cubicBezTo>
                  <a:cubicBezTo>
                    <a:pt x="11" y="58"/>
                    <a:pt x="1" y="58"/>
                    <a:pt x="1" y="58"/>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50" name="Freeform 49"/>
            <p:cNvSpPr>
              <a:spLocks/>
            </p:cNvSpPr>
            <p:nvPr/>
          </p:nvSpPr>
          <p:spPr bwMode="auto">
            <a:xfrm>
              <a:off x="8224947" y="4510310"/>
              <a:ext cx="13425" cy="79436"/>
            </a:xfrm>
            <a:custGeom>
              <a:avLst/>
              <a:gdLst>
                <a:gd name="T0" fmla="*/ 8 w 8"/>
                <a:gd name="T1" fmla="*/ 44 h 50"/>
                <a:gd name="T2" fmla="*/ 0 w 8"/>
                <a:gd name="T3" fmla="*/ 50 h 50"/>
                <a:gd name="T4" fmla="*/ 0 w 8"/>
                <a:gd name="T5" fmla="*/ 0 h 50"/>
                <a:gd name="T6" fmla="*/ 8 w 8"/>
                <a:gd name="T7" fmla="*/ 0 h 50"/>
                <a:gd name="T8" fmla="*/ 8 w 8"/>
                <a:gd name="T9" fmla="*/ 44 h 50"/>
              </a:gdLst>
              <a:ahLst/>
              <a:cxnLst>
                <a:cxn ang="0">
                  <a:pos x="T0" y="T1"/>
                </a:cxn>
                <a:cxn ang="0">
                  <a:pos x="T2" y="T3"/>
                </a:cxn>
                <a:cxn ang="0">
                  <a:pos x="T4" y="T5"/>
                </a:cxn>
                <a:cxn ang="0">
                  <a:pos x="T6" y="T7"/>
                </a:cxn>
                <a:cxn ang="0">
                  <a:pos x="T8" y="T9"/>
                </a:cxn>
              </a:cxnLst>
              <a:rect l="0" t="0" r="r" b="b"/>
              <a:pathLst>
                <a:path w="8" h="50">
                  <a:moveTo>
                    <a:pt x="8" y="44"/>
                  </a:moveTo>
                  <a:cubicBezTo>
                    <a:pt x="8" y="50"/>
                    <a:pt x="0" y="50"/>
                    <a:pt x="0" y="50"/>
                  </a:cubicBezTo>
                  <a:cubicBezTo>
                    <a:pt x="0" y="0"/>
                    <a:pt x="0" y="0"/>
                    <a:pt x="0" y="0"/>
                  </a:cubicBezTo>
                  <a:cubicBezTo>
                    <a:pt x="8" y="0"/>
                    <a:pt x="8" y="0"/>
                    <a:pt x="8" y="0"/>
                  </a:cubicBezTo>
                  <a:cubicBezTo>
                    <a:pt x="8" y="0"/>
                    <a:pt x="8" y="37"/>
                    <a:pt x="8"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51"/>
            <p:cNvSpPr>
              <a:spLocks noEditPoints="1"/>
            </p:cNvSpPr>
            <p:nvPr/>
          </p:nvSpPr>
          <p:spPr bwMode="auto">
            <a:xfrm>
              <a:off x="8007562" y="4513425"/>
              <a:ext cx="18371" cy="76321"/>
            </a:xfrm>
            <a:custGeom>
              <a:avLst/>
              <a:gdLst>
                <a:gd name="T0" fmla="*/ 5 w 11"/>
                <a:gd name="T1" fmla="*/ 10 h 48"/>
                <a:gd name="T2" fmla="*/ 0 w 11"/>
                <a:gd name="T3" fmla="*/ 5 h 48"/>
                <a:gd name="T4" fmla="*/ 5 w 11"/>
                <a:gd name="T5" fmla="*/ 0 h 48"/>
                <a:gd name="T6" fmla="*/ 11 w 11"/>
                <a:gd name="T7" fmla="*/ 5 h 48"/>
                <a:gd name="T8" fmla="*/ 5 w 11"/>
                <a:gd name="T9" fmla="*/ 10 h 48"/>
                <a:gd name="T10" fmla="*/ 1 w 11"/>
                <a:gd name="T11" fmla="*/ 48 h 48"/>
                <a:gd name="T12" fmla="*/ 1 w 11"/>
                <a:gd name="T13" fmla="*/ 15 h 48"/>
                <a:gd name="T14" fmla="*/ 10 w 11"/>
                <a:gd name="T15" fmla="*/ 15 h 48"/>
                <a:gd name="T16" fmla="*/ 10 w 11"/>
                <a:gd name="T17" fmla="*/ 42 h 48"/>
                <a:gd name="T18" fmla="*/ 1 w 11"/>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48">
                  <a:moveTo>
                    <a:pt x="5" y="10"/>
                  </a:moveTo>
                  <a:cubicBezTo>
                    <a:pt x="3" y="10"/>
                    <a:pt x="0" y="7"/>
                    <a:pt x="0" y="5"/>
                  </a:cubicBezTo>
                  <a:cubicBezTo>
                    <a:pt x="0" y="2"/>
                    <a:pt x="3" y="0"/>
                    <a:pt x="5" y="0"/>
                  </a:cubicBezTo>
                  <a:cubicBezTo>
                    <a:pt x="8" y="0"/>
                    <a:pt x="11" y="2"/>
                    <a:pt x="11" y="5"/>
                  </a:cubicBezTo>
                  <a:cubicBezTo>
                    <a:pt x="11" y="7"/>
                    <a:pt x="8" y="10"/>
                    <a:pt x="5" y="10"/>
                  </a:cubicBezTo>
                  <a:close/>
                  <a:moveTo>
                    <a:pt x="1" y="48"/>
                  </a:moveTo>
                  <a:cubicBezTo>
                    <a:pt x="1" y="15"/>
                    <a:pt x="1" y="15"/>
                    <a:pt x="1" y="15"/>
                  </a:cubicBezTo>
                  <a:cubicBezTo>
                    <a:pt x="10" y="15"/>
                    <a:pt x="10" y="15"/>
                    <a:pt x="10" y="15"/>
                  </a:cubicBezTo>
                  <a:cubicBezTo>
                    <a:pt x="10" y="15"/>
                    <a:pt x="10" y="36"/>
                    <a:pt x="10" y="42"/>
                  </a:cubicBezTo>
                  <a:cubicBezTo>
                    <a:pt x="10" y="48"/>
                    <a:pt x="1" y="48"/>
                    <a:pt x="1"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52"/>
            <p:cNvSpPr>
              <a:spLocks noEditPoints="1"/>
            </p:cNvSpPr>
            <p:nvPr/>
          </p:nvSpPr>
          <p:spPr bwMode="auto">
            <a:xfrm>
              <a:off x="8094469" y="4513425"/>
              <a:ext cx="16722" cy="76321"/>
            </a:xfrm>
            <a:custGeom>
              <a:avLst/>
              <a:gdLst>
                <a:gd name="T0" fmla="*/ 5 w 10"/>
                <a:gd name="T1" fmla="*/ 10 h 48"/>
                <a:gd name="T2" fmla="*/ 0 w 10"/>
                <a:gd name="T3" fmla="*/ 5 h 48"/>
                <a:gd name="T4" fmla="*/ 5 w 10"/>
                <a:gd name="T5" fmla="*/ 0 h 48"/>
                <a:gd name="T6" fmla="*/ 10 w 10"/>
                <a:gd name="T7" fmla="*/ 5 h 48"/>
                <a:gd name="T8" fmla="*/ 5 w 10"/>
                <a:gd name="T9" fmla="*/ 10 h 48"/>
                <a:gd name="T10" fmla="*/ 1 w 10"/>
                <a:gd name="T11" fmla="*/ 48 h 48"/>
                <a:gd name="T12" fmla="*/ 1 w 10"/>
                <a:gd name="T13" fmla="*/ 15 h 48"/>
                <a:gd name="T14" fmla="*/ 9 w 10"/>
                <a:gd name="T15" fmla="*/ 15 h 48"/>
                <a:gd name="T16" fmla="*/ 9 w 10"/>
                <a:gd name="T17" fmla="*/ 42 h 48"/>
                <a:gd name="T18" fmla="*/ 1 w 10"/>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48">
                  <a:moveTo>
                    <a:pt x="5" y="10"/>
                  </a:moveTo>
                  <a:cubicBezTo>
                    <a:pt x="2" y="10"/>
                    <a:pt x="0" y="8"/>
                    <a:pt x="0" y="5"/>
                  </a:cubicBezTo>
                  <a:cubicBezTo>
                    <a:pt x="0" y="2"/>
                    <a:pt x="2" y="0"/>
                    <a:pt x="5" y="0"/>
                  </a:cubicBezTo>
                  <a:cubicBezTo>
                    <a:pt x="8" y="0"/>
                    <a:pt x="10" y="2"/>
                    <a:pt x="10" y="5"/>
                  </a:cubicBezTo>
                  <a:cubicBezTo>
                    <a:pt x="10" y="8"/>
                    <a:pt x="8" y="10"/>
                    <a:pt x="5" y="10"/>
                  </a:cubicBezTo>
                  <a:close/>
                  <a:moveTo>
                    <a:pt x="1" y="48"/>
                  </a:moveTo>
                  <a:cubicBezTo>
                    <a:pt x="1" y="15"/>
                    <a:pt x="1" y="15"/>
                    <a:pt x="1" y="15"/>
                  </a:cubicBezTo>
                  <a:cubicBezTo>
                    <a:pt x="9" y="15"/>
                    <a:pt x="9" y="15"/>
                    <a:pt x="9" y="15"/>
                  </a:cubicBezTo>
                  <a:cubicBezTo>
                    <a:pt x="9" y="15"/>
                    <a:pt x="9" y="36"/>
                    <a:pt x="9" y="42"/>
                  </a:cubicBezTo>
                  <a:cubicBezTo>
                    <a:pt x="9" y="48"/>
                    <a:pt x="1" y="48"/>
                    <a:pt x="1"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53"/>
            <p:cNvSpPr>
              <a:spLocks noEditPoints="1"/>
            </p:cNvSpPr>
            <p:nvPr/>
          </p:nvSpPr>
          <p:spPr bwMode="auto">
            <a:xfrm>
              <a:off x="7929133" y="4510310"/>
              <a:ext cx="70185" cy="77879"/>
            </a:xfrm>
            <a:custGeom>
              <a:avLst/>
              <a:gdLst>
                <a:gd name="T0" fmla="*/ 0 w 42"/>
                <a:gd name="T1" fmla="*/ 0 h 49"/>
                <a:gd name="T2" fmla="*/ 15 w 42"/>
                <a:gd name="T3" fmla="*/ 0 h 49"/>
                <a:gd name="T4" fmla="*/ 42 w 42"/>
                <a:gd name="T5" fmla="*/ 25 h 49"/>
                <a:gd name="T6" fmla="*/ 14 w 42"/>
                <a:gd name="T7" fmla="*/ 49 h 49"/>
                <a:gd name="T8" fmla="*/ 0 w 42"/>
                <a:gd name="T9" fmla="*/ 49 h 49"/>
                <a:gd name="T10" fmla="*/ 0 w 42"/>
                <a:gd name="T11" fmla="*/ 0 h 49"/>
                <a:gd name="T12" fmla="*/ 14 w 42"/>
                <a:gd name="T13" fmla="*/ 42 h 49"/>
                <a:gd name="T14" fmla="*/ 32 w 42"/>
                <a:gd name="T15" fmla="*/ 25 h 49"/>
                <a:gd name="T16" fmla="*/ 14 w 42"/>
                <a:gd name="T17" fmla="*/ 8 h 49"/>
                <a:gd name="T18" fmla="*/ 8 w 42"/>
                <a:gd name="T19" fmla="*/ 8 h 49"/>
                <a:gd name="T20" fmla="*/ 8 w 42"/>
                <a:gd name="T21" fmla="*/ 42 h 49"/>
                <a:gd name="T22" fmla="*/ 14 w 42"/>
                <a:gd name="T23" fmla="*/ 4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49">
                  <a:moveTo>
                    <a:pt x="0" y="0"/>
                  </a:moveTo>
                  <a:cubicBezTo>
                    <a:pt x="15" y="0"/>
                    <a:pt x="15" y="0"/>
                    <a:pt x="15" y="0"/>
                  </a:cubicBezTo>
                  <a:cubicBezTo>
                    <a:pt x="32" y="0"/>
                    <a:pt x="42" y="10"/>
                    <a:pt x="42" y="25"/>
                  </a:cubicBezTo>
                  <a:cubicBezTo>
                    <a:pt x="42" y="40"/>
                    <a:pt x="31" y="49"/>
                    <a:pt x="14" y="49"/>
                  </a:cubicBezTo>
                  <a:cubicBezTo>
                    <a:pt x="0" y="49"/>
                    <a:pt x="0" y="49"/>
                    <a:pt x="0" y="49"/>
                  </a:cubicBezTo>
                  <a:lnTo>
                    <a:pt x="0" y="0"/>
                  </a:lnTo>
                  <a:close/>
                  <a:moveTo>
                    <a:pt x="14" y="42"/>
                  </a:moveTo>
                  <a:cubicBezTo>
                    <a:pt x="27" y="42"/>
                    <a:pt x="32" y="34"/>
                    <a:pt x="32" y="25"/>
                  </a:cubicBezTo>
                  <a:cubicBezTo>
                    <a:pt x="32" y="15"/>
                    <a:pt x="26" y="8"/>
                    <a:pt x="14" y="8"/>
                  </a:cubicBezTo>
                  <a:cubicBezTo>
                    <a:pt x="8" y="8"/>
                    <a:pt x="8" y="8"/>
                    <a:pt x="8" y="8"/>
                  </a:cubicBezTo>
                  <a:cubicBezTo>
                    <a:pt x="8" y="42"/>
                    <a:pt x="8" y="42"/>
                    <a:pt x="8" y="42"/>
                  </a:cubicBezTo>
                  <a:lnTo>
                    <a:pt x="1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54"/>
            <p:cNvSpPr>
              <a:spLocks noEditPoints="1"/>
            </p:cNvSpPr>
            <p:nvPr/>
          </p:nvSpPr>
          <p:spPr bwMode="auto">
            <a:xfrm>
              <a:off x="8031114" y="4529223"/>
              <a:ext cx="58409" cy="87447"/>
            </a:xfrm>
            <a:custGeom>
              <a:avLst/>
              <a:gdLst>
                <a:gd name="T0" fmla="*/ 0 w 35"/>
                <a:gd name="T1" fmla="*/ 45 h 55"/>
                <a:gd name="T2" fmla="*/ 6 w 35"/>
                <a:gd name="T3" fmla="*/ 37 h 55"/>
                <a:gd name="T4" fmla="*/ 4 w 35"/>
                <a:gd name="T5" fmla="*/ 32 h 55"/>
                <a:gd name="T6" fmla="*/ 8 w 35"/>
                <a:gd name="T7" fmla="*/ 26 h 55"/>
                <a:gd name="T8" fmla="*/ 2 w 35"/>
                <a:gd name="T9" fmla="*/ 15 h 55"/>
                <a:gd name="T10" fmla="*/ 16 w 35"/>
                <a:gd name="T11" fmla="*/ 2 h 55"/>
                <a:gd name="T12" fmla="*/ 23 w 35"/>
                <a:gd name="T13" fmla="*/ 3 h 55"/>
                <a:gd name="T14" fmla="*/ 24 w 35"/>
                <a:gd name="T15" fmla="*/ 3 h 55"/>
                <a:gd name="T16" fmla="*/ 33 w 35"/>
                <a:gd name="T17" fmla="*/ 0 h 55"/>
                <a:gd name="T18" fmla="*/ 35 w 35"/>
                <a:gd name="T19" fmla="*/ 0 h 55"/>
                <a:gd name="T20" fmla="*/ 33 w 35"/>
                <a:gd name="T21" fmla="*/ 7 h 55"/>
                <a:gd name="T22" fmla="*/ 31 w 35"/>
                <a:gd name="T23" fmla="*/ 6 h 55"/>
                <a:gd name="T24" fmla="*/ 28 w 35"/>
                <a:gd name="T25" fmla="*/ 7 h 55"/>
                <a:gd name="T26" fmla="*/ 31 w 35"/>
                <a:gd name="T27" fmla="*/ 15 h 55"/>
                <a:gd name="T28" fmla="*/ 17 w 35"/>
                <a:gd name="T29" fmla="*/ 28 h 55"/>
                <a:gd name="T30" fmla="*/ 12 w 35"/>
                <a:gd name="T31" fmla="*/ 28 h 55"/>
                <a:gd name="T32" fmla="*/ 12 w 35"/>
                <a:gd name="T33" fmla="*/ 30 h 55"/>
                <a:gd name="T34" fmla="*/ 35 w 35"/>
                <a:gd name="T35" fmla="*/ 44 h 55"/>
                <a:gd name="T36" fmla="*/ 16 w 35"/>
                <a:gd name="T37" fmla="*/ 55 h 55"/>
                <a:gd name="T38" fmla="*/ 0 w 35"/>
                <a:gd name="T39" fmla="*/ 45 h 55"/>
                <a:gd name="T40" fmla="*/ 26 w 35"/>
                <a:gd name="T41" fmla="*/ 45 h 55"/>
                <a:gd name="T42" fmla="*/ 10 w 35"/>
                <a:gd name="T43" fmla="*/ 39 h 55"/>
                <a:gd name="T44" fmla="*/ 8 w 35"/>
                <a:gd name="T45" fmla="*/ 44 h 55"/>
                <a:gd name="T46" fmla="*/ 17 w 35"/>
                <a:gd name="T47" fmla="*/ 49 h 55"/>
                <a:gd name="T48" fmla="*/ 26 w 35"/>
                <a:gd name="T49" fmla="*/ 45 h 55"/>
                <a:gd name="T50" fmla="*/ 23 w 35"/>
                <a:gd name="T51" fmla="*/ 15 h 55"/>
                <a:gd name="T52" fmla="*/ 17 w 35"/>
                <a:gd name="T53" fmla="*/ 9 h 55"/>
                <a:gd name="T54" fmla="*/ 10 w 35"/>
                <a:gd name="T55" fmla="*/ 15 h 55"/>
                <a:gd name="T56" fmla="*/ 17 w 35"/>
                <a:gd name="T57" fmla="*/ 22 h 55"/>
                <a:gd name="T58" fmla="*/ 23 w 35"/>
                <a:gd name="T59" fmla="*/ 1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 h="55">
                  <a:moveTo>
                    <a:pt x="0" y="45"/>
                  </a:moveTo>
                  <a:cubicBezTo>
                    <a:pt x="0" y="41"/>
                    <a:pt x="2" y="38"/>
                    <a:pt x="6" y="37"/>
                  </a:cubicBezTo>
                  <a:cubicBezTo>
                    <a:pt x="5" y="36"/>
                    <a:pt x="4" y="34"/>
                    <a:pt x="4" y="32"/>
                  </a:cubicBezTo>
                  <a:cubicBezTo>
                    <a:pt x="4" y="30"/>
                    <a:pt x="5" y="28"/>
                    <a:pt x="8" y="26"/>
                  </a:cubicBezTo>
                  <a:cubicBezTo>
                    <a:pt x="4" y="24"/>
                    <a:pt x="2" y="19"/>
                    <a:pt x="2" y="15"/>
                  </a:cubicBezTo>
                  <a:cubicBezTo>
                    <a:pt x="2" y="8"/>
                    <a:pt x="7" y="2"/>
                    <a:pt x="16" y="2"/>
                  </a:cubicBezTo>
                  <a:cubicBezTo>
                    <a:pt x="20" y="2"/>
                    <a:pt x="22" y="3"/>
                    <a:pt x="23" y="3"/>
                  </a:cubicBezTo>
                  <a:cubicBezTo>
                    <a:pt x="24" y="4"/>
                    <a:pt x="24" y="3"/>
                    <a:pt x="24" y="3"/>
                  </a:cubicBezTo>
                  <a:cubicBezTo>
                    <a:pt x="26" y="1"/>
                    <a:pt x="28" y="0"/>
                    <a:pt x="33" y="0"/>
                  </a:cubicBezTo>
                  <a:cubicBezTo>
                    <a:pt x="34" y="0"/>
                    <a:pt x="35" y="0"/>
                    <a:pt x="35" y="0"/>
                  </a:cubicBezTo>
                  <a:cubicBezTo>
                    <a:pt x="33" y="7"/>
                    <a:pt x="33" y="7"/>
                    <a:pt x="33" y="7"/>
                  </a:cubicBezTo>
                  <a:cubicBezTo>
                    <a:pt x="33" y="7"/>
                    <a:pt x="32" y="6"/>
                    <a:pt x="31" y="6"/>
                  </a:cubicBezTo>
                  <a:cubicBezTo>
                    <a:pt x="30" y="6"/>
                    <a:pt x="29" y="7"/>
                    <a:pt x="28" y="7"/>
                  </a:cubicBezTo>
                  <a:cubicBezTo>
                    <a:pt x="30" y="9"/>
                    <a:pt x="31" y="12"/>
                    <a:pt x="31" y="15"/>
                  </a:cubicBezTo>
                  <a:cubicBezTo>
                    <a:pt x="31" y="23"/>
                    <a:pt x="25" y="28"/>
                    <a:pt x="17" y="28"/>
                  </a:cubicBezTo>
                  <a:cubicBezTo>
                    <a:pt x="15" y="28"/>
                    <a:pt x="14" y="28"/>
                    <a:pt x="12" y="28"/>
                  </a:cubicBezTo>
                  <a:cubicBezTo>
                    <a:pt x="12" y="29"/>
                    <a:pt x="12" y="30"/>
                    <a:pt x="12" y="30"/>
                  </a:cubicBezTo>
                  <a:cubicBezTo>
                    <a:pt x="12" y="37"/>
                    <a:pt x="35" y="31"/>
                    <a:pt x="35" y="44"/>
                  </a:cubicBezTo>
                  <a:cubicBezTo>
                    <a:pt x="35" y="50"/>
                    <a:pt x="28" y="55"/>
                    <a:pt x="16" y="55"/>
                  </a:cubicBezTo>
                  <a:cubicBezTo>
                    <a:pt x="6" y="55"/>
                    <a:pt x="0" y="51"/>
                    <a:pt x="0" y="45"/>
                  </a:cubicBezTo>
                  <a:close/>
                  <a:moveTo>
                    <a:pt x="26" y="45"/>
                  </a:moveTo>
                  <a:cubicBezTo>
                    <a:pt x="26" y="40"/>
                    <a:pt x="15" y="41"/>
                    <a:pt x="10" y="39"/>
                  </a:cubicBezTo>
                  <a:cubicBezTo>
                    <a:pt x="9" y="40"/>
                    <a:pt x="8" y="41"/>
                    <a:pt x="8" y="44"/>
                  </a:cubicBezTo>
                  <a:cubicBezTo>
                    <a:pt x="8" y="47"/>
                    <a:pt x="11" y="49"/>
                    <a:pt x="17" y="49"/>
                  </a:cubicBezTo>
                  <a:cubicBezTo>
                    <a:pt x="23" y="49"/>
                    <a:pt x="26" y="47"/>
                    <a:pt x="26" y="45"/>
                  </a:cubicBezTo>
                  <a:close/>
                  <a:moveTo>
                    <a:pt x="23" y="15"/>
                  </a:moveTo>
                  <a:cubicBezTo>
                    <a:pt x="23" y="12"/>
                    <a:pt x="20" y="9"/>
                    <a:pt x="17" y="9"/>
                  </a:cubicBezTo>
                  <a:cubicBezTo>
                    <a:pt x="13" y="9"/>
                    <a:pt x="10" y="11"/>
                    <a:pt x="10" y="15"/>
                  </a:cubicBezTo>
                  <a:cubicBezTo>
                    <a:pt x="10" y="19"/>
                    <a:pt x="13" y="22"/>
                    <a:pt x="17" y="22"/>
                  </a:cubicBezTo>
                  <a:cubicBezTo>
                    <a:pt x="20" y="22"/>
                    <a:pt x="23" y="19"/>
                    <a:pt x="23"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65"/>
            <p:cNvSpPr>
              <a:spLocks/>
            </p:cNvSpPr>
            <p:nvPr/>
          </p:nvSpPr>
          <p:spPr bwMode="auto">
            <a:xfrm>
              <a:off x="8116372" y="4516540"/>
              <a:ext cx="44984" cy="74763"/>
            </a:xfrm>
            <a:custGeom>
              <a:avLst/>
              <a:gdLst>
                <a:gd name="T0" fmla="*/ 7 w 27"/>
                <a:gd name="T1" fmla="*/ 37 h 47"/>
                <a:gd name="T2" fmla="*/ 7 w 27"/>
                <a:gd name="T3" fmla="*/ 18 h 47"/>
                <a:gd name="T4" fmla="*/ 0 w 27"/>
                <a:gd name="T5" fmla="*/ 18 h 47"/>
                <a:gd name="T6" fmla="*/ 0 w 27"/>
                <a:gd name="T7" fmla="*/ 11 h 47"/>
                <a:gd name="T8" fmla="*/ 7 w 27"/>
                <a:gd name="T9" fmla="*/ 11 h 47"/>
                <a:gd name="T10" fmla="*/ 7 w 27"/>
                <a:gd name="T11" fmla="*/ 3 h 47"/>
                <a:gd name="T12" fmla="*/ 15 w 27"/>
                <a:gd name="T13" fmla="*/ 0 h 47"/>
                <a:gd name="T14" fmla="*/ 15 w 27"/>
                <a:gd name="T15" fmla="*/ 11 h 47"/>
                <a:gd name="T16" fmla="*/ 26 w 27"/>
                <a:gd name="T17" fmla="*/ 11 h 47"/>
                <a:gd name="T18" fmla="*/ 24 w 27"/>
                <a:gd name="T19" fmla="*/ 18 h 47"/>
                <a:gd name="T20" fmla="*/ 15 w 27"/>
                <a:gd name="T21" fmla="*/ 18 h 47"/>
                <a:gd name="T22" fmla="*/ 15 w 27"/>
                <a:gd name="T23" fmla="*/ 35 h 47"/>
                <a:gd name="T24" fmla="*/ 19 w 27"/>
                <a:gd name="T25" fmla="*/ 40 h 47"/>
                <a:gd name="T26" fmla="*/ 24 w 27"/>
                <a:gd name="T27" fmla="*/ 38 h 47"/>
                <a:gd name="T28" fmla="*/ 27 w 27"/>
                <a:gd name="T29" fmla="*/ 44 h 47"/>
                <a:gd name="T30" fmla="*/ 17 w 27"/>
                <a:gd name="T31" fmla="*/ 47 h 47"/>
                <a:gd name="T32" fmla="*/ 7 w 27"/>
                <a:gd name="T33" fmla="*/ 3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 h="47">
                  <a:moveTo>
                    <a:pt x="7" y="37"/>
                  </a:moveTo>
                  <a:cubicBezTo>
                    <a:pt x="7" y="18"/>
                    <a:pt x="7" y="18"/>
                    <a:pt x="7" y="18"/>
                  </a:cubicBezTo>
                  <a:cubicBezTo>
                    <a:pt x="0" y="18"/>
                    <a:pt x="0" y="18"/>
                    <a:pt x="0" y="18"/>
                  </a:cubicBezTo>
                  <a:cubicBezTo>
                    <a:pt x="0" y="11"/>
                    <a:pt x="0" y="11"/>
                    <a:pt x="0" y="11"/>
                  </a:cubicBezTo>
                  <a:cubicBezTo>
                    <a:pt x="7" y="11"/>
                    <a:pt x="7" y="11"/>
                    <a:pt x="7" y="11"/>
                  </a:cubicBezTo>
                  <a:cubicBezTo>
                    <a:pt x="7" y="3"/>
                    <a:pt x="7" y="3"/>
                    <a:pt x="7" y="3"/>
                  </a:cubicBezTo>
                  <a:cubicBezTo>
                    <a:pt x="15" y="0"/>
                    <a:pt x="15" y="0"/>
                    <a:pt x="15" y="0"/>
                  </a:cubicBezTo>
                  <a:cubicBezTo>
                    <a:pt x="15" y="11"/>
                    <a:pt x="15" y="11"/>
                    <a:pt x="15" y="11"/>
                  </a:cubicBezTo>
                  <a:cubicBezTo>
                    <a:pt x="26" y="11"/>
                    <a:pt x="26" y="11"/>
                    <a:pt x="26" y="11"/>
                  </a:cubicBezTo>
                  <a:cubicBezTo>
                    <a:pt x="24" y="18"/>
                    <a:pt x="24" y="18"/>
                    <a:pt x="24" y="18"/>
                  </a:cubicBezTo>
                  <a:cubicBezTo>
                    <a:pt x="15" y="18"/>
                    <a:pt x="15" y="18"/>
                    <a:pt x="15" y="18"/>
                  </a:cubicBezTo>
                  <a:cubicBezTo>
                    <a:pt x="15" y="35"/>
                    <a:pt x="15" y="35"/>
                    <a:pt x="15" y="35"/>
                  </a:cubicBezTo>
                  <a:cubicBezTo>
                    <a:pt x="15" y="38"/>
                    <a:pt x="17" y="40"/>
                    <a:pt x="19" y="40"/>
                  </a:cubicBezTo>
                  <a:cubicBezTo>
                    <a:pt x="21" y="40"/>
                    <a:pt x="23" y="39"/>
                    <a:pt x="24" y="38"/>
                  </a:cubicBezTo>
                  <a:cubicBezTo>
                    <a:pt x="27" y="44"/>
                    <a:pt x="27" y="44"/>
                    <a:pt x="27" y="44"/>
                  </a:cubicBezTo>
                  <a:cubicBezTo>
                    <a:pt x="24" y="46"/>
                    <a:pt x="20" y="47"/>
                    <a:pt x="17" y="47"/>
                  </a:cubicBezTo>
                  <a:cubicBezTo>
                    <a:pt x="10" y="47"/>
                    <a:pt x="7" y="43"/>
                    <a:pt x="7"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67"/>
            <p:cNvSpPr>
              <a:spLocks noEditPoints="1"/>
            </p:cNvSpPr>
            <p:nvPr/>
          </p:nvSpPr>
          <p:spPr bwMode="auto">
            <a:xfrm>
              <a:off x="8163005" y="4532562"/>
              <a:ext cx="51814" cy="58743"/>
            </a:xfrm>
            <a:custGeom>
              <a:avLst/>
              <a:gdLst>
                <a:gd name="T0" fmla="*/ 22 w 31"/>
                <a:gd name="T1" fmla="*/ 33 h 37"/>
                <a:gd name="T2" fmla="*/ 12 w 31"/>
                <a:gd name="T3" fmla="*/ 37 h 37"/>
                <a:gd name="T4" fmla="*/ 0 w 31"/>
                <a:gd name="T5" fmla="*/ 26 h 37"/>
                <a:gd name="T6" fmla="*/ 6 w 31"/>
                <a:gd name="T7" fmla="*/ 16 h 37"/>
                <a:gd name="T8" fmla="*/ 15 w 31"/>
                <a:gd name="T9" fmla="*/ 14 h 37"/>
                <a:gd name="T10" fmla="*/ 21 w 31"/>
                <a:gd name="T11" fmla="*/ 14 h 37"/>
                <a:gd name="T12" fmla="*/ 21 w 31"/>
                <a:gd name="T13" fmla="*/ 13 h 37"/>
                <a:gd name="T14" fmla="*/ 15 w 31"/>
                <a:gd name="T15" fmla="*/ 7 h 37"/>
                <a:gd name="T16" fmla="*/ 5 w 31"/>
                <a:gd name="T17" fmla="*/ 9 h 37"/>
                <a:gd name="T18" fmla="*/ 3 w 31"/>
                <a:gd name="T19" fmla="*/ 4 h 37"/>
                <a:gd name="T20" fmla="*/ 16 w 31"/>
                <a:gd name="T21" fmla="*/ 0 h 37"/>
                <a:gd name="T22" fmla="*/ 30 w 31"/>
                <a:gd name="T23" fmla="*/ 13 h 37"/>
                <a:gd name="T24" fmla="*/ 30 w 31"/>
                <a:gd name="T25" fmla="*/ 27 h 37"/>
                <a:gd name="T26" fmla="*/ 31 w 31"/>
                <a:gd name="T27" fmla="*/ 36 h 37"/>
                <a:gd name="T28" fmla="*/ 24 w 31"/>
                <a:gd name="T29" fmla="*/ 36 h 37"/>
                <a:gd name="T30" fmla="*/ 22 w 31"/>
                <a:gd name="T31" fmla="*/ 33 h 37"/>
                <a:gd name="T32" fmla="*/ 17 w 31"/>
                <a:gd name="T33" fmla="*/ 20 h 37"/>
                <a:gd name="T34" fmla="*/ 12 w 31"/>
                <a:gd name="T35" fmla="*/ 21 h 37"/>
                <a:gd name="T36" fmla="*/ 9 w 31"/>
                <a:gd name="T37" fmla="*/ 25 h 37"/>
                <a:gd name="T38" fmla="*/ 15 w 31"/>
                <a:gd name="T39" fmla="*/ 30 h 37"/>
                <a:gd name="T40" fmla="*/ 21 w 31"/>
                <a:gd name="T41" fmla="*/ 27 h 37"/>
                <a:gd name="T42" fmla="*/ 21 w 31"/>
                <a:gd name="T43" fmla="*/ 20 h 37"/>
                <a:gd name="T44" fmla="*/ 17 w 31"/>
                <a:gd name="T45"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7">
                  <a:moveTo>
                    <a:pt x="22" y="33"/>
                  </a:moveTo>
                  <a:cubicBezTo>
                    <a:pt x="20" y="35"/>
                    <a:pt x="16" y="37"/>
                    <a:pt x="12" y="37"/>
                  </a:cubicBezTo>
                  <a:cubicBezTo>
                    <a:pt x="5" y="37"/>
                    <a:pt x="0" y="32"/>
                    <a:pt x="0" y="26"/>
                  </a:cubicBezTo>
                  <a:cubicBezTo>
                    <a:pt x="0" y="21"/>
                    <a:pt x="3" y="18"/>
                    <a:pt x="6" y="16"/>
                  </a:cubicBezTo>
                  <a:cubicBezTo>
                    <a:pt x="9" y="15"/>
                    <a:pt x="12" y="14"/>
                    <a:pt x="15" y="14"/>
                  </a:cubicBezTo>
                  <a:cubicBezTo>
                    <a:pt x="21" y="14"/>
                    <a:pt x="21" y="14"/>
                    <a:pt x="21" y="14"/>
                  </a:cubicBezTo>
                  <a:cubicBezTo>
                    <a:pt x="21" y="13"/>
                    <a:pt x="21" y="13"/>
                    <a:pt x="21" y="13"/>
                  </a:cubicBezTo>
                  <a:cubicBezTo>
                    <a:pt x="21" y="9"/>
                    <a:pt x="19" y="7"/>
                    <a:pt x="15" y="7"/>
                  </a:cubicBezTo>
                  <a:cubicBezTo>
                    <a:pt x="11" y="7"/>
                    <a:pt x="8" y="8"/>
                    <a:pt x="5" y="9"/>
                  </a:cubicBezTo>
                  <a:cubicBezTo>
                    <a:pt x="3" y="4"/>
                    <a:pt x="3" y="4"/>
                    <a:pt x="3" y="4"/>
                  </a:cubicBezTo>
                  <a:cubicBezTo>
                    <a:pt x="7" y="1"/>
                    <a:pt x="11" y="0"/>
                    <a:pt x="16" y="0"/>
                  </a:cubicBezTo>
                  <a:cubicBezTo>
                    <a:pt x="26" y="0"/>
                    <a:pt x="30" y="4"/>
                    <a:pt x="30" y="13"/>
                  </a:cubicBezTo>
                  <a:cubicBezTo>
                    <a:pt x="30" y="27"/>
                    <a:pt x="30" y="27"/>
                    <a:pt x="30" y="27"/>
                  </a:cubicBezTo>
                  <a:cubicBezTo>
                    <a:pt x="30" y="31"/>
                    <a:pt x="30" y="34"/>
                    <a:pt x="31" y="36"/>
                  </a:cubicBezTo>
                  <a:cubicBezTo>
                    <a:pt x="24" y="36"/>
                    <a:pt x="24" y="36"/>
                    <a:pt x="24" y="36"/>
                  </a:cubicBezTo>
                  <a:lnTo>
                    <a:pt x="22" y="33"/>
                  </a:lnTo>
                  <a:close/>
                  <a:moveTo>
                    <a:pt x="17" y="20"/>
                  </a:moveTo>
                  <a:cubicBezTo>
                    <a:pt x="14" y="20"/>
                    <a:pt x="13" y="20"/>
                    <a:pt x="12" y="21"/>
                  </a:cubicBezTo>
                  <a:cubicBezTo>
                    <a:pt x="10" y="22"/>
                    <a:pt x="9" y="23"/>
                    <a:pt x="9" y="25"/>
                  </a:cubicBezTo>
                  <a:cubicBezTo>
                    <a:pt x="9" y="28"/>
                    <a:pt x="11" y="30"/>
                    <a:pt x="15" y="30"/>
                  </a:cubicBezTo>
                  <a:cubicBezTo>
                    <a:pt x="18" y="30"/>
                    <a:pt x="20" y="28"/>
                    <a:pt x="21" y="27"/>
                  </a:cubicBezTo>
                  <a:cubicBezTo>
                    <a:pt x="21" y="20"/>
                    <a:pt x="21" y="20"/>
                    <a:pt x="21" y="20"/>
                  </a:cubicBezTo>
                  <a:lnTo>
                    <a:pt x="17"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9" name="Text Placeholder 2"/>
          <p:cNvSpPr>
            <a:spLocks noGrp="1"/>
          </p:cNvSpPr>
          <p:nvPr>
            <p:ph type="body" sz="quarter" idx="25" hasCustomPrompt="1"/>
          </p:nvPr>
        </p:nvSpPr>
        <p:spPr>
          <a:xfrm>
            <a:off x="4727636" y="4807465"/>
            <a:ext cx="1160462" cy="341313"/>
          </a:xfrm>
          <a:prstGeom prst="rect">
            <a:avLst/>
          </a:prstGeom>
        </p:spPr>
        <p:txBody>
          <a:bodyPr anchor="ctr"/>
          <a:lstStyle>
            <a:lvl1pPr marL="0" indent="0" algn="ctr">
              <a:buNone/>
              <a:defRPr sz="800">
                <a:solidFill>
                  <a:schemeClr val="bg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grpSp>
        <p:nvGrpSpPr>
          <p:cNvPr id="70" name="Group 69"/>
          <p:cNvGrpSpPr/>
          <p:nvPr userDrawn="1"/>
        </p:nvGrpSpPr>
        <p:grpSpPr>
          <a:xfrm>
            <a:off x="7686461" y="4906654"/>
            <a:ext cx="1124815" cy="151147"/>
            <a:chOff x="7686461" y="4581466"/>
            <a:chExt cx="1124815" cy="151147"/>
          </a:xfrm>
          <a:solidFill>
            <a:schemeClr val="bg1"/>
          </a:solidFill>
        </p:grpSpPr>
        <p:sp>
          <p:nvSpPr>
            <p:cNvPr id="71"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72"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73"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74"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75"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76"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77"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78"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79"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0"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1"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2"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3"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4"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5"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grpSp>
      <p:sp>
        <p:nvSpPr>
          <p:cNvPr id="51"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solidFill>
                  <a:schemeClr val="tx1">
                    <a:lumMod val="50000"/>
                    <a:lumOff val="50000"/>
                  </a:schemeClr>
                </a:solidFill>
                <a:latin typeface="+mn-lt"/>
              </a:rPr>
              <a:t>Private and Confidental</a:t>
            </a:r>
            <a:endParaRPr lang="pt-BR" sz="500" dirty="0">
              <a:solidFill>
                <a:schemeClr val="tx1">
                  <a:lumMod val="50000"/>
                  <a:lumOff val="50000"/>
                </a:schemeClr>
              </a:solidFill>
              <a:latin typeface="+mn-lt"/>
            </a:endParaRPr>
          </a:p>
        </p:txBody>
      </p:sp>
    </p:spTree>
    <p:extLst>
      <p:ext uri="{BB962C8B-B14F-4D97-AF65-F5344CB8AC3E}">
        <p14:creationId xmlns:p14="http://schemas.microsoft.com/office/powerpoint/2010/main" val="4278095660"/>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_V_MB_Leaf">
    <p:bg>
      <p:bgPr>
        <a:solidFill>
          <a:schemeClr val="bg1"/>
        </a:solidFill>
        <a:effectLst/>
      </p:bgPr>
    </p:bg>
    <p:spTree>
      <p:nvGrpSpPr>
        <p:cNvPr id="1" name=""/>
        <p:cNvGrpSpPr/>
        <p:nvPr/>
      </p:nvGrpSpPr>
      <p:grpSpPr>
        <a:xfrm>
          <a:off x="0" y="0"/>
          <a:ext cx="0" cy="0"/>
          <a:chOff x="0" y="0"/>
          <a:chExt cx="0" cy="0"/>
        </a:xfrm>
      </p:grpSpPr>
      <p:sp>
        <p:nvSpPr>
          <p:cNvPr id="31" name="Rectangle 30"/>
          <p:cNvSpPr/>
          <p:nvPr userDrawn="1"/>
        </p:nvSpPr>
        <p:spPr>
          <a:xfrm>
            <a:off x="0" y="0"/>
            <a:ext cx="9144000" cy="5148263"/>
          </a:xfrm>
          <a:prstGeom prst="rect">
            <a:avLst/>
          </a:prstGeom>
          <a:solidFill>
            <a:schemeClr val="tx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en-GB" sz="1050" smtClean="0">
              <a:solidFill>
                <a:schemeClr val="bg1"/>
              </a:solidFill>
              <a:latin typeface="Arial" panose="020B0604020202020204" pitchFamily="34" charset="0"/>
              <a:cs typeface="Arial" panose="020B0604020202020204" pitchFamily="34" charset="0"/>
            </a:endParaRPr>
          </a:p>
        </p:txBody>
      </p:sp>
      <p:sp>
        <p:nvSpPr>
          <p:cNvPr id="191" name="Text Placeholder 2"/>
          <p:cNvSpPr>
            <a:spLocks noGrp="1"/>
          </p:cNvSpPr>
          <p:nvPr>
            <p:ph type="body" sz="quarter" idx="25" hasCustomPrompt="1"/>
          </p:nvPr>
        </p:nvSpPr>
        <p:spPr>
          <a:xfrm>
            <a:off x="3342796" y="4807465"/>
            <a:ext cx="1160462" cy="341313"/>
          </a:xfrm>
          <a:prstGeom prst="rect">
            <a:avLst/>
          </a:prstGeom>
        </p:spPr>
        <p:txBody>
          <a:bodyPr anchor="ctr"/>
          <a:lstStyle>
            <a:lvl1pPr marL="0" indent="0" algn="ctr">
              <a:buNone/>
              <a:defRPr sz="800">
                <a:solidFill>
                  <a:schemeClr val="bg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pic>
        <p:nvPicPr>
          <p:cNvPr id="33" name="Picture 32" descr="cookie_white.png"/>
          <p:cNvPicPr>
            <a:picLocks noChangeAspect="1"/>
          </p:cNvPicPr>
          <p:nvPr userDrawn="1"/>
        </p:nvPicPr>
        <p:blipFill rotWithShape="1">
          <a:blip r:embed="rId2" cstate="screen">
            <a:alphaModFix amt="16000"/>
            <a:extLst>
              <a:ext uri="{28A0092B-C50C-407E-A947-70E740481C1C}">
                <a14:useLocalDpi xmlns:a14="http://schemas.microsoft.com/office/drawing/2010/main"/>
              </a:ext>
            </a:extLst>
          </a:blip>
          <a:srcRect/>
          <a:stretch/>
        </p:blipFill>
        <p:spPr>
          <a:xfrm flipH="1">
            <a:off x="5149029" y="2289839"/>
            <a:ext cx="4020091" cy="2880000"/>
          </a:xfrm>
          <a:prstGeom prst="rect">
            <a:avLst/>
          </a:prstGeom>
        </p:spPr>
      </p:pic>
      <p:cxnSp>
        <p:nvCxnSpPr>
          <p:cNvPr id="32" name="Straight Connector 31"/>
          <p:cNvCxnSpPr/>
          <p:nvPr userDrawn="1"/>
        </p:nvCxnSpPr>
        <p:spPr>
          <a:xfrm>
            <a:off x="343365" y="470176"/>
            <a:ext cx="8460000" cy="0"/>
          </a:xfrm>
          <a:prstGeom prst="line">
            <a:avLst/>
          </a:prstGeom>
          <a:ln w="6350" cmpd="sng">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343365" y="4801146"/>
            <a:ext cx="8460000" cy="0"/>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sp>
        <p:nvSpPr>
          <p:cNvPr id="67"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rgbClr val="FFFFFF"/>
                </a:solidFill>
                <a:latin typeface="+mn-lt"/>
              </a:defRPr>
            </a:lvl1pPr>
          </a:lstStyle>
          <a:p>
            <a:fld id="{19AB4E72-7858-48F1-A40D-12FF09E4BFB8}" type="slidenum">
              <a:rPr lang="en-GB" smtClean="0"/>
              <a:pPr/>
              <a:t>‹Nº›</a:t>
            </a:fld>
            <a:endParaRPr lang="en-GB"/>
          </a:p>
        </p:txBody>
      </p:sp>
      <p:sp>
        <p:nvSpPr>
          <p:cNvPr id="36" name="Title 1"/>
          <p:cNvSpPr>
            <a:spLocks noGrp="1"/>
          </p:cNvSpPr>
          <p:nvPr>
            <p:ph type="ctrTitle" hasCustomPrompt="1"/>
          </p:nvPr>
        </p:nvSpPr>
        <p:spPr>
          <a:xfrm>
            <a:off x="343365" y="2867487"/>
            <a:ext cx="8460000" cy="443198"/>
          </a:xfrm>
          <a:prstGeom prst="rect">
            <a:avLst/>
          </a:prstGeom>
        </p:spPr>
        <p:txBody>
          <a:bodyPr lIns="0" tIns="0" rIns="0" bIns="0" anchor="b"/>
          <a:lstStyle>
            <a:lvl1pPr>
              <a:lnSpc>
                <a:spcPct val="90000"/>
              </a:lnSpc>
              <a:defRPr sz="3200" b="0">
                <a:solidFill>
                  <a:schemeClr val="bg1"/>
                </a:solidFill>
              </a:defRPr>
            </a:lvl1pPr>
          </a:lstStyle>
          <a:p>
            <a:r>
              <a:rPr lang="en-US" dirty="0" smtClean="0"/>
              <a:t>Click to edit Master title Style</a:t>
            </a:r>
            <a:endParaRPr lang="en-US" dirty="0"/>
          </a:p>
        </p:txBody>
      </p:sp>
      <p:sp>
        <p:nvSpPr>
          <p:cNvPr id="37" name="Subtitle 2"/>
          <p:cNvSpPr>
            <a:spLocks noGrp="1"/>
          </p:cNvSpPr>
          <p:nvPr>
            <p:ph type="subTitle" idx="1" hasCustomPrompt="1"/>
          </p:nvPr>
        </p:nvSpPr>
        <p:spPr>
          <a:xfrm>
            <a:off x="343364" y="3474100"/>
            <a:ext cx="8460000" cy="202165"/>
          </a:xfrm>
          <a:prstGeom prst="rect">
            <a:avLst/>
          </a:prstGeom>
        </p:spPr>
        <p:txBody>
          <a:bodyPr lIns="0" tIns="0" rIns="0" bIns="0">
            <a:noAutofit/>
          </a:bodyPr>
          <a:lstStyle>
            <a:lvl1pPr marL="0" indent="0" algn="l">
              <a:buNone/>
              <a:defRPr sz="14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cxnSp>
        <p:nvCxnSpPr>
          <p:cNvPr id="38" name="Straight Connector 37"/>
          <p:cNvCxnSpPr/>
          <p:nvPr userDrawn="1"/>
        </p:nvCxnSpPr>
        <p:spPr>
          <a:xfrm>
            <a:off x="346086" y="3395058"/>
            <a:ext cx="8460000" cy="0"/>
          </a:xfrm>
          <a:prstGeom prst="line">
            <a:avLst/>
          </a:prstGeom>
          <a:ln w="12700" cmpd="sng">
            <a:solidFill>
              <a:schemeClr val="bg1"/>
            </a:solidFill>
          </a:ln>
        </p:spPr>
        <p:style>
          <a:lnRef idx="1">
            <a:schemeClr val="accent1"/>
          </a:lnRef>
          <a:fillRef idx="0">
            <a:schemeClr val="accent1"/>
          </a:fillRef>
          <a:effectRef idx="0">
            <a:schemeClr val="accent1"/>
          </a:effectRef>
          <a:fontRef idx="minor">
            <a:schemeClr val="tx1"/>
          </a:fontRef>
        </p:style>
      </p:cxnSp>
      <p:grpSp>
        <p:nvGrpSpPr>
          <p:cNvPr id="73" name="Group 72"/>
          <p:cNvGrpSpPr/>
          <p:nvPr userDrawn="1"/>
        </p:nvGrpSpPr>
        <p:grpSpPr>
          <a:xfrm>
            <a:off x="6219557" y="4840100"/>
            <a:ext cx="1123200" cy="233974"/>
            <a:chOff x="7665803" y="4864376"/>
            <a:chExt cx="1123200" cy="233974"/>
          </a:xfrm>
          <a:solidFill>
            <a:schemeClr val="bg1"/>
          </a:solidFill>
        </p:grpSpPr>
        <p:sp>
          <p:nvSpPr>
            <p:cNvPr id="74" name="Freeform 6"/>
            <p:cNvSpPr>
              <a:spLocks/>
            </p:cNvSpPr>
            <p:nvPr userDrawn="1"/>
          </p:nvSpPr>
          <p:spPr bwMode="auto">
            <a:xfrm>
              <a:off x="8119644" y="4924717"/>
              <a:ext cx="103102" cy="66806"/>
            </a:xfrm>
            <a:custGeom>
              <a:avLst/>
              <a:gdLst>
                <a:gd name="T0" fmla="*/ 111 w 136"/>
                <a:gd name="T1" fmla="*/ 72 h 92"/>
                <a:gd name="T2" fmla="*/ 87 w 136"/>
                <a:gd name="T3" fmla="*/ 88 h 92"/>
                <a:gd name="T4" fmla="*/ 68 w 136"/>
                <a:gd name="T5" fmla="*/ 28 h 92"/>
                <a:gd name="T6" fmla="*/ 67 w 136"/>
                <a:gd name="T7" fmla="*/ 28 h 92"/>
                <a:gd name="T8" fmla="*/ 53 w 136"/>
                <a:gd name="T9" fmla="*/ 72 h 92"/>
                <a:gd name="T10" fmla="*/ 31 w 136"/>
                <a:gd name="T11" fmla="*/ 88 h 92"/>
                <a:gd name="T12" fmla="*/ 0 w 136"/>
                <a:gd name="T13" fmla="*/ 0 h 92"/>
                <a:gd name="T14" fmla="*/ 22 w 136"/>
                <a:gd name="T15" fmla="*/ 0 h 92"/>
                <a:gd name="T16" fmla="*/ 41 w 136"/>
                <a:gd name="T17" fmla="*/ 60 h 92"/>
                <a:gd name="T18" fmla="*/ 41 w 136"/>
                <a:gd name="T19" fmla="*/ 60 h 92"/>
                <a:gd name="T20" fmla="*/ 60 w 136"/>
                <a:gd name="T21" fmla="*/ 0 h 92"/>
                <a:gd name="T22" fmla="*/ 77 w 136"/>
                <a:gd name="T23" fmla="*/ 0 h 92"/>
                <a:gd name="T24" fmla="*/ 96 w 136"/>
                <a:gd name="T25" fmla="*/ 60 h 92"/>
                <a:gd name="T26" fmla="*/ 97 w 136"/>
                <a:gd name="T27" fmla="*/ 60 h 92"/>
                <a:gd name="T28" fmla="*/ 115 w 136"/>
                <a:gd name="T29" fmla="*/ 0 h 92"/>
                <a:gd name="T30" fmla="*/ 136 w 136"/>
                <a:gd name="T31" fmla="*/ 0 h 92"/>
                <a:gd name="T32" fmla="*/ 111 w 136"/>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 h="92">
                  <a:moveTo>
                    <a:pt x="111" y="72"/>
                  </a:moveTo>
                  <a:cubicBezTo>
                    <a:pt x="103" y="92"/>
                    <a:pt x="87" y="88"/>
                    <a:pt x="87" y="88"/>
                  </a:cubicBezTo>
                  <a:cubicBezTo>
                    <a:pt x="68" y="28"/>
                    <a:pt x="68" y="28"/>
                    <a:pt x="68" y="28"/>
                  </a:cubicBezTo>
                  <a:cubicBezTo>
                    <a:pt x="67" y="28"/>
                    <a:pt x="67" y="28"/>
                    <a:pt x="67" y="28"/>
                  </a:cubicBezTo>
                  <a:cubicBezTo>
                    <a:pt x="67" y="28"/>
                    <a:pt x="58"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6" y="60"/>
                    <a:pt x="96" y="60"/>
                    <a:pt x="96" y="60"/>
                  </a:cubicBezTo>
                  <a:cubicBezTo>
                    <a:pt x="97" y="60"/>
                    <a:pt x="97" y="60"/>
                    <a:pt x="97" y="60"/>
                  </a:cubicBezTo>
                  <a:cubicBezTo>
                    <a:pt x="115" y="0"/>
                    <a:pt x="115" y="0"/>
                    <a:pt x="115" y="0"/>
                  </a:cubicBezTo>
                  <a:cubicBezTo>
                    <a:pt x="136" y="0"/>
                    <a:pt x="136" y="0"/>
                    <a:pt x="136" y="0"/>
                  </a:cubicBezTo>
                  <a:cubicBezTo>
                    <a:pt x="136"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8" name="Freeform 7"/>
            <p:cNvSpPr>
              <a:spLocks noEditPoints="1"/>
            </p:cNvSpPr>
            <p:nvPr userDrawn="1"/>
          </p:nvSpPr>
          <p:spPr bwMode="auto">
            <a:xfrm>
              <a:off x="8225958" y="4923177"/>
              <a:ext cx="57493" cy="66190"/>
            </a:xfrm>
            <a:custGeom>
              <a:avLst/>
              <a:gdLst>
                <a:gd name="T0" fmla="*/ 57 w 76"/>
                <a:gd name="T1" fmla="*/ 90 h 91"/>
                <a:gd name="T2" fmla="*/ 53 w 76"/>
                <a:gd name="T3" fmla="*/ 81 h 91"/>
                <a:gd name="T4" fmla="*/ 28 w 76"/>
                <a:gd name="T5" fmla="*/ 91 h 91"/>
                <a:gd name="T6" fmla="*/ 0 w 76"/>
                <a:gd name="T7" fmla="*/ 63 h 91"/>
                <a:gd name="T8" fmla="*/ 36 w 76"/>
                <a:gd name="T9" fmla="*/ 34 h 91"/>
                <a:gd name="T10" fmla="*/ 51 w 76"/>
                <a:gd name="T11" fmla="*/ 34 h 91"/>
                <a:gd name="T12" fmla="*/ 51 w 76"/>
                <a:gd name="T13" fmla="*/ 31 h 91"/>
                <a:gd name="T14" fmla="*/ 35 w 76"/>
                <a:gd name="T15" fmla="*/ 17 h 91"/>
                <a:gd name="T16" fmla="*/ 12 w 76"/>
                <a:gd name="T17" fmla="*/ 23 h 91"/>
                <a:gd name="T18" fmla="*/ 5 w 76"/>
                <a:gd name="T19" fmla="*/ 9 h 91"/>
                <a:gd name="T20" fmla="*/ 39 w 76"/>
                <a:gd name="T21" fmla="*/ 0 h 91"/>
                <a:gd name="T22" fmla="*/ 74 w 76"/>
                <a:gd name="T23" fmla="*/ 31 h 91"/>
                <a:gd name="T24" fmla="*/ 74 w 76"/>
                <a:gd name="T25" fmla="*/ 66 h 91"/>
                <a:gd name="T26" fmla="*/ 76 w 76"/>
                <a:gd name="T27" fmla="*/ 90 h 91"/>
                <a:gd name="T28" fmla="*/ 57 w 76"/>
                <a:gd name="T29" fmla="*/ 90 h 91"/>
                <a:gd name="T30" fmla="*/ 51 w 76"/>
                <a:gd name="T31" fmla="*/ 49 h 91"/>
                <a:gd name="T32" fmla="*/ 39 w 76"/>
                <a:gd name="T33" fmla="*/ 49 h 91"/>
                <a:gd name="T34" fmla="*/ 22 w 76"/>
                <a:gd name="T35" fmla="*/ 61 h 91"/>
                <a:gd name="T36" fmla="*/ 36 w 76"/>
                <a:gd name="T37" fmla="*/ 73 h 91"/>
                <a:gd name="T38" fmla="*/ 51 w 76"/>
                <a:gd name="T39" fmla="*/ 68 h 91"/>
                <a:gd name="T40" fmla="*/ 51 w 76"/>
                <a:gd name="T41" fmla="*/ 4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91">
                  <a:moveTo>
                    <a:pt x="57" y="90"/>
                  </a:moveTo>
                  <a:cubicBezTo>
                    <a:pt x="53" y="81"/>
                    <a:pt x="53" y="81"/>
                    <a:pt x="53" y="81"/>
                  </a:cubicBezTo>
                  <a:cubicBezTo>
                    <a:pt x="48" y="86"/>
                    <a:pt x="40" y="91"/>
                    <a:pt x="28" y="91"/>
                  </a:cubicBezTo>
                  <a:cubicBezTo>
                    <a:pt x="12" y="91"/>
                    <a:pt x="0" y="80"/>
                    <a:pt x="0" y="63"/>
                  </a:cubicBezTo>
                  <a:cubicBezTo>
                    <a:pt x="0" y="45"/>
                    <a:pt x="14" y="35"/>
                    <a:pt x="36" y="34"/>
                  </a:cubicBezTo>
                  <a:cubicBezTo>
                    <a:pt x="51" y="34"/>
                    <a:pt x="51" y="34"/>
                    <a:pt x="51" y="34"/>
                  </a:cubicBezTo>
                  <a:cubicBezTo>
                    <a:pt x="51" y="33"/>
                    <a:pt x="51" y="32"/>
                    <a:pt x="51" y="31"/>
                  </a:cubicBezTo>
                  <a:cubicBezTo>
                    <a:pt x="51" y="21"/>
                    <a:pt x="44" y="17"/>
                    <a:pt x="35" y="17"/>
                  </a:cubicBezTo>
                  <a:cubicBezTo>
                    <a:pt x="25" y="17"/>
                    <a:pt x="18" y="20"/>
                    <a:pt x="12" y="23"/>
                  </a:cubicBezTo>
                  <a:cubicBezTo>
                    <a:pt x="5" y="9"/>
                    <a:pt x="5" y="9"/>
                    <a:pt x="5" y="9"/>
                  </a:cubicBezTo>
                  <a:cubicBezTo>
                    <a:pt x="17" y="2"/>
                    <a:pt x="28" y="0"/>
                    <a:pt x="39" y="0"/>
                  </a:cubicBezTo>
                  <a:cubicBezTo>
                    <a:pt x="61" y="0"/>
                    <a:pt x="74" y="9"/>
                    <a:pt x="74" y="31"/>
                  </a:cubicBezTo>
                  <a:cubicBezTo>
                    <a:pt x="74" y="66"/>
                    <a:pt x="74" y="66"/>
                    <a:pt x="74" y="66"/>
                  </a:cubicBezTo>
                  <a:cubicBezTo>
                    <a:pt x="74" y="78"/>
                    <a:pt x="75" y="86"/>
                    <a:pt x="76" y="90"/>
                  </a:cubicBezTo>
                  <a:lnTo>
                    <a:pt x="57" y="90"/>
                  </a:lnTo>
                  <a:close/>
                  <a:moveTo>
                    <a:pt x="51" y="49"/>
                  </a:moveTo>
                  <a:cubicBezTo>
                    <a:pt x="39" y="49"/>
                    <a:pt x="39" y="49"/>
                    <a:pt x="39" y="49"/>
                  </a:cubicBezTo>
                  <a:cubicBezTo>
                    <a:pt x="27" y="50"/>
                    <a:pt x="22" y="54"/>
                    <a:pt x="22" y="61"/>
                  </a:cubicBezTo>
                  <a:cubicBezTo>
                    <a:pt x="22" y="68"/>
                    <a:pt x="27" y="73"/>
                    <a:pt x="36" y="73"/>
                  </a:cubicBezTo>
                  <a:cubicBezTo>
                    <a:pt x="44" y="73"/>
                    <a:pt x="49" y="70"/>
                    <a:pt x="51" y="68"/>
                  </a:cubicBezTo>
                  <a:lnTo>
                    <a:pt x="51" y="4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9" name="Freeform 8"/>
            <p:cNvSpPr>
              <a:spLocks noEditPoints="1"/>
            </p:cNvSpPr>
            <p:nvPr userDrawn="1"/>
          </p:nvSpPr>
          <p:spPr bwMode="auto">
            <a:xfrm>
              <a:off x="8342550" y="4892699"/>
              <a:ext cx="62311" cy="96668"/>
            </a:xfrm>
            <a:custGeom>
              <a:avLst/>
              <a:gdLst>
                <a:gd name="T0" fmla="*/ 47 w 82"/>
                <a:gd name="T1" fmla="*/ 133 h 133"/>
                <a:gd name="T2" fmla="*/ 0 w 82"/>
                <a:gd name="T3" fmla="*/ 88 h 133"/>
                <a:gd name="T4" fmla="*/ 48 w 82"/>
                <a:gd name="T5" fmla="*/ 42 h 133"/>
                <a:gd name="T6" fmla="*/ 59 w 82"/>
                <a:gd name="T7" fmla="*/ 42 h 133"/>
                <a:gd name="T8" fmla="*/ 60 w 82"/>
                <a:gd name="T9" fmla="*/ 0 h 133"/>
                <a:gd name="T10" fmla="*/ 82 w 82"/>
                <a:gd name="T11" fmla="*/ 0 h 133"/>
                <a:gd name="T12" fmla="*/ 81 w 82"/>
                <a:gd name="T13" fmla="*/ 126 h 133"/>
                <a:gd name="T14" fmla="*/ 47 w 82"/>
                <a:gd name="T15" fmla="*/ 133 h 133"/>
                <a:gd name="T16" fmla="*/ 59 w 82"/>
                <a:gd name="T17" fmla="*/ 60 h 133"/>
                <a:gd name="T18" fmla="*/ 49 w 82"/>
                <a:gd name="T19" fmla="*/ 59 h 133"/>
                <a:gd name="T20" fmla="*/ 22 w 82"/>
                <a:gd name="T21" fmla="*/ 87 h 133"/>
                <a:gd name="T22" fmla="*/ 49 w 82"/>
                <a:gd name="T23" fmla="*/ 114 h 133"/>
                <a:gd name="T24" fmla="*/ 59 w 82"/>
                <a:gd name="T25" fmla="*/ 113 h 133"/>
                <a:gd name="T26" fmla="*/ 59 w 82"/>
                <a:gd name="T27" fmla="*/ 6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3">
                  <a:moveTo>
                    <a:pt x="47" y="133"/>
                  </a:moveTo>
                  <a:cubicBezTo>
                    <a:pt x="21" y="133"/>
                    <a:pt x="0" y="117"/>
                    <a:pt x="0" y="88"/>
                  </a:cubicBezTo>
                  <a:cubicBezTo>
                    <a:pt x="0" y="61"/>
                    <a:pt x="20" y="42"/>
                    <a:pt x="48" y="42"/>
                  </a:cubicBezTo>
                  <a:cubicBezTo>
                    <a:pt x="52" y="42"/>
                    <a:pt x="56" y="42"/>
                    <a:pt x="59" y="42"/>
                  </a:cubicBezTo>
                  <a:cubicBezTo>
                    <a:pt x="60" y="0"/>
                    <a:pt x="60" y="0"/>
                    <a:pt x="60" y="0"/>
                  </a:cubicBezTo>
                  <a:cubicBezTo>
                    <a:pt x="82" y="0"/>
                    <a:pt x="82" y="0"/>
                    <a:pt x="82" y="0"/>
                  </a:cubicBezTo>
                  <a:cubicBezTo>
                    <a:pt x="81" y="126"/>
                    <a:pt x="81" y="126"/>
                    <a:pt x="81" y="126"/>
                  </a:cubicBezTo>
                  <a:cubicBezTo>
                    <a:pt x="73" y="130"/>
                    <a:pt x="62" y="133"/>
                    <a:pt x="47" y="133"/>
                  </a:cubicBezTo>
                  <a:close/>
                  <a:moveTo>
                    <a:pt x="59" y="60"/>
                  </a:moveTo>
                  <a:cubicBezTo>
                    <a:pt x="56" y="60"/>
                    <a:pt x="54" y="59"/>
                    <a:pt x="49" y="59"/>
                  </a:cubicBezTo>
                  <a:cubicBezTo>
                    <a:pt x="33" y="59"/>
                    <a:pt x="22" y="70"/>
                    <a:pt x="22" y="87"/>
                  </a:cubicBezTo>
                  <a:cubicBezTo>
                    <a:pt x="22" y="103"/>
                    <a:pt x="32" y="114"/>
                    <a:pt x="49" y="114"/>
                  </a:cubicBezTo>
                  <a:cubicBezTo>
                    <a:pt x="53" y="114"/>
                    <a:pt x="57" y="114"/>
                    <a:pt x="59" y="113"/>
                  </a:cubicBezTo>
                  <a:lnTo>
                    <a:pt x="59" y="60"/>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0" name="Freeform 9"/>
            <p:cNvSpPr>
              <a:spLocks/>
            </p:cNvSpPr>
            <p:nvPr userDrawn="1"/>
          </p:nvSpPr>
          <p:spPr bwMode="auto">
            <a:xfrm>
              <a:off x="8093949"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1" name="Freeform 10"/>
            <p:cNvSpPr>
              <a:spLocks/>
            </p:cNvSpPr>
            <p:nvPr userDrawn="1"/>
          </p:nvSpPr>
          <p:spPr bwMode="auto">
            <a:xfrm>
              <a:off x="8060545"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2" name="Freeform 11"/>
            <p:cNvSpPr>
              <a:spLocks/>
            </p:cNvSpPr>
            <p:nvPr userDrawn="1"/>
          </p:nvSpPr>
          <p:spPr bwMode="auto">
            <a:xfrm>
              <a:off x="8297262" y="4923177"/>
              <a:ext cx="43039" cy="66190"/>
            </a:xfrm>
            <a:custGeom>
              <a:avLst/>
              <a:gdLst>
                <a:gd name="T0" fmla="*/ 49 w 57"/>
                <a:gd name="T1" fmla="*/ 22 h 91"/>
                <a:gd name="T2" fmla="*/ 39 w 57"/>
                <a:gd name="T3" fmla="*/ 20 h 91"/>
                <a:gd name="T4" fmla="*/ 22 w 57"/>
                <a:gd name="T5" fmla="*/ 27 h 91"/>
                <a:gd name="T6" fmla="*/ 22 w 57"/>
                <a:gd name="T7" fmla="*/ 74 h 91"/>
                <a:gd name="T8" fmla="*/ 0 w 57"/>
                <a:gd name="T9" fmla="*/ 90 h 91"/>
                <a:gd name="T10" fmla="*/ 0 w 57"/>
                <a:gd name="T11" fmla="*/ 2 h 91"/>
                <a:gd name="T12" fmla="*/ 18 w 57"/>
                <a:gd name="T13" fmla="*/ 2 h 91"/>
                <a:gd name="T14" fmla="*/ 21 w 57"/>
                <a:gd name="T15" fmla="*/ 11 h 91"/>
                <a:gd name="T16" fmla="*/ 45 w 57"/>
                <a:gd name="T17" fmla="*/ 0 h 91"/>
                <a:gd name="T18" fmla="*/ 57 w 57"/>
                <a:gd name="T19" fmla="*/ 4 h 91"/>
                <a:gd name="T20" fmla="*/ 49 w 57"/>
                <a:gd name="T21" fmla="*/ 2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1">
                  <a:moveTo>
                    <a:pt x="49" y="22"/>
                  </a:moveTo>
                  <a:cubicBezTo>
                    <a:pt x="45" y="20"/>
                    <a:pt x="41" y="20"/>
                    <a:pt x="39" y="20"/>
                  </a:cubicBezTo>
                  <a:cubicBezTo>
                    <a:pt x="34" y="20"/>
                    <a:pt x="28" y="22"/>
                    <a:pt x="22" y="27"/>
                  </a:cubicBezTo>
                  <a:cubicBezTo>
                    <a:pt x="22" y="27"/>
                    <a:pt x="22" y="57"/>
                    <a:pt x="22" y="74"/>
                  </a:cubicBezTo>
                  <a:cubicBezTo>
                    <a:pt x="22" y="91"/>
                    <a:pt x="0" y="90"/>
                    <a:pt x="0" y="90"/>
                  </a:cubicBezTo>
                  <a:cubicBezTo>
                    <a:pt x="0" y="2"/>
                    <a:pt x="0" y="2"/>
                    <a:pt x="0" y="2"/>
                  </a:cubicBezTo>
                  <a:cubicBezTo>
                    <a:pt x="18" y="2"/>
                    <a:pt x="18" y="2"/>
                    <a:pt x="18"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3" name="Freeform 12"/>
            <p:cNvSpPr>
              <a:spLocks/>
            </p:cNvSpPr>
            <p:nvPr userDrawn="1"/>
          </p:nvSpPr>
          <p:spPr bwMode="auto">
            <a:xfrm>
              <a:off x="7907980" y="4892699"/>
              <a:ext cx="98605" cy="95129"/>
            </a:xfrm>
            <a:custGeom>
              <a:avLst/>
              <a:gdLst>
                <a:gd name="T0" fmla="*/ 106 w 130"/>
                <a:gd name="T1" fmla="*/ 131 h 131"/>
                <a:gd name="T2" fmla="*/ 106 w 130"/>
                <a:gd name="T3" fmla="*/ 53 h 131"/>
                <a:gd name="T4" fmla="*/ 107 w 130"/>
                <a:gd name="T5" fmla="*/ 39 h 131"/>
                <a:gd name="T6" fmla="*/ 106 w 130"/>
                <a:gd name="T7" fmla="*/ 39 h 131"/>
                <a:gd name="T8" fmla="*/ 99 w 130"/>
                <a:gd name="T9" fmla="*/ 52 h 131"/>
                <a:gd name="T10" fmla="*/ 72 w 130"/>
                <a:gd name="T11" fmla="*/ 93 h 131"/>
                <a:gd name="T12" fmla="*/ 60 w 130"/>
                <a:gd name="T13" fmla="*/ 93 h 131"/>
                <a:gd name="T14" fmla="*/ 32 w 130"/>
                <a:gd name="T15" fmla="*/ 51 h 131"/>
                <a:gd name="T16" fmla="*/ 24 w 130"/>
                <a:gd name="T17" fmla="*/ 39 h 131"/>
                <a:gd name="T18" fmla="*/ 23 w 130"/>
                <a:gd name="T19" fmla="*/ 39 h 131"/>
                <a:gd name="T20" fmla="*/ 24 w 130"/>
                <a:gd name="T21" fmla="*/ 52 h 131"/>
                <a:gd name="T22" fmla="*/ 24 w 130"/>
                <a:gd name="T23" fmla="*/ 131 h 131"/>
                <a:gd name="T24" fmla="*/ 0 w 130"/>
                <a:gd name="T25" fmla="*/ 131 h 131"/>
                <a:gd name="T26" fmla="*/ 0 w 130"/>
                <a:gd name="T27" fmla="*/ 0 h 131"/>
                <a:gd name="T28" fmla="*/ 22 w 130"/>
                <a:gd name="T29" fmla="*/ 0 h 131"/>
                <a:gd name="T30" fmla="*/ 58 w 130"/>
                <a:gd name="T31" fmla="*/ 52 h 131"/>
                <a:gd name="T32" fmla="*/ 66 w 130"/>
                <a:gd name="T33" fmla="*/ 66 h 131"/>
                <a:gd name="T34" fmla="*/ 67 w 130"/>
                <a:gd name="T35" fmla="*/ 66 h 131"/>
                <a:gd name="T36" fmla="*/ 75 w 130"/>
                <a:gd name="T37" fmla="*/ 52 h 131"/>
                <a:gd name="T38" fmla="*/ 108 w 130"/>
                <a:gd name="T39" fmla="*/ 0 h 131"/>
                <a:gd name="T40" fmla="*/ 130 w 130"/>
                <a:gd name="T41" fmla="*/ 0 h 131"/>
                <a:gd name="T42" fmla="*/ 130 w 130"/>
                <a:gd name="T43" fmla="*/ 131 h 131"/>
                <a:gd name="T44" fmla="*/ 106 w 130"/>
                <a:gd name="T45"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0" h="131">
                  <a:moveTo>
                    <a:pt x="106" y="131"/>
                  </a:moveTo>
                  <a:cubicBezTo>
                    <a:pt x="106" y="53"/>
                    <a:pt x="106" y="53"/>
                    <a:pt x="106" y="53"/>
                  </a:cubicBezTo>
                  <a:cubicBezTo>
                    <a:pt x="106" y="48"/>
                    <a:pt x="106" y="44"/>
                    <a:pt x="107" y="39"/>
                  </a:cubicBezTo>
                  <a:cubicBezTo>
                    <a:pt x="106" y="39"/>
                    <a:pt x="106" y="39"/>
                    <a:pt x="106" y="39"/>
                  </a:cubicBezTo>
                  <a:cubicBezTo>
                    <a:pt x="105" y="43"/>
                    <a:pt x="101" y="49"/>
                    <a:pt x="99" y="52"/>
                  </a:cubicBezTo>
                  <a:cubicBezTo>
                    <a:pt x="72" y="93"/>
                    <a:pt x="72" y="93"/>
                    <a:pt x="72" y="93"/>
                  </a:cubicBezTo>
                  <a:cubicBezTo>
                    <a:pt x="60" y="93"/>
                    <a:pt x="60" y="93"/>
                    <a:pt x="60" y="93"/>
                  </a:cubicBezTo>
                  <a:cubicBezTo>
                    <a:pt x="32" y="51"/>
                    <a:pt x="32" y="51"/>
                    <a:pt x="32" y="51"/>
                  </a:cubicBezTo>
                  <a:cubicBezTo>
                    <a:pt x="29" y="48"/>
                    <a:pt x="26" y="44"/>
                    <a:pt x="24" y="39"/>
                  </a:cubicBezTo>
                  <a:cubicBezTo>
                    <a:pt x="23" y="39"/>
                    <a:pt x="23" y="39"/>
                    <a:pt x="23" y="39"/>
                  </a:cubicBezTo>
                  <a:cubicBezTo>
                    <a:pt x="24" y="44"/>
                    <a:pt x="24" y="48"/>
                    <a:pt x="24" y="52"/>
                  </a:cubicBezTo>
                  <a:cubicBezTo>
                    <a:pt x="24" y="131"/>
                    <a:pt x="24" y="131"/>
                    <a:pt x="24" y="131"/>
                  </a:cubicBezTo>
                  <a:cubicBezTo>
                    <a:pt x="0" y="131"/>
                    <a:pt x="0" y="131"/>
                    <a:pt x="0" y="131"/>
                  </a:cubicBezTo>
                  <a:cubicBezTo>
                    <a:pt x="0" y="0"/>
                    <a:pt x="0" y="0"/>
                    <a:pt x="0" y="0"/>
                  </a:cubicBezTo>
                  <a:cubicBezTo>
                    <a:pt x="22" y="0"/>
                    <a:pt x="22" y="0"/>
                    <a:pt x="22" y="0"/>
                  </a:cubicBezTo>
                  <a:cubicBezTo>
                    <a:pt x="58" y="52"/>
                    <a:pt x="58" y="52"/>
                    <a:pt x="58" y="52"/>
                  </a:cubicBezTo>
                  <a:cubicBezTo>
                    <a:pt x="61" y="57"/>
                    <a:pt x="64" y="61"/>
                    <a:pt x="66" y="66"/>
                  </a:cubicBezTo>
                  <a:cubicBezTo>
                    <a:pt x="67" y="66"/>
                    <a:pt x="67" y="66"/>
                    <a:pt x="67" y="66"/>
                  </a:cubicBezTo>
                  <a:cubicBezTo>
                    <a:pt x="69" y="61"/>
                    <a:pt x="71" y="57"/>
                    <a:pt x="75" y="52"/>
                  </a:cubicBezTo>
                  <a:cubicBezTo>
                    <a:pt x="108" y="0"/>
                    <a:pt x="108" y="0"/>
                    <a:pt x="108" y="0"/>
                  </a:cubicBezTo>
                  <a:cubicBezTo>
                    <a:pt x="130" y="0"/>
                    <a:pt x="130" y="0"/>
                    <a:pt x="130" y="0"/>
                  </a:cubicBezTo>
                  <a:cubicBezTo>
                    <a:pt x="130" y="131"/>
                    <a:pt x="130" y="131"/>
                    <a:pt x="130" y="131"/>
                  </a:cubicBezTo>
                  <a:lnTo>
                    <a:pt x="106" y="131"/>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4" name="Freeform 13"/>
            <p:cNvSpPr>
              <a:spLocks/>
            </p:cNvSpPr>
            <p:nvPr userDrawn="1"/>
          </p:nvSpPr>
          <p:spPr bwMode="auto">
            <a:xfrm>
              <a:off x="7665803" y="4864376"/>
              <a:ext cx="100854" cy="148389"/>
            </a:xfrm>
            <a:custGeom>
              <a:avLst/>
              <a:gdLst>
                <a:gd name="T0" fmla="*/ 133 w 133"/>
                <a:gd name="T1" fmla="*/ 23 h 204"/>
                <a:gd name="T2" fmla="*/ 132 w 133"/>
                <a:gd name="T3" fmla="*/ 22 h 204"/>
                <a:gd name="T4" fmla="*/ 65 w 133"/>
                <a:gd name="T5" fmla="*/ 20 h 204"/>
                <a:gd name="T6" fmla="*/ 52 w 133"/>
                <a:gd name="T7" fmla="*/ 52 h 204"/>
                <a:gd name="T8" fmla="*/ 20 w 133"/>
                <a:gd name="T9" fmla="*/ 65 h 204"/>
                <a:gd name="T10" fmla="*/ 22 w 133"/>
                <a:gd name="T11" fmla="*/ 132 h 204"/>
                <a:gd name="T12" fmla="*/ 95 w 133"/>
                <a:gd name="T13" fmla="*/ 204 h 204"/>
                <a:gd name="T14" fmla="*/ 117 w 133"/>
                <a:gd name="T15" fmla="*/ 182 h 204"/>
                <a:gd name="T16" fmla="*/ 44 w 133"/>
                <a:gd name="T17" fmla="*/ 110 h 204"/>
                <a:gd name="T18" fmla="*/ 42 w 133"/>
                <a:gd name="T19" fmla="*/ 86 h 204"/>
                <a:gd name="T20" fmla="*/ 66 w 133"/>
                <a:gd name="T21" fmla="*/ 88 h 204"/>
                <a:gd name="T22" fmla="*/ 133 w 133"/>
                <a:gd name="T23" fmla="*/ 155 h 204"/>
                <a:gd name="T24" fmla="*/ 133 w 133"/>
                <a:gd name="T25" fmla="*/ 111 h 204"/>
                <a:gd name="T26" fmla="*/ 88 w 133"/>
                <a:gd name="T27" fmla="*/ 66 h 204"/>
                <a:gd name="T28" fmla="*/ 86 w 133"/>
                <a:gd name="T29" fmla="*/ 42 h 204"/>
                <a:gd name="T30" fmla="*/ 110 w 133"/>
                <a:gd name="T31" fmla="*/ 44 h 204"/>
                <a:gd name="T32" fmla="*/ 133 w 133"/>
                <a:gd name="T33" fmla="*/ 66 h 204"/>
                <a:gd name="T34" fmla="*/ 133 w 133"/>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204">
                  <a:moveTo>
                    <a:pt x="133" y="23"/>
                  </a:moveTo>
                  <a:cubicBezTo>
                    <a:pt x="132" y="22"/>
                    <a:pt x="132" y="22"/>
                    <a:pt x="132" y="22"/>
                  </a:cubicBezTo>
                  <a:cubicBezTo>
                    <a:pt x="110" y="0"/>
                    <a:pt x="82" y="2"/>
                    <a:pt x="65" y="20"/>
                  </a:cubicBezTo>
                  <a:cubicBezTo>
                    <a:pt x="53" y="32"/>
                    <a:pt x="51" y="46"/>
                    <a:pt x="52" y="52"/>
                  </a:cubicBezTo>
                  <a:cubicBezTo>
                    <a:pt x="47" y="51"/>
                    <a:pt x="32" y="52"/>
                    <a:pt x="20" y="65"/>
                  </a:cubicBezTo>
                  <a:cubicBezTo>
                    <a:pt x="3" y="82"/>
                    <a:pt x="0" y="110"/>
                    <a:pt x="22" y="132"/>
                  </a:cubicBezTo>
                  <a:cubicBezTo>
                    <a:pt x="95" y="204"/>
                    <a:pt x="95" y="204"/>
                    <a:pt x="95" y="204"/>
                  </a:cubicBezTo>
                  <a:cubicBezTo>
                    <a:pt x="117" y="182"/>
                    <a:pt x="117" y="182"/>
                    <a:pt x="117" y="182"/>
                  </a:cubicBezTo>
                  <a:cubicBezTo>
                    <a:pt x="44" y="110"/>
                    <a:pt x="44" y="110"/>
                    <a:pt x="44" y="110"/>
                  </a:cubicBezTo>
                  <a:cubicBezTo>
                    <a:pt x="35" y="101"/>
                    <a:pt x="36" y="91"/>
                    <a:pt x="42" y="86"/>
                  </a:cubicBezTo>
                  <a:cubicBezTo>
                    <a:pt x="47" y="80"/>
                    <a:pt x="58" y="79"/>
                    <a:pt x="66" y="88"/>
                  </a:cubicBezTo>
                  <a:cubicBezTo>
                    <a:pt x="133" y="155"/>
                    <a:pt x="133" y="155"/>
                    <a:pt x="133" y="155"/>
                  </a:cubicBezTo>
                  <a:cubicBezTo>
                    <a:pt x="133" y="111"/>
                    <a:pt x="133" y="111"/>
                    <a:pt x="133" y="111"/>
                  </a:cubicBezTo>
                  <a:cubicBezTo>
                    <a:pt x="88" y="66"/>
                    <a:pt x="88" y="66"/>
                    <a:pt x="88" y="66"/>
                  </a:cubicBezTo>
                  <a:cubicBezTo>
                    <a:pt x="80" y="57"/>
                    <a:pt x="80" y="47"/>
                    <a:pt x="86" y="42"/>
                  </a:cubicBezTo>
                  <a:cubicBezTo>
                    <a:pt x="92" y="36"/>
                    <a:pt x="102" y="35"/>
                    <a:pt x="110" y="44"/>
                  </a:cubicBezTo>
                  <a:cubicBezTo>
                    <a:pt x="133" y="66"/>
                    <a:pt x="133" y="66"/>
                    <a:pt x="133" y="66"/>
                  </a:cubicBezTo>
                  <a:lnTo>
                    <a:pt x="133"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5" name="Freeform 14"/>
            <p:cNvSpPr>
              <a:spLocks noEditPoints="1"/>
            </p:cNvSpPr>
            <p:nvPr userDrawn="1"/>
          </p:nvSpPr>
          <p:spPr bwMode="auto">
            <a:xfrm>
              <a:off x="8023287" y="4895470"/>
              <a:ext cx="20556" cy="93282"/>
            </a:xfrm>
            <a:custGeom>
              <a:avLst/>
              <a:gdLst>
                <a:gd name="T0" fmla="*/ 14 w 27"/>
                <a:gd name="T1" fmla="*/ 26 h 128"/>
                <a:gd name="T2" fmla="*/ 0 w 27"/>
                <a:gd name="T3" fmla="*/ 13 h 128"/>
                <a:gd name="T4" fmla="*/ 14 w 27"/>
                <a:gd name="T5" fmla="*/ 0 h 128"/>
                <a:gd name="T6" fmla="*/ 27 w 27"/>
                <a:gd name="T7" fmla="*/ 13 h 128"/>
                <a:gd name="T8" fmla="*/ 14 w 27"/>
                <a:gd name="T9" fmla="*/ 26 h 128"/>
                <a:gd name="T10" fmla="*/ 3 w 27"/>
                <a:gd name="T11" fmla="*/ 128 h 128"/>
                <a:gd name="T12" fmla="*/ 3 w 27"/>
                <a:gd name="T13" fmla="*/ 40 h 128"/>
                <a:gd name="T14" fmla="*/ 25 w 27"/>
                <a:gd name="T15" fmla="*/ 40 h 128"/>
                <a:gd name="T16" fmla="*/ 25 w 27"/>
                <a:gd name="T17" fmla="*/ 112 h 128"/>
                <a:gd name="T18" fmla="*/ 3 w 27"/>
                <a:gd name="T1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128">
                  <a:moveTo>
                    <a:pt x="14" y="26"/>
                  </a:moveTo>
                  <a:cubicBezTo>
                    <a:pt x="6" y="26"/>
                    <a:pt x="0" y="20"/>
                    <a:pt x="0" y="13"/>
                  </a:cubicBezTo>
                  <a:cubicBezTo>
                    <a:pt x="0" y="6"/>
                    <a:pt x="6" y="0"/>
                    <a:pt x="14" y="0"/>
                  </a:cubicBezTo>
                  <a:cubicBezTo>
                    <a:pt x="21" y="0"/>
                    <a:pt x="27" y="5"/>
                    <a:pt x="27" y="13"/>
                  </a:cubicBezTo>
                  <a:cubicBezTo>
                    <a:pt x="27" y="20"/>
                    <a:pt x="21" y="26"/>
                    <a:pt x="14" y="26"/>
                  </a:cubicBezTo>
                  <a:close/>
                  <a:moveTo>
                    <a:pt x="3" y="128"/>
                  </a:moveTo>
                  <a:cubicBezTo>
                    <a:pt x="3" y="40"/>
                    <a:pt x="3" y="40"/>
                    <a:pt x="3" y="40"/>
                  </a:cubicBezTo>
                  <a:cubicBezTo>
                    <a:pt x="25" y="40"/>
                    <a:pt x="25" y="40"/>
                    <a:pt x="25" y="40"/>
                  </a:cubicBezTo>
                  <a:cubicBezTo>
                    <a:pt x="25" y="40"/>
                    <a:pt x="25" y="95"/>
                    <a:pt x="25" y="112"/>
                  </a:cubicBezTo>
                  <a:cubicBezTo>
                    <a:pt x="25" y="128"/>
                    <a:pt x="3" y="128"/>
                    <a:pt x="3" y="1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6" name="Freeform 15"/>
            <p:cNvSpPr>
              <a:spLocks/>
            </p:cNvSpPr>
            <p:nvPr userDrawn="1"/>
          </p:nvSpPr>
          <p:spPr bwMode="auto">
            <a:xfrm>
              <a:off x="8615239" y="4924717"/>
              <a:ext cx="103744" cy="66806"/>
            </a:xfrm>
            <a:custGeom>
              <a:avLst/>
              <a:gdLst>
                <a:gd name="T0" fmla="*/ 111 w 137"/>
                <a:gd name="T1" fmla="*/ 72 h 92"/>
                <a:gd name="T2" fmla="*/ 88 w 137"/>
                <a:gd name="T3" fmla="*/ 88 h 92"/>
                <a:gd name="T4" fmla="*/ 68 w 137"/>
                <a:gd name="T5" fmla="*/ 28 h 92"/>
                <a:gd name="T6" fmla="*/ 68 w 137"/>
                <a:gd name="T7" fmla="*/ 28 h 92"/>
                <a:gd name="T8" fmla="*/ 53 w 137"/>
                <a:gd name="T9" fmla="*/ 72 h 92"/>
                <a:gd name="T10" fmla="*/ 31 w 137"/>
                <a:gd name="T11" fmla="*/ 88 h 92"/>
                <a:gd name="T12" fmla="*/ 0 w 137"/>
                <a:gd name="T13" fmla="*/ 0 h 92"/>
                <a:gd name="T14" fmla="*/ 22 w 137"/>
                <a:gd name="T15" fmla="*/ 0 h 92"/>
                <a:gd name="T16" fmla="*/ 41 w 137"/>
                <a:gd name="T17" fmla="*/ 60 h 92"/>
                <a:gd name="T18" fmla="*/ 41 w 137"/>
                <a:gd name="T19" fmla="*/ 60 h 92"/>
                <a:gd name="T20" fmla="*/ 60 w 137"/>
                <a:gd name="T21" fmla="*/ 0 h 92"/>
                <a:gd name="T22" fmla="*/ 77 w 137"/>
                <a:gd name="T23" fmla="*/ 0 h 92"/>
                <a:gd name="T24" fmla="*/ 97 w 137"/>
                <a:gd name="T25" fmla="*/ 60 h 92"/>
                <a:gd name="T26" fmla="*/ 97 w 137"/>
                <a:gd name="T27" fmla="*/ 60 h 92"/>
                <a:gd name="T28" fmla="*/ 115 w 137"/>
                <a:gd name="T29" fmla="*/ 0 h 92"/>
                <a:gd name="T30" fmla="*/ 137 w 137"/>
                <a:gd name="T31" fmla="*/ 0 h 92"/>
                <a:gd name="T32" fmla="*/ 111 w 137"/>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 h="92">
                  <a:moveTo>
                    <a:pt x="111" y="72"/>
                  </a:moveTo>
                  <a:cubicBezTo>
                    <a:pt x="104" y="92"/>
                    <a:pt x="88" y="88"/>
                    <a:pt x="88" y="88"/>
                  </a:cubicBezTo>
                  <a:cubicBezTo>
                    <a:pt x="68" y="28"/>
                    <a:pt x="68" y="28"/>
                    <a:pt x="68" y="28"/>
                  </a:cubicBezTo>
                  <a:cubicBezTo>
                    <a:pt x="68" y="28"/>
                    <a:pt x="68" y="28"/>
                    <a:pt x="68" y="28"/>
                  </a:cubicBezTo>
                  <a:cubicBezTo>
                    <a:pt x="68" y="28"/>
                    <a:pt x="59"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7" y="60"/>
                    <a:pt x="97" y="60"/>
                    <a:pt x="97" y="60"/>
                  </a:cubicBezTo>
                  <a:cubicBezTo>
                    <a:pt x="97" y="60"/>
                    <a:pt x="97" y="60"/>
                    <a:pt x="97" y="60"/>
                  </a:cubicBezTo>
                  <a:cubicBezTo>
                    <a:pt x="115" y="0"/>
                    <a:pt x="115" y="0"/>
                    <a:pt x="115" y="0"/>
                  </a:cubicBezTo>
                  <a:cubicBezTo>
                    <a:pt x="137" y="0"/>
                    <a:pt x="137" y="0"/>
                    <a:pt x="137" y="0"/>
                  </a:cubicBezTo>
                  <a:cubicBezTo>
                    <a:pt x="137"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7" name="Freeform 16"/>
            <p:cNvSpPr>
              <a:spLocks noEditPoints="1"/>
            </p:cNvSpPr>
            <p:nvPr userDrawn="1"/>
          </p:nvSpPr>
          <p:spPr bwMode="auto">
            <a:xfrm>
              <a:off x="8423168" y="4892699"/>
              <a:ext cx="65844" cy="95129"/>
            </a:xfrm>
            <a:custGeom>
              <a:avLst/>
              <a:gdLst>
                <a:gd name="T0" fmla="*/ 1 w 87"/>
                <a:gd name="T1" fmla="*/ 0 h 131"/>
                <a:gd name="T2" fmla="*/ 0 w 87"/>
                <a:gd name="T3" fmla="*/ 131 h 131"/>
                <a:gd name="T4" fmla="*/ 41 w 87"/>
                <a:gd name="T5" fmla="*/ 131 h 131"/>
                <a:gd name="T6" fmla="*/ 87 w 87"/>
                <a:gd name="T7" fmla="*/ 92 h 131"/>
                <a:gd name="T8" fmla="*/ 65 w 87"/>
                <a:gd name="T9" fmla="*/ 61 h 131"/>
                <a:gd name="T10" fmla="*/ 62 w 87"/>
                <a:gd name="T11" fmla="*/ 60 h 131"/>
                <a:gd name="T12" fmla="*/ 64 w 87"/>
                <a:gd name="T13" fmla="*/ 59 h 131"/>
                <a:gd name="T14" fmla="*/ 79 w 87"/>
                <a:gd name="T15" fmla="*/ 32 h 131"/>
                <a:gd name="T16" fmla="*/ 42 w 87"/>
                <a:gd name="T17" fmla="*/ 0 h 131"/>
                <a:gd name="T18" fmla="*/ 1 w 87"/>
                <a:gd name="T19" fmla="*/ 0 h 131"/>
                <a:gd name="T20" fmla="*/ 23 w 87"/>
                <a:gd name="T21" fmla="*/ 17 h 131"/>
                <a:gd name="T22" fmla="*/ 36 w 87"/>
                <a:gd name="T23" fmla="*/ 17 h 131"/>
                <a:gd name="T24" fmla="*/ 56 w 87"/>
                <a:gd name="T25" fmla="*/ 35 h 131"/>
                <a:gd name="T26" fmla="*/ 38 w 87"/>
                <a:gd name="T27" fmla="*/ 55 h 131"/>
                <a:gd name="T28" fmla="*/ 22 w 87"/>
                <a:gd name="T29" fmla="*/ 55 h 131"/>
                <a:gd name="T30" fmla="*/ 23 w 87"/>
                <a:gd name="T31" fmla="*/ 17 h 131"/>
                <a:gd name="T32" fmla="*/ 22 w 87"/>
                <a:gd name="T33" fmla="*/ 74 h 131"/>
                <a:gd name="T34" fmla="*/ 40 w 87"/>
                <a:gd name="T35" fmla="*/ 74 h 131"/>
                <a:gd name="T36" fmla="*/ 64 w 87"/>
                <a:gd name="T37" fmla="*/ 92 h 131"/>
                <a:gd name="T38" fmla="*/ 39 w 87"/>
                <a:gd name="T39" fmla="*/ 113 h 131"/>
                <a:gd name="T40" fmla="*/ 22 w 87"/>
                <a:gd name="T41" fmla="*/ 113 h 131"/>
                <a:gd name="T42" fmla="*/ 22 w 87"/>
                <a:gd name="T43" fmla="*/ 7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131">
                  <a:moveTo>
                    <a:pt x="1" y="0"/>
                  </a:moveTo>
                  <a:cubicBezTo>
                    <a:pt x="1" y="3"/>
                    <a:pt x="0" y="129"/>
                    <a:pt x="0" y="131"/>
                  </a:cubicBezTo>
                  <a:cubicBezTo>
                    <a:pt x="2" y="131"/>
                    <a:pt x="41" y="131"/>
                    <a:pt x="41" y="131"/>
                  </a:cubicBezTo>
                  <a:cubicBezTo>
                    <a:pt x="73" y="131"/>
                    <a:pt x="87" y="111"/>
                    <a:pt x="87" y="92"/>
                  </a:cubicBezTo>
                  <a:cubicBezTo>
                    <a:pt x="87" y="77"/>
                    <a:pt x="79" y="65"/>
                    <a:pt x="65" y="61"/>
                  </a:cubicBezTo>
                  <a:cubicBezTo>
                    <a:pt x="62" y="60"/>
                    <a:pt x="62" y="60"/>
                    <a:pt x="62" y="60"/>
                  </a:cubicBezTo>
                  <a:cubicBezTo>
                    <a:pt x="64" y="59"/>
                    <a:pt x="64" y="59"/>
                    <a:pt x="64" y="59"/>
                  </a:cubicBezTo>
                  <a:cubicBezTo>
                    <a:pt x="74" y="54"/>
                    <a:pt x="79" y="44"/>
                    <a:pt x="79" y="32"/>
                  </a:cubicBezTo>
                  <a:cubicBezTo>
                    <a:pt x="79" y="17"/>
                    <a:pt x="68" y="0"/>
                    <a:pt x="42" y="0"/>
                  </a:cubicBezTo>
                  <a:cubicBezTo>
                    <a:pt x="42" y="0"/>
                    <a:pt x="3" y="0"/>
                    <a:pt x="1" y="0"/>
                  </a:cubicBezTo>
                  <a:close/>
                  <a:moveTo>
                    <a:pt x="23" y="17"/>
                  </a:moveTo>
                  <a:cubicBezTo>
                    <a:pt x="36" y="17"/>
                    <a:pt x="36" y="17"/>
                    <a:pt x="36" y="17"/>
                  </a:cubicBezTo>
                  <a:cubicBezTo>
                    <a:pt x="49" y="17"/>
                    <a:pt x="56" y="24"/>
                    <a:pt x="56" y="35"/>
                  </a:cubicBezTo>
                  <a:cubicBezTo>
                    <a:pt x="56" y="47"/>
                    <a:pt x="47" y="55"/>
                    <a:pt x="38" y="55"/>
                  </a:cubicBezTo>
                  <a:cubicBezTo>
                    <a:pt x="22" y="55"/>
                    <a:pt x="22" y="55"/>
                    <a:pt x="22" y="55"/>
                  </a:cubicBezTo>
                  <a:lnTo>
                    <a:pt x="23" y="17"/>
                  </a:lnTo>
                  <a:close/>
                  <a:moveTo>
                    <a:pt x="22" y="74"/>
                  </a:moveTo>
                  <a:cubicBezTo>
                    <a:pt x="40" y="74"/>
                    <a:pt x="40" y="74"/>
                    <a:pt x="40" y="74"/>
                  </a:cubicBezTo>
                  <a:cubicBezTo>
                    <a:pt x="55" y="74"/>
                    <a:pt x="64" y="81"/>
                    <a:pt x="64" y="92"/>
                  </a:cubicBezTo>
                  <a:cubicBezTo>
                    <a:pt x="64" y="105"/>
                    <a:pt x="55" y="113"/>
                    <a:pt x="39" y="113"/>
                  </a:cubicBezTo>
                  <a:cubicBezTo>
                    <a:pt x="22" y="113"/>
                    <a:pt x="22" y="113"/>
                    <a:pt x="22" y="113"/>
                  </a:cubicBezTo>
                  <a:lnTo>
                    <a:pt x="22" y="74"/>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8" name="Freeform 17"/>
            <p:cNvSpPr>
              <a:spLocks noEditPoints="1"/>
            </p:cNvSpPr>
            <p:nvPr userDrawn="1"/>
          </p:nvSpPr>
          <p:spPr bwMode="auto">
            <a:xfrm>
              <a:off x="8546184" y="4923177"/>
              <a:ext cx="66486" cy="66190"/>
            </a:xfrm>
            <a:custGeom>
              <a:avLst/>
              <a:gdLst>
                <a:gd name="T0" fmla="*/ 75 w 88"/>
                <a:gd name="T1" fmla="*/ 78 h 91"/>
                <a:gd name="T2" fmla="*/ 44 w 88"/>
                <a:gd name="T3" fmla="*/ 91 h 91"/>
                <a:gd name="T4" fmla="*/ 14 w 88"/>
                <a:gd name="T5" fmla="*/ 80 h 91"/>
                <a:gd name="T6" fmla="*/ 0 w 88"/>
                <a:gd name="T7" fmla="*/ 46 h 91"/>
                <a:gd name="T8" fmla="*/ 13 w 88"/>
                <a:gd name="T9" fmla="*/ 12 h 91"/>
                <a:gd name="T10" fmla="*/ 44 w 88"/>
                <a:gd name="T11" fmla="*/ 0 h 91"/>
                <a:gd name="T12" fmla="*/ 76 w 88"/>
                <a:gd name="T13" fmla="*/ 12 h 91"/>
                <a:gd name="T14" fmla="*/ 88 w 88"/>
                <a:gd name="T15" fmla="*/ 45 h 91"/>
                <a:gd name="T16" fmla="*/ 75 w 88"/>
                <a:gd name="T17" fmla="*/ 78 h 91"/>
                <a:gd name="T18" fmla="*/ 44 w 88"/>
                <a:gd name="T19" fmla="*/ 17 h 91"/>
                <a:gd name="T20" fmla="*/ 23 w 88"/>
                <a:gd name="T21" fmla="*/ 45 h 91"/>
                <a:gd name="T22" fmla="*/ 44 w 88"/>
                <a:gd name="T23" fmla="*/ 73 h 91"/>
                <a:gd name="T24" fmla="*/ 65 w 88"/>
                <a:gd name="T25" fmla="*/ 45 h 91"/>
                <a:gd name="T26" fmla="*/ 44 w 88"/>
                <a:gd name="T27"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91">
                  <a:moveTo>
                    <a:pt x="75" y="78"/>
                  </a:moveTo>
                  <a:cubicBezTo>
                    <a:pt x="68" y="86"/>
                    <a:pt x="57" y="91"/>
                    <a:pt x="44" y="91"/>
                  </a:cubicBezTo>
                  <a:cubicBezTo>
                    <a:pt x="32" y="91"/>
                    <a:pt x="21" y="87"/>
                    <a:pt x="14" y="80"/>
                  </a:cubicBezTo>
                  <a:cubicBezTo>
                    <a:pt x="5" y="72"/>
                    <a:pt x="0" y="60"/>
                    <a:pt x="0" y="46"/>
                  </a:cubicBezTo>
                  <a:cubicBezTo>
                    <a:pt x="0" y="32"/>
                    <a:pt x="5" y="20"/>
                    <a:pt x="13" y="12"/>
                  </a:cubicBezTo>
                  <a:cubicBezTo>
                    <a:pt x="21" y="4"/>
                    <a:pt x="31" y="0"/>
                    <a:pt x="44" y="0"/>
                  </a:cubicBezTo>
                  <a:cubicBezTo>
                    <a:pt x="57" y="0"/>
                    <a:pt x="68" y="4"/>
                    <a:pt x="76" y="12"/>
                  </a:cubicBezTo>
                  <a:cubicBezTo>
                    <a:pt x="84" y="20"/>
                    <a:pt x="88" y="32"/>
                    <a:pt x="88" y="45"/>
                  </a:cubicBezTo>
                  <a:cubicBezTo>
                    <a:pt x="88" y="58"/>
                    <a:pt x="83" y="70"/>
                    <a:pt x="75" y="78"/>
                  </a:cubicBezTo>
                  <a:close/>
                  <a:moveTo>
                    <a:pt x="44" y="17"/>
                  </a:moveTo>
                  <a:cubicBezTo>
                    <a:pt x="30" y="17"/>
                    <a:pt x="23" y="29"/>
                    <a:pt x="23" y="45"/>
                  </a:cubicBezTo>
                  <a:cubicBezTo>
                    <a:pt x="23" y="62"/>
                    <a:pt x="31" y="73"/>
                    <a:pt x="44" y="73"/>
                  </a:cubicBezTo>
                  <a:cubicBezTo>
                    <a:pt x="58" y="73"/>
                    <a:pt x="65" y="61"/>
                    <a:pt x="65" y="45"/>
                  </a:cubicBezTo>
                  <a:cubicBezTo>
                    <a:pt x="65" y="28"/>
                    <a:pt x="57" y="17"/>
                    <a:pt x="44" y="1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9" name="Freeform 18"/>
            <p:cNvSpPr>
              <a:spLocks/>
            </p:cNvSpPr>
            <p:nvPr userDrawn="1"/>
          </p:nvSpPr>
          <p:spPr bwMode="auto">
            <a:xfrm>
              <a:off x="8728298" y="4923177"/>
              <a:ext cx="60705" cy="65574"/>
            </a:xfrm>
            <a:custGeom>
              <a:avLst/>
              <a:gdLst>
                <a:gd name="T0" fmla="*/ 58 w 80"/>
                <a:gd name="T1" fmla="*/ 90 h 90"/>
                <a:gd name="T2" fmla="*/ 58 w 80"/>
                <a:gd name="T3" fmla="*/ 38 h 90"/>
                <a:gd name="T4" fmla="*/ 45 w 80"/>
                <a:gd name="T5" fmla="*/ 19 h 90"/>
                <a:gd name="T6" fmla="*/ 23 w 80"/>
                <a:gd name="T7" fmla="*/ 28 h 90"/>
                <a:gd name="T8" fmla="*/ 23 w 80"/>
                <a:gd name="T9" fmla="*/ 74 h 90"/>
                <a:gd name="T10" fmla="*/ 0 w 80"/>
                <a:gd name="T11" fmla="*/ 90 h 90"/>
                <a:gd name="T12" fmla="*/ 0 w 80"/>
                <a:gd name="T13" fmla="*/ 2 h 90"/>
                <a:gd name="T14" fmla="*/ 19 w 80"/>
                <a:gd name="T15" fmla="*/ 2 h 90"/>
                <a:gd name="T16" fmla="*/ 22 w 80"/>
                <a:gd name="T17" fmla="*/ 11 h 90"/>
                <a:gd name="T18" fmla="*/ 52 w 80"/>
                <a:gd name="T19" fmla="*/ 0 h 90"/>
                <a:gd name="T20" fmla="*/ 80 w 80"/>
                <a:gd name="T21" fmla="*/ 31 h 90"/>
                <a:gd name="T22" fmla="*/ 80 w 80"/>
                <a:gd name="T23" fmla="*/ 74 h 90"/>
                <a:gd name="T24" fmla="*/ 58 w 80"/>
                <a:gd name="T2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90">
                  <a:moveTo>
                    <a:pt x="58" y="90"/>
                  </a:moveTo>
                  <a:cubicBezTo>
                    <a:pt x="58" y="38"/>
                    <a:pt x="58" y="38"/>
                    <a:pt x="58" y="38"/>
                  </a:cubicBezTo>
                  <a:cubicBezTo>
                    <a:pt x="58" y="29"/>
                    <a:pt x="56" y="19"/>
                    <a:pt x="45" y="19"/>
                  </a:cubicBezTo>
                  <a:cubicBezTo>
                    <a:pt x="37" y="19"/>
                    <a:pt x="29" y="23"/>
                    <a:pt x="23" y="28"/>
                  </a:cubicBezTo>
                  <a:cubicBezTo>
                    <a:pt x="23" y="28"/>
                    <a:pt x="23" y="57"/>
                    <a:pt x="23" y="74"/>
                  </a:cubicBezTo>
                  <a:cubicBezTo>
                    <a:pt x="23" y="90"/>
                    <a:pt x="0" y="90"/>
                    <a:pt x="0" y="90"/>
                  </a:cubicBezTo>
                  <a:cubicBezTo>
                    <a:pt x="0" y="2"/>
                    <a:pt x="0" y="2"/>
                    <a:pt x="0" y="2"/>
                  </a:cubicBezTo>
                  <a:cubicBezTo>
                    <a:pt x="19" y="2"/>
                    <a:pt x="19" y="2"/>
                    <a:pt x="19" y="2"/>
                  </a:cubicBezTo>
                  <a:cubicBezTo>
                    <a:pt x="22" y="11"/>
                    <a:pt x="22" y="11"/>
                    <a:pt x="22" y="11"/>
                  </a:cubicBezTo>
                  <a:cubicBezTo>
                    <a:pt x="31" y="4"/>
                    <a:pt x="40" y="0"/>
                    <a:pt x="52" y="0"/>
                  </a:cubicBezTo>
                  <a:cubicBezTo>
                    <a:pt x="65" y="0"/>
                    <a:pt x="80" y="8"/>
                    <a:pt x="80" y="31"/>
                  </a:cubicBezTo>
                  <a:cubicBezTo>
                    <a:pt x="80" y="31"/>
                    <a:pt x="80" y="57"/>
                    <a:pt x="80" y="74"/>
                  </a:cubicBezTo>
                  <a:cubicBezTo>
                    <a:pt x="80" y="90"/>
                    <a:pt x="58" y="90"/>
                    <a:pt x="58" y="9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0" name="Freeform 19"/>
            <p:cNvSpPr>
              <a:spLocks/>
            </p:cNvSpPr>
            <p:nvPr userDrawn="1"/>
          </p:nvSpPr>
          <p:spPr bwMode="auto">
            <a:xfrm>
              <a:off x="8501217" y="4923177"/>
              <a:ext cx="43361" cy="65574"/>
            </a:xfrm>
            <a:custGeom>
              <a:avLst/>
              <a:gdLst>
                <a:gd name="T0" fmla="*/ 49 w 57"/>
                <a:gd name="T1" fmla="*/ 22 h 90"/>
                <a:gd name="T2" fmla="*/ 39 w 57"/>
                <a:gd name="T3" fmla="*/ 20 h 90"/>
                <a:gd name="T4" fmla="*/ 22 w 57"/>
                <a:gd name="T5" fmla="*/ 27 h 90"/>
                <a:gd name="T6" fmla="*/ 22 w 57"/>
                <a:gd name="T7" fmla="*/ 74 h 90"/>
                <a:gd name="T8" fmla="*/ 0 w 57"/>
                <a:gd name="T9" fmla="*/ 90 h 90"/>
                <a:gd name="T10" fmla="*/ 0 w 57"/>
                <a:gd name="T11" fmla="*/ 2 h 90"/>
                <a:gd name="T12" fmla="*/ 19 w 57"/>
                <a:gd name="T13" fmla="*/ 2 h 90"/>
                <a:gd name="T14" fmla="*/ 21 w 57"/>
                <a:gd name="T15" fmla="*/ 11 h 90"/>
                <a:gd name="T16" fmla="*/ 45 w 57"/>
                <a:gd name="T17" fmla="*/ 0 h 90"/>
                <a:gd name="T18" fmla="*/ 57 w 57"/>
                <a:gd name="T19" fmla="*/ 4 h 90"/>
                <a:gd name="T20" fmla="*/ 49 w 57"/>
                <a:gd name="T21" fmla="*/ 2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0">
                  <a:moveTo>
                    <a:pt x="49" y="22"/>
                  </a:moveTo>
                  <a:cubicBezTo>
                    <a:pt x="46" y="20"/>
                    <a:pt x="42" y="20"/>
                    <a:pt x="39" y="20"/>
                  </a:cubicBezTo>
                  <a:cubicBezTo>
                    <a:pt x="34" y="20"/>
                    <a:pt x="28" y="22"/>
                    <a:pt x="22" y="27"/>
                  </a:cubicBezTo>
                  <a:cubicBezTo>
                    <a:pt x="22" y="27"/>
                    <a:pt x="22" y="57"/>
                    <a:pt x="22" y="74"/>
                  </a:cubicBezTo>
                  <a:cubicBezTo>
                    <a:pt x="22" y="90"/>
                    <a:pt x="0" y="90"/>
                    <a:pt x="0" y="90"/>
                  </a:cubicBezTo>
                  <a:cubicBezTo>
                    <a:pt x="0" y="2"/>
                    <a:pt x="0" y="2"/>
                    <a:pt x="0" y="2"/>
                  </a:cubicBezTo>
                  <a:cubicBezTo>
                    <a:pt x="19" y="2"/>
                    <a:pt x="19" y="2"/>
                    <a:pt x="19"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1" name="Freeform 20"/>
            <p:cNvSpPr>
              <a:spLocks/>
            </p:cNvSpPr>
            <p:nvPr userDrawn="1"/>
          </p:nvSpPr>
          <p:spPr bwMode="auto">
            <a:xfrm>
              <a:off x="7766657" y="4864376"/>
              <a:ext cx="100211" cy="148389"/>
            </a:xfrm>
            <a:custGeom>
              <a:avLst/>
              <a:gdLst>
                <a:gd name="T0" fmla="*/ 0 w 132"/>
                <a:gd name="T1" fmla="*/ 23 h 204"/>
                <a:gd name="T2" fmla="*/ 1 w 132"/>
                <a:gd name="T3" fmla="*/ 22 h 204"/>
                <a:gd name="T4" fmla="*/ 67 w 132"/>
                <a:gd name="T5" fmla="*/ 20 h 204"/>
                <a:gd name="T6" fmla="*/ 80 w 132"/>
                <a:gd name="T7" fmla="*/ 52 h 204"/>
                <a:gd name="T8" fmla="*/ 113 w 132"/>
                <a:gd name="T9" fmla="*/ 65 h 204"/>
                <a:gd name="T10" fmla="*/ 111 w 132"/>
                <a:gd name="T11" fmla="*/ 132 h 204"/>
                <a:gd name="T12" fmla="*/ 38 w 132"/>
                <a:gd name="T13" fmla="*/ 204 h 204"/>
                <a:gd name="T14" fmla="*/ 16 w 132"/>
                <a:gd name="T15" fmla="*/ 182 h 204"/>
                <a:gd name="T16" fmla="*/ 88 w 132"/>
                <a:gd name="T17" fmla="*/ 110 h 204"/>
                <a:gd name="T18" fmla="*/ 91 w 132"/>
                <a:gd name="T19" fmla="*/ 86 h 204"/>
                <a:gd name="T20" fmla="*/ 67 w 132"/>
                <a:gd name="T21" fmla="*/ 88 h 204"/>
                <a:gd name="T22" fmla="*/ 0 w 132"/>
                <a:gd name="T23" fmla="*/ 155 h 204"/>
                <a:gd name="T24" fmla="*/ 0 w 132"/>
                <a:gd name="T25" fmla="*/ 111 h 204"/>
                <a:gd name="T26" fmla="*/ 45 w 132"/>
                <a:gd name="T27" fmla="*/ 66 h 204"/>
                <a:gd name="T28" fmla="*/ 46 w 132"/>
                <a:gd name="T29" fmla="*/ 42 h 204"/>
                <a:gd name="T30" fmla="*/ 22 w 132"/>
                <a:gd name="T31" fmla="*/ 44 h 204"/>
                <a:gd name="T32" fmla="*/ 0 w 132"/>
                <a:gd name="T33" fmla="*/ 66 h 204"/>
                <a:gd name="T34" fmla="*/ 0 w 132"/>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204">
                  <a:moveTo>
                    <a:pt x="0" y="23"/>
                  </a:moveTo>
                  <a:cubicBezTo>
                    <a:pt x="1" y="22"/>
                    <a:pt x="1" y="22"/>
                    <a:pt x="1" y="22"/>
                  </a:cubicBezTo>
                  <a:cubicBezTo>
                    <a:pt x="23" y="0"/>
                    <a:pt x="50" y="2"/>
                    <a:pt x="67" y="20"/>
                  </a:cubicBezTo>
                  <a:cubicBezTo>
                    <a:pt x="80" y="32"/>
                    <a:pt x="81" y="46"/>
                    <a:pt x="80" y="52"/>
                  </a:cubicBezTo>
                  <a:cubicBezTo>
                    <a:pt x="86" y="51"/>
                    <a:pt x="100" y="52"/>
                    <a:pt x="113" y="65"/>
                  </a:cubicBezTo>
                  <a:cubicBezTo>
                    <a:pt x="130" y="82"/>
                    <a:pt x="132" y="110"/>
                    <a:pt x="111" y="132"/>
                  </a:cubicBezTo>
                  <a:cubicBezTo>
                    <a:pt x="38" y="204"/>
                    <a:pt x="38" y="204"/>
                    <a:pt x="38" y="204"/>
                  </a:cubicBezTo>
                  <a:cubicBezTo>
                    <a:pt x="16" y="182"/>
                    <a:pt x="16" y="182"/>
                    <a:pt x="16" y="182"/>
                  </a:cubicBezTo>
                  <a:cubicBezTo>
                    <a:pt x="88" y="110"/>
                    <a:pt x="88" y="110"/>
                    <a:pt x="88" y="110"/>
                  </a:cubicBezTo>
                  <a:cubicBezTo>
                    <a:pt x="97" y="101"/>
                    <a:pt x="96" y="91"/>
                    <a:pt x="91" y="86"/>
                  </a:cubicBezTo>
                  <a:cubicBezTo>
                    <a:pt x="85" y="80"/>
                    <a:pt x="75" y="79"/>
                    <a:pt x="67" y="88"/>
                  </a:cubicBezTo>
                  <a:cubicBezTo>
                    <a:pt x="0" y="155"/>
                    <a:pt x="0" y="155"/>
                    <a:pt x="0" y="155"/>
                  </a:cubicBezTo>
                  <a:cubicBezTo>
                    <a:pt x="0" y="111"/>
                    <a:pt x="0" y="111"/>
                    <a:pt x="0" y="111"/>
                  </a:cubicBezTo>
                  <a:cubicBezTo>
                    <a:pt x="45" y="66"/>
                    <a:pt x="45" y="66"/>
                    <a:pt x="45" y="66"/>
                  </a:cubicBezTo>
                  <a:cubicBezTo>
                    <a:pt x="53" y="57"/>
                    <a:pt x="52" y="47"/>
                    <a:pt x="46" y="42"/>
                  </a:cubicBezTo>
                  <a:cubicBezTo>
                    <a:pt x="41" y="36"/>
                    <a:pt x="31" y="35"/>
                    <a:pt x="22" y="44"/>
                  </a:cubicBezTo>
                  <a:cubicBezTo>
                    <a:pt x="0" y="66"/>
                    <a:pt x="0" y="66"/>
                    <a:pt x="0" y="66"/>
                  </a:cubicBezTo>
                  <a:lnTo>
                    <a:pt x="0"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2" name="Freeform 21"/>
            <p:cNvSpPr>
              <a:spLocks noEditPoints="1"/>
            </p:cNvSpPr>
            <p:nvPr userDrawn="1"/>
          </p:nvSpPr>
          <p:spPr bwMode="auto">
            <a:xfrm>
              <a:off x="7980890" y="5040472"/>
              <a:ext cx="51390" cy="57878"/>
            </a:xfrm>
            <a:custGeom>
              <a:avLst/>
              <a:gdLst>
                <a:gd name="T0" fmla="*/ 0 w 68"/>
                <a:gd name="T1" fmla="*/ 40 h 80"/>
                <a:gd name="T2" fmla="*/ 35 w 68"/>
                <a:gd name="T3" fmla="*/ 0 h 80"/>
                <a:gd name="T4" fmla="*/ 68 w 68"/>
                <a:gd name="T5" fmla="*/ 41 h 80"/>
                <a:gd name="T6" fmla="*/ 68 w 68"/>
                <a:gd name="T7" fmla="*/ 46 h 80"/>
                <a:gd name="T8" fmla="*/ 20 w 68"/>
                <a:gd name="T9" fmla="*/ 46 h 80"/>
                <a:gd name="T10" fmla="*/ 41 w 68"/>
                <a:gd name="T11" fmla="*/ 65 h 80"/>
                <a:gd name="T12" fmla="*/ 60 w 68"/>
                <a:gd name="T13" fmla="*/ 60 h 80"/>
                <a:gd name="T14" fmla="*/ 66 w 68"/>
                <a:gd name="T15" fmla="*/ 73 h 80"/>
                <a:gd name="T16" fmla="*/ 39 w 68"/>
                <a:gd name="T17" fmla="*/ 80 h 80"/>
                <a:gd name="T18" fmla="*/ 0 w 68"/>
                <a:gd name="T19" fmla="*/ 40 h 80"/>
                <a:gd name="T20" fmla="*/ 49 w 68"/>
                <a:gd name="T21" fmla="*/ 32 h 80"/>
                <a:gd name="T22" fmla="*/ 34 w 68"/>
                <a:gd name="T23" fmla="*/ 15 h 80"/>
                <a:gd name="T24" fmla="*/ 19 w 68"/>
                <a:gd name="T25" fmla="*/ 32 h 80"/>
                <a:gd name="T26" fmla="*/ 49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3" y="0"/>
                    <a:pt x="35" y="0"/>
                  </a:cubicBezTo>
                  <a:cubicBezTo>
                    <a:pt x="56" y="0"/>
                    <a:pt x="68" y="16"/>
                    <a:pt x="68" y="41"/>
                  </a:cubicBezTo>
                  <a:cubicBezTo>
                    <a:pt x="68" y="46"/>
                    <a:pt x="68" y="46"/>
                    <a:pt x="68" y="46"/>
                  </a:cubicBezTo>
                  <a:cubicBezTo>
                    <a:pt x="20" y="46"/>
                    <a:pt x="20" y="46"/>
                    <a:pt x="20" y="46"/>
                  </a:cubicBezTo>
                  <a:cubicBezTo>
                    <a:pt x="20" y="57"/>
                    <a:pt x="28" y="65"/>
                    <a:pt x="41" y="65"/>
                  </a:cubicBezTo>
                  <a:cubicBezTo>
                    <a:pt x="49" y="65"/>
                    <a:pt x="55" y="63"/>
                    <a:pt x="60" y="60"/>
                  </a:cubicBezTo>
                  <a:cubicBezTo>
                    <a:pt x="66" y="73"/>
                    <a:pt x="66" y="73"/>
                    <a:pt x="66" y="73"/>
                  </a:cubicBezTo>
                  <a:cubicBezTo>
                    <a:pt x="58" y="78"/>
                    <a:pt x="49" y="80"/>
                    <a:pt x="39" y="80"/>
                  </a:cubicBezTo>
                  <a:cubicBezTo>
                    <a:pt x="11" y="80"/>
                    <a:pt x="0" y="61"/>
                    <a:pt x="0" y="40"/>
                  </a:cubicBezTo>
                  <a:close/>
                  <a:moveTo>
                    <a:pt x="49" y="32"/>
                  </a:moveTo>
                  <a:cubicBezTo>
                    <a:pt x="49" y="23"/>
                    <a:pt x="44" y="15"/>
                    <a:pt x="34" y="15"/>
                  </a:cubicBezTo>
                  <a:cubicBezTo>
                    <a:pt x="25" y="15"/>
                    <a:pt x="19" y="23"/>
                    <a:pt x="19" y="32"/>
                  </a:cubicBezTo>
                  <a:lnTo>
                    <a:pt x="49"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3" name="Freeform 22"/>
            <p:cNvSpPr>
              <a:spLocks/>
            </p:cNvSpPr>
            <p:nvPr userDrawn="1"/>
          </p:nvSpPr>
          <p:spPr bwMode="auto">
            <a:xfrm>
              <a:off x="8295656" y="5041088"/>
              <a:ext cx="37258" cy="56031"/>
            </a:xfrm>
            <a:custGeom>
              <a:avLst/>
              <a:gdLst>
                <a:gd name="T0" fmla="*/ 42 w 49"/>
                <a:gd name="T1" fmla="*/ 19 h 77"/>
                <a:gd name="T2" fmla="*/ 33 w 49"/>
                <a:gd name="T3" fmla="*/ 16 h 77"/>
                <a:gd name="T4" fmla="*/ 19 w 49"/>
                <a:gd name="T5" fmla="*/ 23 h 77"/>
                <a:gd name="T6" fmla="*/ 19 w 49"/>
                <a:gd name="T7" fmla="*/ 63 h 77"/>
                <a:gd name="T8" fmla="*/ 0 w 49"/>
                <a:gd name="T9" fmla="*/ 77 h 77"/>
                <a:gd name="T10" fmla="*/ 0 w 49"/>
                <a:gd name="T11" fmla="*/ 1 h 77"/>
                <a:gd name="T12" fmla="*/ 16 w 49"/>
                <a:gd name="T13" fmla="*/ 1 h 77"/>
                <a:gd name="T14" fmla="*/ 18 w 49"/>
                <a:gd name="T15" fmla="*/ 9 h 77"/>
                <a:gd name="T16" fmla="*/ 39 w 49"/>
                <a:gd name="T17" fmla="*/ 0 h 77"/>
                <a:gd name="T18" fmla="*/ 49 w 49"/>
                <a:gd name="T19" fmla="*/ 3 h 77"/>
                <a:gd name="T20" fmla="*/ 42 w 49"/>
                <a:gd name="T21"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77">
                  <a:moveTo>
                    <a:pt x="42" y="19"/>
                  </a:moveTo>
                  <a:cubicBezTo>
                    <a:pt x="39" y="17"/>
                    <a:pt x="36" y="16"/>
                    <a:pt x="33" y="16"/>
                  </a:cubicBezTo>
                  <a:cubicBezTo>
                    <a:pt x="29" y="16"/>
                    <a:pt x="24" y="18"/>
                    <a:pt x="19" y="23"/>
                  </a:cubicBezTo>
                  <a:cubicBezTo>
                    <a:pt x="19" y="2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2"/>
                    <a:pt x="32" y="0"/>
                    <a:pt x="39" y="0"/>
                  </a:cubicBezTo>
                  <a:cubicBezTo>
                    <a:pt x="42" y="0"/>
                    <a:pt x="46" y="1"/>
                    <a:pt x="49" y="3"/>
                  </a:cubicBezTo>
                  <a:lnTo>
                    <a:pt x="42" y="1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4" name="Freeform 23"/>
            <p:cNvSpPr>
              <a:spLocks noEditPoints="1"/>
            </p:cNvSpPr>
            <p:nvPr userDrawn="1"/>
          </p:nvSpPr>
          <p:spPr bwMode="auto">
            <a:xfrm>
              <a:off x="8178743" y="5040472"/>
              <a:ext cx="51712" cy="57878"/>
            </a:xfrm>
            <a:custGeom>
              <a:avLst/>
              <a:gdLst>
                <a:gd name="T0" fmla="*/ 0 w 68"/>
                <a:gd name="T1" fmla="*/ 40 h 80"/>
                <a:gd name="T2" fmla="*/ 34 w 68"/>
                <a:gd name="T3" fmla="*/ 0 h 80"/>
                <a:gd name="T4" fmla="*/ 68 w 68"/>
                <a:gd name="T5" fmla="*/ 41 h 80"/>
                <a:gd name="T6" fmla="*/ 68 w 68"/>
                <a:gd name="T7" fmla="*/ 46 h 80"/>
                <a:gd name="T8" fmla="*/ 19 w 68"/>
                <a:gd name="T9" fmla="*/ 46 h 80"/>
                <a:gd name="T10" fmla="*/ 41 w 68"/>
                <a:gd name="T11" fmla="*/ 65 h 80"/>
                <a:gd name="T12" fmla="*/ 60 w 68"/>
                <a:gd name="T13" fmla="*/ 60 h 80"/>
                <a:gd name="T14" fmla="*/ 66 w 68"/>
                <a:gd name="T15" fmla="*/ 73 h 80"/>
                <a:gd name="T16" fmla="*/ 39 w 68"/>
                <a:gd name="T17" fmla="*/ 80 h 80"/>
                <a:gd name="T18" fmla="*/ 0 w 68"/>
                <a:gd name="T19" fmla="*/ 40 h 80"/>
                <a:gd name="T20" fmla="*/ 49 w 68"/>
                <a:gd name="T21" fmla="*/ 32 h 80"/>
                <a:gd name="T22" fmla="*/ 34 w 68"/>
                <a:gd name="T23" fmla="*/ 15 h 80"/>
                <a:gd name="T24" fmla="*/ 19 w 68"/>
                <a:gd name="T25" fmla="*/ 32 h 80"/>
                <a:gd name="T26" fmla="*/ 49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3" y="0"/>
                    <a:pt x="34" y="0"/>
                  </a:cubicBezTo>
                  <a:cubicBezTo>
                    <a:pt x="56" y="0"/>
                    <a:pt x="68" y="16"/>
                    <a:pt x="68" y="41"/>
                  </a:cubicBezTo>
                  <a:cubicBezTo>
                    <a:pt x="68" y="46"/>
                    <a:pt x="68" y="46"/>
                    <a:pt x="68" y="46"/>
                  </a:cubicBezTo>
                  <a:cubicBezTo>
                    <a:pt x="19" y="46"/>
                    <a:pt x="19" y="46"/>
                    <a:pt x="19" y="46"/>
                  </a:cubicBezTo>
                  <a:cubicBezTo>
                    <a:pt x="20" y="57"/>
                    <a:pt x="28" y="65"/>
                    <a:pt x="41" y="65"/>
                  </a:cubicBezTo>
                  <a:cubicBezTo>
                    <a:pt x="49" y="65"/>
                    <a:pt x="55" y="63"/>
                    <a:pt x="60" y="60"/>
                  </a:cubicBezTo>
                  <a:cubicBezTo>
                    <a:pt x="66" y="73"/>
                    <a:pt x="66" y="73"/>
                    <a:pt x="66" y="73"/>
                  </a:cubicBezTo>
                  <a:cubicBezTo>
                    <a:pt x="58" y="78"/>
                    <a:pt x="48" y="80"/>
                    <a:pt x="39" y="80"/>
                  </a:cubicBezTo>
                  <a:cubicBezTo>
                    <a:pt x="11" y="80"/>
                    <a:pt x="0" y="61"/>
                    <a:pt x="0" y="40"/>
                  </a:cubicBezTo>
                  <a:close/>
                  <a:moveTo>
                    <a:pt x="49" y="32"/>
                  </a:moveTo>
                  <a:cubicBezTo>
                    <a:pt x="48" y="23"/>
                    <a:pt x="44" y="15"/>
                    <a:pt x="34" y="15"/>
                  </a:cubicBezTo>
                  <a:cubicBezTo>
                    <a:pt x="25" y="15"/>
                    <a:pt x="19" y="23"/>
                    <a:pt x="19" y="32"/>
                  </a:cubicBezTo>
                  <a:lnTo>
                    <a:pt x="49"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5" name="Freeform 24"/>
            <p:cNvSpPr>
              <a:spLocks noEditPoints="1"/>
            </p:cNvSpPr>
            <p:nvPr userDrawn="1"/>
          </p:nvSpPr>
          <p:spPr bwMode="auto">
            <a:xfrm>
              <a:off x="8236557" y="5040472"/>
              <a:ext cx="51390" cy="57878"/>
            </a:xfrm>
            <a:custGeom>
              <a:avLst/>
              <a:gdLst>
                <a:gd name="T0" fmla="*/ 0 w 68"/>
                <a:gd name="T1" fmla="*/ 40 h 80"/>
                <a:gd name="T2" fmla="*/ 34 w 68"/>
                <a:gd name="T3" fmla="*/ 0 h 80"/>
                <a:gd name="T4" fmla="*/ 68 w 68"/>
                <a:gd name="T5" fmla="*/ 41 h 80"/>
                <a:gd name="T6" fmla="*/ 68 w 68"/>
                <a:gd name="T7" fmla="*/ 46 h 80"/>
                <a:gd name="T8" fmla="*/ 19 w 68"/>
                <a:gd name="T9" fmla="*/ 46 h 80"/>
                <a:gd name="T10" fmla="*/ 40 w 68"/>
                <a:gd name="T11" fmla="*/ 65 h 80"/>
                <a:gd name="T12" fmla="*/ 60 w 68"/>
                <a:gd name="T13" fmla="*/ 60 h 80"/>
                <a:gd name="T14" fmla="*/ 65 w 68"/>
                <a:gd name="T15" fmla="*/ 73 h 80"/>
                <a:gd name="T16" fmla="*/ 39 w 68"/>
                <a:gd name="T17" fmla="*/ 80 h 80"/>
                <a:gd name="T18" fmla="*/ 0 w 68"/>
                <a:gd name="T19" fmla="*/ 40 h 80"/>
                <a:gd name="T20" fmla="*/ 48 w 68"/>
                <a:gd name="T21" fmla="*/ 32 h 80"/>
                <a:gd name="T22" fmla="*/ 34 w 68"/>
                <a:gd name="T23" fmla="*/ 15 h 80"/>
                <a:gd name="T24" fmla="*/ 19 w 68"/>
                <a:gd name="T25" fmla="*/ 32 h 80"/>
                <a:gd name="T26" fmla="*/ 48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2" y="0"/>
                    <a:pt x="34" y="0"/>
                  </a:cubicBezTo>
                  <a:cubicBezTo>
                    <a:pt x="55" y="0"/>
                    <a:pt x="68" y="16"/>
                    <a:pt x="68" y="41"/>
                  </a:cubicBezTo>
                  <a:cubicBezTo>
                    <a:pt x="68" y="46"/>
                    <a:pt x="68" y="46"/>
                    <a:pt x="68" y="46"/>
                  </a:cubicBezTo>
                  <a:cubicBezTo>
                    <a:pt x="19" y="46"/>
                    <a:pt x="19" y="46"/>
                    <a:pt x="19" y="46"/>
                  </a:cubicBezTo>
                  <a:cubicBezTo>
                    <a:pt x="19" y="57"/>
                    <a:pt x="28" y="65"/>
                    <a:pt x="40" y="65"/>
                  </a:cubicBezTo>
                  <a:cubicBezTo>
                    <a:pt x="48" y="65"/>
                    <a:pt x="54" y="63"/>
                    <a:pt x="60" y="60"/>
                  </a:cubicBezTo>
                  <a:cubicBezTo>
                    <a:pt x="65" y="73"/>
                    <a:pt x="65" y="73"/>
                    <a:pt x="65" y="73"/>
                  </a:cubicBezTo>
                  <a:cubicBezTo>
                    <a:pt x="57" y="78"/>
                    <a:pt x="48" y="80"/>
                    <a:pt x="39" y="80"/>
                  </a:cubicBezTo>
                  <a:cubicBezTo>
                    <a:pt x="11" y="80"/>
                    <a:pt x="0" y="61"/>
                    <a:pt x="0" y="40"/>
                  </a:cubicBezTo>
                  <a:close/>
                  <a:moveTo>
                    <a:pt x="48" y="32"/>
                  </a:moveTo>
                  <a:cubicBezTo>
                    <a:pt x="48" y="23"/>
                    <a:pt x="44" y="15"/>
                    <a:pt x="34" y="15"/>
                  </a:cubicBezTo>
                  <a:cubicBezTo>
                    <a:pt x="24" y="15"/>
                    <a:pt x="19" y="23"/>
                    <a:pt x="19" y="32"/>
                  </a:cubicBezTo>
                  <a:lnTo>
                    <a:pt x="48"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6" name="Freeform 25"/>
            <p:cNvSpPr>
              <a:spLocks/>
            </p:cNvSpPr>
            <p:nvPr userDrawn="1"/>
          </p:nvSpPr>
          <p:spPr bwMode="auto">
            <a:xfrm>
              <a:off x="8040631" y="5041088"/>
              <a:ext cx="37258" cy="56031"/>
            </a:xfrm>
            <a:custGeom>
              <a:avLst/>
              <a:gdLst>
                <a:gd name="T0" fmla="*/ 42 w 49"/>
                <a:gd name="T1" fmla="*/ 19 h 77"/>
                <a:gd name="T2" fmla="*/ 33 w 49"/>
                <a:gd name="T3" fmla="*/ 16 h 77"/>
                <a:gd name="T4" fmla="*/ 19 w 49"/>
                <a:gd name="T5" fmla="*/ 23 h 77"/>
                <a:gd name="T6" fmla="*/ 19 w 49"/>
                <a:gd name="T7" fmla="*/ 63 h 77"/>
                <a:gd name="T8" fmla="*/ 0 w 49"/>
                <a:gd name="T9" fmla="*/ 77 h 77"/>
                <a:gd name="T10" fmla="*/ 0 w 49"/>
                <a:gd name="T11" fmla="*/ 1 h 77"/>
                <a:gd name="T12" fmla="*/ 16 w 49"/>
                <a:gd name="T13" fmla="*/ 1 h 77"/>
                <a:gd name="T14" fmla="*/ 18 w 49"/>
                <a:gd name="T15" fmla="*/ 9 h 77"/>
                <a:gd name="T16" fmla="*/ 38 w 49"/>
                <a:gd name="T17" fmla="*/ 0 h 77"/>
                <a:gd name="T18" fmla="*/ 49 w 49"/>
                <a:gd name="T19" fmla="*/ 3 h 77"/>
                <a:gd name="T20" fmla="*/ 42 w 49"/>
                <a:gd name="T21"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77">
                  <a:moveTo>
                    <a:pt x="42" y="19"/>
                  </a:moveTo>
                  <a:cubicBezTo>
                    <a:pt x="39" y="17"/>
                    <a:pt x="35" y="16"/>
                    <a:pt x="33" y="16"/>
                  </a:cubicBezTo>
                  <a:cubicBezTo>
                    <a:pt x="29" y="16"/>
                    <a:pt x="24" y="18"/>
                    <a:pt x="19" y="23"/>
                  </a:cubicBezTo>
                  <a:cubicBezTo>
                    <a:pt x="19" y="2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2"/>
                    <a:pt x="31" y="0"/>
                    <a:pt x="38" y="0"/>
                  </a:cubicBezTo>
                  <a:cubicBezTo>
                    <a:pt x="42" y="0"/>
                    <a:pt x="46" y="1"/>
                    <a:pt x="49" y="3"/>
                  </a:cubicBezTo>
                  <a:lnTo>
                    <a:pt x="42" y="1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7" name="Freeform 26"/>
            <p:cNvSpPr>
              <a:spLocks/>
            </p:cNvSpPr>
            <p:nvPr userDrawn="1"/>
          </p:nvSpPr>
          <p:spPr bwMode="auto">
            <a:xfrm>
              <a:off x="8083992" y="5041088"/>
              <a:ext cx="86400" cy="56031"/>
            </a:xfrm>
            <a:custGeom>
              <a:avLst/>
              <a:gdLst>
                <a:gd name="T0" fmla="*/ 114 w 114"/>
                <a:gd name="T1" fmla="*/ 25 h 77"/>
                <a:gd name="T2" fmla="*/ 114 w 114"/>
                <a:gd name="T3" fmla="*/ 63 h 77"/>
                <a:gd name="T4" fmla="*/ 95 w 114"/>
                <a:gd name="T5" fmla="*/ 77 h 77"/>
                <a:gd name="T6" fmla="*/ 95 w 114"/>
                <a:gd name="T7" fmla="*/ 31 h 77"/>
                <a:gd name="T8" fmla="*/ 84 w 114"/>
                <a:gd name="T9" fmla="*/ 16 h 77"/>
                <a:gd name="T10" fmla="*/ 66 w 114"/>
                <a:gd name="T11" fmla="*/ 23 h 77"/>
                <a:gd name="T12" fmla="*/ 66 w 114"/>
                <a:gd name="T13" fmla="*/ 63 h 77"/>
                <a:gd name="T14" fmla="*/ 66 w 114"/>
                <a:gd name="T15" fmla="*/ 63 h 77"/>
                <a:gd name="T16" fmla="*/ 47 w 114"/>
                <a:gd name="T17" fmla="*/ 77 h 77"/>
                <a:gd name="T18" fmla="*/ 47 w 114"/>
                <a:gd name="T19" fmla="*/ 31 h 77"/>
                <a:gd name="T20" fmla="*/ 37 w 114"/>
                <a:gd name="T21" fmla="*/ 16 h 77"/>
                <a:gd name="T22" fmla="*/ 19 w 114"/>
                <a:gd name="T23" fmla="*/ 23 h 77"/>
                <a:gd name="T24" fmla="*/ 19 w 114"/>
                <a:gd name="T25" fmla="*/ 63 h 77"/>
                <a:gd name="T26" fmla="*/ 19 w 114"/>
                <a:gd name="T27" fmla="*/ 63 h 77"/>
                <a:gd name="T28" fmla="*/ 0 w 114"/>
                <a:gd name="T29" fmla="*/ 77 h 77"/>
                <a:gd name="T30" fmla="*/ 0 w 114"/>
                <a:gd name="T31" fmla="*/ 1 h 77"/>
                <a:gd name="T32" fmla="*/ 16 w 114"/>
                <a:gd name="T33" fmla="*/ 1 h 77"/>
                <a:gd name="T34" fmla="*/ 18 w 114"/>
                <a:gd name="T35" fmla="*/ 9 h 77"/>
                <a:gd name="T36" fmla="*/ 43 w 114"/>
                <a:gd name="T37" fmla="*/ 0 h 77"/>
                <a:gd name="T38" fmla="*/ 63 w 114"/>
                <a:gd name="T39" fmla="*/ 11 h 77"/>
                <a:gd name="T40" fmla="*/ 89 w 114"/>
                <a:gd name="T41" fmla="*/ 0 h 77"/>
                <a:gd name="T42" fmla="*/ 114 w 114"/>
                <a:gd name="T43" fmla="*/ 2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77">
                  <a:moveTo>
                    <a:pt x="114" y="25"/>
                  </a:moveTo>
                  <a:cubicBezTo>
                    <a:pt x="114" y="63"/>
                    <a:pt x="114" y="63"/>
                    <a:pt x="114" y="63"/>
                  </a:cubicBezTo>
                  <a:cubicBezTo>
                    <a:pt x="114" y="77"/>
                    <a:pt x="95" y="77"/>
                    <a:pt x="95" y="77"/>
                  </a:cubicBezTo>
                  <a:cubicBezTo>
                    <a:pt x="95" y="31"/>
                    <a:pt x="95" y="31"/>
                    <a:pt x="95" y="31"/>
                  </a:cubicBezTo>
                  <a:cubicBezTo>
                    <a:pt x="95" y="22"/>
                    <a:pt x="93" y="16"/>
                    <a:pt x="84" y="16"/>
                  </a:cubicBezTo>
                  <a:cubicBezTo>
                    <a:pt x="77" y="16"/>
                    <a:pt x="71" y="19"/>
                    <a:pt x="66" y="23"/>
                  </a:cubicBezTo>
                  <a:cubicBezTo>
                    <a:pt x="66" y="63"/>
                    <a:pt x="66" y="63"/>
                    <a:pt x="66" y="63"/>
                  </a:cubicBezTo>
                  <a:cubicBezTo>
                    <a:pt x="66" y="63"/>
                    <a:pt x="66" y="49"/>
                    <a:pt x="66" y="63"/>
                  </a:cubicBezTo>
                  <a:cubicBezTo>
                    <a:pt x="66" y="77"/>
                    <a:pt x="47" y="77"/>
                    <a:pt x="47" y="77"/>
                  </a:cubicBezTo>
                  <a:cubicBezTo>
                    <a:pt x="47" y="31"/>
                    <a:pt x="47" y="31"/>
                    <a:pt x="47" y="31"/>
                  </a:cubicBezTo>
                  <a:cubicBezTo>
                    <a:pt x="47" y="23"/>
                    <a:pt x="46" y="16"/>
                    <a:pt x="37" y="16"/>
                  </a:cubicBezTo>
                  <a:cubicBezTo>
                    <a:pt x="30" y="16"/>
                    <a:pt x="19" y="23"/>
                    <a:pt x="19" y="23"/>
                  </a:cubicBezTo>
                  <a:cubicBezTo>
                    <a:pt x="19" y="63"/>
                    <a:pt x="19" y="63"/>
                    <a:pt x="19" y="63"/>
                  </a:cubicBezTo>
                  <a:cubicBezTo>
                    <a:pt x="19" y="6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3"/>
                    <a:pt x="34" y="0"/>
                    <a:pt x="43" y="0"/>
                  </a:cubicBezTo>
                  <a:cubicBezTo>
                    <a:pt x="52" y="0"/>
                    <a:pt x="59" y="4"/>
                    <a:pt x="63" y="11"/>
                  </a:cubicBezTo>
                  <a:cubicBezTo>
                    <a:pt x="71" y="3"/>
                    <a:pt x="81" y="0"/>
                    <a:pt x="89" y="0"/>
                  </a:cubicBezTo>
                  <a:cubicBezTo>
                    <a:pt x="102" y="0"/>
                    <a:pt x="114" y="6"/>
                    <a:pt x="114" y="25"/>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8" name="Freeform 27"/>
            <p:cNvSpPr>
              <a:spLocks/>
            </p:cNvSpPr>
            <p:nvPr userDrawn="1"/>
          </p:nvSpPr>
          <p:spPr bwMode="auto">
            <a:xfrm>
              <a:off x="7908622" y="5019846"/>
              <a:ext cx="77407" cy="77889"/>
            </a:xfrm>
            <a:custGeom>
              <a:avLst/>
              <a:gdLst>
                <a:gd name="T0" fmla="*/ 43 w 102"/>
                <a:gd name="T1" fmla="*/ 107 h 107"/>
                <a:gd name="T2" fmla="*/ 65 w 102"/>
                <a:gd name="T3" fmla="*/ 91 h 107"/>
                <a:gd name="T4" fmla="*/ 102 w 102"/>
                <a:gd name="T5" fmla="*/ 0 h 107"/>
                <a:gd name="T6" fmla="*/ 81 w 102"/>
                <a:gd name="T7" fmla="*/ 0 h 107"/>
                <a:gd name="T8" fmla="*/ 51 w 102"/>
                <a:gd name="T9" fmla="*/ 78 h 107"/>
                <a:gd name="T10" fmla="*/ 51 w 102"/>
                <a:gd name="T11" fmla="*/ 78 h 107"/>
                <a:gd name="T12" fmla="*/ 21 w 102"/>
                <a:gd name="T13" fmla="*/ 0 h 107"/>
                <a:gd name="T14" fmla="*/ 0 w 102"/>
                <a:gd name="T15" fmla="*/ 0 h 107"/>
                <a:gd name="T16" fmla="*/ 43 w 102"/>
                <a:gd name="T17"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107">
                  <a:moveTo>
                    <a:pt x="43" y="107"/>
                  </a:moveTo>
                  <a:cubicBezTo>
                    <a:pt x="57" y="107"/>
                    <a:pt x="61" y="101"/>
                    <a:pt x="65" y="91"/>
                  </a:cubicBezTo>
                  <a:cubicBezTo>
                    <a:pt x="102" y="0"/>
                    <a:pt x="102" y="0"/>
                    <a:pt x="102" y="0"/>
                  </a:cubicBezTo>
                  <a:cubicBezTo>
                    <a:pt x="81" y="0"/>
                    <a:pt x="81" y="0"/>
                    <a:pt x="81" y="0"/>
                  </a:cubicBezTo>
                  <a:cubicBezTo>
                    <a:pt x="51" y="78"/>
                    <a:pt x="51" y="78"/>
                    <a:pt x="51" y="78"/>
                  </a:cubicBezTo>
                  <a:cubicBezTo>
                    <a:pt x="51" y="78"/>
                    <a:pt x="51" y="78"/>
                    <a:pt x="51" y="78"/>
                  </a:cubicBezTo>
                  <a:cubicBezTo>
                    <a:pt x="21" y="0"/>
                    <a:pt x="21" y="0"/>
                    <a:pt x="21" y="0"/>
                  </a:cubicBezTo>
                  <a:cubicBezTo>
                    <a:pt x="0" y="0"/>
                    <a:pt x="0" y="0"/>
                    <a:pt x="0" y="0"/>
                  </a:cubicBezTo>
                  <a:cubicBezTo>
                    <a:pt x="43" y="107"/>
                    <a:pt x="43" y="107"/>
                    <a:pt x="43" y="10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152" name="Group 151"/>
          <p:cNvGrpSpPr/>
          <p:nvPr userDrawn="1"/>
        </p:nvGrpSpPr>
        <p:grpSpPr>
          <a:xfrm>
            <a:off x="4756265" y="4843403"/>
            <a:ext cx="1123200" cy="262117"/>
            <a:chOff x="7686782" y="4354553"/>
            <a:chExt cx="1123200" cy="262117"/>
          </a:xfrm>
          <a:solidFill>
            <a:schemeClr val="bg1"/>
          </a:solidFill>
        </p:grpSpPr>
        <p:sp>
          <p:nvSpPr>
            <p:cNvPr id="153" name="Freeform 152"/>
            <p:cNvSpPr>
              <a:spLocks/>
            </p:cNvSpPr>
            <p:nvPr/>
          </p:nvSpPr>
          <p:spPr bwMode="auto">
            <a:xfrm>
              <a:off x="8637817" y="4415076"/>
              <a:ext cx="103629" cy="66531"/>
            </a:xfrm>
            <a:custGeom>
              <a:avLst/>
              <a:gdLst>
                <a:gd name="T0" fmla="*/ 50 w 62"/>
                <a:gd name="T1" fmla="*/ 33 h 42"/>
                <a:gd name="T2" fmla="*/ 39 w 62"/>
                <a:gd name="T3" fmla="*/ 40 h 42"/>
                <a:gd name="T4" fmla="*/ 31 w 62"/>
                <a:gd name="T5" fmla="*/ 13 h 42"/>
                <a:gd name="T6" fmla="*/ 30 w 62"/>
                <a:gd name="T7" fmla="*/ 13 h 42"/>
                <a:gd name="T8" fmla="*/ 24 w 62"/>
                <a:gd name="T9" fmla="*/ 33 h 42"/>
                <a:gd name="T10" fmla="*/ 14 w 62"/>
                <a:gd name="T11" fmla="*/ 40 h 42"/>
                <a:gd name="T12" fmla="*/ 0 w 62"/>
                <a:gd name="T13" fmla="*/ 0 h 42"/>
                <a:gd name="T14" fmla="*/ 10 w 62"/>
                <a:gd name="T15" fmla="*/ 0 h 42"/>
                <a:gd name="T16" fmla="*/ 18 w 62"/>
                <a:gd name="T17" fmla="*/ 27 h 42"/>
                <a:gd name="T18" fmla="*/ 18 w 62"/>
                <a:gd name="T19" fmla="*/ 27 h 42"/>
                <a:gd name="T20" fmla="*/ 27 w 62"/>
                <a:gd name="T21" fmla="*/ 0 h 42"/>
                <a:gd name="T22" fmla="*/ 35 w 62"/>
                <a:gd name="T23" fmla="*/ 0 h 42"/>
                <a:gd name="T24" fmla="*/ 43 w 62"/>
                <a:gd name="T25" fmla="*/ 27 h 42"/>
                <a:gd name="T26" fmla="*/ 44 w 62"/>
                <a:gd name="T27" fmla="*/ 27 h 42"/>
                <a:gd name="T28" fmla="*/ 52 w 62"/>
                <a:gd name="T29" fmla="*/ 0 h 42"/>
                <a:gd name="T30" fmla="*/ 62 w 62"/>
                <a:gd name="T31" fmla="*/ 0 h 42"/>
                <a:gd name="T32" fmla="*/ 50 w 62"/>
                <a:gd name="T33" fmla="*/ 3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 h="42">
                  <a:moveTo>
                    <a:pt x="50" y="33"/>
                  </a:moveTo>
                  <a:cubicBezTo>
                    <a:pt x="47" y="42"/>
                    <a:pt x="39" y="40"/>
                    <a:pt x="39" y="40"/>
                  </a:cubicBezTo>
                  <a:cubicBezTo>
                    <a:pt x="31" y="13"/>
                    <a:pt x="31" y="13"/>
                    <a:pt x="31" y="13"/>
                  </a:cubicBezTo>
                  <a:cubicBezTo>
                    <a:pt x="30" y="13"/>
                    <a:pt x="30" y="13"/>
                    <a:pt x="30" y="13"/>
                  </a:cubicBezTo>
                  <a:cubicBezTo>
                    <a:pt x="30" y="13"/>
                    <a:pt x="26" y="26"/>
                    <a:pt x="24" y="33"/>
                  </a:cubicBezTo>
                  <a:cubicBezTo>
                    <a:pt x="21" y="42"/>
                    <a:pt x="14" y="40"/>
                    <a:pt x="14" y="40"/>
                  </a:cubicBezTo>
                  <a:cubicBezTo>
                    <a:pt x="0" y="0"/>
                    <a:pt x="0" y="0"/>
                    <a:pt x="0" y="0"/>
                  </a:cubicBezTo>
                  <a:cubicBezTo>
                    <a:pt x="10" y="0"/>
                    <a:pt x="10" y="0"/>
                    <a:pt x="10" y="0"/>
                  </a:cubicBezTo>
                  <a:cubicBezTo>
                    <a:pt x="18" y="27"/>
                    <a:pt x="18" y="27"/>
                    <a:pt x="18" y="27"/>
                  </a:cubicBezTo>
                  <a:cubicBezTo>
                    <a:pt x="18" y="27"/>
                    <a:pt x="18" y="27"/>
                    <a:pt x="18" y="27"/>
                  </a:cubicBezTo>
                  <a:cubicBezTo>
                    <a:pt x="27" y="0"/>
                    <a:pt x="27" y="0"/>
                    <a:pt x="27" y="0"/>
                  </a:cubicBezTo>
                  <a:cubicBezTo>
                    <a:pt x="35" y="0"/>
                    <a:pt x="35" y="0"/>
                    <a:pt x="35" y="0"/>
                  </a:cubicBezTo>
                  <a:cubicBezTo>
                    <a:pt x="43" y="27"/>
                    <a:pt x="43" y="27"/>
                    <a:pt x="43" y="27"/>
                  </a:cubicBezTo>
                  <a:cubicBezTo>
                    <a:pt x="44" y="27"/>
                    <a:pt x="44" y="27"/>
                    <a:pt x="44" y="27"/>
                  </a:cubicBezTo>
                  <a:cubicBezTo>
                    <a:pt x="52" y="0"/>
                    <a:pt x="52" y="0"/>
                    <a:pt x="52" y="0"/>
                  </a:cubicBezTo>
                  <a:cubicBezTo>
                    <a:pt x="62" y="0"/>
                    <a:pt x="62" y="0"/>
                    <a:pt x="62" y="0"/>
                  </a:cubicBezTo>
                  <a:cubicBezTo>
                    <a:pt x="62" y="0"/>
                    <a:pt x="52" y="26"/>
                    <a:pt x="5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4" name="Freeform 153"/>
            <p:cNvSpPr>
              <a:spLocks noEditPoints="1"/>
            </p:cNvSpPr>
            <p:nvPr/>
          </p:nvSpPr>
          <p:spPr bwMode="auto">
            <a:xfrm>
              <a:off x="8445631" y="4383257"/>
              <a:ext cx="65239" cy="93677"/>
            </a:xfrm>
            <a:custGeom>
              <a:avLst/>
              <a:gdLst>
                <a:gd name="T0" fmla="*/ 0 w 39"/>
                <a:gd name="T1" fmla="*/ 0 h 59"/>
                <a:gd name="T2" fmla="*/ 0 w 39"/>
                <a:gd name="T3" fmla="*/ 59 h 59"/>
                <a:gd name="T4" fmla="*/ 18 w 39"/>
                <a:gd name="T5" fmla="*/ 59 h 59"/>
                <a:gd name="T6" fmla="*/ 39 w 39"/>
                <a:gd name="T7" fmla="*/ 42 h 59"/>
                <a:gd name="T8" fmla="*/ 29 w 39"/>
                <a:gd name="T9" fmla="*/ 28 h 59"/>
                <a:gd name="T10" fmla="*/ 28 w 39"/>
                <a:gd name="T11" fmla="*/ 27 h 59"/>
                <a:gd name="T12" fmla="*/ 29 w 39"/>
                <a:gd name="T13" fmla="*/ 27 h 59"/>
                <a:gd name="T14" fmla="*/ 35 w 39"/>
                <a:gd name="T15" fmla="*/ 15 h 59"/>
                <a:gd name="T16" fmla="*/ 19 w 39"/>
                <a:gd name="T17" fmla="*/ 0 h 59"/>
                <a:gd name="T18" fmla="*/ 0 w 39"/>
                <a:gd name="T19" fmla="*/ 0 h 59"/>
                <a:gd name="T20" fmla="*/ 10 w 39"/>
                <a:gd name="T21" fmla="*/ 8 h 59"/>
                <a:gd name="T22" fmla="*/ 16 w 39"/>
                <a:gd name="T23" fmla="*/ 8 h 59"/>
                <a:gd name="T24" fmla="*/ 25 w 39"/>
                <a:gd name="T25" fmla="*/ 16 h 59"/>
                <a:gd name="T26" fmla="*/ 17 w 39"/>
                <a:gd name="T27" fmla="*/ 25 h 59"/>
                <a:gd name="T28" fmla="*/ 10 w 39"/>
                <a:gd name="T29" fmla="*/ 25 h 59"/>
                <a:gd name="T30" fmla="*/ 10 w 39"/>
                <a:gd name="T31" fmla="*/ 8 h 59"/>
                <a:gd name="T32" fmla="*/ 10 w 39"/>
                <a:gd name="T33" fmla="*/ 33 h 59"/>
                <a:gd name="T34" fmla="*/ 18 w 39"/>
                <a:gd name="T35" fmla="*/ 33 h 59"/>
                <a:gd name="T36" fmla="*/ 29 w 39"/>
                <a:gd name="T37" fmla="*/ 42 h 59"/>
                <a:gd name="T38" fmla="*/ 17 w 39"/>
                <a:gd name="T39" fmla="*/ 51 h 59"/>
                <a:gd name="T40" fmla="*/ 10 w 39"/>
                <a:gd name="T41" fmla="*/ 51 h 59"/>
                <a:gd name="T42" fmla="*/ 10 w 39"/>
                <a:gd name="T43"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9">
                  <a:moveTo>
                    <a:pt x="0" y="0"/>
                  </a:moveTo>
                  <a:cubicBezTo>
                    <a:pt x="0" y="1"/>
                    <a:pt x="0" y="59"/>
                    <a:pt x="0" y="59"/>
                  </a:cubicBezTo>
                  <a:cubicBezTo>
                    <a:pt x="1" y="59"/>
                    <a:pt x="18" y="59"/>
                    <a:pt x="18" y="59"/>
                  </a:cubicBezTo>
                  <a:cubicBezTo>
                    <a:pt x="33" y="59"/>
                    <a:pt x="39" y="51"/>
                    <a:pt x="39" y="42"/>
                  </a:cubicBezTo>
                  <a:cubicBezTo>
                    <a:pt x="39" y="35"/>
                    <a:pt x="36" y="29"/>
                    <a:pt x="29" y="28"/>
                  </a:cubicBezTo>
                  <a:cubicBezTo>
                    <a:pt x="28" y="27"/>
                    <a:pt x="28" y="27"/>
                    <a:pt x="28" y="27"/>
                  </a:cubicBezTo>
                  <a:cubicBezTo>
                    <a:pt x="29" y="27"/>
                    <a:pt x="29" y="27"/>
                    <a:pt x="29" y="27"/>
                  </a:cubicBezTo>
                  <a:cubicBezTo>
                    <a:pt x="33" y="24"/>
                    <a:pt x="35" y="20"/>
                    <a:pt x="35" y="15"/>
                  </a:cubicBezTo>
                  <a:cubicBezTo>
                    <a:pt x="35" y="8"/>
                    <a:pt x="30" y="0"/>
                    <a:pt x="19" y="0"/>
                  </a:cubicBezTo>
                  <a:cubicBezTo>
                    <a:pt x="19" y="0"/>
                    <a:pt x="1" y="0"/>
                    <a:pt x="0" y="0"/>
                  </a:cubicBezTo>
                  <a:close/>
                  <a:moveTo>
                    <a:pt x="10" y="8"/>
                  </a:moveTo>
                  <a:cubicBezTo>
                    <a:pt x="16" y="8"/>
                    <a:pt x="16" y="8"/>
                    <a:pt x="16" y="8"/>
                  </a:cubicBezTo>
                  <a:cubicBezTo>
                    <a:pt x="22" y="8"/>
                    <a:pt x="25" y="11"/>
                    <a:pt x="25" y="16"/>
                  </a:cubicBezTo>
                  <a:cubicBezTo>
                    <a:pt x="25" y="21"/>
                    <a:pt x="21" y="25"/>
                    <a:pt x="17" y="25"/>
                  </a:cubicBezTo>
                  <a:cubicBezTo>
                    <a:pt x="10" y="25"/>
                    <a:pt x="10" y="25"/>
                    <a:pt x="10" y="25"/>
                  </a:cubicBezTo>
                  <a:lnTo>
                    <a:pt x="10" y="8"/>
                  </a:lnTo>
                  <a:close/>
                  <a:moveTo>
                    <a:pt x="10" y="33"/>
                  </a:moveTo>
                  <a:cubicBezTo>
                    <a:pt x="18" y="33"/>
                    <a:pt x="18" y="33"/>
                    <a:pt x="18" y="33"/>
                  </a:cubicBezTo>
                  <a:cubicBezTo>
                    <a:pt x="25" y="33"/>
                    <a:pt x="29" y="37"/>
                    <a:pt x="29" y="42"/>
                  </a:cubicBezTo>
                  <a:cubicBezTo>
                    <a:pt x="29" y="48"/>
                    <a:pt x="25" y="51"/>
                    <a:pt x="17" y="51"/>
                  </a:cubicBezTo>
                  <a:cubicBezTo>
                    <a:pt x="10" y="51"/>
                    <a:pt x="10" y="51"/>
                    <a:pt x="10" y="51"/>
                  </a:cubicBezTo>
                  <a:lnTo>
                    <a:pt x="1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5" name="Freeform 154"/>
            <p:cNvSpPr>
              <a:spLocks noEditPoints="1"/>
            </p:cNvSpPr>
            <p:nvPr/>
          </p:nvSpPr>
          <p:spPr bwMode="auto">
            <a:xfrm>
              <a:off x="8567631" y="4413518"/>
              <a:ext cx="66888" cy="64973"/>
            </a:xfrm>
            <a:custGeom>
              <a:avLst/>
              <a:gdLst>
                <a:gd name="T0" fmla="*/ 34 w 40"/>
                <a:gd name="T1" fmla="*/ 36 h 41"/>
                <a:gd name="T2" fmla="*/ 20 w 40"/>
                <a:gd name="T3" fmla="*/ 41 h 41"/>
                <a:gd name="T4" fmla="*/ 7 w 40"/>
                <a:gd name="T5" fmla="*/ 36 h 41"/>
                <a:gd name="T6" fmla="*/ 0 w 40"/>
                <a:gd name="T7" fmla="*/ 21 h 41"/>
                <a:gd name="T8" fmla="*/ 6 w 40"/>
                <a:gd name="T9" fmla="*/ 6 h 41"/>
                <a:gd name="T10" fmla="*/ 20 w 40"/>
                <a:gd name="T11" fmla="*/ 0 h 41"/>
                <a:gd name="T12" fmla="*/ 35 w 40"/>
                <a:gd name="T13" fmla="*/ 6 h 41"/>
                <a:gd name="T14" fmla="*/ 40 w 40"/>
                <a:gd name="T15" fmla="*/ 20 h 41"/>
                <a:gd name="T16" fmla="*/ 34 w 40"/>
                <a:gd name="T17" fmla="*/ 36 h 41"/>
                <a:gd name="T18" fmla="*/ 20 w 40"/>
                <a:gd name="T19" fmla="*/ 8 h 41"/>
                <a:gd name="T20" fmla="*/ 11 w 40"/>
                <a:gd name="T21" fmla="*/ 21 h 41"/>
                <a:gd name="T22" fmla="*/ 20 w 40"/>
                <a:gd name="T23" fmla="*/ 33 h 41"/>
                <a:gd name="T24" fmla="*/ 30 w 40"/>
                <a:gd name="T25" fmla="*/ 21 h 41"/>
                <a:gd name="T26" fmla="*/ 20 w 40"/>
                <a:gd name="T27" fmla="*/ 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4" y="36"/>
                  </a:moveTo>
                  <a:cubicBezTo>
                    <a:pt x="31" y="39"/>
                    <a:pt x="26" y="41"/>
                    <a:pt x="20" y="41"/>
                  </a:cubicBezTo>
                  <a:cubicBezTo>
                    <a:pt x="15" y="41"/>
                    <a:pt x="10" y="39"/>
                    <a:pt x="7" y="36"/>
                  </a:cubicBezTo>
                  <a:cubicBezTo>
                    <a:pt x="3" y="33"/>
                    <a:pt x="0" y="27"/>
                    <a:pt x="0" y="21"/>
                  </a:cubicBezTo>
                  <a:cubicBezTo>
                    <a:pt x="0" y="15"/>
                    <a:pt x="2" y="9"/>
                    <a:pt x="6" y="6"/>
                  </a:cubicBezTo>
                  <a:cubicBezTo>
                    <a:pt x="10" y="2"/>
                    <a:pt x="14" y="0"/>
                    <a:pt x="20" y="0"/>
                  </a:cubicBezTo>
                  <a:cubicBezTo>
                    <a:pt x="26" y="0"/>
                    <a:pt x="31" y="2"/>
                    <a:pt x="35" y="6"/>
                  </a:cubicBezTo>
                  <a:cubicBezTo>
                    <a:pt x="38" y="9"/>
                    <a:pt x="40" y="14"/>
                    <a:pt x="40" y="20"/>
                  </a:cubicBezTo>
                  <a:cubicBezTo>
                    <a:pt x="40" y="26"/>
                    <a:pt x="38" y="32"/>
                    <a:pt x="34" y="36"/>
                  </a:cubicBezTo>
                  <a:close/>
                  <a:moveTo>
                    <a:pt x="20" y="8"/>
                  </a:moveTo>
                  <a:cubicBezTo>
                    <a:pt x="14" y="8"/>
                    <a:pt x="11" y="13"/>
                    <a:pt x="11" y="21"/>
                  </a:cubicBezTo>
                  <a:cubicBezTo>
                    <a:pt x="11" y="28"/>
                    <a:pt x="14" y="33"/>
                    <a:pt x="20" y="33"/>
                  </a:cubicBezTo>
                  <a:cubicBezTo>
                    <a:pt x="27" y="33"/>
                    <a:pt x="30" y="28"/>
                    <a:pt x="30" y="21"/>
                  </a:cubicBezTo>
                  <a:cubicBezTo>
                    <a:pt x="30" y="13"/>
                    <a:pt x="26" y="8"/>
                    <a:pt x="2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6" name="Freeform 155"/>
            <p:cNvSpPr>
              <a:spLocks/>
            </p:cNvSpPr>
            <p:nvPr/>
          </p:nvSpPr>
          <p:spPr bwMode="auto">
            <a:xfrm>
              <a:off x="8751573" y="4413518"/>
              <a:ext cx="58409" cy="64973"/>
            </a:xfrm>
            <a:custGeom>
              <a:avLst/>
              <a:gdLst>
                <a:gd name="T0" fmla="*/ 25 w 35"/>
                <a:gd name="T1" fmla="*/ 41 h 41"/>
                <a:gd name="T2" fmla="*/ 25 w 35"/>
                <a:gd name="T3" fmla="*/ 17 h 41"/>
                <a:gd name="T4" fmla="*/ 20 w 35"/>
                <a:gd name="T5" fmla="*/ 9 h 41"/>
                <a:gd name="T6" fmla="*/ 10 w 35"/>
                <a:gd name="T7" fmla="*/ 13 h 41"/>
                <a:gd name="T8" fmla="*/ 10 w 35"/>
                <a:gd name="T9" fmla="*/ 34 h 41"/>
                <a:gd name="T10" fmla="*/ 0 w 35"/>
                <a:gd name="T11" fmla="*/ 41 h 41"/>
                <a:gd name="T12" fmla="*/ 0 w 35"/>
                <a:gd name="T13" fmla="*/ 1 h 41"/>
                <a:gd name="T14" fmla="*/ 8 w 35"/>
                <a:gd name="T15" fmla="*/ 1 h 41"/>
                <a:gd name="T16" fmla="*/ 9 w 35"/>
                <a:gd name="T17" fmla="*/ 5 h 41"/>
                <a:gd name="T18" fmla="*/ 23 w 35"/>
                <a:gd name="T19" fmla="*/ 0 h 41"/>
                <a:gd name="T20" fmla="*/ 35 w 35"/>
                <a:gd name="T21" fmla="*/ 14 h 41"/>
                <a:gd name="T22" fmla="*/ 35 w 35"/>
                <a:gd name="T23" fmla="*/ 34 h 41"/>
                <a:gd name="T24" fmla="*/ 25 w 35"/>
                <a:gd name="T25"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41">
                  <a:moveTo>
                    <a:pt x="25" y="41"/>
                  </a:moveTo>
                  <a:cubicBezTo>
                    <a:pt x="25" y="17"/>
                    <a:pt x="25" y="17"/>
                    <a:pt x="25" y="17"/>
                  </a:cubicBezTo>
                  <a:cubicBezTo>
                    <a:pt x="25" y="13"/>
                    <a:pt x="25" y="9"/>
                    <a:pt x="20" y="9"/>
                  </a:cubicBezTo>
                  <a:cubicBezTo>
                    <a:pt x="16" y="9"/>
                    <a:pt x="13" y="10"/>
                    <a:pt x="10" y="13"/>
                  </a:cubicBezTo>
                  <a:cubicBezTo>
                    <a:pt x="10" y="13"/>
                    <a:pt x="10" y="26"/>
                    <a:pt x="10" y="34"/>
                  </a:cubicBezTo>
                  <a:cubicBezTo>
                    <a:pt x="10" y="41"/>
                    <a:pt x="0" y="41"/>
                    <a:pt x="0" y="41"/>
                  </a:cubicBezTo>
                  <a:cubicBezTo>
                    <a:pt x="0" y="1"/>
                    <a:pt x="0" y="1"/>
                    <a:pt x="0" y="1"/>
                  </a:cubicBezTo>
                  <a:cubicBezTo>
                    <a:pt x="8" y="1"/>
                    <a:pt x="8" y="1"/>
                    <a:pt x="8" y="1"/>
                  </a:cubicBezTo>
                  <a:cubicBezTo>
                    <a:pt x="9" y="5"/>
                    <a:pt x="9" y="5"/>
                    <a:pt x="9" y="5"/>
                  </a:cubicBezTo>
                  <a:cubicBezTo>
                    <a:pt x="13" y="2"/>
                    <a:pt x="18" y="0"/>
                    <a:pt x="23" y="0"/>
                  </a:cubicBezTo>
                  <a:cubicBezTo>
                    <a:pt x="29" y="0"/>
                    <a:pt x="35" y="3"/>
                    <a:pt x="35" y="14"/>
                  </a:cubicBezTo>
                  <a:cubicBezTo>
                    <a:pt x="35" y="14"/>
                    <a:pt x="35" y="26"/>
                    <a:pt x="35" y="34"/>
                  </a:cubicBezTo>
                  <a:cubicBezTo>
                    <a:pt x="35" y="41"/>
                    <a:pt x="25" y="41"/>
                    <a:pt x="2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7" name="Freeform 156"/>
            <p:cNvSpPr>
              <a:spLocks/>
            </p:cNvSpPr>
            <p:nvPr/>
          </p:nvSpPr>
          <p:spPr bwMode="auto">
            <a:xfrm>
              <a:off x="8522411" y="4413518"/>
              <a:ext cx="43571" cy="64973"/>
            </a:xfrm>
            <a:custGeom>
              <a:avLst/>
              <a:gdLst>
                <a:gd name="T0" fmla="*/ 23 w 26"/>
                <a:gd name="T1" fmla="*/ 10 h 41"/>
                <a:gd name="T2" fmla="*/ 18 w 26"/>
                <a:gd name="T3" fmla="*/ 9 h 41"/>
                <a:gd name="T4" fmla="*/ 11 w 26"/>
                <a:gd name="T5" fmla="*/ 12 h 41"/>
                <a:gd name="T6" fmla="*/ 11 w 26"/>
                <a:gd name="T7" fmla="*/ 34 h 41"/>
                <a:gd name="T8" fmla="*/ 0 w 26"/>
                <a:gd name="T9" fmla="*/ 41 h 41"/>
                <a:gd name="T10" fmla="*/ 0 w 26"/>
                <a:gd name="T11" fmla="*/ 1 h 41"/>
                <a:gd name="T12" fmla="*/ 9 w 26"/>
                <a:gd name="T13" fmla="*/ 1 h 41"/>
                <a:gd name="T14" fmla="*/ 10 w 26"/>
                <a:gd name="T15" fmla="*/ 5 h 41"/>
                <a:gd name="T16" fmla="*/ 21 w 26"/>
                <a:gd name="T17" fmla="*/ 0 h 41"/>
                <a:gd name="T18" fmla="*/ 26 w 26"/>
                <a:gd name="T19" fmla="*/ 2 h 41"/>
                <a:gd name="T20" fmla="*/ 23 w 26"/>
                <a:gd name="T21" fmla="*/ 1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41">
                  <a:moveTo>
                    <a:pt x="23" y="10"/>
                  </a:moveTo>
                  <a:cubicBezTo>
                    <a:pt x="21" y="9"/>
                    <a:pt x="19" y="9"/>
                    <a:pt x="18" y="9"/>
                  </a:cubicBezTo>
                  <a:cubicBezTo>
                    <a:pt x="16" y="9"/>
                    <a:pt x="13" y="10"/>
                    <a:pt x="11" y="12"/>
                  </a:cubicBezTo>
                  <a:cubicBezTo>
                    <a:pt x="11" y="12"/>
                    <a:pt x="11" y="26"/>
                    <a:pt x="11" y="34"/>
                  </a:cubicBezTo>
                  <a:cubicBezTo>
                    <a:pt x="11" y="41"/>
                    <a:pt x="0" y="41"/>
                    <a:pt x="0" y="41"/>
                  </a:cubicBezTo>
                  <a:cubicBezTo>
                    <a:pt x="0" y="1"/>
                    <a:pt x="0" y="1"/>
                    <a:pt x="0" y="1"/>
                  </a:cubicBezTo>
                  <a:cubicBezTo>
                    <a:pt x="9" y="1"/>
                    <a:pt x="9" y="1"/>
                    <a:pt x="9" y="1"/>
                  </a:cubicBezTo>
                  <a:cubicBezTo>
                    <a:pt x="10" y="5"/>
                    <a:pt x="10" y="5"/>
                    <a:pt x="10" y="5"/>
                  </a:cubicBezTo>
                  <a:cubicBezTo>
                    <a:pt x="14" y="2"/>
                    <a:pt x="17" y="0"/>
                    <a:pt x="21" y="0"/>
                  </a:cubicBezTo>
                  <a:cubicBezTo>
                    <a:pt x="23" y="0"/>
                    <a:pt x="25" y="1"/>
                    <a:pt x="26" y="2"/>
                  </a:cubicBezTo>
                  <a:lnTo>
                    <a:pt x="23"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8" name="Freeform 157"/>
            <p:cNvSpPr>
              <a:spLocks/>
            </p:cNvSpPr>
            <p:nvPr/>
          </p:nvSpPr>
          <p:spPr bwMode="auto">
            <a:xfrm>
              <a:off x="7787114" y="4354553"/>
              <a:ext cx="101745" cy="147747"/>
            </a:xfrm>
            <a:custGeom>
              <a:avLst/>
              <a:gdLst>
                <a:gd name="T0" fmla="*/ 0 w 61"/>
                <a:gd name="T1" fmla="*/ 11 h 93"/>
                <a:gd name="T2" fmla="*/ 1 w 61"/>
                <a:gd name="T3" fmla="*/ 10 h 93"/>
                <a:gd name="T4" fmla="*/ 31 w 61"/>
                <a:gd name="T5" fmla="*/ 9 h 93"/>
                <a:gd name="T6" fmla="*/ 37 w 61"/>
                <a:gd name="T7" fmla="*/ 24 h 93"/>
                <a:gd name="T8" fmla="*/ 52 w 61"/>
                <a:gd name="T9" fmla="*/ 30 h 93"/>
                <a:gd name="T10" fmla="*/ 51 w 61"/>
                <a:gd name="T11" fmla="*/ 60 h 93"/>
                <a:gd name="T12" fmla="*/ 18 w 61"/>
                <a:gd name="T13" fmla="*/ 93 h 93"/>
                <a:gd name="T14" fmla="*/ 8 w 61"/>
                <a:gd name="T15" fmla="*/ 83 h 93"/>
                <a:gd name="T16" fmla="*/ 41 w 61"/>
                <a:gd name="T17" fmla="*/ 50 h 93"/>
                <a:gd name="T18" fmla="*/ 42 w 61"/>
                <a:gd name="T19" fmla="*/ 39 h 93"/>
                <a:gd name="T20" fmla="*/ 31 w 61"/>
                <a:gd name="T21" fmla="*/ 40 h 93"/>
                <a:gd name="T22" fmla="*/ 0 w 61"/>
                <a:gd name="T23" fmla="*/ 70 h 93"/>
                <a:gd name="T24" fmla="*/ 0 w 61"/>
                <a:gd name="T25" fmla="*/ 50 h 93"/>
                <a:gd name="T26" fmla="*/ 21 w 61"/>
                <a:gd name="T27" fmla="*/ 30 h 93"/>
                <a:gd name="T28" fmla="*/ 22 w 61"/>
                <a:gd name="T29" fmla="*/ 19 h 93"/>
                <a:gd name="T30" fmla="*/ 11 w 61"/>
                <a:gd name="T31" fmla="*/ 20 h 93"/>
                <a:gd name="T32" fmla="*/ 0 w 61"/>
                <a:gd name="T33" fmla="*/ 30 h 93"/>
                <a:gd name="T34" fmla="*/ 0 w 61"/>
                <a:gd name="T35" fmla="*/ 1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 h="93">
                  <a:moveTo>
                    <a:pt x="0" y="11"/>
                  </a:moveTo>
                  <a:cubicBezTo>
                    <a:pt x="1" y="10"/>
                    <a:pt x="1" y="10"/>
                    <a:pt x="1" y="10"/>
                  </a:cubicBezTo>
                  <a:cubicBezTo>
                    <a:pt x="11" y="0"/>
                    <a:pt x="23" y="1"/>
                    <a:pt x="31" y="9"/>
                  </a:cubicBezTo>
                  <a:cubicBezTo>
                    <a:pt x="37" y="15"/>
                    <a:pt x="37" y="21"/>
                    <a:pt x="37" y="24"/>
                  </a:cubicBezTo>
                  <a:cubicBezTo>
                    <a:pt x="40" y="24"/>
                    <a:pt x="46" y="24"/>
                    <a:pt x="52" y="30"/>
                  </a:cubicBezTo>
                  <a:cubicBezTo>
                    <a:pt x="60" y="38"/>
                    <a:pt x="61" y="50"/>
                    <a:pt x="51" y="60"/>
                  </a:cubicBezTo>
                  <a:cubicBezTo>
                    <a:pt x="18" y="93"/>
                    <a:pt x="18" y="93"/>
                    <a:pt x="18" y="93"/>
                  </a:cubicBezTo>
                  <a:cubicBezTo>
                    <a:pt x="8" y="83"/>
                    <a:pt x="8" y="83"/>
                    <a:pt x="8" y="83"/>
                  </a:cubicBezTo>
                  <a:cubicBezTo>
                    <a:pt x="41" y="50"/>
                    <a:pt x="41" y="50"/>
                    <a:pt x="41" y="50"/>
                  </a:cubicBezTo>
                  <a:cubicBezTo>
                    <a:pt x="45" y="46"/>
                    <a:pt x="44" y="42"/>
                    <a:pt x="42" y="39"/>
                  </a:cubicBezTo>
                  <a:cubicBezTo>
                    <a:pt x="39" y="37"/>
                    <a:pt x="35" y="36"/>
                    <a:pt x="31" y="40"/>
                  </a:cubicBezTo>
                  <a:cubicBezTo>
                    <a:pt x="0" y="70"/>
                    <a:pt x="0" y="70"/>
                    <a:pt x="0" y="70"/>
                  </a:cubicBezTo>
                  <a:cubicBezTo>
                    <a:pt x="0" y="50"/>
                    <a:pt x="0" y="50"/>
                    <a:pt x="0" y="50"/>
                  </a:cubicBezTo>
                  <a:cubicBezTo>
                    <a:pt x="21" y="30"/>
                    <a:pt x="21" y="30"/>
                    <a:pt x="21" y="30"/>
                  </a:cubicBezTo>
                  <a:cubicBezTo>
                    <a:pt x="25" y="26"/>
                    <a:pt x="24" y="22"/>
                    <a:pt x="22" y="19"/>
                  </a:cubicBezTo>
                  <a:cubicBezTo>
                    <a:pt x="19" y="17"/>
                    <a:pt x="15" y="16"/>
                    <a:pt x="11" y="20"/>
                  </a:cubicBezTo>
                  <a:cubicBezTo>
                    <a:pt x="0" y="30"/>
                    <a:pt x="0" y="30"/>
                    <a:pt x="0" y="30"/>
                  </a:cubicBezTo>
                  <a:lnTo>
                    <a:pt x="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9" name="Freeform 158"/>
            <p:cNvSpPr>
              <a:spLocks/>
            </p:cNvSpPr>
            <p:nvPr/>
          </p:nvSpPr>
          <p:spPr bwMode="auto">
            <a:xfrm>
              <a:off x="7686782" y="4354553"/>
              <a:ext cx="100332" cy="147747"/>
            </a:xfrm>
            <a:custGeom>
              <a:avLst/>
              <a:gdLst>
                <a:gd name="T0" fmla="*/ 60 w 60"/>
                <a:gd name="T1" fmla="*/ 11 h 93"/>
                <a:gd name="T2" fmla="*/ 60 w 60"/>
                <a:gd name="T3" fmla="*/ 10 h 93"/>
                <a:gd name="T4" fmla="*/ 30 w 60"/>
                <a:gd name="T5" fmla="*/ 9 h 93"/>
                <a:gd name="T6" fmla="*/ 24 w 60"/>
                <a:gd name="T7" fmla="*/ 24 h 93"/>
                <a:gd name="T8" fmla="*/ 9 w 60"/>
                <a:gd name="T9" fmla="*/ 30 h 93"/>
                <a:gd name="T10" fmla="*/ 10 w 60"/>
                <a:gd name="T11" fmla="*/ 60 h 93"/>
                <a:gd name="T12" fmla="*/ 43 w 60"/>
                <a:gd name="T13" fmla="*/ 93 h 93"/>
                <a:gd name="T14" fmla="*/ 53 w 60"/>
                <a:gd name="T15" fmla="*/ 83 h 93"/>
                <a:gd name="T16" fmla="*/ 20 w 60"/>
                <a:gd name="T17" fmla="*/ 50 h 93"/>
                <a:gd name="T18" fmla="*/ 19 w 60"/>
                <a:gd name="T19" fmla="*/ 39 h 93"/>
                <a:gd name="T20" fmla="*/ 30 w 60"/>
                <a:gd name="T21" fmla="*/ 40 h 93"/>
                <a:gd name="T22" fmla="*/ 60 w 60"/>
                <a:gd name="T23" fmla="*/ 70 h 93"/>
                <a:gd name="T24" fmla="*/ 60 w 60"/>
                <a:gd name="T25" fmla="*/ 50 h 93"/>
                <a:gd name="T26" fmla="*/ 40 w 60"/>
                <a:gd name="T27" fmla="*/ 30 h 93"/>
                <a:gd name="T28" fmla="*/ 39 w 60"/>
                <a:gd name="T29" fmla="*/ 19 h 93"/>
                <a:gd name="T30" fmla="*/ 50 w 60"/>
                <a:gd name="T31" fmla="*/ 20 h 93"/>
                <a:gd name="T32" fmla="*/ 60 w 60"/>
                <a:gd name="T33" fmla="*/ 30 h 93"/>
                <a:gd name="T34" fmla="*/ 60 w 60"/>
                <a:gd name="T35" fmla="*/ 1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93">
                  <a:moveTo>
                    <a:pt x="60" y="11"/>
                  </a:moveTo>
                  <a:cubicBezTo>
                    <a:pt x="60" y="10"/>
                    <a:pt x="60" y="10"/>
                    <a:pt x="60" y="10"/>
                  </a:cubicBezTo>
                  <a:cubicBezTo>
                    <a:pt x="50" y="0"/>
                    <a:pt x="37" y="1"/>
                    <a:pt x="30" y="9"/>
                  </a:cubicBezTo>
                  <a:cubicBezTo>
                    <a:pt x="24" y="15"/>
                    <a:pt x="23" y="21"/>
                    <a:pt x="24" y="24"/>
                  </a:cubicBezTo>
                  <a:cubicBezTo>
                    <a:pt x="21" y="24"/>
                    <a:pt x="15" y="24"/>
                    <a:pt x="9" y="30"/>
                  </a:cubicBezTo>
                  <a:cubicBezTo>
                    <a:pt x="1" y="38"/>
                    <a:pt x="0" y="50"/>
                    <a:pt x="10" y="60"/>
                  </a:cubicBezTo>
                  <a:cubicBezTo>
                    <a:pt x="43" y="93"/>
                    <a:pt x="43" y="93"/>
                    <a:pt x="43" y="93"/>
                  </a:cubicBezTo>
                  <a:cubicBezTo>
                    <a:pt x="53" y="83"/>
                    <a:pt x="53" y="83"/>
                    <a:pt x="53" y="83"/>
                  </a:cubicBezTo>
                  <a:cubicBezTo>
                    <a:pt x="20" y="50"/>
                    <a:pt x="20" y="50"/>
                    <a:pt x="20" y="50"/>
                  </a:cubicBezTo>
                  <a:cubicBezTo>
                    <a:pt x="16" y="46"/>
                    <a:pt x="17" y="42"/>
                    <a:pt x="19" y="39"/>
                  </a:cubicBezTo>
                  <a:cubicBezTo>
                    <a:pt x="22" y="37"/>
                    <a:pt x="26" y="36"/>
                    <a:pt x="30" y="40"/>
                  </a:cubicBezTo>
                  <a:cubicBezTo>
                    <a:pt x="60" y="70"/>
                    <a:pt x="60" y="70"/>
                    <a:pt x="60" y="70"/>
                  </a:cubicBezTo>
                  <a:cubicBezTo>
                    <a:pt x="60" y="50"/>
                    <a:pt x="60" y="50"/>
                    <a:pt x="60" y="50"/>
                  </a:cubicBezTo>
                  <a:cubicBezTo>
                    <a:pt x="40" y="30"/>
                    <a:pt x="40" y="30"/>
                    <a:pt x="40" y="30"/>
                  </a:cubicBezTo>
                  <a:cubicBezTo>
                    <a:pt x="36" y="26"/>
                    <a:pt x="37" y="22"/>
                    <a:pt x="39" y="19"/>
                  </a:cubicBezTo>
                  <a:cubicBezTo>
                    <a:pt x="42" y="17"/>
                    <a:pt x="46" y="16"/>
                    <a:pt x="50" y="20"/>
                  </a:cubicBezTo>
                  <a:cubicBezTo>
                    <a:pt x="60" y="30"/>
                    <a:pt x="60" y="30"/>
                    <a:pt x="60" y="30"/>
                  </a:cubicBezTo>
                  <a:lnTo>
                    <a:pt x="60" y="11"/>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60" name="Freeform 159"/>
            <p:cNvSpPr>
              <a:spLocks/>
            </p:cNvSpPr>
            <p:nvPr/>
          </p:nvSpPr>
          <p:spPr bwMode="auto">
            <a:xfrm>
              <a:off x="8141337" y="4415076"/>
              <a:ext cx="103629" cy="66531"/>
            </a:xfrm>
            <a:custGeom>
              <a:avLst/>
              <a:gdLst>
                <a:gd name="T0" fmla="*/ 50 w 62"/>
                <a:gd name="T1" fmla="*/ 33 h 42"/>
                <a:gd name="T2" fmla="*/ 40 w 62"/>
                <a:gd name="T3" fmla="*/ 40 h 42"/>
                <a:gd name="T4" fmla="*/ 31 w 62"/>
                <a:gd name="T5" fmla="*/ 13 h 42"/>
                <a:gd name="T6" fmla="*/ 30 w 62"/>
                <a:gd name="T7" fmla="*/ 13 h 42"/>
                <a:gd name="T8" fmla="*/ 24 w 62"/>
                <a:gd name="T9" fmla="*/ 33 h 42"/>
                <a:gd name="T10" fmla="*/ 14 w 62"/>
                <a:gd name="T11" fmla="*/ 40 h 42"/>
                <a:gd name="T12" fmla="*/ 0 w 62"/>
                <a:gd name="T13" fmla="*/ 0 h 42"/>
                <a:gd name="T14" fmla="*/ 10 w 62"/>
                <a:gd name="T15" fmla="*/ 0 h 42"/>
                <a:gd name="T16" fmla="*/ 18 w 62"/>
                <a:gd name="T17" fmla="*/ 27 h 42"/>
                <a:gd name="T18" fmla="*/ 18 w 62"/>
                <a:gd name="T19" fmla="*/ 27 h 42"/>
                <a:gd name="T20" fmla="*/ 27 w 62"/>
                <a:gd name="T21" fmla="*/ 0 h 42"/>
                <a:gd name="T22" fmla="*/ 35 w 62"/>
                <a:gd name="T23" fmla="*/ 0 h 42"/>
                <a:gd name="T24" fmla="*/ 44 w 62"/>
                <a:gd name="T25" fmla="*/ 27 h 42"/>
                <a:gd name="T26" fmla="*/ 44 w 62"/>
                <a:gd name="T27" fmla="*/ 27 h 42"/>
                <a:gd name="T28" fmla="*/ 52 w 62"/>
                <a:gd name="T29" fmla="*/ 0 h 42"/>
                <a:gd name="T30" fmla="*/ 62 w 62"/>
                <a:gd name="T31" fmla="*/ 0 h 42"/>
                <a:gd name="T32" fmla="*/ 50 w 62"/>
                <a:gd name="T33" fmla="*/ 3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 h="42">
                  <a:moveTo>
                    <a:pt x="50" y="33"/>
                  </a:moveTo>
                  <a:cubicBezTo>
                    <a:pt x="47" y="42"/>
                    <a:pt x="40" y="40"/>
                    <a:pt x="40" y="40"/>
                  </a:cubicBezTo>
                  <a:cubicBezTo>
                    <a:pt x="31" y="13"/>
                    <a:pt x="31" y="13"/>
                    <a:pt x="31" y="13"/>
                  </a:cubicBezTo>
                  <a:cubicBezTo>
                    <a:pt x="30" y="13"/>
                    <a:pt x="30" y="13"/>
                    <a:pt x="30" y="13"/>
                  </a:cubicBezTo>
                  <a:cubicBezTo>
                    <a:pt x="30" y="13"/>
                    <a:pt x="26" y="26"/>
                    <a:pt x="24" y="33"/>
                  </a:cubicBezTo>
                  <a:cubicBezTo>
                    <a:pt x="21" y="42"/>
                    <a:pt x="14" y="40"/>
                    <a:pt x="14" y="40"/>
                  </a:cubicBezTo>
                  <a:cubicBezTo>
                    <a:pt x="0" y="0"/>
                    <a:pt x="0" y="0"/>
                    <a:pt x="0" y="0"/>
                  </a:cubicBezTo>
                  <a:cubicBezTo>
                    <a:pt x="10" y="0"/>
                    <a:pt x="10" y="0"/>
                    <a:pt x="10" y="0"/>
                  </a:cubicBezTo>
                  <a:cubicBezTo>
                    <a:pt x="18" y="27"/>
                    <a:pt x="18" y="27"/>
                    <a:pt x="18" y="27"/>
                  </a:cubicBezTo>
                  <a:cubicBezTo>
                    <a:pt x="18" y="27"/>
                    <a:pt x="18" y="27"/>
                    <a:pt x="18" y="27"/>
                  </a:cubicBezTo>
                  <a:cubicBezTo>
                    <a:pt x="27" y="0"/>
                    <a:pt x="27" y="0"/>
                    <a:pt x="27" y="0"/>
                  </a:cubicBezTo>
                  <a:cubicBezTo>
                    <a:pt x="35" y="0"/>
                    <a:pt x="35" y="0"/>
                    <a:pt x="35" y="0"/>
                  </a:cubicBezTo>
                  <a:cubicBezTo>
                    <a:pt x="44" y="27"/>
                    <a:pt x="44" y="27"/>
                    <a:pt x="44" y="27"/>
                  </a:cubicBezTo>
                  <a:cubicBezTo>
                    <a:pt x="44" y="27"/>
                    <a:pt x="44" y="27"/>
                    <a:pt x="44" y="27"/>
                  </a:cubicBezTo>
                  <a:cubicBezTo>
                    <a:pt x="52" y="0"/>
                    <a:pt x="52" y="0"/>
                    <a:pt x="52" y="0"/>
                  </a:cubicBezTo>
                  <a:cubicBezTo>
                    <a:pt x="62" y="0"/>
                    <a:pt x="62" y="0"/>
                    <a:pt x="62" y="0"/>
                  </a:cubicBezTo>
                  <a:cubicBezTo>
                    <a:pt x="62" y="0"/>
                    <a:pt x="53" y="26"/>
                    <a:pt x="50" y="33"/>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61" name="Freeform 160"/>
            <p:cNvSpPr>
              <a:spLocks noEditPoints="1"/>
            </p:cNvSpPr>
            <p:nvPr/>
          </p:nvSpPr>
          <p:spPr bwMode="auto">
            <a:xfrm>
              <a:off x="8246615" y="4413518"/>
              <a:ext cx="58645" cy="64973"/>
            </a:xfrm>
            <a:custGeom>
              <a:avLst/>
              <a:gdLst>
                <a:gd name="T0" fmla="*/ 27 w 35"/>
                <a:gd name="T1" fmla="*/ 41 h 41"/>
                <a:gd name="T2" fmla="*/ 25 w 35"/>
                <a:gd name="T3" fmla="*/ 37 h 41"/>
                <a:gd name="T4" fmla="*/ 13 w 35"/>
                <a:gd name="T5" fmla="*/ 41 h 41"/>
                <a:gd name="T6" fmla="*/ 0 w 35"/>
                <a:gd name="T7" fmla="*/ 29 h 41"/>
                <a:gd name="T8" fmla="*/ 17 w 35"/>
                <a:gd name="T9" fmla="*/ 16 h 41"/>
                <a:gd name="T10" fmla="*/ 24 w 35"/>
                <a:gd name="T11" fmla="*/ 15 h 41"/>
                <a:gd name="T12" fmla="*/ 24 w 35"/>
                <a:gd name="T13" fmla="*/ 14 h 41"/>
                <a:gd name="T14" fmla="*/ 16 w 35"/>
                <a:gd name="T15" fmla="*/ 8 h 41"/>
                <a:gd name="T16" fmla="*/ 6 w 35"/>
                <a:gd name="T17" fmla="*/ 11 h 41"/>
                <a:gd name="T18" fmla="*/ 3 w 35"/>
                <a:gd name="T19" fmla="*/ 4 h 41"/>
                <a:gd name="T20" fmla="*/ 18 w 35"/>
                <a:gd name="T21" fmla="*/ 0 h 41"/>
                <a:gd name="T22" fmla="*/ 34 w 35"/>
                <a:gd name="T23" fmla="*/ 14 h 41"/>
                <a:gd name="T24" fmla="*/ 34 w 35"/>
                <a:gd name="T25" fmla="*/ 30 h 41"/>
                <a:gd name="T26" fmla="*/ 35 w 35"/>
                <a:gd name="T27" fmla="*/ 41 h 41"/>
                <a:gd name="T28" fmla="*/ 27 w 35"/>
                <a:gd name="T29" fmla="*/ 41 h 41"/>
                <a:gd name="T30" fmla="*/ 24 w 35"/>
                <a:gd name="T31" fmla="*/ 22 h 41"/>
                <a:gd name="T32" fmla="*/ 18 w 35"/>
                <a:gd name="T33" fmla="*/ 22 h 41"/>
                <a:gd name="T34" fmla="*/ 10 w 35"/>
                <a:gd name="T35" fmla="*/ 28 h 41"/>
                <a:gd name="T36" fmla="*/ 17 w 35"/>
                <a:gd name="T37" fmla="*/ 33 h 41"/>
                <a:gd name="T38" fmla="*/ 24 w 35"/>
                <a:gd name="T39" fmla="*/ 31 h 41"/>
                <a:gd name="T40" fmla="*/ 24 w 35"/>
                <a:gd name="T41" fmla="*/ 2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 h="41">
                  <a:moveTo>
                    <a:pt x="27" y="41"/>
                  </a:moveTo>
                  <a:cubicBezTo>
                    <a:pt x="25" y="37"/>
                    <a:pt x="25" y="37"/>
                    <a:pt x="25" y="37"/>
                  </a:cubicBezTo>
                  <a:cubicBezTo>
                    <a:pt x="22" y="39"/>
                    <a:pt x="18" y="41"/>
                    <a:pt x="13" y="41"/>
                  </a:cubicBezTo>
                  <a:cubicBezTo>
                    <a:pt x="6" y="41"/>
                    <a:pt x="0" y="36"/>
                    <a:pt x="0" y="29"/>
                  </a:cubicBezTo>
                  <a:cubicBezTo>
                    <a:pt x="0" y="20"/>
                    <a:pt x="7" y="16"/>
                    <a:pt x="17" y="16"/>
                  </a:cubicBezTo>
                  <a:cubicBezTo>
                    <a:pt x="24" y="15"/>
                    <a:pt x="24" y="15"/>
                    <a:pt x="24" y="15"/>
                  </a:cubicBezTo>
                  <a:cubicBezTo>
                    <a:pt x="24" y="15"/>
                    <a:pt x="24" y="15"/>
                    <a:pt x="24" y="14"/>
                  </a:cubicBezTo>
                  <a:cubicBezTo>
                    <a:pt x="24" y="10"/>
                    <a:pt x="21" y="8"/>
                    <a:pt x="16" y="8"/>
                  </a:cubicBezTo>
                  <a:cubicBezTo>
                    <a:pt x="12" y="8"/>
                    <a:pt x="9" y="9"/>
                    <a:pt x="6" y="11"/>
                  </a:cubicBezTo>
                  <a:cubicBezTo>
                    <a:pt x="3" y="4"/>
                    <a:pt x="3" y="4"/>
                    <a:pt x="3" y="4"/>
                  </a:cubicBezTo>
                  <a:cubicBezTo>
                    <a:pt x="8" y="1"/>
                    <a:pt x="13" y="0"/>
                    <a:pt x="18" y="0"/>
                  </a:cubicBezTo>
                  <a:cubicBezTo>
                    <a:pt x="28" y="0"/>
                    <a:pt x="34" y="4"/>
                    <a:pt x="34" y="14"/>
                  </a:cubicBezTo>
                  <a:cubicBezTo>
                    <a:pt x="34" y="30"/>
                    <a:pt x="34" y="30"/>
                    <a:pt x="34" y="30"/>
                  </a:cubicBezTo>
                  <a:cubicBezTo>
                    <a:pt x="34" y="36"/>
                    <a:pt x="34" y="39"/>
                    <a:pt x="35" y="41"/>
                  </a:cubicBezTo>
                  <a:lnTo>
                    <a:pt x="27" y="41"/>
                  </a:lnTo>
                  <a:close/>
                  <a:moveTo>
                    <a:pt x="24" y="22"/>
                  </a:moveTo>
                  <a:cubicBezTo>
                    <a:pt x="18" y="22"/>
                    <a:pt x="18" y="22"/>
                    <a:pt x="18" y="22"/>
                  </a:cubicBezTo>
                  <a:cubicBezTo>
                    <a:pt x="13" y="23"/>
                    <a:pt x="10" y="24"/>
                    <a:pt x="10" y="28"/>
                  </a:cubicBezTo>
                  <a:cubicBezTo>
                    <a:pt x="10" y="31"/>
                    <a:pt x="13" y="33"/>
                    <a:pt x="17" y="33"/>
                  </a:cubicBezTo>
                  <a:cubicBezTo>
                    <a:pt x="20" y="33"/>
                    <a:pt x="23" y="32"/>
                    <a:pt x="24" y="31"/>
                  </a:cubicBezTo>
                  <a:lnTo>
                    <a:pt x="24" y="22"/>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62" name="Freeform 161"/>
            <p:cNvSpPr>
              <a:spLocks noEditPoints="1"/>
            </p:cNvSpPr>
            <p:nvPr/>
          </p:nvSpPr>
          <p:spPr bwMode="auto">
            <a:xfrm>
              <a:off x="8363669" y="4383257"/>
              <a:ext cx="63591" cy="95234"/>
            </a:xfrm>
            <a:custGeom>
              <a:avLst/>
              <a:gdLst>
                <a:gd name="T0" fmla="*/ 22 w 38"/>
                <a:gd name="T1" fmla="*/ 60 h 60"/>
                <a:gd name="T2" fmla="*/ 0 w 38"/>
                <a:gd name="T3" fmla="*/ 40 h 60"/>
                <a:gd name="T4" fmla="*/ 22 w 38"/>
                <a:gd name="T5" fmla="*/ 19 h 60"/>
                <a:gd name="T6" fmla="*/ 27 w 38"/>
                <a:gd name="T7" fmla="*/ 19 h 60"/>
                <a:gd name="T8" fmla="*/ 28 w 38"/>
                <a:gd name="T9" fmla="*/ 0 h 60"/>
                <a:gd name="T10" fmla="*/ 38 w 38"/>
                <a:gd name="T11" fmla="*/ 0 h 60"/>
                <a:gd name="T12" fmla="*/ 37 w 38"/>
                <a:gd name="T13" fmla="*/ 57 h 60"/>
                <a:gd name="T14" fmla="*/ 22 w 38"/>
                <a:gd name="T15" fmla="*/ 60 h 60"/>
                <a:gd name="T16" fmla="*/ 27 w 38"/>
                <a:gd name="T17" fmla="*/ 27 h 60"/>
                <a:gd name="T18" fmla="*/ 23 w 38"/>
                <a:gd name="T19" fmla="*/ 27 h 60"/>
                <a:gd name="T20" fmla="*/ 10 w 38"/>
                <a:gd name="T21" fmla="*/ 39 h 60"/>
                <a:gd name="T22" fmla="*/ 23 w 38"/>
                <a:gd name="T23" fmla="*/ 52 h 60"/>
                <a:gd name="T24" fmla="*/ 27 w 38"/>
                <a:gd name="T25" fmla="*/ 51 h 60"/>
                <a:gd name="T26" fmla="*/ 27 w 38"/>
                <a:gd name="T27" fmla="*/ 2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60">
                  <a:moveTo>
                    <a:pt x="22" y="60"/>
                  </a:moveTo>
                  <a:cubicBezTo>
                    <a:pt x="10" y="60"/>
                    <a:pt x="0" y="53"/>
                    <a:pt x="0" y="40"/>
                  </a:cubicBezTo>
                  <a:cubicBezTo>
                    <a:pt x="0" y="28"/>
                    <a:pt x="9" y="19"/>
                    <a:pt x="22" y="19"/>
                  </a:cubicBezTo>
                  <a:cubicBezTo>
                    <a:pt x="24" y="19"/>
                    <a:pt x="26" y="19"/>
                    <a:pt x="27" y="19"/>
                  </a:cubicBezTo>
                  <a:cubicBezTo>
                    <a:pt x="28" y="0"/>
                    <a:pt x="28" y="0"/>
                    <a:pt x="28" y="0"/>
                  </a:cubicBezTo>
                  <a:cubicBezTo>
                    <a:pt x="38" y="0"/>
                    <a:pt x="38" y="0"/>
                    <a:pt x="38" y="0"/>
                  </a:cubicBezTo>
                  <a:cubicBezTo>
                    <a:pt x="37" y="57"/>
                    <a:pt x="37" y="57"/>
                    <a:pt x="37" y="57"/>
                  </a:cubicBezTo>
                  <a:cubicBezTo>
                    <a:pt x="34" y="59"/>
                    <a:pt x="29" y="60"/>
                    <a:pt x="22" y="60"/>
                  </a:cubicBezTo>
                  <a:close/>
                  <a:moveTo>
                    <a:pt x="27" y="27"/>
                  </a:moveTo>
                  <a:cubicBezTo>
                    <a:pt x="26" y="27"/>
                    <a:pt x="25" y="27"/>
                    <a:pt x="23" y="27"/>
                  </a:cubicBezTo>
                  <a:cubicBezTo>
                    <a:pt x="16" y="27"/>
                    <a:pt x="10" y="32"/>
                    <a:pt x="10" y="39"/>
                  </a:cubicBezTo>
                  <a:cubicBezTo>
                    <a:pt x="10" y="47"/>
                    <a:pt x="15" y="52"/>
                    <a:pt x="23" y="52"/>
                  </a:cubicBezTo>
                  <a:cubicBezTo>
                    <a:pt x="24" y="52"/>
                    <a:pt x="26" y="52"/>
                    <a:pt x="27" y="51"/>
                  </a:cubicBezTo>
                  <a:lnTo>
                    <a:pt x="27" y="2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63" name="Freeform 162"/>
            <p:cNvSpPr>
              <a:spLocks/>
            </p:cNvSpPr>
            <p:nvPr/>
          </p:nvSpPr>
          <p:spPr bwMode="auto">
            <a:xfrm>
              <a:off x="8114724" y="4383257"/>
              <a:ext cx="16722" cy="95234"/>
            </a:xfrm>
            <a:custGeom>
              <a:avLst/>
              <a:gdLst>
                <a:gd name="T0" fmla="*/ 10 w 10"/>
                <a:gd name="T1" fmla="*/ 53 h 60"/>
                <a:gd name="T2" fmla="*/ 0 w 10"/>
                <a:gd name="T3" fmla="*/ 60 h 60"/>
                <a:gd name="T4" fmla="*/ 0 w 10"/>
                <a:gd name="T5" fmla="*/ 0 h 60"/>
                <a:gd name="T6" fmla="*/ 10 w 10"/>
                <a:gd name="T7" fmla="*/ 0 h 60"/>
                <a:gd name="T8" fmla="*/ 10 w 10"/>
                <a:gd name="T9" fmla="*/ 53 h 60"/>
              </a:gdLst>
              <a:ahLst/>
              <a:cxnLst>
                <a:cxn ang="0">
                  <a:pos x="T0" y="T1"/>
                </a:cxn>
                <a:cxn ang="0">
                  <a:pos x="T2" y="T3"/>
                </a:cxn>
                <a:cxn ang="0">
                  <a:pos x="T4" y="T5"/>
                </a:cxn>
                <a:cxn ang="0">
                  <a:pos x="T6" y="T7"/>
                </a:cxn>
                <a:cxn ang="0">
                  <a:pos x="T8" y="T9"/>
                </a:cxn>
              </a:cxnLst>
              <a:rect l="0" t="0" r="r" b="b"/>
              <a:pathLst>
                <a:path w="10" h="60">
                  <a:moveTo>
                    <a:pt x="10" y="53"/>
                  </a:moveTo>
                  <a:cubicBezTo>
                    <a:pt x="10" y="60"/>
                    <a:pt x="0" y="60"/>
                    <a:pt x="0" y="60"/>
                  </a:cubicBezTo>
                  <a:cubicBezTo>
                    <a:pt x="0" y="0"/>
                    <a:pt x="0" y="0"/>
                    <a:pt x="0" y="0"/>
                  </a:cubicBezTo>
                  <a:cubicBezTo>
                    <a:pt x="10" y="0"/>
                    <a:pt x="10" y="0"/>
                    <a:pt x="10" y="0"/>
                  </a:cubicBezTo>
                  <a:cubicBezTo>
                    <a:pt x="10" y="0"/>
                    <a:pt x="10" y="45"/>
                    <a:pt x="10" y="53"/>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64" name="Freeform 163"/>
            <p:cNvSpPr>
              <a:spLocks/>
            </p:cNvSpPr>
            <p:nvPr/>
          </p:nvSpPr>
          <p:spPr bwMode="auto">
            <a:xfrm>
              <a:off x="8081279" y="4383257"/>
              <a:ext cx="16722" cy="95234"/>
            </a:xfrm>
            <a:custGeom>
              <a:avLst/>
              <a:gdLst>
                <a:gd name="T0" fmla="*/ 10 w 10"/>
                <a:gd name="T1" fmla="*/ 53 h 60"/>
                <a:gd name="T2" fmla="*/ 0 w 10"/>
                <a:gd name="T3" fmla="*/ 60 h 60"/>
                <a:gd name="T4" fmla="*/ 0 w 10"/>
                <a:gd name="T5" fmla="*/ 0 h 60"/>
                <a:gd name="T6" fmla="*/ 10 w 10"/>
                <a:gd name="T7" fmla="*/ 0 h 60"/>
                <a:gd name="T8" fmla="*/ 10 w 10"/>
                <a:gd name="T9" fmla="*/ 53 h 60"/>
              </a:gdLst>
              <a:ahLst/>
              <a:cxnLst>
                <a:cxn ang="0">
                  <a:pos x="T0" y="T1"/>
                </a:cxn>
                <a:cxn ang="0">
                  <a:pos x="T2" y="T3"/>
                </a:cxn>
                <a:cxn ang="0">
                  <a:pos x="T4" y="T5"/>
                </a:cxn>
                <a:cxn ang="0">
                  <a:pos x="T6" y="T7"/>
                </a:cxn>
                <a:cxn ang="0">
                  <a:pos x="T8" y="T9"/>
                </a:cxn>
              </a:cxnLst>
              <a:rect l="0" t="0" r="r" b="b"/>
              <a:pathLst>
                <a:path w="10" h="60">
                  <a:moveTo>
                    <a:pt x="10" y="53"/>
                  </a:moveTo>
                  <a:cubicBezTo>
                    <a:pt x="10" y="60"/>
                    <a:pt x="0" y="60"/>
                    <a:pt x="0" y="60"/>
                  </a:cubicBezTo>
                  <a:cubicBezTo>
                    <a:pt x="0" y="0"/>
                    <a:pt x="0" y="0"/>
                    <a:pt x="0" y="0"/>
                  </a:cubicBezTo>
                  <a:cubicBezTo>
                    <a:pt x="10" y="0"/>
                    <a:pt x="10" y="0"/>
                    <a:pt x="10" y="0"/>
                  </a:cubicBezTo>
                  <a:cubicBezTo>
                    <a:pt x="10" y="0"/>
                    <a:pt x="10" y="45"/>
                    <a:pt x="10" y="53"/>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65" name="Freeform 164"/>
            <p:cNvSpPr>
              <a:spLocks/>
            </p:cNvSpPr>
            <p:nvPr/>
          </p:nvSpPr>
          <p:spPr bwMode="auto">
            <a:xfrm>
              <a:off x="8318450" y="4413518"/>
              <a:ext cx="43571" cy="64973"/>
            </a:xfrm>
            <a:custGeom>
              <a:avLst/>
              <a:gdLst>
                <a:gd name="T0" fmla="*/ 22 w 26"/>
                <a:gd name="T1" fmla="*/ 10 h 41"/>
                <a:gd name="T2" fmla="*/ 18 w 26"/>
                <a:gd name="T3" fmla="*/ 9 h 41"/>
                <a:gd name="T4" fmla="*/ 10 w 26"/>
                <a:gd name="T5" fmla="*/ 12 h 41"/>
                <a:gd name="T6" fmla="*/ 10 w 26"/>
                <a:gd name="T7" fmla="*/ 34 h 41"/>
                <a:gd name="T8" fmla="*/ 0 w 26"/>
                <a:gd name="T9" fmla="*/ 41 h 41"/>
                <a:gd name="T10" fmla="*/ 0 w 26"/>
                <a:gd name="T11" fmla="*/ 1 h 41"/>
                <a:gd name="T12" fmla="*/ 9 w 26"/>
                <a:gd name="T13" fmla="*/ 1 h 41"/>
                <a:gd name="T14" fmla="*/ 10 w 26"/>
                <a:gd name="T15" fmla="*/ 5 h 41"/>
                <a:gd name="T16" fmla="*/ 21 w 26"/>
                <a:gd name="T17" fmla="*/ 0 h 41"/>
                <a:gd name="T18" fmla="*/ 26 w 26"/>
                <a:gd name="T19" fmla="*/ 2 h 41"/>
                <a:gd name="T20" fmla="*/ 22 w 26"/>
                <a:gd name="T21" fmla="*/ 1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41">
                  <a:moveTo>
                    <a:pt x="22" y="10"/>
                  </a:moveTo>
                  <a:cubicBezTo>
                    <a:pt x="21" y="9"/>
                    <a:pt x="19" y="9"/>
                    <a:pt x="18" y="9"/>
                  </a:cubicBezTo>
                  <a:cubicBezTo>
                    <a:pt x="15" y="9"/>
                    <a:pt x="13" y="10"/>
                    <a:pt x="10" y="12"/>
                  </a:cubicBezTo>
                  <a:cubicBezTo>
                    <a:pt x="10" y="12"/>
                    <a:pt x="10" y="26"/>
                    <a:pt x="10" y="34"/>
                  </a:cubicBezTo>
                  <a:cubicBezTo>
                    <a:pt x="10" y="41"/>
                    <a:pt x="0" y="41"/>
                    <a:pt x="0" y="41"/>
                  </a:cubicBezTo>
                  <a:cubicBezTo>
                    <a:pt x="0" y="1"/>
                    <a:pt x="0" y="1"/>
                    <a:pt x="0" y="1"/>
                  </a:cubicBezTo>
                  <a:cubicBezTo>
                    <a:pt x="9" y="1"/>
                    <a:pt x="9" y="1"/>
                    <a:pt x="9" y="1"/>
                  </a:cubicBezTo>
                  <a:cubicBezTo>
                    <a:pt x="10" y="5"/>
                    <a:pt x="10" y="5"/>
                    <a:pt x="10" y="5"/>
                  </a:cubicBezTo>
                  <a:cubicBezTo>
                    <a:pt x="14" y="2"/>
                    <a:pt x="17" y="0"/>
                    <a:pt x="21" y="0"/>
                  </a:cubicBezTo>
                  <a:cubicBezTo>
                    <a:pt x="23" y="0"/>
                    <a:pt x="25" y="1"/>
                    <a:pt x="26" y="2"/>
                  </a:cubicBezTo>
                  <a:lnTo>
                    <a:pt x="22" y="1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66" name="Freeform 165"/>
            <p:cNvSpPr>
              <a:spLocks/>
            </p:cNvSpPr>
            <p:nvPr/>
          </p:nvSpPr>
          <p:spPr bwMode="auto">
            <a:xfrm>
              <a:off x="7929133" y="4383257"/>
              <a:ext cx="98684" cy="93677"/>
            </a:xfrm>
            <a:custGeom>
              <a:avLst/>
              <a:gdLst>
                <a:gd name="T0" fmla="*/ 48 w 59"/>
                <a:gd name="T1" fmla="*/ 59 h 59"/>
                <a:gd name="T2" fmla="*/ 48 w 59"/>
                <a:gd name="T3" fmla="*/ 24 h 59"/>
                <a:gd name="T4" fmla="*/ 49 w 59"/>
                <a:gd name="T5" fmla="*/ 18 h 59"/>
                <a:gd name="T6" fmla="*/ 48 w 59"/>
                <a:gd name="T7" fmla="*/ 18 h 59"/>
                <a:gd name="T8" fmla="*/ 45 w 59"/>
                <a:gd name="T9" fmla="*/ 24 h 59"/>
                <a:gd name="T10" fmla="*/ 33 w 59"/>
                <a:gd name="T11" fmla="*/ 42 h 59"/>
                <a:gd name="T12" fmla="*/ 28 w 59"/>
                <a:gd name="T13" fmla="*/ 42 h 59"/>
                <a:gd name="T14" fmla="*/ 14 w 59"/>
                <a:gd name="T15" fmla="*/ 23 h 59"/>
                <a:gd name="T16" fmla="*/ 11 w 59"/>
                <a:gd name="T17" fmla="*/ 18 h 59"/>
                <a:gd name="T18" fmla="*/ 11 w 59"/>
                <a:gd name="T19" fmla="*/ 18 h 59"/>
                <a:gd name="T20" fmla="*/ 11 w 59"/>
                <a:gd name="T21" fmla="*/ 24 h 59"/>
                <a:gd name="T22" fmla="*/ 11 w 59"/>
                <a:gd name="T23" fmla="*/ 59 h 59"/>
                <a:gd name="T24" fmla="*/ 0 w 59"/>
                <a:gd name="T25" fmla="*/ 59 h 59"/>
                <a:gd name="T26" fmla="*/ 0 w 59"/>
                <a:gd name="T27" fmla="*/ 0 h 59"/>
                <a:gd name="T28" fmla="*/ 10 w 59"/>
                <a:gd name="T29" fmla="*/ 0 h 59"/>
                <a:gd name="T30" fmla="*/ 26 w 59"/>
                <a:gd name="T31" fmla="*/ 24 h 59"/>
                <a:gd name="T32" fmla="*/ 30 w 59"/>
                <a:gd name="T33" fmla="*/ 30 h 59"/>
                <a:gd name="T34" fmla="*/ 30 w 59"/>
                <a:gd name="T35" fmla="*/ 30 h 59"/>
                <a:gd name="T36" fmla="*/ 34 w 59"/>
                <a:gd name="T37" fmla="*/ 24 h 59"/>
                <a:gd name="T38" fmla="*/ 49 w 59"/>
                <a:gd name="T39" fmla="*/ 0 h 59"/>
                <a:gd name="T40" fmla="*/ 59 w 59"/>
                <a:gd name="T41" fmla="*/ 0 h 59"/>
                <a:gd name="T42" fmla="*/ 59 w 59"/>
                <a:gd name="T43" fmla="*/ 59 h 59"/>
                <a:gd name="T44" fmla="*/ 48 w 59"/>
                <a:gd name="T4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9" h="59">
                  <a:moveTo>
                    <a:pt x="48" y="59"/>
                  </a:moveTo>
                  <a:cubicBezTo>
                    <a:pt x="48" y="24"/>
                    <a:pt x="48" y="24"/>
                    <a:pt x="48" y="24"/>
                  </a:cubicBezTo>
                  <a:cubicBezTo>
                    <a:pt x="48" y="22"/>
                    <a:pt x="48" y="20"/>
                    <a:pt x="49" y="18"/>
                  </a:cubicBezTo>
                  <a:cubicBezTo>
                    <a:pt x="48" y="18"/>
                    <a:pt x="48" y="18"/>
                    <a:pt x="48" y="18"/>
                  </a:cubicBezTo>
                  <a:cubicBezTo>
                    <a:pt x="48" y="19"/>
                    <a:pt x="46" y="22"/>
                    <a:pt x="45" y="24"/>
                  </a:cubicBezTo>
                  <a:cubicBezTo>
                    <a:pt x="33" y="42"/>
                    <a:pt x="33" y="42"/>
                    <a:pt x="33" y="42"/>
                  </a:cubicBezTo>
                  <a:cubicBezTo>
                    <a:pt x="28" y="42"/>
                    <a:pt x="28" y="42"/>
                    <a:pt x="28" y="42"/>
                  </a:cubicBezTo>
                  <a:cubicBezTo>
                    <a:pt x="14" y="23"/>
                    <a:pt x="14" y="23"/>
                    <a:pt x="14" y="23"/>
                  </a:cubicBezTo>
                  <a:cubicBezTo>
                    <a:pt x="13" y="22"/>
                    <a:pt x="12" y="20"/>
                    <a:pt x="11" y="18"/>
                  </a:cubicBezTo>
                  <a:cubicBezTo>
                    <a:pt x="11" y="18"/>
                    <a:pt x="11" y="18"/>
                    <a:pt x="11" y="18"/>
                  </a:cubicBezTo>
                  <a:cubicBezTo>
                    <a:pt x="11" y="20"/>
                    <a:pt x="11" y="22"/>
                    <a:pt x="11" y="24"/>
                  </a:cubicBezTo>
                  <a:cubicBezTo>
                    <a:pt x="11" y="59"/>
                    <a:pt x="11" y="59"/>
                    <a:pt x="11" y="59"/>
                  </a:cubicBezTo>
                  <a:cubicBezTo>
                    <a:pt x="0" y="59"/>
                    <a:pt x="0" y="59"/>
                    <a:pt x="0" y="59"/>
                  </a:cubicBezTo>
                  <a:cubicBezTo>
                    <a:pt x="0" y="0"/>
                    <a:pt x="0" y="0"/>
                    <a:pt x="0" y="0"/>
                  </a:cubicBezTo>
                  <a:cubicBezTo>
                    <a:pt x="10" y="0"/>
                    <a:pt x="10" y="0"/>
                    <a:pt x="10" y="0"/>
                  </a:cubicBezTo>
                  <a:cubicBezTo>
                    <a:pt x="26" y="24"/>
                    <a:pt x="26" y="24"/>
                    <a:pt x="26" y="24"/>
                  </a:cubicBezTo>
                  <a:cubicBezTo>
                    <a:pt x="28" y="26"/>
                    <a:pt x="29" y="28"/>
                    <a:pt x="30" y="30"/>
                  </a:cubicBezTo>
                  <a:cubicBezTo>
                    <a:pt x="30" y="30"/>
                    <a:pt x="30" y="30"/>
                    <a:pt x="30" y="30"/>
                  </a:cubicBezTo>
                  <a:cubicBezTo>
                    <a:pt x="31" y="28"/>
                    <a:pt x="32" y="26"/>
                    <a:pt x="34" y="24"/>
                  </a:cubicBezTo>
                  <a:cubicBezTo>
                    <a:pt x="49" y="0"/>
                    <a:pt x="49" y="0"/>
                    <a:pt x="49" y="0"/>
                  </a:cubicBezTo>
                  <a:cubicBezTo>
                    <a:pt x="59" y="0"/>
                    <a:pt x="59" y="0"/>
                    <a:pt x="59" y="0"/>
                  </a:cubicBezTo>
                  <a:cubicBezTo>
                    <a:pt x="59" y="59"/>
                    <a:pt x="59" y="59"/>
                    <a:pt x="59" y="59"/>
                  </a:cubicBezTo>
                  <a:lnTo>
                    <a:pt x="48" y="5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67" name="Freeform 166"/>
            <p:cNvSpPr>
              <a:spLocks noEditPoints="1"/>
            </p:cNvSpPr>
            <p:nvPr/>
          </p:nvSpPr>
          <p:spPr bwMode="auto">
            <a:xfrm>
              <a:off x="8044539" y="4386372"/>
              <a:ext cx="21668" cy="92119"/>
            </a:xfrm>
            <a:custGeom>
              <a:avLst/>
              <a:gdLst>
                <a:gd name="T0" fmla="*/ 6 w 13"/>
                <a:gd name="T1" fmla="*/ 12 h 58"/>
                <a:gd name="T2" fmla="*/ 0 w 13"/>
                <a:gd name="T3" fmla="*/ 6 h 58"/>
                <a:gd name="T4" fmla="*/ 6 w 13"/>
                <a:gd name="T5" fmla="*/ 0 h 58"/>
                <a:gd name="T6" fmla="*/ 13 w 13"/>
                <a:gd name="T7" fmla="*/ 6 h 58"/>
                <a:gd name="T8" fmla="*/ 6 w 13"/>
                <a:gd name="T9" fmla="*/ 12 h 58"/>
                <a:gd name="T10" fmla="*/ 1 w 13"/>
                <a:gd name="T11" fmla="*/ 58 h 58"/>
                <a:gd name="T12" fmla="*/ 1 w 13"/>
                <a:gd name="T13" fmla="*/ 18 h 58"/>
                <a:gd name="T14" fmla="*/ 11 w 13"/>
                <a:gd name="T15" fmla="*/ 18 h 58"/>
                <a:gd name="T16" fmla="*/ 11 w 13"/>
                <a:gd name="T17" fmla="*/ 51 h 58"/>
                <a:gd name="T18" fmla="*/ 1 w 13"/>
                <a:gd name="T19"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58">
                  <a:moveTo>
                    <a:pt x="6" y="12"/>
                  </a:moveTo>
                  <a:cubicBezTo>
                    <a:pt x="3" y="12"/>
                    <a:pt x="0" y="9"/>
                    <a:pt x="0" y="6"/>
                  </a:cubicBezTo>
                  <a:cubicBezTo>
                    <a:pt x="0" y="2"/>
                    <a:pt x="3" y="0"/>
                    <a:pt x="6" y="0"/>
                  </a:cubicBezTo>
                  <a:cubicBezTo>
                    <a:pt x="10" y="0"/>
                    <a:pt x="13" y="2"/>
                    <a:pt x="13" y="6"/>
                  </a:cubicBezTo>
                  <a:cubicBezTo>
                    <a:pt x="13" y="9"/>
                    <a:pt x="10" y="12"/>
                    <a:pt x="6" y="12"/>
                  </a:cubicBezTo>
                  <a:close/>
                  <a:moveTo>
                    <a:pt x="1" y="58"/>
                  </a:moveTo>
                  <a:cubicBezTo>
                    <a:pt x="1" y="18"/>
                    <a:pt x="1" y="18"/>
                    <a:pt x="1" y="18"/>
                  </a:cubicBezTo>
                  <a:cubicBezTo>
                    <a:pt x="11" y="18"/>
                    <a:pt x="11" y="18"/>
                    <a:pt x="11" y="18"/>
                  </a:cubicBezTo>
                  <a:cubicBezTo>
                    <a:pt x="11" y="18"/>
                    <a:pt x="11" y="43"/>
                    <a:pt x="11" y="51"/>
                  </a:cubicBezTo>
                  <a:cubicBezTo>
                    <a:pt x="11" y="58"/>
                    <a:pt x="1" y="58"/>
                    <a:pt x="1" y="58"/>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68" name="Freeform 167"/>
            <p:cNvSpPr>
              <a:spLocks/>
            </p:cNvSpPr>
            <p:nvPr/>
          </p:nvSpPr>
          <p:spPr bwMode="auto">
            <a:xfrm>
              <a:off x="8224947" y="4510310"/>
              <a:ext cx="13425" cy="79436"/>
            </a:xfrm>
            <a:custGeom>
              <a:avLst/>
              <a:gdLst>
                <a:gd name="T0" fmla="*/ 8 w 8"/>
                <a:gd name="T1" fmla="*/ 44 h 50"/>
                <a:gd name="T2" fmla="*/ 0 w 8"/>
                <a:gd name="T3" fmla="*/ 50 h 50"/>
                <a:gd name="T4" fmla="*/ 0 w 8"/>
                <a:gd name="T5" fmla="*/ 0 h 50"/>
                <a:gd name="T6" fmla="*/ 8 w 8"/>
                <a:gd name="T7" fmla="*/ 0 h 50"/>
                <a:gd name="T8" fmla="*/ 8 w 8"/>
                <a:gd name="T9" fmla="*/ 44 h 50"/>
              </a:gdLst>
              <a:ahLst/>
              <a:cxnLst>
                <a:cxn ang="0">
                  <a:pos x="T0" y="T1"/>
                </a:cxn>
                <a:cxn ang="0">
                  <a:pos x="T2" y="T3"/>
                </a:cxn>
                <a:cxn ang="0">
                  <a:pos x="T4" y="T5"/>
                </a:cxn>
                <a:cxn ang="0">
                  <a:pos x="T6" y="T7"/>
                </a:cxn>
                <a:cxn ang="0">
                  <a:pos x="T8" y="T9"/>
                </a:cxn>
              </a:cxnLst>
              <a:rect l="0" t="0" r="r" b="b"/>
              <a:pathLst>
                <a:path w="8" h="50">
                  <a:moveTo>
                    <a:pt x="8" y="44"/>
                  </a:moveTo>
                  <a:cubicBezTo>
                    <a:pt x="8" y="50"/>
                    <a:pt x="0" y="50"/>
                    <a:pt x="0" y="50"/>
                  </a:cubicBezTo>
                  <a:cubicBezTo>
                    <a:pt x="0" y="0"/>
                    <a:pt x="0" y="0"/>
                    <a:pt x="0" y="0"/>
                  </a:cubicBezTo>
                  <a:cubicBezTo>
                    <a:pt x="8" y="0"/>
                    <a:pt x="8" y="0"/>
                    <a:pt x="8" y="0"/>
                  </a:cubicBezTo>
                  <a:cubicBezTo>
                    <a:pt x="8" y="0"/>
                    <a:pt x="8" y="37"/>
                    <a:pt x="8"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9" name="Freeform 168"/>
            <p:cNvSpPr>
              <a:spLocks noEditPoints="1"/>
            </p:cNvSpPr>
            <p:nvPr/>
          </p:nvSpPr>
          <p:spPr bwMode="auto">
            <a:xfrm>
              <a:off x="8007562" y="4513425"/>
              <a:ext cx="18371" cy="76321"/>
            </a:xfrm>
            <a:custGeom>
              <a:avLst/>
              <a:gdLst>
                <a:gd name="T0" fmla="*/ 5 w 11"/>
                <a:gd name="T1" fmla="*/ 10 h 48"/>
                <a:gd name="T2" fmla="*/ 0 w 11"/>
                <a:gd name="T3" fmla="*/ 5 h 48"/>
                <a:gd name="T4" fmla="*/ 5 w 11"/>
                <a:gd name="T5" fmla="*/ 0 h 48"/>
                <a:gd name="T6" fmla="*/ 11 w 11"/>
                <a:gd name="T7" fmla="*/ 5 h 48"/>
                <a:gd name="T8" fmla="*/ 5 w 11"/>
                <a:gd name="T9" fmla="*/ 10 h 48"/>
                <a:gd name="T10" fmla="*/ 1 w 11"/>
                <a:gd name="T11" fmla="*/ 48 h 48"/>
                <a:gd name="T12" fmla="*/ 1 w 11"/>
                <a:gd name="T13" fmla="*/ 15 h 48"/>
                <a:gd name="T14" fmla="*/ 10 w 11"/>
                <a:gd name="T15" fmla="*/ 15 h 48"/>
                <a:gd name="T16" fmla="*/ 10 w 11"/>
                <a:gd name="T17" fmla="*/ 42 h 48"/>
                <a:gd name="T18" fmla="*/ 1 w 11"/>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48">
                  <a:moveTo>
                    <a:pt x="5" y="10"/>
                  </a:moveTo>
                  <a:cubicBezTo>
                    <a:pt x="3" y="10"/>
                    <a:pt x="0" y="7"/>
                    <a:pt x="0" y="5"/>
                  </a:cubicBezTo>
                  <a:cubicBezTo>
                    <a:pt x="0" y="2"/>
                    <a:pt x="3" y="0"/>
                    <a:pt x="5" y="0"/>
                  </a:cubicBezTo>
                  <a:cubicBezTo>
                    <a:pt x="8" y="0"/>
                    <a:pt x="11" y="2"/>
                    <a:pt x="11" y="5"/>
                  </a:cubicBezTo>
                  <a:cubicBezTo>
                    <a:pt x="11" y="7"/>
                    <a:pt x="8" y="10"/>
                    <a:pt x="5" y="10"/>
                  </a:cubicBezTo>
                  <a:close/>
                  <a:moveTo>
                    <a:pt x="1" y="48"/>
                  </a:moveTo>
                  <a:cubicBezTo>
                    <a:pt x="1" y="15"/>
                    <a:pt x="1" y="15"/>
                    <a:pt x="1" y="15"/>
                  </a:cubicBezTo>
                  <a:cubicBezTo>
                    <a:pt x="10" y="15"/>
                    <a:pt x="10" y="15"/>
                    <a:pt x="10" y="15"/>
                  </a:cubicBezTo>
                  <a:cubicBezTo>
                    <a:pt x="10" y="15"/>
                    <a:pt x="10" y="36"/>
                    <a:pt x="10" y="42"/>
                  </a:cubicBezTo>
                  <a:cubicBezTo>
                    <a:pt x="10" y="48"/>
                    <a:pt x="1" y="48"/>
                    <a:pt x="1"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0" name="Freeform 169"/>
            <p:cNvSpPr>
              <a:spLocks noEditPoints="1"/>
            </p:cNvSpPr>
            <p:nvPr/>
          </p:nvSpPr>
          <p:spPr bwMode="auto">
            <a:xfrm>
              <a:off x="8094469" y="4513425"/>
              <a:ext cx="16722" cy="76321"/>
            </a:xfrm>
            <a:custGeom>
              <a:avLst/>
              <a:gdLst>
                <a:gd name="T0" fmla="*/ 5 w 10"/>
                <a:gd name="T1" fmla="*/ 10 h 48"/>
                <a:gd name="T2" fmla="*/ 0 w 10"/>
                <a:gd name="T3" fmla="*/ 5 h 48"/>
                <a:gd name="T4" fmla="*/ 5 w 10"/>
                <a:gd name="T5" fmla="*/ 0 h 48"/>
                <a:gd name="T6" fmla="*/ 10 w 10"/>
                <a:gd name="T7" fmla="*/ 5 h 48"/>
                <a:gd name="T8" fmla="*/ 5 w 10"/>
                <a:gd name="T9" fmla="*/ 10 h 48"/>
                <a:gd name="T10" fmla="*/ 1 w 10"/>
                <a:gd name="T11" fmla="*/ 48 h 48"/>
                <a:gd name="T12" fmla="*/ 1 w 10"/>
                <a:gd name="T13" fmla="*/ 15 h 48"/>
                <a:gd name="T14" fmla="*/ 9 w 10"/>
                <a:gd name="T15" fmla="*/ 15 h 48"/>
                <a:gd name="T16" fmla="*/ 9 w 10"/>
                <a:gd name="T17" fmla="*/ 42 h 48"/>
                <a:gd name="T18" fmla="*/ 1 w 10"/>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48">
                  <a:moveTo>
                    <a:pt x="5" y="10"/>
                  </a:moveTo>
                  <a:cubicBezTo>
                    <a:pt x="2" y="10"/>
                    <a:pt x="0" y="8"/>
                    <a:pt x="0" y="5"/>
                  </a:cubicBezTo>
                  <a:cubicBezTo>
                    <a:pt x="0" y="2"/>
                    <a:pt x="2" y="0"/>
                    <a:pt x="5" y="0"/>
                  </a:cubicBezTo>
                  <a:cubicBezTo>
                    <a:pt x="8" y="0"/>
                    <a:pt x="10" y="2"/>
                    <a:pt x="10" y="5"/>
                  </a:cubicBezTo>
                  <a:cubicBezTo>
                    <a:pt x="10" y="8"/>
                    <a:pt x="8" y="10"/>
                    <a:pt x="5" y="10"/>
                  </a:cubicBezTo>
                  <a:close/>
                  <a:moveTo>
                    <a:pt x="1" y="48"/>
                  </a:moveTo>
                  <a:cubicBezTo>
                    <a:pt x="1" y="15"/>
                    <a:pt x="1" y="15"/>
                    <a:pt x="1" y="15"/>
                  </a:cubicBezTo>
                  <a:cubicBezTo>
                    <a:pt x="9" y="15"/>
                    <a:pt x="9" y="15"/>
                    <a:pt x="9" y="15"/>
                  </a:cubicBezTo>
                  <a:cubicBezTo>
                    <a:pt x="9" y="15"/>
                    <a:pt x="9" y="36"/>
                    <a:pt x="9" y="42"/>
                  </a:cubicBezTo>
                  <a:cubicBezTo>
                    <a:pt x="9" y="48"/>
                    <a:pt x="1" y="48"/>
                    <a:pt x="1"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 name="Freeform 170"/>
            <p:cNvSpPr>
              <a:spLocks noEditPoints="1"/>
            </p:cNvSpPr>
            <p:nvPr/>
          </p:nvSpPr>
          <p:spPr bwMode="auto">
            <a:xfrm>
              <a:off x="7929133" y="4510310"/>
              <a:ext cx="70185" cy="77879"/>
            </a:xfrm>
            <a:custGeom>
              <a:avLst/>
              <a:gdLst>
                <a:gd name="T0" fmla="*/ 0 w 42"/>
                <a:gd name="T1" fmla="*/ 0 h 49"/>
                <a:gd name="T2" fmla="*/ 15 w 42"/>
                <a:gd name="T3" fmla="*/ 0 h 49"/>
                <a:gd name="T4" fmla="*/ 42 w 42"/>
                <a:gd name="T5" fmla="*/ 25 h 49"/>
                <a:gd name="T6" fmla="*/ 14 w 42"/>
                <a:gd name="T7" fmla="*/ 49 h 49"/>
                <a:gd name="T8" fmla="*/ 0 w 42"/>
                <a:gd name="T9" fmla="*/ 49 h 49"/>
                <a:gd name="T10" fmla="*/ 0 w 42"/>
                <a:gd name="T11" fmla="*/ 0 h 49"/>
                <a:gd name="T12" fmla="*/ 14 w 42"/>
                <a:gd name="T13" fmla="*/ 42 h 49"/>
                <a:gd name="T14" fmla="*/ 32 w 42"/>
                <a:gd name="T15" fmla="*/ 25 h 49"/>
                <a:gd name="T16" fmla="*/ 14 w 42"/>
                <a:gd name="T17" fmla="*/ 8 h 49"/>
                <a:gd name="T18" fmla="*/ 8 w 42"/>
                <a:gd name="T19" fmla="*/ 8 h 49"/>
                <a:gd name="T20" fmla="*/ 8 w 42"/>
                <a:gd name="T21" fmla="*/ 42 h 49"/>
                <a:gd name="T22" fmla="*/ 14 w 42"/>
                <a:gd name="T23" fmla="*/ 4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49">
                  <a:moveTo>
                    <a:pt x="0" y="0"/>
                  </a:moveTo>
                  <a:cubicBezTo>
                    <a:pt x="15" y="0"/>
                    <a:pt x="15" y="0"/>
                    <a:pt x="15" y="0"/>
                  </a:cubicBezTo>
                  <a:cubicBezTo>
                    <a:pt x="32" y="0"/>
                    <a:pt x="42" y="10"/>
                    <a:pt x="42" y="25"/>
                  </a:cubicBezTo>
                  <a:cubicBezTo>
                    <a:pt x="42" y="40"/>
                    <a:pt x="31" y="49"/>
                    <a:pt x="14" y="49"/>
                  </a:cubicBezTo>
                  <a:cubicBezTo>
                    <a:pt x="0" y="49"/>
                    <a:pt x="0" y="49"/>
                    <a:pt x="0" y="49"/>
                  </a:cubicBezTo>
                  <a:lnTo>
                    <a:pt x="0" y="0"/>
                  </a:lnTo>
                  <a:close/>
                  <a:moveTo>
                    <a:pt x="14" y="42"/>
                  </a:moveTo>
                  <a:cubicBezTo>
                    <a:pt x="27" y="42"/>
                    <a:pt x="32" y="34"/>
                    <a:pt x="32" y="25"/>
                  </a:cubicBezTo>
                  <a:cubicBezTo>
                    <a:pt x="32" y="15"/>
                    <a:pt x="26" y="8"/>
                    <a:pt x="14" y="8"/>
                  </a:cubicBezTo>
                  <a:cubicBezTo>
                    <a:pt x="8" y="8"/>
                    <a:pt x="8" y="8"/>
                    <a:pt x="8" y="8"/>
                  </a:cubicBezTo>
                  <a:cubicBezTo>
                    <a:pt x="8" y="42"/>
                    <a:pt x="8" y="42"/>
                    <a:pt x="8" y="42"/>
                  </a:cubicBezTo>
                  <a:lnTo>
                    <a:pt x="1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2" name="Freeform 171"/>
            <p:cNvSpPr>
              <a:spLocks noEditPoints="1"/>
            </p:cNvSpPr>
            <p:nvPr/>
          </p:nvSpPr>
          <p:spPr bwMode="auto">
            <a:xfrm>
              <a:off x="8031114" y="4529223"/>
              <a:ext cx="58409" cy="87447"/>
            </a:xfrm>
            <a:custGeom>
              <a:avLst/>
              <a:gdLst>
                <a:gd name="T0" fmla="*/ 0 w 35"/>
                <a:gd name="T1" fmla="*/ 45 h 55"/>
                <a:gd name="T2" fmla="*/ 6 w 35"/>
                <a:gd name="T3" fmla="*/ 37 h 55"/>
                <a:gd name="T4" fmla="*/ 4 w 35"/>
                <a:gd name="T5" fmla="*/ 32 h 55"/>
                <a:gd name="T6" fmla="*/ 8 w 35"/>
                <a:gd name="T7" fmla="*/ 26 h 55"/>
                <a:gd name="T8" fmla="*/ 2 w 35"/>
                <a:gd name="T9" fmla="*/ 15 h 55"/>
                <a:gd name="T10" fmla="*/ 16 w 35"/>
                <a:gd name="T11" fmla="*/ 2 h 55"/>
                <a:gd name="T12" fmla="*/ 23 w 35"/>
                <a:gd name="T13" fmla="*/ 3 h 55"/>
                <a:gd name="T14" fmla="*/ 24 w 35"/>
                <a:gd name="T15" fmla="*/ 3 h 55"/>
                <a:gd name="T16" fmla="*/ 33 w 35"/>
                <a:gd name="T17" fmla="*/ 0 h 55"/>
                <a:gd name="T18" fmla="*/ 35 w 35"/>
                <a:gd name="T19" fmla="*/ 0 h 55"/>
                <a:gd name="T20" fmla="*/ 33 w 35"/>
                <a:gd name="T21" fmla="*/ 7 h 55"/>
                <a:gd name="T22" fmla="*/ 31 w 35"/>
                <a:gd name="T23" fmla="*/ 6 h 55"/>
                <a:gd name="T24" fmla="*/ 28 w 35"/>
                <a:gd name="T25" fmla="*/ 7 h 55"/>
                <a:gd name="T26" fmla="*/ 31 w 35"/>
                <a:gd name="T27" fmla="*/ 15 h 55"/>
                <a:gd name="T28" fmla="*/ 17 w 35"/>
                <a:gd name="T29" fmla="*/ 28 h 55"/>
                <a:gd name="T30" fmla="*/ 12 w 35"/>
                <a:gd name="T31" fmla="*/ 28 h 55"/>
                <a:gd name="T32" fmla="*/ 12 w 35"/>
                <a:gd name="T33" fmla="*/ 30 h 55"/>
                <a:gd name="T34" fmla="*/ 35 w 35"/>
                <a:gd name="T35" fmla="*/ 44 h 55"/>
                <a:gd name="T36" fmla="*/ 16 w 35"/>
                <a:gd name="T37" fmla="*/ 55 h 55"/>
                <a:gd name="T38" fmla="*/ 0 w 35"/>
                <a:gd name="T39" fmla="*/ 45 h 55"/>
                <a:gd name="T40" fmla="*/ 26 w 35"/>
                <a:gd name="T41" fmla="*/ 45 h 55"/>
                <a:gd name="T42" fmla="*/ 10 w 35"/>
                <a:gd name="T43" fmla="*/ 39 h 55"/>
                <a:gd name="T44" fmla="*/ 8 w 35"/>
                <a:gd name="T45" fmla="*/ 44 h 55"/>
                <a:gd name="T46" fmla="*/ 17 w 35"/>
                <a:gd name="T47" fmla="*/ 49 h 55"/>
                <a:gd name="T48" fmla="*/ 26 w 35"/>
                <a:gd name="T49" fmla="*/ 45 h 55"/>
                <a:gd name="T50" fmla="*/ 23 w 35"/>
                <a:gd name="T51" fmla="*/ 15 h 55"/>
                <a:gd name="T52" fmla="*/ 17 w 35"/>
                <a:gd name="T53" fmla="*/ 9 h 55"/>
                <a:gd name="T54" fmla="*/ 10 w 35"/>
                <a:gd name="T55" fmla="*/ 15 h 55"/>
                <a:gd name="T56" fmla="*/ 17 w 35"/>
                <a:gd name="T57" fmla="*/ 22 h 55"/>
                <a:gd name="T58" fmla="*/ 23 w 35"/>
                <a:gd name="T59" fmla="*/ 1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 h="55">
                  <a:moveTo>
                    <a:pt x="0" y="45"/>
                  </a:moveTo>
                  <a:cubicBezTo>
                    <a:pt x="0" y="41"/>
                    <a:pt x="2" y="38"/>
                    <a:pt x="6" y="37"/>
                  </a:cubicBezTo>
                  <a:cubicBezTo>
                    <a:pt x="5" y="36"/>
                    <a:pt x="4" y="34"/>
                    <a:pt x="4" y="32"/>
                  </a:cubicBezTo>
                  <a:cubicBezTo>
                    <a:pt x="4" y="30"/>
                    <a:pt x="5" y="28"/>
                    <a:pt x="8" y="26"/>
                  </a:cubicBezTo>
                  <a:cubicBezTo>
                    <a:pt x="4" y="24"/>
                    <a:pt x="2" y="19"/>
                    <a:pt x="2" y="15"/>
                  </a:cubicBezTo>
                  <a:cubicBezTo>
                    <a:pt x="2" y="8"/>
                    <a:pt x="7" y="2"/>
                    <a:pt x="16" y="2"/>
                  </a:cubicBezTo>
                  <a:cubicBezTo>
                    <a:pt x="20" y="2"/>
                    <a:pt x="22" y="3"/>
                    <a:pt x="23" y="3"/>
                  </a:cubicBezTo>
                  <a:cubicBezTo>
                    <a:pt x="24" y="4"/>
                    <a:pt x="24" y="3"/>
                    <a:pt x="24" y="3"/>
                  </a:cubicBezTo>
                  <a:cubicBezTo>
                    <a:pt x="26" y="1"/>
                    <a:pt x="28" y="0"/>
                    <a:pt x="33" y="0"/>
                  </a:cubicBezTo>
                  <a:cubicBezTo>
                    <a:pt x="34" y="0"/>
                    <a:pt x="35" y="0"/>
                    <a:pt x="35" y="0"/>
                  </a:cubicBezTo>
                  <a:cubicBezTo>
                    <a:pt x="33" y="7"/>
                    <a:pt x="33" y="7"/>
                    <a:pt x="33" y="7"/>
                  </a:cubicBezTo>
                  <a:cubicBezTo>
                    <a:pt x="33" y="7"/>
                    <a:pt x="32" y="6"/>
                    <a:pt x="31" y="6"/>
                  </a:cubicBezTo>
                  <a:cubicBezTo>
                    <a:pt x="30" y="6"/>
                    <a:pt x="29" y="7"/>
                    <a:pt x="28" y="7"/>
                  </a:cubicBezTo>
                  <a:cubicBezTo>
                    <a:pt x="30" y="9"/>
                    <a:pt x="31" y="12"/>
                    <a:pt x="31" y="15"/>
                  </a:cubicBezTo>
                  <a:cubicBezTo>
                    <a:pt x="31" y="23"/>
                    <a:pt x="25" y="28"/>
                    <a:pt x="17" y="28"/>
                  </a:cubicBezTo>
                  <a:cubicBezTo>
                    <a:pt x="15" y="28"/>
                    <a:pt x="14" y="28"/>
                    <a:pt x="12" y="28"/>
                  </a:cubicBezTo>
                  <a:cubicBezTo>
                    <a:pt x="12" y="29"/>
                    <a:pt x="12" y="30"/>
                    <a:pt x="12" y="30"/>
                  </a:cubicBezTo>
                  <a:cubicBezTo>
                    <a:pt x="12" y="37"/>
                    <a:pt x="35" y="31"/>
                    <a:pt x="35" y="44"/>
                  </a:cubicBezTo>
                  <a:cubicBezTo>
                    <a:pt x="35" y="50"/>
                    <a:pt x="28" y="55"/>
                    <a:pt x="16" y="55"/>
                  </a:cubicBezTo>
                  <a:cubicBezTo>
                    <a:pt x="6" y="55"/>
                    <a:pt x="0" y="51"/>
                    <a:pt x="0" y="45"/>
                  </a:cubicBezTo>
                  <a:close/>
                  <a:moveTo>
                    <a:pt x="26" y="45"/>
                  </a:moveTo>
                  <a:cubicBezTo>
                    <a:pt x="26" y="40"/>
                    <a:pt x="15" y="41"/>
                    <a:pt x="10" y="39"/>
                  </a:cubicBezTo>
                  <a:cubicBezTo>
                    <a:pt x="9" y="40"/>
                    <a:pt x="8" y="41"/>
                    <a:pt x="8" y="44"/>
                  </a:cubicBezTo>
                  <a:cubicBezTo>
                    <a:pt x="8" y="47"/>
                    <a:pt x="11" y="49"/>
                    <a:pt x="17" y="49"/>
                  </a:cubicBezTo>
                  <a:cubicBezTo>
                    <a:pt x="23" y="49"/>
                    <a:pt x="26" y="47"/>
                    <a:pt x="26" y="45"/>
                  </a:cubicBezTo>
                  <a:close/>
                  <a:moveTo>
                    <a:pt x="23" y="15"/>
                  </a:moveTo>
                  <a:cubicBezTo>
                    <a:pt x="23" y="12"/>
                    <a:pt x="20" y="9"/>
                    <a:pt x="17" y="9"/>
                  </a:cubicBezTo>
                  <a:cubicBezTo>
                    <a:pt x="13" y="9"/>
                    <a:pt x="10" y="11"/>
                    <a:pt x="10" y="15"/>
                  </a:cubicBezTo>
                  <a:cubicBezTo>
                    <a:pt x="10" y="19"/>
                    <a:pt x="13" y="22"/>
                    <a:pt x="17" y="22"/>
                  </a:cubicBezTo>
                  <a:cubicBezTo>
                    <a:pt x="20" y="22"/>
                    <a:pt x="23" y="19"/>
                    <a:pt x="23"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3" name="Freeform 172"/>
            <p:cNvSpPr>
              <a:spLocks/>
            </p:cNvSpPr>
            <p:nvPr/>
          </p:nvSpPr>
          <p:spPr bwMode="auto">
            <a:xfrm>
              <a:off x="8116372" y="4516540"/>
              <a:ext cx="44984" cy="74763"/>
            </a:xfrm>
            <a:custGeom>
              <a:avLst/>
              <a:gdLst>
                <a:gd name="T0" fmla="*/ 7 w 27"/>
                <a:gd name="T1" fmla="*/ 37 h 47"/>
                <a:gd name="T2" fmla="*/ 7 w 27"/>
                <a:gd name="T3" fmla="*/ 18 h 47"/>
                <a:gd name="T4" fmla="*/ 0 w 27"/>
                <a:gd name="T5" fmla="*/ 18 h 47"/>
                <a:gd name="T6" fmla="*/ 0 w 27"/>
                <a:gd name="T7" fmla="*/ 11 h 47"/>
                <a:gd name="T8" fmla="*/ 7 w 27"/>
                <a:gd name="T9" fmla="*/ 11 h 47"/>
                <a:gd name="T10" fmla="*/ 7 w 27"/>
                <a:gd name="T11" fmla="*/ 3 h 47"/>
                <a:gd name="T12" fmla="*/ 15 w 27"/>
                <a:gd name="T13" fmla="*/ 0 h 47"/>
                <a:gd name="T14" fmla="*/ 15 w 27"/>
                <a:gd name="T15" fmla="*/ 11 h 47"/>
                <a:gd name="T16" fmla="*/ 26 w 27"/>
                <a:gd name="T17" fmla="*/ 11 h 47"/>
                <a:gd name="T18" fmla="*/ 24 w 27"/>
                <a:gd name="T19" fmla="*/ 18 h 47"/>
                <a:gd name="T20" fmla="*/ 15 w 27"/>
                <a:gd name="T21" fmla="*/ 18 h 47"/>
                <a:gd name="T22" fmla="*/ 15 w 27"/>
                <a:gd name="T23" fmla="*/ 35 h 47"/>
                <a:gd name="T24" fmla="*/ 19 w 27"/>
                <a:gd name="T25" fmla="*/ 40 h 47"/>
                <a:gd name="T26" fmla="*/ 24 w 27"/>
                <a:gd name="T27" fmla="*/ 38 h 47"/>
                <a:gd name="T28" fmla="*/ 27 w 27"/>
                <a:gd name="T29" fmla="*/ 44 h 47"/>
                <a:gd name="T30" fmla="*/ 17 w 27"/>
                <a:gd name="T31" fmla="*/ 47 h 47"/>
                <a:gd name="T32" fmla="*/ 7 w 27"/>
                <a:gd name="T33" fmla="*/ 3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 h="47">
                  <a:moveTo>
                    <a:pt x="7" y="37"/>
                  </a:moveTo>
                  <a:cubicBezTo>
                    <a:pt x="7" y="18"/>
                    <a:pt x="7" y="18"/>
                    <a:pt x="7" y="18"/>
                  </a:cubicBezTo>
                  <a:cubicBezTo>
                    <a:pt x="0" y="18"/>
                    <a:pt x="0" y="18"/>
                    <a:pt x="0" y="18"/>
                  </a:cubicBezTo>
                  <a:cubicBezTo>
                    <a:pt x="0" y="11"/>
                    <a:pt x="0" y="11"/>
                    <a:pt x="0" y="11"/>
                  </a:cubicBezTo>
                  <a:cubicBezTo>
                    <a:pt x="7" y="11"/>
                    <a:pt x="7" y="11"/>
                    <a:pt x="7" y="11"/>
                  </a:cubicBezTo>
                  <a:cubicBezTo>
                    <a:pt x="7" y="3"/>
                    <a:pt x="7" y="3"/>
                    <a:pt x="7" y="3"/>
                  </a:cubicBezTo>
                  <a:cubicBezTo>
                    <a:pt x="15" y="0"/>
                    <a:pt x="15" y="0"/>
                    <a:pt x="15" y="0"/>
                  </a:cubicBezTo>
                  <a:cubicBezTo>
                    <a:pt x="15" y="11"/>
                    <a:pt x="15" y="11"/>
                    <a:pt x="15" y="11"/>
                  </a:cubicBezTo>
                  <a:cubicBezTo>
                    <a:pt x="26" y="11"/>
                    <a:pt x="26" y="11"/>
                    <a:pt x="26" y="11"/>
                  </a:cubicBezTo>
                  <a:cubicBezTo>
                    <a:pt x="24" y="18"/>
                    <a:pt x="24" y="18"/>
                    <a:pt x="24" y="18"/>
                  </a:cubicBezTo>
                  <a:cubicBezTo>
                    <a:pt x="15" y="18"/>
                    <a:pt x="15" y="18"/>
                    <a:pt x="15" y="18"/>
                  </a:cubicBezTo>
                  <a:cubicBezTo>
                    <a:pt x="15" y="35"/>
                    <a:pt x="15" y="35"/>
                    <a:pt x="15" y="35"/>
                  </a:cubicBezTo>
                  <a:cubicBezTo>
                    <a:pt x="15" y="38"/>
                    <a:pt x="17" y="40"/>
                    <a:pt x="19" y="40"/>
                  </a:cubicBezTo>
                  <a:cubicBezTo>
                    <a:pt x="21" y="40"/>
                    <a:pt x="23" y="39"/>
                    <a:pt x="24" y="38"/>
                  </a:cubicBezTo>
                  <a:cubicBezTo>
                    <a:pt x="27" y="44"/>
                    <a:pt x="27" y="44"/>
                    <a:pt x="27" y="44"/>
                  </a:cubicBezTo>
                  <a:cubicBezTo>
                    <a:pt x="24" y="46"/>
                    <a:pt x="20" y="47"/>
                    <a:pt x="17" y="47"/>
                  </a:cubicBezTo>
                  <a:cubicBezTo>
                    <a:pt x="10" y="47"/>
                    <a:pt x="7" y="43"/>
                    <a:pt x="7"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4" name="Freeform 173"/>
            <p:cNvSpPr>
              <a:spLocks noEditPoints="1"/>
            </p:cNvSpPr>
            <p:nvPr/>
          </p:nvSpPr>
          <p:spPr bwMode="auto">
            <a:xfrm>
              <a:off x="8163005" y="4532562"/>
              <a:ext cx="51814" cy="58743"/>
            </a:xfrm>
            <a:custGeom>
              <a:avLst/>
              <a:gdLst>
                <a:gd name="T0" fmla="*/ 22 w 31"/>
                <a:gd name="T1" fmla="*/ 33 h 37"/>
                <a:gd name="T2" fmla="*/ 12 w 31"/>
                <a:gd name="T3" fmla="*/ 37 h 37"/>
                <a:gd name="T4" fmla="*/ 0 w 31"/>
                <a:gd name="T5" fmla="*/ 26 h 37"/>
                <a:gd name="T6" fmla="*/ 6 w 31"/>
                <a:gd name="T7" fmla="*/ 16 h 37"/>
                <a:gd name="T8" fmla="*/ 15 w 31"/>
                <a:gd name="T9" fmla="*/ 14 h 37"/>
                <a:gd name="T10" fmla="*/ 21 w 31"/>
                <a:gd name="T11" fmla="*/ 14 h 37"/>
                <a:gd name="T12" fmla="*/ 21 w 31"/>
                <a:gd name="T13" fmla="*/ 13 h 37"/>
                <a:gd name="T14" fmla="*/ 15 w 31"/>
                <a:gd name="T15" fmla="*/ 7 h 37"/>
                <a:gd name="T16" fmla="*/ 5 w 31"/>
                <a:gd name="T17" fmla="*/ 9 h 37"/>
                <a:gd name="T18" fmla="*/ 3 w 31"/>
                <a:gd name="T19" fmla="*/ 4 h 37"/>
                <a:gd name="T20" fmla="*/ 16 w 31"/>
                <a:gd name="T21" fmla="*/ 0 h 37"/>
                <a:gd name="T22" fmla="*/ 30 w 31"/>
                <a:gd name="T23" fmla="*/ 13 h 37"/>
                <a:gd name="T24" fmla="*/ 30 w 31"/>
                <a:gd name="T25" fmla="*/ 27 h 37"/>
                <a:gd name="T26" fmla="*/ 31 w 31"/>
                <a:gd name="T27" fmla="*/ 36 h 37"/>
                <a:gd name="T28" fmla="*/ 24 w 31"/>
                <a:gd name="T29" fmla="*/ 36 h 37"/>
                <a:gd name="T30" fmla="*/ 22 w 31"/>
                <a:gd name="T31" fmla="*/ 33 h 37"/>
                <a:gd name="T32" fmla="*/ 17 w 31"/>
                <a:gd name="T33" fmla="*/ 20 h 37"/>
                <a:gd name="T34" fmla="*/ 12 w 31"/>
                <a:gd name="T35" fmla="*/ 21 h 37"/>
                <a:gd name="T36" fmla="*/ 9 w 31"/>
                <a:gd name="T37" fmla="*/ 25 h 37"/>
                <a:gd name="T38" fmla="*/ 15 w 31"/>
                <a:gd name="T39" fmla="*/ 30 h 37"/>
                <a:gd name="T40" fmla="*/ 21 w 31"/>
                <a:gd name="T41" fmla="*/ 27 h 37"/>
                <a:gd name="T42" fmla="*/ 21 w 31"/>
                <a:gd name="T43" fmla="*/ 20 h 37"/>
                <a:gd name="T44" fmla="*/ 17 w 31"/>
                <a:gd name="T45"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7">
                  <a:moveTo>
                    <a:pt x="22" y="33"/>
                  </a:moveTo>
                  <a:cubicBezTo>
                    <a:pt x="20" y="35"/>
                    <a:pt x="16" y="37"/>
                    <a:pt x="12" y="37"/>
                  </a:cubicBezTo>
                  <a:cubicBezTo>
                    <a:pt x="5" y="37"/>
                    <a:pt x="0" y="32"/>
                    <a:pt x="0" y="26"/>
                  </a:cubicBezTo>
                  <a:cubicBezTo>
                    <a:pt x="0" y="21"/>
                    <a:pt x="3" y="18"/>
                    <a:pt x="6" y="16"/>
                  </a:cubicBezTo>
                  <a:cubicBezTo>
                    <a:pt x="9" y="15"/>
                    <a:pt x="12" y="14"/>
                    <a:pt x="15" y="14"/>
                  </a:cubicBezTo>
                  <a:cubicBezTo>
                    <a:pt x="21" y="14"/>
                    <a:pt x="21" y="14"/>
                    <a:pt x="21" y="14"/>
                  </a:cubicBezTo>
                  <a:cubicBezTo>
                    <a:pt x="21" y="13"/>
                    <a:pt x="21" y="13"/>
                    <a:pt x="21" y="13"/>
                  </a:cubicBezTo>
                  <a:cubicBezTo>
                    <a:pt x="21" y="9"/>
                    <a:pt x="19" y="7"/>
                    <a:pt x="15" y="7"/>
                  </a:cubicBezTo>
                  <a:cubicBezTo>
                    <a:pt x="11" y="7"/>
                    <a:pt x="8" y="8"/>
                    <a:pt x="5" y="9"/>
                  </a:cubicBezTo>
                  <a:cubicBezTo>
                    <a:pt x="3" y="4"/>
                    <a:pt x="3" y="4"/>
                    <a:pt x="3" y="4"/>
                  </a:cubicBezTo>
                  <a:cubicBezTo>
                    <a:pt x="7" y="1"/>
                    <a:pt x="11" y="0"/>
                    <a:pt x="16" y="0"/>
                  </a:cubicBezTo>
                  <a:cubicBezTo>
                    <a:pt x="26" y="0"/>
                    <a:pt x="30" y="4"/>
                    <a:pt x="30" y="13"/>
                  </a:cubicBezTo>
                  <a:cubicBezTo>
                    <a:pt x="30" y="27"/>
                    <a:pt x="30" y="27"/>
                    <a:pt x="30" y="27"/>
                  </a:cubicBezTo>
                  <a:cubicBezTo>
                    <a:pt x="30" y="31"/>
                    <a:pt x="30" y="34"/>
                    <a:pt x="31" y="36"/>
                  </a:cubicBezTo>
                  <a:cubicBezTo>
                    <a:pt x="24" y="36"/>
                    <a:pt x="24" y="36"/>
                    <a:pt x="24" y="36"/>
                  </a:cubicBezTo>
                  <a:lnTo>
                    <a:pt x="22" y="33"/>
                  </a:lnTo>
                  <a:close/>
                  <a:moveTo>
                    <a:pt x="17" y="20"/>
                  </a:moveTo>
                  <a:cubicBezTo>
                    <a:pt x="14" y="20"/>
                    <a:pt x="13" y="20"/>
                    <a:pt x="12" y="21"/>
                  </a:cubicBezTo>
                  <a:cubicBezTo>
                    <a:pt x="10" y="22"/>
                    <a:pt x="9" y="23"/>
                    <a:pt x="9" y="25"/>
                  </a:cubicBezTo>
                  <a:cubicBezTo>
                    <a:pt x="9" y="28"/>
                    <a:pt x="11" y="30"/>
                    <a:pt x="15" y="30"/>
                  </a:cubicBezTo>
                  <a:cubicBezTo>
                    <a:pt x="18" y="30"/>
                    <a:pt x="20" y="28"/>
                    <a:pt x="21" y="27"/>
                  </a:cubicBezTo>
                  <a:cubicBezTo>
                    <a:pt x="21" y="20"/>
                    <a:pt x="21" y="20"/>
                    <a:pt x="21" y="20"/>
                  </a:cubicBezTo>
                  <a:lnTo>
                    <a:pt x="17"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5" name="Group 74"/>
          <p:cNvGrpSpPr/>
          <p:nvPr userDrawn="1"/>
        </p:nvGrpSpPr>
        <p:grpSpPr>
          <a:xfrm>
            <a:off x="7686461" y="4906654"/>
            <a:ext cx="1124815" cy="151147"/>
            <a:chOff x="7686461" y="4581466"/>
            <a:chExt cx="1124815" cy="151147"/>
          </a:xfrm>
          <a:solidFill>
            <a:schemeClr val="bg1"/>
          </a:solidFill>
        </p:grpSpPr>
        <p:sp>
          <p:nvSpPr>
            <p:cNvPr id="76"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77"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78"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79"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0"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1"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2"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3"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4"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5"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6"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7"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8"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9"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90"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grpSp>
      <p:sp>
        <p:nvSpPr>
          <p:cNvPr id="91"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solidFill>
                  <a:schemeClr val="tx2">
                    <a:lumMod val="75000"/>
                  </a:schemeClr>
                </a:solidFill>
                <a:latin typeface="+mn-lt"/>
              </a:rPr>
              <a:t>Private and Confidental</a:t>
            </a:r>
            <a:endParaRPr lang="pt-BR" sz="500" dirty="0">
              <a:solidFill>
                <a:schemeClr val="tx2">
                  <a:lumMod val="75000"/>
                </a:schemeClr>
              </a:solidFill>
              <a:latin typeface="+mn-lt"/>
            </a:endParaRPr>
          </a:p>
        </p:txBody>
      </p:sp>
    </p:spTree>
    <p:extLst>
      <p:ext uri="{BB962C8B-B14F-4D97-AF65-F5344CB8AC3E}">
        <p14:creationId xmlns:p14="http://schemas.microsoft.com/office/powerpoint/2010/main" val="1885623141"/>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_V_MB_Orange">
    <p:bg>
      <p:bgPr>
        <a:solidFill>
          <a:schemeClr val="bg1"/>
        </a:solidFill>
        <a:effectLst/>
      </p:bgPr>
    </p:bg>
    <p:spTree>
      <p:nvGrpSpPr>
        <p:cNvPr id="1" name=""/>
        <p:cNvGrpSpPr/>
        <p:nvPr/>
      </p:nvGrpSpPr>
      <p:grpSpPr>
        <a:xfrm>
          <a:off x="0" y="0"/>
          <a:ext cx="0" cy="0"/>
          <a:chOff x="0" y="0"/>
          <a:chExt cx="0" cy="0"/>
        </a:xfrm>
      </p:grpSpPr>
      <p:sp>
        <p:nvSpPr>
          <p:cNvPr id="31" name="Rectangle 30"/>
          <p:cNvSpPr/>
          <p:nvPr userDrawn="1"/>
        </p:nvSpPr>
        <p:spPr>
          <a:xfrm>
            <a:off x="0" y="0"/>
            <a:ext cx="9144000" cy="5148263"/>
          </a:xfrm>
          <a:prstGeom prst="rect">
            <a:avLst/>
          </a:prstGeom>
          <a:solidFill>
            <a:schemeClr val="accent4">
              <a:lumMod val="75000"/>
            </a:schemeClr>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en-GB" sz="1050" smtClean="0">
              <a:solidFill>
                <a:schemeClr val="bg1"/>
              </a:solidFill>
              <a:latin typeface="Arial" panose="020B0604020202020204" pitchFamily="34" charset="0"/>
              <a:cs typeface="Arial" panose="020B0604020202020204" pitchFamily="34" charset="0"/>
            </a:endParaRPr>
          </a:p>
        </p:txBody>
      </p:sp>
      <p:pic>
        <p:nvPicPr>
          <p:cNvPr id="33" name="Picture 32" descr="cookie_white.png"/>
          <p:cNvPicPr>
            <a:picLocks noChangeAspect="1"/>
          </p:cNvPicPr>
          <p:nvPr userDrawn="1"/>
        </p:nvPicPr>
        <p:blipFill rotWithShape="1">
          <a:blip r:embed="rId2" cstate="screen">
            <a:alphaModFix amt="16000"/>
            <a:extLst>
              <a:ext uri="{28A0092B-C50C-407E-A947-70E740481C1C}">
                <a14:useLocalDpi xmlns:a14="http://schemas.microsoft.com/office/drawing/2010/main"/>
              </a:ext>
            </a:extLst>
          </a:blip>
          <a:srcRect/>
          <a:stretch/>
        </p:blipFill>
        <p:spPr>
          <a:xfrm flipH="1">
            <a:off x="5149029" y="2289839"/>
            <a:ext cx="4020091" cy="2880000"/>
          </a:xfrm>
          <a:prstGeom prst="rect">
            <a:avLst/>
          </a:prstGeom>
        </p:spPr>
      </p:pic>
      <p:cxnSp>
        <p:nvCxnSpPr>
          <p:cNvPr id="32" name="Straight Connector 31"/>
          <p:cNvCxnSpPr/>
          <p:nvPr userDrawn="1"/>
        </p:nvCxnSpPr>
        <p:spPr>
          <a:xfrm>
            <a:off x="343365" y="470176"/>
            <a:ext cx="8460000" cy="0"/>
          </a:xfrm>
          <a:prstGeom prst="line">
            <a:avLst/>
          </a:prstGeom>
          <a:ln w="6350" cmpd="sng">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343365" y="4801146"/>
            <a:ext cx="8460000" cy="0"/>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sp>
        <p:nvSpPr>
          <p:cNvPr id="67"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rgbClr val="FFFFFF"/>
                </a:solidFill>
                <a:latin typeface="+mn-lt"/>
              </a:defRPr>
            </a:lvl1pPr>
          </a:lstStyle>
          <a:p>
            <a:fld id="{19AB4E72-7858-48F1-A40D-12FF09E4BFB8}" type="slidenum">
              <a:rPr lang="en-GB" smtClean="0"/>
              <a:pPr/>
              <a:t>‹Nº›</a:t>
            </a:fld>
            <a:endParaRPr lang="en-GB"/>
          </a:p>
        </p:txBody>
      </p:sp>
      <p:sp>
        <p:nvSpPr>
          <p:cNvPr id="36" name="Title 1"/>
          <p:cNvSpPr>
            <a:spLocks noGrp="1"/>
          </p:cNvSpPr>
          <p:nvPr>
            <p:ph type="ctrTitle" hasCustomPrompt="1"/>
          </p:nvPr>
        </p:nvSpPr>
        <p:spPr>
          <a:xfrm>
            <a:off x="343365" y="2867487"/>
            <a:ext cx="8460000" cy="443198"/>
          </a:xfrm>
          <a:prstGeom prst="rect">
            <a:avLst/>
          </a:prstGeom>
        </p:spPr>
        <p:txBody>
          <a:bodyPr lIns="0" tIns="0" rIns="0" bIns="0" anchor="b"/>
          <a:lstStyle>
            <a:lvl1pPr>
              <a:lnSpc>
                <a:spcPct val="90000"/>
              </a:lnSpc>
              <a:defRPr sz="3200" b="0">
                <a:solidFill>
                  <a:schemeClr val="bg1"/>
                </a:solidFill>
              </a:defRPr>
            </a:lvl1pPr>
          </a:lstStyle>
          <a:p>
            <a:r>
              <a:rPr lang="en-US" dirty="0" smtClean="0"/>
              <a:t>Click to edit Master title Style</a:t>
            </a:r>
            <a:endParaRPr lang="en-US" dirty="0"/>
          </a:p>
        </p:txBody>
      </p:sp>
      <p:sp>
        <p:nvSpPr>
          <p:cNvPr id="37" name="Subtitle 2"/>
          <p:cNvSpPr>
            <a:spLocks noGrp="1"/>
          </p:cNvSpPr>
          <p:nvPr>
            <p:ph type="subTitle" idx="1" hasCustomPrompt="1"/>
          </p:nvPr>
        </p:nvSpPr>
        <p:spPr>
          <a:xfrm>
            <a:off x="343364" y="3474100"/>
            <a:ext cx="8460000" cy="202165"/>
          </a:xfrm>
          <a:prstGeom prst="rect">
            <a:avLst/>
          </a:prstGeom>
        </p:spPr>
        <p:txBody>
          <a:bodyPr lIns="0" tIns="0" rIns="0" bIns="0">
            <a:noAutofit/>
          </a:bodyPr>
          <a:lstStyle>
            <a:lvl1pPr marL="0" indent="0" algn="l">
              <a:buNone/>
              <a:defRPr sz="14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cxnSp>
        <p:nvCxnSpPr>
          <p:cNvPr id="38" name="Straight Connector 37"/>
          <p:cNvCxnSpPr/>
          <p:nvPr userDrawn="1"/>
        </p:nvCxnSpPr>
        <p:spPr>
          <a:xfrm>
            <a:off x="346086" y="3395058"/>
            <a:ext cx="8460000" cy="0"/>
          </a:xfrm>
          <a:prstGeom prst="line">
            <a:avLst/>
          </a:prstGeom>
          <a:ln w="12700"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51" name="Text Placeholder 2"/>
          <p:cNvSpPr>
            <a:spLocks noGrp="1"/>
          </p:cNvSpPr>
          <p:nvPr>
            <p:ph type="body" sz="quarter" idx="25" hasCustomPrompt="1"/>
          </p:nvPr>
        </p:nvSpPr>
        <p:spPr>
          <a:xfrm>
            <a:off x="3342796" y="4807465"/>
            <a:ext cx="1160462" cy="341313"/>
          </a:xfrm>
          <a:prstGeom prst="rect">
            <a:avLst/>
          </a:prstGeom>
        </p:spPr>
        <p:txBody>
          <a:bodyPr anchor="ctr"/>
          <a:lstStyle>
            <a:lvl1pPr marL="0" indent="0" algn="ctr">
              <a:buNone/>
              <a:defRPr sz="800">
                <a:solidFill>
                  <a:schemeClr val="bg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grpSp>
        <p:nvGrpSpPr>
          <p:cNvPr id="56" name="Group 55"/>
          <p:cNvGrpSpPr/>
          <p:nvPr userDrawn="1"/>
        </p:nvGrpSpPr>
        <p:grpSpPr>
          <a:xfrm>
            <a:off x="6219557" y="4840100"/>
            <a:ext cx="1123200" cy="233974"/>
            <a:chOff x="7665803" y="4864376"/>
            <a:chExt cx="1123200" cy="233974"/>
          </a:xfrm>
          <a:solidFill>
            <a:schemeClr val="bg1"/>
          </a:solidFill>
        </p:grpSpPr>
        <p:sp>
          <p:nvSpPr>
            <p:cNvPr id="57" name="Freeform 6"/>
            <p:cNvSpPr>
              <a:spLocks/>
            </p:cNvSpPr>
            <p:nvPr userDrawn="1"/>
          </p:nvSpPr>
          <p:spPr bwMode="auto">
            <a:xfrm>
              <a:off x="8119644" y="4924717"/>
              <a:ext cx="103102" cy="66806"/>
            </a:xfrm>
            <a:custGeom>
              <a:avLst/>
              <a:gdLst>
                <a:gd name="T0" fmla="*/ 111 w 136"/>
                <a:gd name="T1" fmla="*/ 72 h 92"/>
                <a:gd name="T2" fmla="*/ 87 w 136"/>
                <a:gd name="T3" fmla="*/ 88 h 92"/>
                <a:gd name="T4" fmla="*/ 68 w 136"/>
                <a:gd name="T5" fmla="*/ 28 h 92"/>
                <a:gd name="T6" fmla="*/ 67 w 136"/>
                <a:gd name="T7" fmla="*/ 28 h 92"/>
                <a:gd name="T8" fmla="*/ 53 w 136"/>
                <a:gd name="T9" fmla="*/ 72 h 92"/>
                <a:gd name="T10" fmla="*/ 31 w 136"/>
                <a:gd name="T11" fmla="*/ 88 h 92"/>
                <a:gd name="T12" fmla="*/ 0 w 136"/>
                <a:gd name="T13" fmla="*/ 0 h 92"/>
                <a:gd name="T14" fmla="*/ 22 w 136"/>
                <a:gd name="T15" fmla="*/ 0 h 92"/>
                <a:gd name="T16" fmla="*/ 41 w 136"/>
                <a:gd name="T17" fmla="*/ 60 h 92"/>
                <a:gd name="T18" fmla="*/ 41 w 136"/>
                <a:gd name="T19" fmla="*/ 60 h 92"/>
                <a:gd name="T20" fmla="*/ 60 w 136"/>
                <a:gd name="T21" fmla="*/ 0 h 92"/>
                <a:gd name="T22" fmla="*/ 77 w 136"/>
                <a:gd name="T23" fmla="*/ 0 h 92"/>
                <a:gd name="T24" fmla="*/ 96 w 136"/>
                <a:gd name="T25" fmla="*/ 60 h 92"/>
                <a:gd name="T26" fmla="*/ 97 w 136"/>
                <a:gd name="T27" fmla="*/ 60 h 92"/>
                <a:gd name="T28" fmla="*/ 115 w 136"/>
                <a:gd name="T29" fmla="*/ 0 h 92"/>
                <a:gd name="T30" fmla="*/ 136 w 136"/>
                <a:gd name="T31" fmla="*/ 0 h 92"/>
                <a:gd name="T32" fmla="*/ 111 w 136"/>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 h="92">
                  <a:moveTo>
                    <a:pt x="111" y="72"/>
                  </a:moveTo>
                  <a:cubicBezTo>
                    <a:pt x="103" y="92"/>
                    <a:pt x="87" y="88"/>
                    <a:pt x="87" y="88"/>
                  </a:cubicBezTo>
                  <a:cubicBezTo>
                    <a:pt x="68" y="28"/>
                    <a:pt x="68" y="28"/>
                    <a:pt x="68" y="28"/>
                  </a:cubicBezTo>
                  <a:cubicBezTo>
                    <a:pt x="67" y="28"/>
                    <a:pt x="67" y="28"/>
                    <a:pt x="67" y="28"/>
                  </a:cubicBezTo>
                  <a:cubicBezTo>
                    <a:pt x="67" y="28"/>
                    <a:pt x="58"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6" y="60"/>
                    <a:pt x="96" y="60"/>
                    <a:pt x="96" y="60"/>
                  </a:cubicBezTo>
                  <a:cubicBezTo>
                    <a:pt x="97" y="60"/>
                    <a:pt x="97" y="60"/>
                    <a:pt x="97" y="60"/>
                  </a:cubicBezTo>
                  <a:cubicBezTo>
                    <a:pt x="115" y="0"/>
                    <a:pt x="115" y="0"/>
                    <a:pt x="115" y="0"/>
                  </a:cubicBezTo>
                  <a:cubicBezTo>
                    <a:pt x="136" y="0"/>
                    <a:pt x="136" y="0"/>
                    <a:pt x="136" y="0"/>
                  </a:cubicBezTo>
                  <a:cubicBezTo>
                    <a:pt x="136"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7"/>
            <p:cNvSpPr>
              <a:spLocks noEditPoints="1"/>
            </p:cNvSpPr>
            <p:nvPr userDrawn="1"/>
          </p:nvSpPr>
          <p:spPr bwMode="auto">
            <a:xfrm>
              <a:off x="8225958" y="4923177"/>
              <a:ext cx="57493" cy="66190"/>
            </a:xfrm>
            <a:custGeom>
              <a:avLst/>
              <a:gdLst>
                <a:gd name="T0" fmla="*/ 57 w 76"/>
                <a:gd name="T1" fmla="*/ 90 h 91"/>
                <a:gd name="T2" fmla="*/ 53 w 76"/>
                <a:gd name="T3" fmla="*/ 81 h 91"/>
                <a:gd name="T4" fmla="*/ 28 w 76"/>
                <a:gd name="T5" fmla="*/ 91 h 91"/>
                <a:gd name="T6" fmla="*/ 0 w 76"/>
                <a:gd name="T7" fmla="*/ 63 h 91"/>
                <a:gd name="T8" fmla="*/ 36 w 76"/>
                <a:gd name="T9" fmla="*/ 34 h 91"/>
                <a:gd name="T10" fmla="*/ 51 w 76"/>
                <a:gd name="T11" fmla="*/ 34 h 91"/>
                <a:gd name="T12" fmla="*/ 51 w 76"/>
                <a:gd name="T13" fmla="*/ 31 h 91"/>
                <a:gd name="T14" fmla="*/ 35 w 76"/>
                <a:gd name="T15" fmla="*/ 17 h 91"/>
                <a:gd name="T16" fmla="*/ 12 w 76"/>
                <a:gd name="T17" fmla="*/ 23 h 91"/>
                <a:gd name="T18" fmla="*/ 5 w 76"/>
                <a:gd name="T19" fmla="*/ 9 h 91"/>
                <a:gd name="T20" fmla="*/ 39 w 76"/>
                <a:gd name="T21" fmla="*/ 0 h 91"/>
                <a:gd name="T22" fmla="*/ 74 w 76"/>
                <a:gd name="T23" fmla="*/ 31 h 91"/>
                <a:gd name="T24" fmla="*/ 74 w 76"/>
                <a:gd name="T25" fmla="*/ 66 h 91"/>
                <a:gd name="T26" fmla="*/ 76 w 76"/>
                <a:gd name="T27" fmla="*/ 90 h 91"/>
                <a:gd name="T28" fmla="*/ 57 w 76"/>
                <a:gd name="T29" fmla="*/ 90 h 91"/>
                <a:gd name="T30" fmla="*/ 51 w 76"/>
                <a:gd name="T31" fmla="*/ 49 h 91"/>
                <a:gd name="T32" fmla="*/ 39 w 76"/>
                <a:gd name="T33" fmla="*/ 49 h 91"/>
                <a:gd name="T34" fmla="*/ 22 w 76"/>
                <a:gd name="T35" fmla="*/ 61 h 91"/>
                <a:gd name="T36" fmla="*/ 36 w 76"/>
                <a:gd name="T37" fmla="*/ 73 h 91"/>
                <a:gd name="T38" fmla="*/ 51 w 76"/>
                <a:gd name="T39" fmla="*/ 68 h 91"/>
                <a:gd name="T40" fmla="*/ 51 w 76"/>
                <a:gd name="T41" fmla="*/ 4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91">
                  <a:moveTo>
                    <a:pt x="57" y="90"/>
                  </a:moveTo>
                  <a:cubicBezTo>
                    <a:pt x="53" y="81"/>
                    <a:pt x="53" y="81"/>
                    <a:pt x="53" y="81"/>
                  </a:cubicBezTo>
                  <a:cubicBezTo>
                    <a:pt x="48" y="86"/>
                    <a:pt x="40" y="91"/>
                    <a:pt x="28" y="91"/>
                  </a:cubicBezTo>
                  <a:cubicBezTo>
                    <a:pt x="12" y="91"/>
                    <a:pt x="0" y="80"/>
                    <a:pt x="0" y="63"/>
                  </a:cubicBezTo>
                  <a:cubicBezTo>
                    <a:pt x="0" y="45"/>
                    <a:pt x="14" y="35"/>
                    <a:pt x="36" y="34"/>
                  </a:cubicBezTo>
                  <a:cubicBezTo>
                    <a:pt x="51" y="34"/>
                    <a:pt x="51" y="34"/>
                    <a:pt x="51" y="34"/>
                  </a:cubicBezTo>
                  <a:cubicBezTo>
                    <a:pt x="51" y="33"/>
                    <a:pt x="51" y="32"/>
                    <a:pt x="51" y="31"/>
                  </a:cubicBezTo>
                  <a:cubicBezTo>
                    <a:pt x="51" y="21"/>
                    <a:pt x="44" y="17"/>
                    <a:pt x="35" y="17"/>
                  </a:cubicBezTo>
                  <a:cubicBezTo>
                    <a:pt x="25" y="17"/>
                    <a:pt x="18" y="20"/>
                    <a:pt x="12" y="23"/>
                  </a:cubicBezTo>
                  <a:cubicBezTo>
                    <a:pt x="5" y="9"/>
                    <a:pt x="5" y="9"/>
                    <a:pt x="5" y="9"/>
                  </a:cubicBezTo>
                  <a:cubicBezTo>
                    <a:pt x="17" y="2"/>
                    <a:pt x="28" y="0"/>
                    <a:pt x="39" y="0"/>
                  </a:cubicBezTo>
                  <a:cubicBezTo>
                    <a:pt x="61" y="0"/>
                    <a:pt x="74" y="9"/>
                    <a:pt x="74" y="31"/>
                  </a:cubicBezTo>
                  <a:cubicBezTo>
                    <a:pt x="74" y="66"/>
                    <a:pt x="74" y="66"/>
                    <a:pt x="74" y="66"/>
                  </a:cubicBezTo>
                  <a:cubicBezTo>
                    <a:pt x="74" y="78"/>
                    <a:pt x="75" y="86"/>
                    <a:pt x="76" y="90"/>
                  </a:cubicBezTo>
                  <a:lnTo>
                    <a:pt x="57" y="90"/>
                  </a:lnTo>
                  <a:close/>
                  <a:moveTo>
                    <a:pt x="51" y="49"/>
                  </a:moveTo>
                  <a:cubicBezTo>
                    <a:pt x="39" y="49"/>
                    <a:pt x="39" y="49"/>
                    <a:pt x="39" y="49"/>
                  </a:cubicBezTo>
                  <a:cubicBezTo>
                    <a:pt x="27" y="50"/>
                    <a:pt x="22" y="54"/>
                    <a:pt x="22" y="61"/>
                  </a:cubicBezTo>
                  <a:cubicBezTo>
                    <a:pt x="22" y="68"/>
                    <a:pt x="27" y="73"/>
                    <a:pt x="36" y="73"/>
                  </a:cubicBezTo>
                  <a:cubicBezTo>
                    <a:pt x="44" y="73"/>
                    <a:pt x="49" y="70"/>
                    <a:pt x="51" y="68"/>
                  </a:cubicBezTo>
                  <a:lnTo>
                    <a:pt x="51" y="4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59" name="Freeform 8"/>
            <p:cNvSpPr>
              <a:spLocks noEditPoints="1"/>
            </p:cNvSpPr>
            <p:nvPr userDrawn="1"/>
          </p:nvSpPr>
          <p:spPr bwMode="auto">
            <a:xfrm>
              <a:off x="8342550" y="4892699"/>
              <a:ext cx="62311" cy="96668"/>
            </a:xfrm>
            <a:custGeom>
              <a:avLst/>
              <a:gdLst>
                <a:gd name="T0" fmla="*/ 47 w 82"/>
                <a:gd name="T1" fmla="*/ 133 h 133"/>
                <a:gd name="T2" fmla="*/ 0 w 82"/>
                <a:gd name="T3" fmla="*/ 88 h 133"/>
                <a:gd name="T4" fmla="*/ 48 w 82"/>
                <a:gd name="T5" fmla="*/ 42 h 133"/>
                <a:gd name="T6" fmla="*/ 59 w 82"/>
                <a:gd name="T7" fmla="*/ 42 h 133"/>
                <a:gd name="T8" fmla="*/ 60 w 82"/>
                <a:gd name="T9" fmla="*/ 0 h 133"/>
                <a:gd name="T10" fmla="*/ 82 w 82"/>
                <a:gd name="T11" fmla="*/ 0 h 133"/>
                <a:gd name="T12" fmla="*/ 81 w 82"/>
                <a:gd name="T13" fmla="*/ 126 h 133"/>
                <a:gd name="T14" fmla="*/ 47 w 82"/>
                <a:gd name="T15" fmla="*/ 133 h 133"/>
                <a:gd name="T16" fmla="*/ 59 w 82"/>
                <a:gd name="T17" fmla="*/ 60 h 133"/>
                <a:gd name="T18" fmla="*/ 49 w 82"/>
                <a:gd name="T19" fmla="*/ 59 h 133"/>
                <a:gd name="T20" fmla="*/ 22 w 82"/>
                <a:gd name="T21" fmla="*/ 87 h 133"/>
                <a:gd name="T22" fmla="*/ 49 w 82"/>
                <a:gd name="T23" fmla="*/ 114 h 133"/>
                <a:gd name="T24" fmla="*/ 59 w 82"/>
                <a:gd name="T25" fmla="*/ 113 h 133"/>
                <a:gd name="T26" fmla="*/ 59 w 82"/>
                <a:gd name="T27" fmla="*/ 6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3">
                  <a:moveTo>
                    <a:pt x="47" y="133"/>
                  </a:moveTo>
                  <a:cubicBezTo>
                    <a:pt x="21" y="133"/>
                    <a:pt x="0" y="117"/>
                    <a:pt x="0" y="88"/>
                  </a:cubicBezTo>
                  <a:cubicBezTo>
                    <a:pt x="0" y="61"/>
                    <a:pt x="20" y="42"/>
                    <a:pt x="48" y="42"/>
                  </a:cubicBezTo>
                  <a:cubicBezTo>
                    <a:pt x="52" y="42"/>
                    <a:pt x="56" y="42"/>
                    <a:pt x="59" y="42"/>
                  </a:cubicBezTo>
                  <a:cubicBezTo>
                    <a:pt x="60" y="0"/>
                    <a:pt x="60" y="0"/>
                    <a:pt x="60" y="0"/>
                  </a:cubicBezTo>
                  <a:cubicBezTo>
                    <a:pt x="82" y="0"/>
                    <a:pt x="82" y="0"/>
                    <a:pt x="82" y="0"/>
                  </a:cubicBezTo>
                  <a:cubicBezTo>
                    <a:pt x="81" y="126"/>
                    <a:pt x="81" y="126"/>
                    <a:pt x="81" y="126"/>
                  </a:cubicBezTo>
                  <a:cubicBezTo>
                    <a:pt x="73" y="130"/>
                    <a:pt x="62" y="133"/>
                    <a:pt x="47" y="133"/>
                  </a:cubicBezTo>
                  <a:close/>
                  <a:moveTo>
                    <a:pt x="59" y="60"/>
                  </a:moveTo>
                  <a:cubicBezTo>
                    <a:pt x="56" y="60"/>
                    <a:pt x="54" y="59"/>
                    <a:pt x="49" y="59"/>
                  </a:cubicBezTo>
                  <a:cubicBezTo>
                    <a:pt x="33" y="59"/>
                    <a:pt x="22" y="70"/>
                    <a:pt x="22" y="87"/>
                  </a:cubicBezTo>
                  <a:cubicBezTo>
                    <a:pt x="22" y="103"/>
                    <a:pt x="32" y="114"/>
                    <a:pt x="49" y="114"/>
                  </a:cubicBezTo>
                  <a:cubicBezTo>
                    <a:pt x="53" y="114"/>
                    <a:pt x="57" y="114"/>
                    <a:pt x="59" y="113"/>
                  </a:cubicBezTo>
                  <a:lnTo>
                    <a:pt x="59" y="60"/>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0" name="Freeform 9"/>
            <p:cNvSpPr>
              <a:spLocks/>
            </p:cNvSpPr>
            <p:nvPr userDrawn="1"/>
          </p:nvSpPr>
          <p:spPr bwMode="auto">
            <a:xfrm>
              <a:off x="8093949"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1" name="Freeform 10"/>
            <p:cNvSpPr>
              <a:spLocks/>
            </p:cNvSpPr>
            <p:nvPr userDrawn="1"/>
          </p:nvSpPr>
          <p:spPr bwMode="auto">
            <a:xfrm>
              <a:off x="8060545"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2" name="Freeform 11"/>
            <p:cNvSpPr>
              <a:spLocks/>
            </p:cNvSpPr>
            <p:nvPr userDrawn="1"/>
          </p:nvSpPr>
          <p:spPr bwMode="auto">
            <a:xfrm>
              <a:off x="8297262" y="4923177"/>
              <a:ext cx="43039" cy="66190"/>
            </a:xfrm>
            <a:custGeom>
              <a:avLst/>
              <a:gdLst>
                <a:gd name="T0" fmla="*/ 49 w 57"/>
                <a:gd name="T1" fmla="*/ 22 h 91"/>
                <a:gd name="T2" fmla="*/ 39 w 57"/>
                <a:gd name="T3" fmla="*/ 20 h 91"/>
                <a:gd name="T4" fmla="*/ 22 w 57"/>
                <a:gd name="T5" fmla="*/ 27 h 91"/>
                <a:gd name="T6" fmla="*/ 22 w 57"/>
                <a:gd name="T7" fmla="*/ 74 h 91"/>
                <a:gd name="T8" fmla="*/ 0 w 57"/>
                <a:gd name="T9" fmla="*/ 90 h 91"/>
                <a:gd name="T10" fmla="*/ 0 w 57"/>
                <a:gd name="T11" fmla="*/ 2 h 91"/>
                <a:gd name="T12" fmla="*/ 18 w 57"/>
                <a:gd name="T13" fmla="*/ 2 h 91"/>
                <a:gd name="T14" fmla="*/ 21 w 57"/>
                <a:gd name="T15" fmla="*/ 11 h 91"/>
                <a:gd name="T16" fmla="*/ 45 w 57"/>
                <a:gd name="T17" fmla="*/ 0 h 91"/>
                <a:gd name="T18" fmla="*/ 57 w 57"/>
                <a:gd name="T19" fmla="*/ 4 h 91"/>
                <a:gd name="T20" fmla="*/ 49 w 57"/>
                <a:gd name="T21" fmla="*/ 2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1">
                  <a:moveTo>
                    <a:pt x="49" y="22"/>
                  </a:moveTo>
                  <a:cubicBezTo>
                    <a:pt x="45" y="20"/>
                    <a:pt x="41" y="20"/>
                    <a:pt x="39" y="20"/>
                  </a:cubicBezTo>
                  <a:cubicBezTo>
                    <a:pt x="34" y="20"/>
                    <a:pt x="28" y="22"/>
                    <a:pt x="22" y="27"/>
                  </a:cubicBezTo>
                  <a:cubicBezTo>
                    <a:pt x="22" y="27"/>
                    <a:pt x="22" y="57"/>
                    <a:pt x="22" y="74"/>
                  </a:cubicBezTo>
                  <a:cubicBezTo>
                    <a:pt x="22" y="91"/>
                    <a:pt x="0" y="90"/>
                    <a:pt x="0" y="90"/>
                  </a:cubicBezTo>
                  <a:cubicBezTo>
                    <a:pt x="0" y="2"/>
                    <a:pt x="0" y="2"/>
                    <a:pt x="0" y="2"/>
                  </a:cubicBezTo>
                  <a:cubicBezTo>
                    <a:pt x="18" y="2"/>
                    <a:pt x="18" y="2"/>
                    <a:pt x="18"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3" name="Freeform 12"/>
            <p:cNvSpPr>
              <a:spLocks/>
            </p:cNvSpPr>
            <p:nvPr userDrawn="1"/>
          </p:nvSpPr>
          <p:spPr bwMode="auto">
            <a:xfrm>
              <a:off x="7907980" y="4892699"/>
              <a:ext cx="98605" cy="95129"/>
            </a:xfrm>
            <a:custGeom>
              <a:avLst/>
              <a:gdLst>
                <a:gd name="T0" fmla="*/ 106 w 130"/>
                <a:gd name="T1" fmla="*/ 131 h 131"/>
                <a:gd name="T2" fmla="*/ 106 w 130"/>
                <a:gd name="T3" fmla="*/ 53 h 131"/>
                <a:gd name="T4" fmla="*/ 107 w 130"/>
                <a:gd name="T5" fmla="*/ 39 h 131"/>
                <a:gd name="T6" fmla="*/ 106 w 130"/>
                <a:gd name="T7" fmla="*/ 39 h 131"/>
                <a:gd name="T8" fmla="*/ 99 w 130"/>
                <a:gd name="T9" fmla="*/ 52 h 131"/>
                <a:gd name="T10" fmla="*/ 72 w 130"/>
                <a:gd name="T11" fmla="*/ 93 h 131"/>
                <a:gd name="T12" fmla="*/ 60 w 130"/>
                <a:gd name="T13" fmla="*/ 93 h 131"/>
                <a:gd name="T14" fmla="*/ 32 w 130"/>
                <a:gd name="T15" fmla="*/ 51 h 131"/>
                <a:gd name="T16" fmla="*/ 24 w 130"/>
                <a:gd name="T17" fmla="*/ 39 h 131"/>
                <a:gd name="T18" fmla="*/ 23 w 130"/>
                <a:gd name="T19" fmla="*/ 39 h 131"/>
                <a:gd name="T20" fmla="*/ 24 w 130"/>
                <a:gd name="T21" fmla="*/ 52 h 131"/>
                <a:gd name="T22" fmla="*/ 24 w 130"/>
                <a:gd name="T23" fmla="*/ 131 h 131"/>
                <a:gd name="T24" fmla="*/ 0 w 130"/>
                <a:gd name="T25" fmla="*/ 131 h 131"/>
                <a:gd name="T26" fmla="*/ 0 w 130"/>
                <a:gd name="T27" fmla="*/ 0 h 131"/>
                <a:gd name="T28" fmla="*/ 22 w 130"/>
                <a:gd name="T29" fmla="*/ 0 h 131"/>
                <a:gd name="T30" fmla="*/ 58 w 130"/>
                <a:gd name="T31" fmla="*/ 52 h 131"/>
                <a:gd name="T32" fmla="*/ 66 w 130"/>
                <a:gd name="T33" fmla="*/ 66 h 131"/>
                <a:gd name="T34" fmla="*/ 67 w 130"/>
                <a:gd name="T35" fmla="*/ 66 h 131"/>
                <a:gd name="T36" fmla="*/ 75 w 130"/>
                <a:gd name="T37" fmla="*/ 52 h 131"/>
                <a:gd name="T38" fmla="*/ 108 w 130"/>
                <a:gd name="T39" fmla="*/ 0 h 131"/>
                <a:gd name="T40" fmla="*/ 130 w 130"/>
                <a:gd name="T41" fmla="*/ 0 h 131"/>
                <a:gd name="T42" fmla="*/ 130 w 130"/>
                <a:gd name="T43" fmla="*/ 131 h 131"/>
                <a:gd name="T44" fmla="*/ 106 w 130"/>
                <a:gd name="T45"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0" h="131">
                  <a:moveTo>
                    <a:pt x="106" y="131"/>
                  </a:moveTo>
                  <a:cubicBezTo>
                    <a:pt x="106" y="53"/>
                    <a:pt x="106" y="53"/>
                    <a:pt x="106" y="53"/>
                  </a:cubicBezTo>
                  <a:cubicBezTo>
                    <a:pt x="106" y="48"/>
                    <a:pt x="106" y="44"/>
                    <a:pt x="107" y="39"/>
                  </a:cubicBezTo>
                  <a:cubicBezTo>
                    <a:pt x="106" y="39"/>
                    <a:pt x="106" y="39"/>
                    <a:pt x="106" y="39"/>
                  </a:cubicBezTo>
                  <a:cubicBezTo>
                    <a:pt x="105" y="43"/>
                    <a:pt x="101" y="49"/>
                    <a:pt x="99" y="52"/>
                  </a:cubicBezTo>
                  <a:cubicBezTo>
                    <a:pt x="72" y="93"/>
                    <a:pt x="72" y="93"/>
                    <a:pt x="72" y="93"/>
                  </a:cubicBezTo>
                  <a:cubicBezTo>
                    <a:pt x="60" y="93"/>
                    <a:pt x="60" y="93"/>
                    <a:pt x="60" y="93"/>
                  </a:cubicBezTo>
                  <a:cubicBezTo>
                    <a:pt x="32" y="51"/>
                    <a:pt x="32" y="51"/>
                    <a:pt x="32" y="51"/>
                  </a:cubicBezTo>
                  <a:cubicBezTo>
                    <a:pt x="29" y="48"/>
                    <a:pt x="26" y="44"/>
                    <a:pt x="24" y="39"/>
                  </a:cubicBezTo>
                  <a:cubicBezTo>
                    <a:pt x="23" y="39"/>
                    <a:pt x="23" y="39"/>
                    <a:pt x="23" y="39"/>
                  </a:cubicBezTo>
                  <a:cubicBezTo>
                    <a:pt x="24" y="44"/>
                    <a:pt x="24" y="48"/>
                    <a:pt x="24" y="52"/>
                  </a:cubicBezTo>
                  <a:cubicBezTo>
                    <a:pt x="24" y="131"/>
                    <a:pt x="24" y="131"/>
                    <a:pt x="24" y="131"/>
                  </a:cubicBezTo>
                  <a:cubicBezTo>
                    <a:pt x="0" y="131"/>
                    <a:pt x="0" y="131"/>
                    <a:pt x="0" y="131"/>
                  </a:cubicBezTo>
                  <a:cubicBezTo>
                    <a:pt x="0" y="0"/>
                    <a:pt x="0" y="0"/>
                    <a:pt x="0" y="0"/>
                  </a:cubicBezTo>
                  <a:cubicBezTo>
                    <a:pt x="22" y="0"/>
                    <a:pt x="22" y="0"/>
                    <a:pt x="22" y="0"/>
                  </a:cubicBezTo>
                  <a:cubicBezTo>
                    <a:pt x="58" y="52"/>
                    <a:pt x="58" y="52"/>
                    <a:pt x="58" y="52"/>
                  </a:cubicBezTo>
                  <a:cubicBezTo>
                    <a:pt x="61" y="57"/>
                    <a:pt x="64" y="61"/>
                    <a:pt x="66" y="66"/>
                  </a:cubicBezTo>
                  <a:cubicBezTo>
                    <a:pt x="67" y="66"/>
                    <a:pt x="67" y="66"/>
                    <a:pt x="67" y="66"/>
                  </a:cubicBezTo>
                  <a:cubicBezTo>
                    <a:pt x="69" y="61"/>
                    <a:pt x="71" y="57"/>
                    <a:pt x="75" y="52"/>
                  </a:cubicBezTo>
                  <a:cubicBezTo>
                    <a:pt x="108" y="0"/>
                    <a:pt x="108" y="0"/>
                    <a:pt x="108" y="0"/>
                  </a:cubicBezTo>
                  <a:cubicBezTo>
                    <a:pt x="130" y="0"/>
                    <a:pt x="130" y="0"/>
                    <a:pt x="130" y="0"/>
                  </a:cubicBezTo>
                  <a:cubicBezTo>
                    <a:pt x="130" y="131"/>
                    <a:pt x="130" y="131"/>
                    <a:pt x="130" y="131"/>
                  </a:cubicBezTo>
                  <a:lnTo>
                    <a:pt x="106" y="131"/>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4" name="Freeform 13"/>
            <p:cNvSpPr>
              <a:spLocks/>
            </p:cNvSpPr>
            <p:nvPr userDrawn="1"/>
          </p:nvSpPr>
          <p:spPr bwMode="auto">
            <a:xfrm>
              <a:off x="7665803" y="4864376"/>
              <a:ext cx="100854" cy="148389"/>
            </a:xfrm>
            <a:custGeom>
              <a:avLst/>
              <a:gdLst>
                <a:gd name="T0" fmla="*/ 133 w 133"/>
                <a:gd name="T1" fmla="*/ 23 h 204"/>
                <a:gd name="T2" fmla="*/ 132 w 133"/>
                <a:gd name="T3" fmla="*/ 22 h 204"/>
                <a:gd name="T4" fmla="*/ 65 w 133"/>
                <a:gd name="T5" fmla="*/ 20 h 204"/>
                <a:gd name="T6" fmla="*/ 52 w 133"/>
                <a:gd name="T7" fmla="*/ 52 h 204"/>
                <a:gd name="T8" fmla="*/ 20 w 133"/>
                <a:gd name="T9" fmla="*/ 65 h 204"/>
                <a:gd name="T10" fmla="*/ 22 w 133"/>
                <a:gd name="T11" fmla="*/ 132 h 204"/>
                <a:gd name="T12" fmla="*/ 95 w 133"/>
                <a:gd name="T13" fmla="*/ 204 h 204"/>
                <a:gd name="T14" fmla="*/ 117 w 133"/>
                <a:gd name="T15" fmla="*/ 182 h 204"/>
                <a:gd name="T16" fmla="*/ 44 w 133"/>
                <a:gd name="T17" fmla="*/ 110 h 204"/>
                <a:gd name="T18" fmla="*/ 42 w 133"/>
                <a:gd name="T19" fmla="*/ 86 h 204"/>
                <a:gd name="T20" fmla="*/ 66 w 133"/>
                <a:gd name="T21" fmla="*/ 88 h 204"/>
                <a:gd name="T22" fmla="*/ 133 w 133"/>
                <a:gd name="T23" fmla="*/ 155 h 204"/>
                <a:gd name="T24" fmla="*/ 133 w 133"/>
                <a:gd name="T25" fmla="*/ 111 h 204"/>
                <a:gd name="T26" fmla="*/ 88 w 133"/>
                <a:gd name="T27" fmla="*/ 66 h 204"/>
                <a:gd name="T28" fmla="*/ 86 w 133"/>
                <a:gd name="T29" fmla="*/ 42 h 204"/>
                <a:gd name="T30" fmla="*/ 110 w 133"/>
                <a:gd name="T31" fmla="*/ 44 h 204"/>
                <a:gd name="T32" fmla="*/ 133 w 133"/>
                <a:gd name="T33" fmla="*/ 66 h 204"/>
                <a:gd name="T34" fmla="*/ 133 w 133"/>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204">
                  <a:moveTo>
                    <a:pt x="133" y="23"/>
                  </a:moveTo>
                  <a:cubicBezTo>
                    <a:pt x="132" y="22"/>
                    <a:pt x="132" y="22"/>
                    <a:pt x="132" y="22"/>
                  </a:cubicBezTo>
                  <a:cubicBezTo>
                    <a:pt x="110" y="0"/>
                    <a:pt x="82" y="2"/>
                    <a:pt x="65" y="20"/>
                  </a:cubicBezTo>
                  <a:cubicBezTo>
                    <a:pt x="53" y="32"/>
                    <a:pt x="51" y="46"/>
                    <a:pt x="52" y="52"/>
                  </a:cubicBezTo>
                  <a:cubicBezTo>
                    <a:pt x="47" y="51"/>
                    <a:pt x="32" y="52"/>
                    <a:pt x="20" y="65"/>
                  </a:cubicBezTo>
                  <a:cubicBezTo>
                    <a:pt x="3" y="82"/>
                    <a:pt x="0" y="110"/>
                    <a:pt x="22" y="132"/>
                  </a:cubicBezTo>
                  <a:cubicBezTo>
                    <a:pt x="95" y="204"/>
                    <a:pt x="95" y="204"/>
                    <a:pt x="95" y="204"/>
                  </a:cubicBezTo>
                  <a:cubicBezTo>
                    <a:pt x="117" y="182"/>
                    <a:pt x="117" y="182"/>
                    <a:pt x="117" y="182"/>
                  </a:cubicBezTo>
                  <a:cubicBezTo>
                    <a:pt x="44" y="110"/>
                    <a:pt x="44" y="110"/>
                    <a:pt x="44" y="110"/>
                  </a:cubicBezTo>
                  <a:cubicBezTo>
                    <a:pt x="35" y="101"/>
                    <a:pt x="36" y="91"/>
                    <a:pt x="42" y="86"/>
                  </a:cubicBezTo>
                  <a:cubicBezTo>
                    <a:pt x="47" y="80"/>
                    <a:pt x="58" y="79"/>
                    <a:pt x="66" y="88"/>
                  </a:cubicBezTo>
                  <a:cubicBezTo>
                    <a:pt x="133" y="155"/>
                    <a:pt x="133" y="155"/>
                    <a:pt x="133" y="155"/>
                  </a:cubicBezTo>
                  <a:cubicBezTo>
                    <a:pt x="133" y="111"/>
                    <a:pt x="133" y="111"/>
                    <a:pt x="133" y="111"/>
                  </a:cubicBezTo>
                  <a:cubicBezTo>
                    <a:pt x="88" y="66"/>
                    <a:pt x="88" y="66"/>
                    <a:pt x="88" y="66"/>
                  </a:cubicBezTo>
                  <a:cubicBezTo>
                    <a:pt x="80" y="57"/>
                    <a:pt x="80" y="47"/>
                    <a:pt x="86" y="42"/>
                  </a:cubicBezTo>
                  <a:cubicBezTo>
                    <a:pt x="92" y="36"/>
                    <a:pt x="102" y="35"/>
                    <a:pt x="110" y="44"/>
                  </a:cubicBezTo>
                  <a:cubicBezTo>
                    <a:pt x="133" y="66"/>
                    <a:pt x="133" y="66"/>
                    <a:pt x="133" y="66"/>
                  </a:cubicBezTo>
                  <a:lnTo>
                    <a:pt x="133"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5" name="Freeform 14"/>
            <p:cNvSpPr>
              <a:spLocks noEditPoints="1"/>
            </p:cNvSpPr>
            <p:nvPr userDrawn="1"/>
          </p:nvSpPr>
          <p:spPr bwMode="auto">
            <a:xfrm>
              <a:off x="8023287" y="4895470"/>
              <a:ext cx="20556" cy="93282"/>
            </a:xfrm>
            <a:custGeom>
              <a:avLst/>
              <a:gdLst>
                <a:gd name="T0" fmla="*/ 14 w 27"/>
                <a:gd name="T1" fmla="*/ 26 h 128"/>
                <a:gd name="T2" fmla="*/ 0 w 27"/>
                <a:gd name="T3" fmla="*/ 13 h 128"/>
                <a:gd name="T4" fmla="*/ 14 w 27"/>
                <a:gd name="T5" fmla="*/ 0 h 128"/>
                <a:gd name="T6" fmla="*/ 27 w 27"/>
                <a:gd name="T7" fmla="*/ 13 h 128"/>
                <a:gd name="T8" fmla="*/ 14 w 27"/>
                <a:gd name="T9" fmla="*/ 26 h 128"/>
                <a:gd name="T10" fmla="*/ 3 w 27"/>
                <a:gd name="T11" fmla="*/ 128 h 128"/>
                <a:gd name="T12" fmla="*/ 3 w 27"/>
                <a:gd name="T13" fmla="*/ 40 h 128"/>
                <a:gd name="T14" fmla="*/ 25 w 27"/>
                <a:gd name="T15" fmla="*/ 40 h 128"/>
                <a:gd name="T16" fmla="*/ 25 w 27"/>
                <a:gd name="T17" fmla="*/ 112 h 128"/>
                <a:gd name="T18" fmla="*/ 3 w 27"/>
                <a:gd name="T1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128">
                  <a:moveTo>
                    <a:pt x="14" y="26"/>
                  </a:moveTo>
                  <a:cubicBezTo>
                    <a:pt x="6" y="26"/>
                    <a:pt x="0" y="20"/>
                    <a:pt x="0" y="13"/>
                  </a:cubicBezTo>
                  <a:cubicBezTo>
                    <a:pt x="0" y="6"/>
                    <a:pt x="6" y="0"/>
                    <a:pt x="14" y="0"/>
                  </a:cubicBezTo>
                  <a:cubicBezTo>
                    <a:pt x="21" y="0"/>
                    <a:pt x="27" y="5"/>
                    <a:pt x="27" y="13"/>
                  </a:cubicBezTo>
                  <a:cubicBezTo>
                    <a:pt x="27" y="20"/>
                    <a:pt x="21" y="26"/>
                    <a:pt x="14" y="26"/>
                  </a:cubicBezTo>
                  <a:close/>
                  <a:moveTo>
                    <a:pt x="3" y="128"/>
                  </a:moveTo>
                  <a:cubicBezTo>
                    <a:pt x="3" y="40"/>
                    <a:pt x="3" y="40"/>
                    <a:pt x="3" y="40"/>
                  </a:cubicBezTo>
                  <a:cubicBezTo>
                    <a:pt x="25" y="40"/>
                    <a:pt x="25" y="40"/>
                    <a:pt x="25" y="40"/>
                  </a:cubicBezTo>
                  <a:cubicBezTo>
                    <a:pt x="25" y="40"/>
                    <a:pt x="25" y="95"/>
                    <a:pt x="25" y="112"/>
                  </a:cubicBezTo>
                  <a:cubicBezTo>
                    <a:pt x="25" y="128"/>
                    <a:pt x="3" y="128"/>
                    <a:pt x="3" y="1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6" name="Freeform 15"/>
            <p:cNvSpPr>
              <a:spLocks/>
            </p:cNvSpPr>
            <p:nvPr userDrawn="1"/>
          </p:nvSpPr>
          <p:spPr bwMode="auto">
            <a:xfrm>
              <a:off x="8615239" y="4924717"/>
              <a:ext cx="103744" cy="66806"/>
            </a:xfrm>
            <a:custGeom>
              <a:avLst/>
              <a:gdLst>
                <a:gd name="T0" fmla="*/ 111 w 137"/>
                <a:gd name="T1" fmla="*/ 72 h 92"/>
                <a:gd name="T2" fmla="*/ 88 w 137"/>
                <a:gd name="T3" fmla="*/ 88 h 92"/>
                <a:gd name="T4" fmla="*/ 68 w 137"/>
                <a:gd name="T5" fmla="*/ 28 h 92"/>
                <a:gd name="T6" fmla="*/ 68 w 137"/>
                <a:gd name="T7" fmla="*/ 28 h 92"/>
                <a:gd name="T8" fmla="*/ 53 w 137"/>
                <a:gd name="T9" fmla="*/ 72 h 92"/>
                <a:gd name="T10" fmla="*/ 31 w 137"/>
                <a:gd name="T11" fmla="*/ 88 h 92"/>
                <a:gd name="T12" fmla="*/ 0 w 137"/>
                <a:gd name="T13" fmla="*/ 0 h 92"/>
                <a:gd name="T14" fmla="*/ 22 w 137"/>
                <a:gd name="T15" fmla="*/ 0 h 92"/>
                <a:gd name="T16" fmla="*/ 41 w 137"/>
                <a:gd name="T17" fmla="*/ 60 h 92"/>
                <a:gd name="T18" fmla="*/ 41 w 137"/>
                <a:gd name="T19" fmla="*/ 60 h 92"/>
                <a:gd name="T20" fmla="*/ 60 w 137"/>
                <a:gd name="T21" fmla="*/ 0 h 92"/>
                <a:gd name="T22" fmla="*/ 77 w 137"/>
                <a:gd name="T23" fmla="*/ 0 h 92"/>
                <a:gd name="T24" fmla="*/ 97 w 137"/>
                <a:gd name="T25" fmla="*/ 60 h 92"/>
                <a:gd name="T26" fmla="*/ 97 w 137"/>
                <a:gd name="T27" fmla="*/ 60 h 92"/>
                <a:gd name="T28" fmla="*/ 115 w 137"/>
                <a:gd name="T29" fmla="*/ 0 h 92"/>
                <a:gd name="T30" fmla="*/ 137 w 137"/>
                <a:gd name="T31" fmla="*/ 0 h 92"/>
                <a:gd name="T32" fmla="*/ 111 w 137"/>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 h="92">
                  <a:moveTo>
                    <a:pt x="111" y="72"/>
                  </a:moveTo>
                  <a:cubicBezTo>
                    <a:pt x="104" y="92"/>
                    <a:pt x="88" y="88"/>
                    <a:pt x="88" y="88"/>
                  </a:cubicBezTo>
                  <a:cubicBezTo>
                    <a:pt x="68" y="28"/>
                    <a:pt x="68" y="28"/>
                    <a:pt x="68" y="28"/>
                  </a:cubicBezTo>
                  <a:cubicBezTo>
                    <a:pt x="68" y="28"/>
                    <a:pt x="68" y="28"/>
                    <a:pt x="68" y="28"/>
                  </a:cubicBezTo>
                  <a:cubicBezTo>
                    <a:pt x="68" y="28"/>
                    <a:pt x="59"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7" y="60"/>
                    <a:pt x="97" y="60"/>
                    <a:pt x="97" y="60"/>
                  </a:cubicBezTo>
                  <a:cubicBezTo>
                    <a:pt x="97" y="60"/>
                    <a:pt x="97" y="60"/>
                    <a:pt x="97" y="60"/>
                  </a:cubicBezTo>
                  <a:cubicBezTo>
                    <a:pt x="115" y="0"/>
                    <a:pt x="115" y="0"/>
                    <a:pt x="115" y="0"/>
                  </a:cubicBezTo>
                  <a:cubicBezTo>
                    <a:pt x="137" y="0"/>
                    <a:pt x="137" y="0"/>
                    <a:pt x="137" y="0"/>
                  </a:cubicBezTo>
                  <a:cubicBezTo>
                    <a:pt x="137"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9" name="Freeform 16"/>
            <p:cNvSpPr>
              <a:spLocks noEditPoints="1"/>
            </p:cNvSpPr>
            <p:nvPr userDrawn="1"/>
          </p:nvSpPr>
          <p:spPr bwMode="auto">
            <a:xfrm>
              <a:off x="8423168" y="4892699"/>
              <a:ext cx="65844" cy="95129"/>
            </a:xfrm>
            <a:custGeom>
              <a:avLst/>
              <a:gdLst>
                <a:gd name="T0" fmla="*/ 1 w 87"/>
                <a:gd name="T1" fmla="*/ 0 h 131"/>
                <a:gd name="T2" fmla="*/ 0 w 87"/>
                <a:gd name="T3" fmla="*/ 131 h 131"/>
                <a:gd name="T4" fmla="*/ 41 w 87"/>
                <a:gd name="T5" fmla="*/ 131 h 131"/>
                <a:gd name="T6" fmla="*/ 87 w 87"/>
                <a:gd name="T7" fmla="*/ 92 h 131"/>
                <a:gd name="T8" fmla="*/ 65 w 87"/>
                <a:gd name="T9" fmla="*/ 61 h 131"/>
                <a:gd name="T10" fmla="*/ 62 w 87"/>
                <a:gd name="T11" fmla="*/ 60 h 131"/>
                <a:gd name="T12" fmla="*/ 64 w 87"/>
                <a:gd name="T13" fmla="*/ 59 h 131"/>
                <a:gd name="T14" fmla="*/ 79 w 87"/>
                <a:gd name="T15" fmla="*/ 32 h 131"/>
                <a:gd name="T16" fmla="*/ 42 w 87"/>
                <a:gd name="T17" fmla="*/ 0 h 131"/>
                <a:gd name="T18" fmla="*/ 1 w 87"/>
                <a:gd name="T19" fmla="*/ 0 h 131"/>
                <a:gd name="T20" fmla="*/ 23 w 87"/>
                <a:gd name="T21" fmla="*/ 17 h 131"/>
                <a:gd name="T22" fmla="*/ 36 w 87"/>
                <a:gd name="T23" fmla="*/ 17 h 131"/>
                <a:gd name="T24" fmla="*/ 56 w 87"/>
                <a:gd name="T25" fmla="*/ 35 h 131"/>
                <a:gd name="T26" fmla="*/ 38 w 87"/>
                <a:gd name="T27" fmla="*/ 55 h 131"/>
                <a:gd name="T28" fmla="*/ 22 w 87"/>
                <a:gd name="T29" fmla="*/ 55 h 131"/>
                <a:gd name="T30" fmla="*/ 23 w 87"/>
                <a:gd name="T31" fmla="*/ 17 h 131"/>
                <a:gd name="T32" fmla="*/ 22 w 87"/>
                <a:gd name="T33" fmla="*/ 74 h 131"/>
                <a:gd name="T34" fmla="*/ 40 w 87"/>
                <a:gd name="T35" fmla="*/ 74 h 131"/>
                <a:gd name="T36" fmla="*/ 64 w 87"/>
                <a:gd name="T37" fmla="*/ 92 h 131"/>
                <a:gd name="T38" fmla="*/ 39 w 87"/>
                <a:gd name="T39" fmla="*/ 113 h 131"/>
                <a:gd name="T40" fmla="*/ 22 w 87"/>
                <a:gd name="T41" fmla="*/ 113 h 131"/>
                <a:gd name="T42" fmla="*/ 22 w 87"/>
                <a:gd name="T43" fmla="*/ 7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131">
                  <a:moveTo>
                    <a:pt x="1" y="0"/>
                  </a:moveTo>
                  <a:cubicBezTo>
                    <a:pt x="1" y="3"/>
                    <a:pt x="0" y="129"/>
                    <a:pt x="0" y="131"/>
                  </a:cubicBezTo>
                  <a:cubicBezTo>
                    <a:pt x="2" y="131"/>
                    <a:pt x="41" y="131"/>
                    <a:pt x="41" y="131"/>
                  </a:cubicBezTo>
                  <a:cubicBezTo>
                    <a:pt x="73" y="131"/>
                    <a:pt x="87" y="111"/>
                    <a:pt x="87" y="92"/>
                  </a:cubicBezTo>
                  <a:cubicBezTo>
                    <a:pt x="87" y="77"/>
                    <a:pt x="79" y="65"/>
                    <a:pt x="65" y="61"/>
                  </a:cubicBezTo>
                  <a:cubicBezTo>
                    <a:pt x="62" y="60"/>
                    <a:pt x="62" y="60"/>
                    <a:pt x="62" y="60"/>
                  </a:cubicBezTo>
                  <a:cubicBezTo>
                    <a:pt x="64" y="59"/>
                    <a:pt x="64" y="59"/>
                    <a:pt x="64" y="59"/>
                  </a:cubicBezTo>
                  <a:cubicBezTo>
                    <a:pt x="74" y="54"/>
                    <a:pt x="79" y="44"/>
                    <a:pt x="79" y="32"/>
                  </a:cubicBezTo>
                  <a:cubicBezTo>
                    <a:pt x="79" y="17"/>
                    <a:pt x="68" y="0"/>
                    <a:pt x="42" y="0"/>
                  </a:cubicBezTo>
                  <a:cubicBezTo>
                    <a:pt x="42" y="0"/>
                    <a:pt x="3" y="0"/>
                    <a:pt x="1" y="0"/>
                  </a:cubicBezTo>
                  <a:close/>
                  <a:moveTo>
                    <a:pt x="23" y="17"/>
                  </a:moveTo>
                  <a:cubicBezTo>
                    <a:pt x="36" y="17"/>
                    <a:pt x="36" y="17"/>
                    <a:pt x="36" y="17"/>
                  </a:cubicBezTo>
                  <a:cubicBezTo>
                    <a:pt x="49" y="17"/>
                    <a:pt x="56" y="24"/>
                    <a:pt x="56" y="35"/>
                  </a:cubicBezTo>
                  <a:cubicBezTo>
                    <a:pt x="56" y="47"/>
                    <a:pt x="47" y="55"/>
                    <a:pt x="38" y="55"/>
                  </a:cubicBezTo>
                  <a:cubicBezTo>
                    <a:pt x="22" y="55"/>
                    <a:pt x="22" y="55"/>
                    <a:pt x="22" y="55"/>
                  </a:cubicBezTo>
                  <a:lnTo>
                    <a:pt x="23" y="17"/>
                  </a:lnTo>
                  <a:close/>
                  <a:moveTo>
                    <a:pt x="22" y="74"/>
                  </a:moveTo>
                  <a:cubicBezTo>
                    <a:pt x="40" y="74"/>
                    <a:pt x="40" y="74"/>
                    <a:pt x="40" y="74"/>
                  </a:cubicBezTo>
                  <a:cubicBezTo>
                    <a:pt x="55" y="74"/>
                    <a:pt x="64" y="81"/>
                    <a:pt x="64" y="92"/>
                  </a:cubicBezTo>
                  <a:cubicBezTo>
                    <a:pt x="64" y="105"/>
                    <a:pt x="55" y="113"/>
                    <a:pt x="39" y="113"/>
                  </a:cubicBezTo>
                  <a:cubicBezTo>
                    <a:pt x="22" y="113"/>
                    <a:pt x="22" y="113"/>
                    <a:pt x="22" y="113"/>
                  </a:cubicBezTo>
                  <a:lnTo>
                    <a:pt x="22" y="74"/>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0" name="Freeform 17"/>
            <p:cNvSpPr>
              <a:spLocks noEditPoints="1"/>
            </p:cNvSpPr>
            <p:nvPr userDrawn="1"/>
          </p:nvSpPr>
          <p:spPr bwMode="auto">
            <a:xfrm>
              <a:off x="8546184" y="4923177"/>
              <a:ext cx="66486" cy="66190"/>
            </a:xfrm>
            <a:custGeom>
              <a:avLst/>
              <a:gdLst>
                <a:gd name="T0" fmla="*/ 75 w 88"/>
                <a:gd name="T1" fmla="*/ 78 h 91"/>
                <a:gd name="T2" fmla="*/ 44 w 88"/>
                <a:gd name="T3" fmla="*/ 91 h 91"/>
                <a:gd name="T4" fmla="*/ 14 w 88"/>
                <a:gd name="T5" fmla="*/ 80 h 91"/>
                <a:gd name="T6" fmla="*/ 0 w 88"/>
                <a:gd name="T7" fmla="*/ 46 h 91"/>
                <a:gd name="T8" fmla="*/ 13 w 88"/>
                <a:gd name="T9" fmla="*/ 12 h 91"/>
                <a:gd name="T10" fmla="*/ 44 w 88"/>
                <a:gd name="T11" fmla="*/ 0 h 91"/>
                <a:gd name="T12" fmla="*/ 76 w 88"/>
                <a:gd name="T13" fmla="*/ 12 h 91"/>
                <a:gd name="T14" fmla="*/ 88 w 88"/>
                <a:gd name="T15" fmla="*/ 45 h 91"/>
                <a:gd name="T16" fmla="*/ 75 w 88"/>
                <a:gd name="T17" fmla="*/ 78 h 91"/>
                <a:gd name="T18" fmla="*/ 44 w 88"/>
                <a:gd name="T19" fmla="*/ 17 h 91"/>
                <a:gd name="T20" fmla="*/ 23 w 88"/>
                <a:gd name="T21" fmla="*/ 45 h 91"/>
                <a:gd name="T22" fmla="*/ 44 w 88"/>
                <a:gd name="T23" fmla="*/ 73 h 91"/>
                <a:gd name="T24" fmla="*/ 65 w 88"/>
                <a:gd name="T25" fmla="*/ 45 h 91"/>
                <a:gd name="T26" fmla="*/ 44 w 88"/>
                <a:gd name="T27"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91">
                  <a:moveTo>
                    <a:pt x="75" y="78"/>
                  </a:moveTo>
                  <a:cubicBezTo>
                    <a:pt x="68" y="86"/>
                    <a:pt x="57" y="91"/>
                    <a:pt x="44" y="91"/>
                  </a:cubicBezTo>
                  <a:cubicBezTo>
                    <a:pt x="32" y="91"/>
                    <a:pt x="21" y="87"/>
                    <a:pt x="14" y="80"/>
                  </a:cubicBezTo>
                  <a:cubicBezTo>
                    <a:pt x="5" y="72"/>
                    <a:pt x="0" y="60"/>
                    <a:pt x="0" y="46"/>
                  </a:cubicBezTo>
                  <a:cubicBezTo>
                    <a:pt x="0" y="32"/>
                    <a:pt x="5" y="20"/>
                    <a:pt x="13" y="12"/>
                  </a:cubicBezTo>
                  <a:cubicBezTo>
                    <a:pt x="21" y="4"/>
                    <a:pt x="31" y="0"/>
                    <a:pt x="44" y="0"/>
                  </a:cubicBezTo>
                  <a:cubicBezTo>
                    <a:pt x="57" y="0"/>
                    <a:pt x="68" y="4"/>
                    <a:pt x="76" y="12"/>
                  </a:cubicBezTo>
                  <a:cubicBezTo>
                    <a:pt x="84" y="20"/>
                    <a:pt x="88" y="32"/>
                    <a:pt x="88" y="45"/>
                  </a:cubicBezTo>
                  <a:cubicBezTo>
                    <a:pt x="88" y="58"/>
                    <a:pt x="83" y="70"/>
                    <a:pt x="75" y="78"/>
                  </a:cubicBezTo>
                  <a:close/>
                  <a:moveTo>
                    <a:pt x="44" y="17"/>
                  </a:moveTo>
                  <a:cubicBezTo>
                    <a:pt x="30" y="17"/>
                    <a:pt x="23" y="29"/>
                    <a:pt x="23" y="45"/>
                  </a:cubicBezTo>
                  <a:cubicBezTo>
                    <a:pt x="23" y="62"/>
                    <a:pt x="31" y="73"/>
                    <a:pt x="44" y="73"/>
                  </a:cubicBezTo>
                  <a:cubicBezTo>
                    <a:pt x="58" y="73"/>
                    <a:pt x="65" y="61"/>
                    <a:pt x="65" y="45"/>
                  </a:cubicBezTo>
                  <a:cubicBezTo>
                    <a:pt x="65" y="28"/>
                    <a:pt x="57" y="17"/>
                    <a:pt x="44" y="1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1" name="Freeform 18"/>
            <p:cNvSpPr>
              <a:spLocks/>
            </p:cNvSpPr>
            <p:nvPr userDrawn="1"/>
          </p:nvSpPr>
          <p:spPr bwMode="auto">
            <a:xfrm>
              <a:off x="8728298" y="4923177"/>
              <a:ext cx="60705" cy="65574"/>
            </a:xfrm>
            <a:custGeom>
              <a:avLst/>
              <a:gdLst>
                <a:gd name="T0" fmla="*/ 58 w 80"/>
                <a:gd name="T1" fmla="*/ 90 h 90"/>
                <a:gd name="T2" fmla="*/ 58 w 80"/>
                <a:gd name="T3" fmla="*/ 38 h 90"/>
                <a:gd name="T4" fmla="*/ 45 w 80"/>
                <a:gd name="T5" fmla="*/ 19 h 90"/>
                <a:gd name="T6" fmla="*/ 23 w 80"/>
                <a:gd name="T7" fmla="*/ 28 h 90"/>
                <a:gd name="T8" fmla="*/ 23 w 80"/>
                <a:gd name="T9" fmla="*/ 74 h 90"/>
                <a:gd name="T10" fmla="*/ 0 w 80"/>
                <a:gd name="T11" fmla="*/ 90 h 90"/>
                <a:gd name="T12" fmla="*/ 0 w 80"/>
                <a:gd name="T13" fmla="*/ 2 h 90"/>
                <a:gd name="T14" fmla="*/ 19 w 80"/>
                <a:gd name="T15" fmla="*/ 2 h 90"/>
                <a:gd name="T16" fmla="*/ 22 w 80"/>
                <a:gd name="T17" fmla="*/ 11 h 90"/>
                <a:gd name="T18" fmla="*/ 52 w 80"/>
                <a:gd name="T19" fmla="*/ 0 h 90"/>
                <a:gd name="T20" fmla="*/ 80 w 80"/>
                <a:gd name="T21" fmla="*/ 31 h 90"/>
                <a:gd name="T22" fmla="*/ 80 w 80"/>
                <a:gd name="T23" fmla="*/ 74 h 90"/>
                <a:gd name="T24" fmla="*/ 58 w 80"/>
                <a:gd name="T2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90">
                  <a:moveTo>
                    <a:pt x="58" y="90"/>
                  </a:moveTo>
                  <a:cubicBezTo>
                    <a:pt x="58" y="38"/>
                    <a:pt x="58" y="38"/>
                    <a:pt x="58" y="38"/>
                  </a:cubicBezTo>
                  <a:cubicBezTo>
                    <a:pt x="58" y="29"/>
                    <a:pt x="56" y="19"/>
                    <a:pt x="45" y="19"/>
                  </a:cubicBezTo>
                  <a:cubicBezTo>
                    <a:pt x="37" y="19"/>
                    <a:pt x="29" y="23"/>
                    <a:pt x="23" y="28"/>
                  </a:cubicBezTo>
                  <a:cubicBezTo>
                    <a:pt x="23" y="28"/>
                    <a:pt x="23" y="57"/>
                    <a:pt x="23" y="74"/>
                  </a:cubicBezTo>
                  <a:cubicBezTo>
                    <a:pt x="23" y="90"/>
                    <a:pt x="0" y="90"/>
                    <a:pt x="0" y="90"/>
                  </a:cubicBezTo>
                  <a:cubicBezTo>
                    <a:pt x="0" y="2"/>
                    <a:pt x="0" y="2"/>
                    <a:pt x="0" y="2"/>
                  </a:cubicBezTo>
                  <a:cubicBezTo>
                    <a:pt x="19" y="2"/>
                    <a:pt x="19" y="2"/>
                    <a:pt x="19" y="2"/>
                  </a:cubicBezTo>
                  <a:cubicBezTo>
                    <a:pt x="22" y="11"/>
                    <a:pt x="22" y="11"/>
                    <a:pt x="22" y="11"/>
                  </a:cubicBezTo>
                  <a:cubicBezTo>
                    <a:pt x="31" y="4"/>
                    <a:pt x="40" y="0"/>
                    <a:pt x="52" y="0"/>
                  </a:cubicBezTo>
                  <a:cubicBezTo>
                    <a:pt x="65" y="0"/>
                    <a:pt x="80" y="8"/>
                    <a:pt x="80" y="31"/>
                  </a:cubicBezTo>
                  <a:cubicBezTo>
                    <a:pt x="80" y="31"/>
                    <a:pt x="80" y="57"/>
                    <a:pt x="80" y="74"/>
                  </a:cubicBezTo>
                  <a:cubicBezTo>
                    <a:pt x="80" y="90"/>
                    <a:pt x="58" y="90"/>
                    <a:pt x="58" y="9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2" name="Freeform 19"/>
            <p:cNvSpPr>
              <a:spLocks/>
            </p:cNvSpPr>
            <p:nvPr userDrawn="1"/>
          </p:nvSpPr>
          <p:spPr bwMode="auto">
            <a:xfrm>
              <a:off x="8501217" y="4923177"/>
              <a:ext cx="43361" cy="65574"/>
            </a:xfrm>
            <a:custGeom>
              <a:avLst/>
              <a:gdLst>
                <a:gd name="T0" fmla="*/ 49 w 57"/>
                <a:gd name="T1" fmla="*/ 22 h 90"/>
                <a:gd name="T2" fmla="*/ 39 w 57"/>
                <a:gd name="T3" fmla="*/ 20 h 90"/>
                <a:gd name="T4" fmla="*/ 22 w 57"/>
                <a:gd name="T5" fmla="*/ 27 h 90"/>
                <a:gd name="T6" fmla="*/ 22 w 57"/>
                <a:gd name="T7" fmla="*/ 74 h 90"/>
                <a:gd name="T8" fmla="*/ 0 w 57"/>
                <a:gd name="T9" fmla="*/ 90 h 90"/>
                <a:gd name="T10" fmla="*/ 0 w 57"/>
                <a:gd name="T11" fmla="*/ 2 h 90"/>
                <a:gd name="T12" fmla="*/ 19 w 57"/>
                <a:gd name="T13" fmla="*/ 2 h 90"/>
                <a:gd name="T14" fmla="*/ 21 w 57"/>
                <a:gd name="T15" fmla="*/ 11 h 90"/>
                <a:gd name="T16" fmla="*/ 45 w 57"/>
                <a:gd name="T17" fmla="*/ 0 h 90"/>
                <a:gd name="T18" fmla="*/ 57 w 57"/>
                <a:gd name="T19" fmla="*/ 4 h 90"/>
                <a:gd name="T20" fmla="*/ 49 w 57"/>
                <a:gd name="T21" fmla="*/ 2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0">
                  <a:moveTo>
                    <a:pt x="49" y="22"/>
                  </a:moveTo>
                  <a:cubicBezTo>
                    <a:pt x="46" y="20"/>
                    <a:pt x="42" y="20"/>
                    <a:pt x="39" y="20"/>
                  </a:cubicBezTo>
                  <a:cubicBezTo>
                    <a:pt x="34" y="20"/>
                    <a:pt x="28" y="22"/>
                    <a:pt x="22" y="27"/>
                  </a:cubicBezTo>
                  <a:cubicBezTo>
                    <a:pt x="22" y="27"/>
                    <a:pt x="22" y="57"/>
                    <a:pt x="22" y="74"/>
                  </a:cubicBezTo>
                  <a:cubicBezTo>
                    <a:pt x="22" y="90"/>
                    <a:pt x="0" y="90"/>
                    <a:pt x="0" y="90"/>
                  </a:cubicBezTo>
                  <a:cubicBezTo>
                    <a:pt x="0" y="2"/>
                    <a:pt x="0" y="2"/>
                    <a:pt x="0" y="2"/>
                  </a:cubicBezTo>
                  <a:cubicBezTo>
                    <a:pt x="19" y="2"/>
                    <a:pt x="19" y="2"/>
                    <a:pt x="19"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3" name="Freeform 20"/>
            <p:cNvSpPr>
              <a:spLocks/>
            </p:cNvSpPr>
            <p:nvPr userDrawn="1"/>
          </p:nvSpPr>
          <p:spPr bwMode="auto">
            <a:xfrm>
              <a:off x="7766657" y="4864376"/>
              <a:ext cx="100211" cy="148389"/>
            </a:xfrm>
            <a:custGeom>
              <a:avLst/>
              <a:gdLst>
                <a:gd name="T0" fmla="*/ 0 w 132"/>
                <a:gd name="T1" fmla="*/ 23 h 204"/>
                <a:gd name="T2" fmla="*/ 1 w 132"/>
                <a:gd name="T3" fmla="*/ 22 h 204"/>
                <a:gd name="T4" fmla="*/ 67 w 132"/>
                <a:gd name="T5" fmla="*/ 20 h 204"/>
                <a:gd name="T6" fmla="*/ 80 w 132"/>
                <a:gd name="T7" fmla="*/ 52 h 204"/>
                <a:gd name="T8" fmla="*/ 113 w 132"/>
                <a:gd name="T9" fmla="*/ 65 h 204"/>
                <a:gd name="T10" fmla="*/ 111 w 132"/>
                <a:gd name="T11" fmla="*/ 132 h 204"/>
                <a:gd name="T12" fmla="*/ 38 w 132"/>
                <a:gd name="T13" fmla="*/ 204 h 204"/>
                <a:gd name="T14" fmla="*/ 16 w 132"/>
                <a:gd name="T15" fmla="*/ 182 h 204"/>
                <a:gd name="T16" fmla="*/ 88 w 132"/>
                <a:gd name="T17" fmla="*/ 110 h 204"/>
                <a:gd name="T18" fmla="*/ 91 w 132"/>
                <a:gd name="T19" fmla="*/ 86 h 204"/>
                <a:gd name="T20" fmla="*/ 67 w 132"/>
                <a:gd name="T21" fmla="*/ 88 h 204"/>
                <a:gd name="T22" fmla="*/ 0 w 132"/>
                <a:gd name="T23" fmla="*/ 155 h 204"/>
                <a:gd name="T24" fmla="*/ 0 w 132"/>
                <a:gd name="T25" fmla="*/ 111 h 204"/>
                <a:gd name="T26" fmla="*/ 45 w 132"/>
                <a:gd name="T27" fmla="*/ 66 h 204"/>
                <a:gd name="T28" fmla="*/ 46 w 132"/>
                <a:gd name="T29" fmla="*/ 42 h 204"/>
                <a:gd name="T30" fmla="*/ 22 w 132"/>
                <a:gd name="T31" fmla="*/ 44 h 204"/>
                <a:gd name="T32" fmla="*/ 0 w 132"/>
                <a:gd name="T33" fmla="*/ 66 h 204"/>
                <a:gd name="T34" fmla="*/ 0 w 132"/>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204">
                  <a:moveTo>
                    <a:pt x="0" y="23"/>
                  </a:moveTo>
                  <a:cubicBezTo>
                    <a:pt x="1" y="22"/>
                    <a:pt x="1" y="22"/>
                    <a:pt x="1" y="22"/>
                  </a:cubicBezTo>
                  <a:cubicBezTo>
                    <a:pt x="23" y="0"/>
                    <a:pt x="50" y="2"/>
                    <a:pt x="67" y="20"/>
                  </a:cubicBezTo>
                  <a:cubicBezTo>
                    <a:pt x="80" y="32"/>
                    <a:pt x="81" y="46"/>
                    <a:pt x="80" y="52"/>
                  </a:cubicBezTo>
                  <a:cubicBezTo>
                    <a:pt x="86" y="51"/>
                    <a:pt x="100" y="52"/>
                    <a:pt x="113" y="65"/>
                  </a:cubicBezTo>
                  <a:cubicBezTo>
                    <a:pt x="130" y="82"/>
                    <a:pt x="132" y="110"/>
                    <a:pt x="111" y="132"/>
                  </a:cubicBezTo>
                  <a:cubicBezTo>
                    <a:pt x="38" y="204"/>
                    <a:pt x="38" y="204"/>
                    <a:pt x="38" y="204"/>
                  </a:cubicBezTo>
                  <a:cubicBezTo>
                    <a:pt x="16" y="182"/>
                    <a:pt x="16" y="182"/>
                    <a:pt x="16" y="182"/>
                  </a:cubicBezTo>
                  <a:cubicBezTo>
                    <a:pt x="88" y="110"/>
                    <a:pt x="88" y="110"/>
                    <a:pt x="88" y="110"/>
                  </a:cubicBezTo>
                  <a:cubicBezTo>
                    <a:pt x="97" y="101"/>
                    <a:pt x="96" y="91"/>
                    <a:pt x="91" y="86"/>
                  </a:cubicBezTo>
                  <a:cubicBezTo>
                    <a:pt x="85" y="80"/>
                    <a:pt x="75" y="79"/>
                    <a:pt x="67" y="88"/>
                  </a:cubicBezTo>
                  <a:cubicBezTo>
                    <a:pt x="0" y="155"/>
                    <a:pt x="0" y="155"/>
                    <a:pt x="0" y="155"/>
                  </a:cubicBezTo>
                  <a:cubicBezTo>
                    <a:pt x="0" y="111"/>
                    <a:pt x="0" y="111"/>
                    <a:pt x="0" y="111"/>
                  </a:cubicBezTo>
                  <a:cubicBezTo>
                    <a:pt x="45" y="66"/>
                    <a:pt x="45" y="66"/>
                    <a:pt x="45" y="66"/>
                  </a:cubicBezTo>
                  <a:cubicBezTo>
                    <a:pt x="53" y="57"/>
                    <a:pt x="52" y="47"/>
                    <a:pt x="46" y="42"/>
                  </a:cubicBezTo>
                  <a:cubicBezTo>
                    <a:pt x="41" y="36"/>
                    <a:pt x="31" y="35"/>
                    <a:pt x="22" y="44"/>
                  </a:cubicBezTo>
                  <a:cubicBezTo>
                    <a:pt x="0" y="66"/>
                    <a:pt x="0" y="66"/>
                    <a:pt x="0" y="66"/>
                  </a:cubicBezTo>
                  <a:lnTo>
                    <a:pt x="0"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5" name="Freeform 21"/>
            <p:cNvSpPr>
              <a:spLocks noEditPoints="1"/>
            </p:cNvSpPr>
            <p:nvPr userDrawn="1"/>
          </p:nvSpPr>
          <p:spPr bwMode="auto">
            <a:xfrm>
              <a:off x="7980890" y="5040472"/>
              <a:ext cx="51390" cy="57878"/>
            </a:xfrm>
            <a:custGeom>
              <a:avLst/>
              <a:gdLst>
                <a:gd name="T0" fmla="*/ 0 w 68"/>
                <a:gd name="T1" fmla="*/ 40 h 80"/>
                <a:gd name="T2" fmla="*/ 35 w 68"/>
                <a:gd name="T3" fmla="*/ 0 h 80"/>
                <a:gd name="T4" fmla="*/ 68 w 68"/>
                <a:gd name="T5" fmla="*/ 41 h 80"/>
                <a:gd name="T6" fmla="*/ 68 w 68"/>
                <a:gd name="T7" fmla="*/ 46 h 80"/>
                <a:gd name="T8" fmla="*/ 20 w 68"/>
                <a:gd name="T9" fmla="*/ 46 h 80"/>
                <a:gd name="T10" fmla="*/ 41 w 68"/>
                <a:gd name="T11" fmla="*/ 65 h 80"/>
                <a:gd name="T12" fmla="*/ 60 w 68"/>
                <a:gd name="T13" fmla="*/ 60 h 80"/>
                <a:gd name="T14" fmla="*/ 66 w 68"/>
                <a:gd name="T15" fmla="*/ 73 h 80"/>
                <a:gd name="T16" fmla="*/ 39 w 68"/>
                <a:gd name="T17" fmla="*/ 80 h 80"/>
                <a:gd name="T18" fmla="*/ 0 w 68"/>
                <a:gd name="T19" fmla="*/ 40 h 80"/>
                <a:gd name="T20" fmla="*/ 49 w 68"/>
                <a:gd name="T21" fmla="*/ 32 h 80"/>
                <a:gd name="T22" fmla="*/ 34 w 68"/>
                <a:gd name="T23" fmla="*/ 15 h 80"/>
                <a:gd name="T24" fmla="*/ 19 w 68"/>
                <a:gd name="T25" fmla="*/ 32 h 80"/>
                <a:gd name="T26" fmla="*/ 49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3" y="0"/>
                    <a:pt x="35" y="0"/>
                  </a:cubicBezTo>
                  <a:cubicBezTo>
                    <a:pt x="56" y="0"/>
                    <a:pt x="68" y="16"/>
                    <a:pt x="68" y="41"/>
                  </a:cubicBezTo>
                  <a:cubicBezTo>
                    <a:pt x="68" y="46"/>
                    <a:pt x="68" y="46"/>
                    <a:pt x="68" y="46"/>
                  </a:cubicBezTo>
                  <a:cubicBezTo>
                    <a:pt x="20" y="46"/>
                    <a:pt x="20" y="46"/>
                    <a:pt x="20" y="46"/>
                  </a:cubicBezTo>
                  <a:cubicBezTo>
                    <a:pt x="20" y="57"/>
                    <a:pt x="28" y="65"/>
                    <a:pt x="41" y="65"/>
                  </a:cubicBezTo>
                  <a:cubicBezTo>
                    <a:pt x="49" y="65"/>
                    <a:pt x="55" y="63"/>
                    <a:pt x="60" y="60"/>
                  </a:cubicBezTo>
                  <a:cubicBezTo>
                    <a:pt x="66" y="73"/>
                    <a:pt x="66" y="73"/>
                    <a:pt x="66" y="73"/>
                  </a:cubicBezTo>
                  <a:cubicBezTo>
                    <a:pt x="58" y="78"/>
                    <a:pt x="49" y="80"/>
                    <a:pt x="39" y="80"/>
                  </a:cubicBezTo>
                  <a:cubicBezTo>
                    <a:pt x="11" y="80"/>
                    <a:pt x="0" y="61"/>
                    <a:pt x="0" y="40"/>
                  </a:cubicBezTo>
                  <a:close/>
                  <a:moveTo>
                    <a:pt x="49" y="32"/>
                  </a:moveTo>
                  <a:cubicBezTo>
                    <a:pt x="49" y="23"/>
                    <a:pt x="44" y="15"/>
                    <a:pt x="34" y="15"/>
                  </a:cubicBezTo>
                  <a:cubicBezTo>
                    <a:pt x="25" y="15"/>
                    <a:pt x="19" y="23"/>
                    <a:pt x="19" y="32"/>
                  </a:cubicBezTo>
                  <a:lnTo>
                    <a:pt x="49"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6" name="Freeform 22"/>
            <p:cNvSpPr>
              <a:spLocks/>
            </p:cNvSpPr>
            <p:nvPr userDrawn="1"/>
          </p:nvSpPr>
          <p:spPr bwMode="auto">
            <a:xfrm>
              <a:off x="8295656" y="5041088"/>
              <a:ext cx="37258" cy="56031"/>
            </a:xfrm>
            <a:custGeom>
              <a:avLst/>
              <a:gdLst>
                <a:gd name="T0" fmla="*/ 42 w 49"/>
                <a:gd name="T1" fmla="*/ 19 h 77"/>
                <a:gd name="T2" fmla="*/ 33 w 49"/>
                <a:gd name="T3" fmla="*/ 16 h 77"/>
                <a:gd name="T4" fmla="*/ 19 w 49"/>
                <a:gd name="T5" fmla="*/ 23 h 77"/>
                <a:gd name="T6" fmla="*/ 19 w 49"/>
                <a:gd name="T7" fmla="*/ 63 h 77"/>
                <a:gd name="T8" fmla="*/ 0 w 49"/>
                <a:gd name="T9" fmla="*/ 77 h 77"/>
                <a:gd name="T10" fmla="*/ 0 w 49"/>
                <a:gd name="T11" fmla="*/ 1 h 77"/>
                <a:gd name="T12" fmla="*/ 16 w 49"/>
                <a:gd name="T13" fmla="*/ 1 h 77"/>
                <a:gd name="T14" fmla="*/ 18 w 49"/>
                <a:gd name="T15" fmla="*/ 9 h 77"/>
                <a:gd name="T16" fmla="*/ 39 w 49"/>
                <a:gd name="T17" fmla="*/ 0 h 77"/>
                <a:gd name="T18" fmla="*/ 49 w 49"/>
                <a:gd name="T19" fmla="*/ 3 h 77"/>
                <a:gd name="T20" fmla="*/ 42 w 49"/>
                <a:gd name="T21"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77">
                  <a:moveTo>
                    <a:pt x="42" y="19"/>
                  </a:moveTo>
                  <a:cubicBezTo>
                    <a:pt x="39" y="17"/>
                    <a:pt x="36" y="16"/>
                    <a:pt x="33" y="16"/>
                  </a:cubicBezTo>
                  <a:cubicBezTo>
                    <a:pt x="29" y="16"/>
                    <a:pt x="24" y="18"/>
                    <a:pt x="19" y="23"/>
                  </a:cubicBezTo>
                  <a:cubicBezTo>
                    <a:pt x="19" y="2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2"/>
                    <a:pt x="32" y="0"/>
                    <a:pt x="39" y="0"/>
                  </a:cubicBezTo>
                  <a:cubicBezTo>
                    <a:pt x="42" y="0"/>
                    <a:pt x="46" y="1"/>
                    <a:pt x="49" y="3"/>
                  </a:cubicBezTo>
                  <a:lnTo>
                    <a:pt x="42" y="1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7" name="Freeform 23"/>
            <p:cNvSpPr>
              <a:spLocks noEditPoints="1"/>
            </p:cNvSpPr>
            <p:nvPr userDrawn="1"/>
          </p:nvSpPr>
          <p:spPr bwMode="auto">
            <a:xfrm>
              <a:off x="8178743" y="5040472"/>
              <a:ext cx="51712" cy="57878"/>
            </a:xfrm>
            <a:custGeom>
              <a:avLst/>
              <a:gdLst>
                <a:gd name="T0" fmla="*/ 0 w 68"/>
                <a:gd name="T1" fmla="*/ 40 h 80"/>
                <a:gd name="T2" fmla="*/ 34 w 68"/>
                <a:gd name="T3" fmla="*/ 0 h 80"/>
                <a:gd name="T4" fmla="*/ 68 w 68"/>
                <a:gd name="T5" fmla="*/ 41 h 80"/>
                <a:gd name="T6" fmla="*/ 68 w 68"/>
                <a:gd name="T7" fmla="*/ 46 h 80"/>
                <a:gd name="T8" fmla="*/ 19 w 68"/>
                <a:gd name="T9" fmla="*/ 46 h 80"/>
                <a:gd name="T10" fmla="*/ 41 w 68"/>
                <a:gd name="T11" fmla="*/ 65 h 80"/>
                <a:gd name="T12" fmla="*/ 60 w 68"/>
                <a:gd name="T13" fmla="*/ 60 h 80"/>
                <a:gd name="T14" fmla="*/ 66 w 68"/>
                <a:gd name="T15" fmla="*/ 73 h 80"/>
                <a:gd name="T16" fmla="*/ 39 w 68"/>
                <a:gd name="T17" fmla="*/ 80 h 80"/>
                <a:gd name="T18" fmla="*/ 0 w 68"/>
                <a:gd name="T19" fmla="*/ 40 h 80"/>
                <a:gd name="T20" fmla="*/ 49 w 68"/>
                <a:gd name="T21" fmla="*/ 32 h 80"/>
                <a:gd name="T22" fmla="*/ 34 w 68"/>
                <a:gd name="T23" fmla="*/ 15 h 80"/>
                <a:gd name="T24" fmla="*/ 19 w 68"/>
                <a:gd name="T25" fmla="*/ 32 h 80"/>
                <a:gd name="T26" fmla="*/ 49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3" y="0"/>
                    <a:pt x="34" y="0"/>
                  </a:cubicBezTo>
                  <a:cubicBezTo>
                    <a:pt x="56" y="0"/>
                    <a:pt x="68" y="16"/>
                    <a:pt x="68" y="41"/>
                  </a:cubicBezTo>
                  <a:cubicBezTo>
                    <a:pt x="68" y="46"/>
                    <a:pt x="68" y="46"/>
                    <a:pt x="68" y="46"/>
                  </a:cubicBezTo>
                  <a:cubicBezTo>
                    <a:pt x="19" y="46"/>
                    <a:pt x="19" y="46"/>
                    <a:pt x="19" y="46"/>
                  </a:cubicBezTo>
                  <a:cubicBezTo>
                    <a:pt x="20" y="57"/>
                    <a:pt x="28" y="65"/>
                    <a:pt x="41" y="65"/>
                  </a:cubicBezTo>
                  <a:cubicBezTo>
                    <a:pt x="49" y="65"/>
                    <a:pt x="55" y="63"/>
                    <a:pt x="60" y="60"/>
                  </a:cubicBezTo>
                  <a:cubicBezTo>
                    <a:pt x="66" y="73"/>
                    <a:pt x="66" y="73"/>
                    <a:pt x="66" y="73"/>
                  </a:cubicBezTo>
                  <a:cubicBezTo>
                    <a:pt x="58" y="78"/>
                    <a:pt x="48" y="80"/>
                    <a:pt x="39" y="80"/>
                  </a:cubicBezTo>
                  <a:cubicBezTo>
                    <a:pt x="11" y="80"/>
                    <a:pt x="0" y="61"/>
                    <a:pt x="0" y="40"/>
                  </a:cubicBezTo>
                  <a:close/>
                  <a:moveTo>
                    <a:pt x="49" y="32"/>
                  </a:moveTo>
                  <a:cubicBezTo>
                    <a:pt x="48" y="23"/>
                    <a:pt x="44" y="15"/>
                    <a:pt x="34" y="15"/>
                  </a:cubicBezTo>
                  <a:cubicBezTo>
                    <a:pt x="25" y="15"/>
                    <a:pt x="19" y="23"/>
                    <a:pt x="19" y="32"/>
                  </a:cubicBezTo>
                  <a:lnTo>
                    <a:pt x="49"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8" name="Freeform 24"/>
            <p:cNvSpPr>
              <a:spLocks noEditPoints="1"/>
            </p:cNvSpPr>
            <p:nvPr userDrawn="1"/>
          </p:nvSpPr>
          <p:spPr bwMode="auto">
            <a:xfrm>
              <a:off x="8236557" y="5040472"/>
              <a:ext cx="51390" cy="57878"/>
            </a:xfrm>
            <a:custGeom>
              <a:avLst/>
              <a:gdLst>
                <a:gd name="T0" fmla="*/ 0 w 68"/>
                <a:gd name="T1" fmla="*/ 40 h 80"/>
                <a:gd name="T2" fmla="*/ 34 w 68"/>
                <a:gd name="T3" fmla="*/ 0 h 80"/>
                <a:gd name="T4" fmla="*/ 68 w 68"/>
                <a:gd name="T5" fmla="*/ 41 h 80"/>
                <a:gd name="T6" fmla="*/ 68 w 68"/>
                <a:gd name="T7" fmla="*/ 46 h 80"/>
                <a:gd name="T8" fmla="*/ 19 w 68"/>
                <a:gd name="T9" fmla="*/ 46 h 80"/>
                <a:gd name="T10" fmla="*/ 40 w 68"/>
                <a:gd name="T11" fmla="*/ 65 h 80"/>
                <a:gd name="T12" fmla="*/ 60 w 68"/>
                <a:gd name="T13" fmla="*/ 60 h 80"/>
                <a:gd name="T14" fmla="*/ 65 w 68"/>
                <a:gd name="T15" fmla="*/ 73 h 80"/>
                <a:gd name="T16" fmla="*/ 39 w 68"/>
                <a:gd name="T17" fmla="*/ 80 h 80"/>
                <a:gd name="T18" fmla="*/ 0 w 68"/>
                <a:gd name="T19" fmla="*/ 40 h 80"/>
                <a:gd name="T20" fmla="*/ 48 w 68"/>
                <a:gd name="T21" fmla="*/ 32 h 80"/>
                <a:gd name="T22" fmla="*/ 34 w 68"/>
                <a:gd name="T23" fmla="*/ 15 h 80"/>
                <a:gd name="T24" fmla="*/ 19 w 68"/>
                <a:gd name="T25" fmla="*/ 32 h 80"/>
                <a:gd name="T26" fmla="*/ 48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2" y="0"/>
                    <a:pt x="34" y="0"/>
                  </a:cubicBezTo>
                  <a:cubicBezTo>
                    <a:pt x="55" y="0"/>
                    <a:pt x="68" y="16"/>
                    <a:pt x="68" y="41"/>
                  </a:cubicBezTo>
                  <a:cubicBezTo>
                    <a:pt x="68" y="46"/>
                    <a:pt x="68" y="46"/>
                    <a:pt x="68" y="46"/>
                  </a:cubicBezTo>
                  <a:cubicBezTo>
                    <a:pt x="19" y="46"/>
                    <a:pt x="19" y="46"/>
                    <a:pt x="19" y="46"/>
                  </a:cubicBezTo>
                  <a:cubicBezTo>
                    <a:pt x="19" y="57"/>
                    <a:pt x="28" y="65"/>
                    <a:pt x="40" y="65"/>
                  </a:cubicBezTo>
                  <a:cubicBezTo>
                    <a:pt x="48" y="65"/>
                    <a:pt x="54" y="63"/>
                    <a:pt x="60" y="60"/>
                  </a:cubicBezTo>
                  <a:cubicBezTo>
                    <a:pt x="65" y="73"/>
                    <a:pt x="65" y="73"/>
                    <a:pt x="65" y="73"/>
                  </a:cubicBezTo>
                  <a:cubicBezTo>
                    <a:pt x="57" y="78"/>
                    <a:pt x="48" y="80"/>
                    <a:pt x="39" y="80"/>
                  </a:cubicBezTo>
                  <a:cubicBezTo>
                    <a:pt x="11" y="80"/>
                    <a:pt x="0" y="61"/>
                    <a:pt x="0" y="40"/>
                  </a:cubicBezTo>
                  <a:close/>
                  <a:moveTo>
                    <a:pt x="48" y="32"/>
                  </a:moveTo>
                  <a:cubicBezTo>
                    <a:pt x="48" y="23"/>
                    <a:pt x="44" y="15"/>
                    <a:pt x="34" y="15"/>
                  </a:cubicBezTo>
                  <a:cubicBezTo>
                    <a:pt x="24" y="15"/>
                    <a:pt x="19" y="23"/>
                    <a:pt x="19" y="32"/>
                  </a:cubicBezTo>
                  <a:lnTo>
                    <a:pt x="48"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9" name="Freeform 25"/>
            <p:cNvSpPr>
              <a:spLocks/>
            </p:cNvSpPr>
            <p:nvPr userDrawn="1"/>
          </p:nvSpPr>
          <p:spPr bwMode="auto">
            <a:xfrm>
              <a:off x="8040631" y="5041088"/>
              <a:ext cx="37258" cy="56031"/>
            </a:xfrm>
            <a:custGeom>
              <a:avLst/>
              <a:gdLst>
                <a:gd name="T0" fmla="*/ 42 w 49"/>
                <a:gd name="T1" fmla="*/ 19 h 77"/>
                <a:gd name="T2" fmla="*/ 33 w 49"/>
                <a:gd name="T3" fmla="*/ 16 h 77"/>
                <a:gd name="T4" fmla="*/ 19 w 49"/>
                <a:gd name="T5" fmla="*/ 23 h 77"/>
                <a:gd name="T6" fmla="*/ 19 w 49"/>
                <a:gd name="T7" fmla="*/ 63 h 77"/>
                <a:gd name="T8" fmla="*/ 0 w 49"/>
                <a:gd name="T9" fmla="*/ 77 h 77"/>
                <a:gd name="T10" fmla="*/ 0 w 49"/>
                <a:gd name="T11" fmla="*/ 1 h 77"/>
                <a:gd name="T12" fmla="*/ 16 w 49"/>
                <a:gd name="T13" fmla="*/ 1 h 77"/>
                <a:gd name="T14" fmla="*/ 18 w 49"/>
                <a:gd name="T15" fmla="*/ 9 h 77"/>
                <a:gd name="T16" fmla="*/ 38 w 49"/>
                <a:gd name="T17" fmla="*/ 0 h 77"/>
                <a:gd name="T18" fmla="*/ 49 w 49"/>
                <a:gd name="T19" fmla="*/ 3 h 77"/>
                <a:gd name="T20" fmla="*/ 42 w 49"/>
                <a:gd name="T21"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77">
                  <a:moveTo>
                    <a:pt x="42" y="19"/>
                  </a:moveTo>
                  <a:cubicBezTo>
                    <a:pt x="39" y="17"/>
                    <a:pt x="35" y="16"/>
                    <a:pt x="33" y="16"/>
                  </a:cubicBezTo>
                  <a:cubicBezTo>
                    <a:pt x="29" y="16"/>
                    <a:pt x="24" y="18"/>
                    <a:pt x="19" y="23"/>
                  </a:cubicBezTo>
                  <a:cubicBezTo>
                    <a:pt x="19" y="2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2"/>
                    <a:pt x="31" y="0"/>
                    <a:pt x="38" y="0"/>
                  </a:cubicBezTo>
                  <a:cubicBezTo>
                    <a:pt x="42" y="0"/>
                    <a:pt x="46" y="1"/>
                    <a:pt x="49" y="3"/>
                  </a:cubicBezTo>
                  <a:lnTo>
                    <a:pt x="42" y="1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0" name="Freeform 26"/>
            <p:cNvSpPr>
              <a:spLocks/>
            </p:cNvSpPr>
            <p:nvPr userDrawn="1"/>
          </p:nvSpPr>
          <p:spPr bwMode="auto">
            <a:xfrm>
              <a:off x="8083992" y="5041088"/>
              <a:ext cx="86400" cy="56031"/>
            </a:xfrm>
            <a:custGeom>
              <a:avLst/>
              <a:gdLst>
                <a:gd name="T0" fmla="*/ 114 w 114"/>
                <a:gd name="T1" fmla="*/ 25 h 77"/>
                <a:gd name="T2" fmla="*/ 114 w 114"/>
                <a:gd name="T3" fmla="*/ 63 h 77"/>
                <a:gd name="T4" fmla="*/ 95 w 114"/>
                <a:gd name="T5" fmla="*/ 77 h 77"/>
                <a:gd name="T6" fmla="*/ 95 w 114"/>
                <a:gd name="T7" fmla="*/ 31 h 77"/>
                <a:gd name="T8" fmla="*/ 84 w 114"/>
                <a:gd name="T9" fmla="*/ 16 h 77"/>
                <a:gd name="T10" fmla="*/ 66 w 114"/>
                <a:gd name="T11" fmla="*/ 23 h 77"/>
                <a:gd name="T12" fmla="*/ 66 w 114"/>
                <a:gd name="T13" fmla="*/ 63 h 77"/>
                <a:gd name="T14" fmla="*/ 66 w 114"/>
                <a:gd name="T15" fmla="*/ 63 h 77"/>
                <a:gd name="T16" fmla="*/ 47 w 114"/>
                <a:gd name="T17" fmla="*/ 77 h 77"/>
                <a:gd name="T18" fmla="*/ 47 w 114"/>
                <a:gd name="T19" fmla="*/ 31 h 77"/>
                <a:gd name="T20" fmla="*/ 37 w 114"/>
                <a:gd name="T21" fmla="*/ 16 h 77"/>
                <a:gd name="T22" fmla="*/ 19 w 114"/>
                <a:gd name="T23" fmla="*/ 23 h 77"/>
                <a:gd name="T24" fmla="*/ 19 w 114"/>
                <a:gd name="T25" fmla="*/ 63 h 77"/>
                <a:gd name="T26" fmla="*/ 19 w 114"/>
                <a:gd name="T27" fmla="*/ 63 h 77"/>
                <a:gd name="T28" fmla="*/ 0 w 114"/>
                <a:gd name="T29" fmla="*/ 77 h 77"/>
                <a:gd name="T30" fmla="*/ 0 w 114"/>
                <a:gd name="T31" fmla="*/ 1 h 77"/>
                <a:gd name="T32" fmla="*/ 16 w 114"/>
                <a:gd name="T33" fmla="*/ 1 h 77"/>
                <a:gd name="T34" fmla="*/ 18 w 114"/>
                <a:gd name="T35" fmla="*/ 9 h 77"/>
                <a:gd name="T36" fmla="*/ 43 w 114"/>
                <a:gd name="T37" fmla="*/ 0 h 77"/>
                <a:gd name="T38" fmla="*/ 63 w 114"/>
                <a:gd name="T39" fmla="*/ 11 h 77"/>
                <a:gd name="T40" fmla="*/ 89 w 114"/>
                <a:gd name="T41" fmla="*/ 0 h 77"/>
                <a:gd name="T42" fmla="*/ 114 w 114"/>
                <a:gd name="T43" fmla="*/ 2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77">
                  <a:moveTo>
                    <a:pt x="114" y="25"/>
                  </a:moveTo>
                  <a:cubicBezTo>
                    <a:pt x="114" y="63"/>
                    <a:pt x="114" y="63"/>
                    <a:pt x="114" y="63"/>
                  </a:cubicBezTo>
                  <a:cubicBezTo>
                    <a:pt x="114" y="77"/>
                    <a:pt x="95" y="77"/>
                    <a:pt x="95" y="77"/>
                  </a:cubicBezTo>
                  <a:cubicBezTo>
                    <a:pt x="95" y="31"/>
                    <a:pt x="95" y="31"/>
                    <a:pt x="95" y="31"/>
                  </a:cubicBezTo>
                  <a:cubicBezTo>
                    <a:pt x="95" y="22"/>
                    <a:pt x="93" y="16"/>
                    <a:pt x="84" y="16"/>
                  </a:cubicBezTo>
                  <a:cubicBezTo>
                    <a:pt x="77" y="16"/>
                    <a:pt x="71" y="19"/>
                    <a:pt x="66" y="23"/>
                  </a:cubicBezTo>
                  <a:cubicBezTo>
                    <a:pt x="66" y="63"/>
                    <a:pt x="66" y="63"/>
                    <a:pt x="66" y="63"/>
                  </a:cubicBezTo>
                  <a:cubicBezTo>
                    <a:pt x="66" y="63"/>
                    <a:pt x="66" y="49"/>
                    <a:pt x="66" y="63"/>
                  </a:cubicBezTo>
                  <a:cubicBezTo>
                    <a:pt x="66" y="77"/>
                    <a:pt x="47" y="77"/>
                    <a:pt x="47" y="77"/>
                  </a:cubicBezTo>
                  <a:cubicBezTo>
                    <a:pt x="47" y="31"/>
                    <a:pt x="47" y="31"/>
                    <a:pt x="47" y="31"/>
                  </a:cubicBezTo>
                  <a:cubicBezTo>
                    <a:pt x="47" y="23"/>
                    <a:pt x="46" y="16"/>
                    <a:pt x="37" y="16"/>
                  </a:cubicBezTo>
                  <a:cubicBezTo>
                    <a:pt x="30" y="16"/>
                    <a:pt x="19" y="23"/>
                    <a:pt x="19" y="23"/>
                  </a:cubicBezTo>
                  <a:cubicBezTo>
                    <a:pt x="19" y="63"/>
                    <a:pt x="19" y="63"/>
                    <a:pt x="19" y="63"/>
                  </a:cubicBezTo>
                  <a:cubicBezTo>
                    <a:pt x="19" y="6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3"/>
                    <a:pt x="34" y="0"/>
                    <a:pt x="43" y="0"/>
                  </a:cubicBezTo>
                  <a:cubicBezTo>
                    <a:pt x="52" y="0"/>
                    <a:pt x="59" y="4"/>
                    <a:pt x="63" y="11"/>
                  </a:cubicBezTo>
                  <a:cubicBezTo>
                    <a:pt x="71" y="3"/>
                    <a:pt x="81" y="0"/>
                    <a:pt x="89" y="0"/>
                  </a:cubicBezTo>
                  <a:cubicBezTo>
                    <a:pt x="102" y="0"/>
                    <a:pt x="114" y="6"/>
                    <a:pt x="114" y="25"/>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1" name="Freeform 27"/>
            <p:cNvSpPr>
              <a:spLocks/>
            </p:cNvSpPr>
            <p:nvPr userDrawn="1"/>
          </p:nvSpPr>
          <p:spPr bwMode="auto">
            <a:xfrm>
              <a:off x="7908622" y="5019846"/>
              <a:ext cx="77407" cy="77889"/>
            </a:xfrm>
            <a:custGeom>
              <a:avLst/>
              <a:gdLst>
                <a:gd name="T0" fmla="*/ 43 w 102"/>
                <a:gd name="T1" fmla="*/ 107 h 107"/>
                <a:gd name="T2" fmla="*/ 65 w 102"/>
                <a:gd name="T3" fmla="*/ 91 h 107"/>
                <a:gd name="T4" fmla="*/ 102 w 102"/>
                <a:gd name="T5" fmla="*/ 0 h 107"/>
                <a:gd name="T6" fmla="*/ 81 w 102"/>
                <a:gd name="T7" fmla="*/ 0 h 107"/>
                <a:gd name="T8" fmla="*/ 51 w 102"/>
                <a:gd name="T9" fmla="*/ 78 h 107"/>
                <a:gd name="T10" fmla="*/ 51 w 102"/>
                <a:gd name="T11" fmla="*/ 78 h 107"/>
                <a:gd name="T12" fmla="*/ 21 w 102"/>
                <a:gd name="T13" fmla="*/ 0 h 107"/>
                <a:gd name="T14" fmla="*/ 0 w 102"/>
                <a:gd name="T15" fmla="*/ 0 h 107"/>
                <a:gd name="T16" fmla="*/ 43 w 102"/>
                <a:gd name="T17"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107">
                  <a:moveTo>
                    <a:pt x="43" y="107"/>
                  </a:moveTo>
                  <a:cubicBezTo>
                    <a:pt x="57" y="107"/>
                    <a:pt x="61" y="101"/>
                    <a:pt x="65" y="91"/>
                  </a:cubicBezTo>
                  <a:cubicBezTo>
                    <a:pt x="102" y="0"/>
                    <a:pt x="102" y="0"/>
                    <a:pt x="102" y="0"/>
                  </a:cubicBezTo>
                  <a:cubicBezTo>
                    <a:pt x="81" y="0"/>
                    <a:pt x="81" y="0"/>
                    <a:pt x="81" y="0"/>
                  </a:cubicBezTo>
                  <a:cubicBezTo>
                    <a:pt x="51" y="78"/>
                    <a:pt x="51" y="78"/>
                    <a:pt x="51" y="78"/>
                  </a:cubicBezTo>
                  <a:cubicBezTo>
                    <a:pt x="51" y="78"/>
                    <a:pt x="51" y="78"/>
                    <a:pt x="51" y="78"/>
                  </a:cubicBezTo>
                  <a:cubicBezTo>
                    <a:pt x="21" y="0"/>
                    <a:pt x="21" y="0"/>
                    <a:pt x="21" y="0"/>
                  </a:cubicBezTo>
                  <a:cubicBezTo>
                    <a:pt x="0" y="0"/>
                    <a:pt x="0" y="0"/>
                    <a:pt x="0" y="0"/>
                  </a:cubicBezTo>
                  <a:cubicBezTo>
                    <a:pt x="43" y="107"/>
                    <a:pt x="43" y="107"/>
                    <a:pt x="43" y="10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82" name="Group 81"/>
          <p:cNvGrpSpPr/>
          <p:nvPr userDrawn="1"/>
        </p:nvGrpSpPr>
        <p:grpSpPr>
          <a:xfrm>
            <a:off x="4756265" y="4843403"/>
            <a:ext cx="1123200" cy="262117"/>
            <a:chOff x="7686782" y="4354553"/>
            <a:chExt cx="1123200" cy="262117"/>
          </a:xfrm>
          <a:solidFill>
            <a:schemeClr val="bg1"/>
          </a:solidFill>
        </p:grpSpPr>
        <p:sp>
          <p:nvSpPr>
            <p:cNvPr id="83" name="Freeform 82"/>
            <p:cNvSpPr>
              <a:spLocks/>
            </p:cNvSpPr>
            <p:nvPr/>
          </p:nvSpPr>
          <p:spPr bwMode="auto">
            <a:xfrm>
              <a:off x="8637817" y="4415076"/>
              <a:ext cx="103629" cy="66531"/>
            </a:xfrm>
            <a:custGeom>
              <a:avLst/>
              <a:gdLst>
                <a:gd name="T0" fmla="*/ 50 w 62"/>
                <a:gd name="T1" fmla="*/ 33 h 42"/>
                <a:gd name="T2" fmla="*/ 39 w 62"/>
                <a:gd name="T3" fmla="*/ 40 h 42"/>
                <a:gd name="T4" fmla="*/ 31 w 62"/>
                <a:gd name="T5" fmla="*/ 13 h 42"/>
                <a:gd name="T6" fmla="*/ 30 w 62"/>
                <a:gd name="T7" fmla="*/ 13 h 42"/>
                <a:gd name="T8" fmla="*/ 24 w 62"/>
                <a:gd name="T9" fmla="*/ 33 h 42"/>
                <a:gd name="T10" fmla="*/ 14 w 62"/>
                <a:gd name="T11" fmla="*/ 40 h 42"/>
                <a:gd name="T12" fmla="*/ 0 w 62"/>
                <a:gd name="T13" fmla="*/ 0 h 42"/>
                <a:gd name="T14" fmla="*/ 10 w 62"/>
                <a:gd name="T15" fmla="*/ 0 h 42"/>
                <a:gd name="T16" fmla="*/ 18 w 62"/>
                <a:gd name="T17" fmla="*/ 27 h 42"/>
                <a:gd name="T18" fmla="*/ 18 w 62"/>
                <a:gd name="T19" fmla="*/ 27 h 42"/>
                <a:gd name="T20" fmla="*/ 27 w 62"/>
                <a:gd name="T21" fmla="*/ 0 h 42"/>
                <a:gd name="T22" fmla="*/ 35 w 62"/>
                <a:gd name="T23" fmla="*/ 0 h 42"/>
                <a:gd name="T24" fmla="*/ 43 w 62"/>
                <a:gd name="T25" fmla="*/ 27 h 42"/>
                <a:gd name="T26" fmla="*/ 44 w 62"/>
                <a:gd name="T27" fmla="*/ 27 h 42"/>
                <a:gd name="T28" fmla="*/ 52 w 62"/>
                <a:gd name="T29" fmla="*/ 0 h 42"/>
                <a:gd name="T30" fmla="*/ 62 w 62"/>
                <a:gd name="T31" fmla="*/ 0 h 42"/>
                <a:gd name="T32" fmla="*/ 50 w 62"/>
                <a:gd name="T33" fmla="*/ 3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 h="42">
                  <a:moveTo>
                    <a:pt x="50" y="33"/>
                  </a:moveTo>
                  <a:cubicBezTo>
                    <a:pt x="47" y="42"/>
                    <a:pt x="39" y="40"/>
                    <a:pt x="39" y="40"/>
                  </a:cubicBezTo>
                  <a:cubicBezTo>
                    <a:pt x="31" y="13"/>
                    <a:pt x="31" y="13"/>
                    <a:pt x="31" y="13"/>
                  </a:cubicBezTo>
                  <a:cubicBezTo>
                    <a:pt x="30" y="13"/>
                    <a:pt x="30" y="13"/>
                    <a:pt x="30" y="13"/>
                  </a:cubicBezTo>
                  <a:cubicBezTo>
                    <a:pt x="30" y="13"/>
                    <a:pt x="26" y="26"/>
                    <a:pt x="24" y="33"/>
                  </a:cubicBezTo>
                  <a:cubicBezTo>
                    <a:pt x="21" y="42"/>
                    <a:pt x="14" y="40"/>
                    <a:pt x="14" y="40"/>
                  </a:cubicBezTo>
                  <a:cubicBezTo>
                    <a:pt x="0" y="0"/>
                    <a:pt x="0" y="0"/>
                    <a:pt x="0" y="0"/>
                  </a:cubicBezTo>
                  <a:cubicBezTo>
                    <a:pt x="10" y="0"/>
                    <a:pt x="10" y="0"/>
                    <a:pt x="10" y="0"/>
                  </a:cubicBezTo>
                  <a:cubicBezTo>
                    <a:pt x="18" y="27"/>
                    <a:pt x="18" y="27"/>
                    <a:pt x="18" y="27"/>
                  </a:cubicBezTo>
                  <a:cubicBezTo>
                    <a:pt x="18" y="27"/>
                    <a:pt x="18" y="27"/>
                    <a:pt x="18" y="27"/>
                  </a:cubicBezTo>
                  <a:cubicBezTo>
                    <a:pt x="27" y="0"/>
                    <a:pt x="27" y="0"/>
                    <a:pt x="27" y="0"/>
                  </a:cubicBezTo>
                  <a:cubicBezTo>
                    <a:pt x="35" y="0"/>
                    <a:pt x="35" y="0"/>
                    <a:pt x="35" y="0"/>
                  </a:cubicBezTo>
                  <a:cubicBezTo>
                    <a:pt x="43" y="27"/>
                    <a:pt x="43" y="27"/>
                    <a:pt x="43" y="27"/>
                  </a:cubicBezTo>
                  <a:cubicBezTo>
                    <a:pt x="44" y="27"/>
                    <a:pt x="44" y="27"/>
                    <a:pt x="44" y="27"/>
                  </a:cubicBezTo>
                  <a:cubicBezTo>
                    <a:pt x="52" y="0"/>
                    <a:pt x="52" y="0"/>
                    <a:pt x="52" y="0"/>
                  </a:cubicBezTo>
                  <a:cubicBezTo>
                    <a:pt x="62" y="0"/>
                    <a:pt x="62" y="0"/>
                    <a:pt x="62" y="0"/>
                  </a:cubicBezTo>
                  <a:cubicBezTo>
                    <a:pt x="62" y="0"/>
                    <a:pt x="52" y="26"/>
                    <a:pt x="5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 name="Freeform 83"/>
            <p:cNvSpPr>
              <a:spLocks noEditPoints="1"/>
            </p:cNvSpPr>
            <p:nvPr/>
          </p:nvSpPr>
          <p:spPr bwMode="auto">
            <a:xfrm>
              <a:off x="8445631" y="4383257"/>
              <a:ext cx="65239" cy="93677"/>
            </a:xfrm>
            <a:custGeom>
              <a:avLst/>
              <a:gdLst>
                <a:gd name="T0" fmla="*/ 0 w 39"/>
                <a:gd name="T1" fmla="*/ 0 h 59"/>
                <a:gd name="T2" fmla="*/ 0 w 39"/>
                <a:gd name="T3" fmla="*/ 59 h 59"/>
                <a:gd name="T4" fmla="*/ 18 w 39"/>
                <a:gd name="T5" fmla="*/ 59 h 59"/>
                <a:gd name="T6" fmla="*/ 39 w 39"/>
                <a:gd name="T7" fmla="*/ 42 h 59"/>
                <a:gd name="T8" fmla="*/ 29 w 39"/>
                <a:gd name="T9" fmla="*/ 28 h 59"/>
                <a:gd name="T10" fmla="*/ 28 w 39"/>
                <a:gd name="T11" fmla="*/ 27 h 59"/>
                <a:gd name="T12" fmla="*/ 29 w 39"/>
                <a:gd name="T13" fmla="*/ 27 h 59"/>
                <a:gd name="T14" fmla="*/ 35 w 39"/>
                <a:gd name="T15" fmla="*/ 15 h 59"/>
                <a:gd name="T16" fmla="*/ 19 w 39"/>
                <a:gd name="T17" fmla="*/ 0 h 59"/>
                <a:gd name="T18" fmla="*/ 0 w 39"/>
                <a:gd name="T19" fmla="*/ 0 h 59"/>
                <a:gd name="T20" fmla="*/ 10 w 39"/>
                <a:gd name="T21" fmla="*/ 8 h 59"/>
                <a:gd name="T22" fmla="*/ 16 w 39"/>
                <a:gd name="T23" fmla="*/ 8 h 59"/>
                <a:gd name="T24" fmla="*/ 25 w 39"/>
                <a:gd name="T25" fmla="*/ 16 h 59"/>
                <a:gd name="T26" fmla="*/ 17 w 39"/>
                <a:gd name="T27" fmla="*/ 25 h 59"/>
                <a:gd name="T28" fmla="*/ 10 w 39"/>
                <a:gd name="T29" fmla="*/ 25 h 59"/>
                <a:gd name="T30" fmla="*/ 10 w 39"/>
                <a:gd name="T31" fmla="*/ 8 h 59"/>
                <a:gd name="T32" fmla="*/ 10 w 39"/>
                <a:gd name="T33" fmla="*/ 33 h 59"/>
                <a:gd name="T34" fmla="*/ 18 w 39"/>
                <a:gd name="T35" fmla="*/ 33 h 59"/>
                <a:gd name="T36" fmla="*/ 29 w 39"/>
                <a:gd name="T37" fmla="*/ 42 h 59"/>
                <a:gd name="T38" fmla="*/ 17 w 39"/>
                <a:gd name="T39" fmla="*/ 51 h 59"/>
                <a:gd name="T40" fmla="*/ 10 w 39"/>
                <a:gd name="T41" fmla="*/ 51 h 59"/>
                <a:gd name="T42" fmla="*/ 10 w 39"/>
                <a:gd name="T43"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9">
                  <a:moveTo>
                    <a:pt x="0" y="0"/>
                  </a:moveTo>
                  <a:cubicBezTo>
                    <a:pt x="0" y="1"/>
                    <a:pt x="0" y="59"/>
                    <a:pt x="0" y="59"/>
                  </a:cubicBezTo>
                  <a:cubicBezTo>
                    <a:pt x="1" y="59"/>
                    <a:pt x="18" y="59"/>
                    <a:pt x="18" y="59"/>
                  </a:cubicBezTo>
                  <a:cubicBezTo>
                    <a:pt x="33" y="59"/>
                    <a:pt x="39" y="51"/>
                    <a:pt x="39" y="42"/>
                  </a:cubicBezTo>
                  <a:cubicBezTo>
                    <a:pt x="39" y="35"/>
                    <a:pt x="36" y="29"/>
                    <a:pt x="29" y="28"/>
                  </a:cubicBezTo>
                  <a:cubicBezTo>
                    <a:pt x="28" y="27"/>
                    <a:pt x="28" y="27"/>
                    <a:pt x="28" y="27"/>
                  </a:cubicBezTo>
                  <a:cubicBezTo>
                    <a:pt x="29" y="27"/>
                    <a:pt x="29" y="27"/>
                    <a:pt x="29" y="27"/>
                  </a:cubicBezTo>
                  <a:cubicBezTo>
                    <a:pt x="33" y="24"/>
                    <a:pt x="35" y="20"/>
                    <a:pt x="35" y="15"/>
                  </a:cubicBezTo>
                  <a:cubicBezTo>
                    <a:pt x="35" y="8"/>
                    <a:pt x="30" y="0"/>
                    <a:pt x="19" y="0"/>
                  </a:cubicBezTo>
                  <a:cubicBezTo>
                    <a:pt x="19" y="0"/>
                    <a:pt x="1" y="0"/>
                    <a:pt x="0" y="0"/>
                  </a:cubicBezTo>
                  <a:close/>
                  <a:moveTo>
                    <a:pt x="10" y="8"/>
                  </a:moveTo>
                  <a:cubicBezTo>
                    <a:pt x="16" y="8"/>
                    <a:pt x="16" y="8"/>
                    <a:pt x="16" y="8"/>
                  </a:cubicBezTo>
                  <a:cubicBezTo>
                    <a:pt x="22" y="8"/>
                    <a:pt x="25" y="11"/>
                    <a:pt x="25" y="16"/>
                  </a:cubicBezTo>
                  <a:cubicBezTo>
                    <a:pt x="25" y="21"/>
                    <a:pt x="21" y="25"/>
                    <a:pt x="17" y="25"/>
                  </a:cubicBezTo>
                  <a:cubicBezTo>
                    <a:pt x="10" y="25"/>
                    <a:pt x="10" y="25"/>
                    <a:pt x="10" y="25"/>
                  </a:cubicBezTo>
                  <a:lnTo>
                    <a:pt x="10" y="8"/>
                  </a:lnTo>
                  <a:close/>
                  <a:moveTo>
                    <a:pt x="10" y="33"/>
                  </a:moveTo>
                  <a:cubicBezTo>
                    <a:pt x="18" y="33"/>
                    <a:pt x="18" y="33"/>
                    <a:pt x="18" y="33"/>
                  </a:cubicBezTo>
                  <a:cubicBezTo>
                    <a:pt x="25" y="33"/>
                    <a:pt x="29" y="37"/>
                    <a:pt x="29" y="42"/>
                  </a:cubicBezTo>
                  <a:cubicBezTo>
                    <a:pt x="29" y="48"/>
                    <a:pt x="25" y="51"/>
                    <a:pt x="17" y="51"/>
                  </a:cubicBezTo>
                  <a:cubicBezTo>
                    <a:pt x="10" y="51"/>
                    <a:pt x="10" y="51"/>
                    <a:pt x="10" y="51"/>
                  </a:cubicBezTo>
                  <a:lnTo>
                    <a:pt x="1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Freeform 84"/>
            <p:cNvSpPr>
              <a:spLocks noEditPoints="1"/>
            </p:cNvSpPr>
            <p:nvPr/>
          </p:nvSpPr>
          <p:spPr bwMode="auto">
            <a:xfrm>
              <a:off x="8567631" y="4413518"/>
              <a:ext cx="66888" cy="64973"/>
            </a:xfrm>
            <a:custGeom>
              <a:avLst/>
              <a:gdLst>
                <a:gd name="T0" fmla="*/ 34 w 40"/>
                <a:gd name="T1" fmla="*/ 36 h 41"/>
                <a:gd name="T2" fmla="*/ 20 w 40"/>
                <a:gd name="T3" fmla="*/ 41 h 41"/>
                <a:gd name="T4" fmla="*/ 7 w 40"/>
                <a:gd name="T5" fmla="*/ 36 h 41"/>
                <a:gd name="T6" fmla="*/ 0 w 40"/>
                <a:gd name="T7" fmla="*/ 21 h 41"/>
                <a:gd name="T8" fmla="*/ 6 w 40"/>
                <a:gd name="T9" fmla="*/ 6 h 41"/>
                <a:gd name="T10" fmla="*/ 20 w 40"/>
                <a:gd name="T11" fmla="*/ 0 h 41"/>
                <a:gd name="T12" fmla="*/ 35 w 40"/>
                <a:gd name="T13" fmla="*/ 6 h 41"/>
                <a:gd name="T14" fmla="*/ 40 w 40"/>
                <a:gd name="T15" fmla="*/ 20 h 41"/>
                <a:gd name="T16" fmla="*/ 34 w 40"/>
                <a:gd name="T17" fmla="*/ 36 h 41"/>
                <a:gd name="T18" fmla="*/ 20 w 40"/>
                <a:gd name="T19" fmla="*/ 8 h 41"/>
                <a:gd name="T20" fmla="*/ 11 w 40"/>
                <a:gd name="T21" fmla="*/ 21 h 41"/>
                <a:gd name="T22" fmla="*/ 20 w 40"/>
                <a:gd name="T23" fmla="*/ 33 h 41"/>
                <a:gd name="T24" fmla="*/ 30 w 40"/>
                <a:gd name="T25" fmla="*/ 21 h 41"/>
                <a:gd name="T26" fmla="*/ 20 w 40"/>
                <a:gd name="T27" fmla="*/ 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4" y="36"/>
                  </a:moveTo>
                  <a:cubicBezTo>
                    <a:pt x="31" y="39"/>
                    <a:pt x="26" y="41"/>
                    <a:pt x="20" y="41"/>
                  </a:cubicBezTo>
                  <a:cubicBezTo>
                    <a:pt x="15" y="41"/>
                    <a:pt x="10" y="39"/>
                    <a:pt x="7" y="36"/>
                  </a:cubicBezTo>
                  <a:cubicBezTo>
                    <a:pt x="3" y="33"/>
                    <a:pt x="0" y="27"/>
                    <a:pt x="0" y="21"/>
                  </a:cubicBezTo>
                  <a:cubicBezTo>
                    <a:pt x="0" y="15"/>
                    <a:pt x="2" y="9"/>
                    <a:pt x="6" y="6"/>
                  </a:cubicBezTo>
                  <a:cubicBezTo>
                    <a:pt x="10" y="2"/>
                    <a:pt x="14" y="0"/>
                    <a:pt x="20" y="0"/>
                  </a:cubicBezTo>
                  <a:cubicBezTo>
                    <a:pt x="26" y="0"/>
                    <a:pt x="31" y="2"/>
                    <a:pt x="35" y="6"/>
                  </a:cubicBezTo>
                  <a:cubicBezTo>
                    <a:pt x="38" y="9"/>
                    <a:pt x="40" y="14"/>
                    <a:pt x="40" y="20"/>
                  </a:cubicBezTo>
                  <a:cubicBezTo>
                    <a:pt x="40" y="26"/>
                    <a:pt x="38" y="32"/>
                    <a:pt x="34" y="36"/>
                  </a:cubicBezTo>
                  <a:close/>
                  <a:moveTo>
                    <a:pt x="20" y="8"/>
                  </a:moveTo>
                  <a:cubicBezTo>
                    <a:pt x="14" y="8"/>
                    <a:pt x="11" y="13"/>
                    <a:pt x="11" y="21"/>
                  </a:cubicBezTo>
                  <a:cubicBezTo>
                    <a:pt x="11" y="28"/>
                    <a:pt x="14" y="33"/>
                    <a:pt x="20" y="33"/>
                  </a:cubicBezTo>
                  <a:cubicBezTo>
                    <a:pt x="27" y="33"/>
                    <a:pt x="30" y="28"/>
                    <a:pt x="30" y="21"/>
                  </a:cubicBezTo>
                  <a:cubicBezTo>
                    <a:pt x="30" y="13"/>
                    <a:pt x="26" y="8"/>
                    <a:pt x="2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85"/>
            <p:cNvSpPr>
              <a:spLocks/>
            </p:cNvSpPr>
            <p:nvPr/>
          </p:nvSpPr>
          <p:spPr bwMode="auto">
            <a:xfrm>
              <a:off x="8751573" y="4413518"/>
              <a:ext cx="58409" cy="64973"/>
            </a:xfrm>
            <a:custGeom>
              <a:avLst/>
              <a:gdLst>
                <a:gd name="T0" fmla="*/ 25 w 35"/>
                <a:gd name="T1" fmla="*/ 41 h 41"/>
                <a:gd name="T2" fmla="*/ 25 w 35"/>
                <a:gd name="T3" fmla="*/ 17 h 41"/>
                <a:gd name="T4" fmla="*/ 20 w 35"/>
                <a:gd name="T5" fmla="*/ 9 h 41"/>
                <a:gd name="T6" fmla="*/ 10 w 35"/>
                <a:gd name="T7" fmla="*/ 13 h 41"/>
                <a:gd name="T8" fmla="*/ 10 w 35"/>
                <a:gd name="T9" fmla="*/ 34 h 41"/>
                <a:gd name="T10" fmla="*/ 0 w 35"/>
                <a:gd name="T11" fmla="*/ 41 h 41"/>
                <a:gd name="T12" fmla="*/ 0 w 35"/>
                <a:gd name="T13" fmla="*/ 1 h 41"/>
                <a:gd name="T14" fmla="*/ 8 w 35"/>
                <a:gd name="T15" fmla="*/ 1 h 41"/>
                <a:gd name="T16" fmla="*/ 9 w 35"/>
                <a:gd name="T17" fmla="*/ 5 h 41"/>
                <a:gd name="T18" fmla="*/ 23 w 35"/>
                <a:gd name="T19" fmla="*/ 0 h 41"/>
                <a:gd name="T20" fmla="*/ 35 w 35"/>
                <a:gd name="T21" fmla="*/ 14 h 41"/>
                <a:gd name="T22" fmla="*/ 35 w 35"/>
                <a:gd name="T23" fmla="*/ 34 h 41"/>
                <a:gd name="T24" fmla="*/ 25 w 35"/>
                <a:gd name="T25"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41">
                  <a:moveTo>
                    <a:pt x="25" y="41"/>
                  </a:moveTo>
                  <a:cubicBezTo>
                    <a:pt x="25" y="17"/>
                    <a:pt x="25" y="17"/>
                    <a:pt x="25" y="17"/>
                  </a:cubicBezTo>
                  <a:cubicBezTo>
                    <a:pt x="25" y="13"/>
                    <a:pt x="25" y="9"/>
                    <a:pt x="20" y="9"/>
                  </a:cubicBezTo>
                  <a:cubicBezTo>
                    <a:pt x="16" y="9"/>
                    <a:pt x="13" y="10"/>
                    <a:pt x="10" y="13"/>
                  </a:cubicBezTo>
                  <a:cubicBezTo>
                    <a:pt x="10" y="13"/>
                    <a:pt x="10" y="26"/>
                    <a:pt x="10" y="34"/>
                  </a:cubicBezTo>
                  <a:cubicBezTo>
                    <a:pt x="10" y="41"/>
                    <a:pt x="0" y="41"/>
                    <a:pt x="0" y="41"/>
                  </a:cubicBezTo>
                  <a:cubicBezTo>
                    <a:pt x="0" y="1"/>
                    <a:pt x="0" y="1"/>
                    <a:pt x="0" y="1"/>
                  </a:cubicBezTo>
                  <a:cubicBezTo>
                    <a:pt x="8" y="1"/>
                    <a:pt x="8" y="1"/>
                    <a:pt x="8" y="1"/>
                  </a:cubicBezTo>
                  <a:cubicBezTo>
                    <a:pt x="9" y="5"/>
                    <a:pt x="9" y="5"/>
                    <a:pt x="9" y="5"/>
                  </a:cubicBezTo>
                  <a:cubicBezTo>
                    <a:pt x="13" y="2"/>
                    <a:pt x="18" y="0"/>
                    <a:pt x="23" y="0"/>
                  </a:cubicBezTo>
                  <a:cubicBezTo>
                    <a:pt x="29" y="0"/>
                    <a:pt x="35" y="3"/>
                    <a:pt x="35" y="14"/>
                  </a:cubicBezTo>
                  <a:cubicBezTo>
                    <a:pt x="35" y="14"/>
                    <a:pt x="35" y="26"/>
                    <a:pt x="35" y="34"/>
                  </a:cubicBezTo>
                  <a:cubicBezTo>
                    <a:pt x="35" y="41"/>
                    <a:pt x="25" y="41"/>
                    <a:pt x="2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 name="Freeform 86"/>
            <p:cNvSpPr>
              <a:spLocks/>
            </p:cNvSpPr>
            <p:nvPr/>
          </p:nvSpPr>
          <p:spPr bwMode="auto">
            <a:xfrm>
              <a:off x="8522411" y="4413518"/>
              <a:ext cx="43571" cy="64973"/>
            </a:xfrm>
            <a:custGeom>
              <a:avLst/>
              <a:gdLst>
                <a:gd name="T0" fmla="*/ 23 w 26"/>
                <a:gd name="T1" fmla="*/ 10 h 41"/>
                <a:gd name="T2" fmla="*/ 18 w 26"/>
                <a:gd name="T3" fmla="*/ 9 h 41"/>
                <a:gd name="T4" fmla="*/ 11 w 26"/>
                <a:gd name="T5" fmla="*/ 12 h 41"/>
                <a:gd name="T6" fmla="*/ 11 w 26"/>
                <a:gd name="T7" fmla="*/ 34 h 41"/>
                <a:gd name="T8" fmla="*/ 0 w 26"/>
                <a:gd name="T9" fmla="*/ 41 h 41"/>
                <a:gd name="T10" fmla="*/ 0 w 26"/>
                <a:gd name="T11" fmla="*/ 1 h 41"/>
                <a:gd name="T12" fmla="*/ 9 w 26"/>
                <a:gd name="T13" fmla="*/ 1 h 41"/>
                <a:gd name="T14" fmla="*/ 10 w 26"/>
                <a:gd name="T15" fmla="*/ 5 h 41"/>
                <a:gd name="T16" fmla="*/ 21 w 26"/>
                <a:gd name="T17" fmla="*/ 0 h 41"/>
                <a:gd name="T18" fmla="*/ 26 w 26"/>
                <a:gd name="T19" fmla="*/ 2 h 41"/>
                <a:gd name="T20" fmla="*/ 23 w 26"/>
                <a:gd name="T21" fmla="*/ 1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41">
                  <a:moveTo>
                    <a:pt x="23" y="10"/>
                  </a:moveTo>
                  <a:cubicBezTo>
                    <a:pt x="21" y="9"/>
                    <a:pt x="19" y="9"/>
                    <a:pt x="18" y="9"/>
                  </a:cubicBezTo>
                  <a:cubicBezTo>
                    <a:pt x="16" y="9"/>
                    <a:pt x="13" y="10"/>
                    <a:pt x="11" y="12"/>
                  </a:cubicBezTo>
                  <a:cubicBezTo>
                    <a:pt x="11" y="12"/>
                    <a:pt x="11" y="26"/>
                    <a:pt x="11" y="34"/>
                  </a:cubicBezTo>
                  <a:cubicBezTo>
                    <a:pt x="11" y="41"/>
                    <a:pt x="0" y="41"/>
                    <a:pt x="0" y="41"/>
                  </a:cubicBezTo>
                  <a:cubicBezTo>
                    <a:pt x="0" y="1"/>
                    <a:pt x="0" y="1"/>
                    <a:pt x="0" y="1"/>
                  </a:cubicBezTo>
                  <a:cubicBezTo>
                    <a:pt x="9" y="1"/>
                    <a:pt x="9" y="1"/>
                    <a:pt x="9" y="1"/>
                  </a:cubicBezTo>
                  <a:cubicBezTo>
                    <a:pt x="10" y="5"/>
                    <a:pt x="10" y="5"/>
                    <a:pt x="10" y="5"/>
                  </a:cubicBezTo>
                  <a:cubicBezTo>
                    <a:pt x="14" y="2"/>
                    <a:pt x="17" y="0"/>
                    <a:pt x="21" y="0"/>
                  </a:cubicBezTo>
                  <a:cubicBezTo>
                    <a:pt x="23" y="0"/>
                    <a:pt x="25" y="1"/>
                    <a:pt x="26" y="2"/>
                  </a:cubicBezTo>
                  <a:lnTo>
                    <a:pt x="23"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 name="Freeform 87"/>
            <p:cNvSpPr>
              <a:spLocks/>
            </p:cNvSpPr>
            <p:nvPr/>
          </p:nvSpPr>
          <p:spPr bwMode="auto">
            <a:xfrm>
              <a:off x="7787114" y="4354553"/>
              <a:ext cx="101745" cy="147747"/>
            </a:xfrm>
            <a:custGeom>
              <a:avLst/>
              <a:gdLst>
                <a:gd name="T0" fmla="*/ 0 w 61"/>
                <a:gd name="T1" fmla="*/ 11 h 93"/>
                <a:gd name="T2" fmla="*/ 1 w 61"/>
                <a:gd name="T3" fmla="*/ 10 h 93"/>
                <a:gd name="T4" fmla="*/ 31 w 61"/>
                <a:gd name="T5" fmla="*/ 9 h 93"/>
                <a:gd name="T6" fmla="*/ 37 w 61"/>
                <a:gd name="T7" fmla="*/ 24 h 93"/>
                <a:gd name="T8" fmla="*/ 52 w 61"/>
                <a:gd name="T9" fmla="*/ 30 h 93"/>
                <a:gd name="T10" fmla="*/ 51 w 61"/>
                <a:gd name="T11" fmla="*/ 60 h 93"/>
                <a:gd name="T12" fmla="*/ 18 w 61"/>
                <a:gd name="T13" fmla="*/ 93 h 93"/>
                <a:gd name="T14" fmla="*/ 8 w 61"/>
                <a:gd name="T15" fmla="*/ 83 h 93"/>
                <a:gd name="T16" fmla="*/ 41 w 61"/>
                <a:gd name="T17" fmla="*/ 50 h 93"/>
                <a:gd name="T18" fmla="*/ 42 w 61"/>
                <a:gd name="T19" fmla="*/ 39 h 93"/>
                <a:gd name="T20" fmla="*/ 31 w 61"/>
                <a:gd name="T21" fmla="*/ 40 h 93"/>
                <a:gd name="T22" fmla="*/ 0 w 61"/>
                <a:gd name="T23" fmla="*/ 70 h 93"/>
                <a:gd name="T24" fmla="*/ 0 w 61"/>
                <a:gd name="T25" fmla="*/ 50 h 93"/>
                <a:gd name="T26" fmla="*/ 21 w 61"/>
                <a:gd name="T27" fmla="*/ 30 h 93"/>
                <a:gd name="T28" fmla="*/ 22 w 61"/>
                <a:gd name="T29" fmla="*/ 19 h 93"/>
                <a:gd name="T30" fmla="*/ 11 w 61"/>
                <a:gd name="T31" fmla="*/ 20 h 93"/>
                <a:gd name="T32" fmla="*/ 0 w 61"/>
                <a:gd name="T33" fmla="*/ 30 h 93"/>
                <a:gd name="T34" fmla="*/ 0 w 61"/>
                <a:gd name="T35" fmla="*/ 1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 h="93">
                  <a:moveTo>
                    <a:pt x="0" y="11"/>
                  </a:moveTo>
                  <a:cubicBezTo>
                    <a:pt x="1" y="10"/>
                    <a:pt x="1" y="10"/>
                    <a:pt x="1" y="10"/>
                  </a:cubicBezTo>
                  <a:cubicBezTo>
                    <a:pt x="11" y="0"/>
                    <a:pt x="23" y="1"/>
                    <a:pt x="31" y="9"/>
                  </a:cubicBezTo>
                  <a:cubicBezTo>
                    <a:pt x="37" y="15"/>
                    <a:pt x="37" y="21"/>
                    <a:pt x="37" y="24"/>
                  </a:cubicBezTo>
                  <a:cubicBezTo>
                    <a:pt x="40" y="24"/>
                    <a:pt x="46" y="24"/>
                    <a:pt x="52" y="30"/>
                  </a:cubicBezTo>
                  <a:cubicBezTo>
                    <a:pt x="60" y="38"/>
                    <a:pt x="61" y="50"/>
                    <a:pt x="51" y="60"/>
                  </a:cubicBezTo>
                  <a:cubicBezTo>
                    <a:pt x="18" y="93"/>
                    <a:pt x="18" y="93"/>
                    <a:pt x="18" y="93"/>
                  </a:cubicBezTo>
                  <a:cubicBezTo>
                    <a:pt x="8" y="83"/>
                    <a:pt x="8" y="83"/>
                    <a:pt x="8" y="83"/>
                  </a:cubicBezTo>
                  <a:cubicBezTo>
                    <a:pt x="41" y="50"/>
                    <a:pt x="41" y="50"/>
                    <a:pt x="41" y="50"/>
                  </a:cubicBezTo>
                  <a:cubicBezTo>
                    <a:pt x="45" y="46"/>
                    <a:pt x="44" y="42"/>
                    <a:pt x="42" y="39"/>
                  </a:cubicBezTo>
                  <a:cubicBezTo>
                    <a:pt x="39" y="37"/>
                    <a:pt x="35" y="36"/>
                    <a:pt x="31" y="40"/>
                  </a:cubicBezTo>
                  <a:cubicBezTo>
                    <a:pt x="0" y="70"/>
                    <a:pt x="0" y="70"/>
                    <a:pt x="0" y="70"/>
                  </a:cubicBezTo>
                  <a:cubicBezTo>
                    <a:pt x="0" y="50"/>
                    <a:pt x="0" y="50"/>
                    <a:pt x="0" y="50"/>
                  </a:cubicBezTo>
                  <a:cubicBezTo>
                    <a:pt x="21" y="30"/>
                    <a:pt x="21" y="30"/>
                    <a:pt x="21" y="30"/>
                  </a:cubicBezTo>
                  <a:cubicBezTo>
                    <a:pt x="25" y="26"/>
                    <a:pt x="24" y="22"/>
                    <a:pt x="22" y="19"/>
                  </a:cubicBezTo>
                  <a:cubicBezTo>
                    <a:pt x="19" y="17"/>
                    <a:pt x="15" y="16"/>
                    <a:pt x="11" y="20"/>
                  </a:cubicBezTo>
                  <a:cubicBezTo>
                    <a:pt x="0" y="30"/>
                    <a:pt x="0" y="30"/>
                    <a:pt x="0" y="30"/>
                  </a:cubicBezTo>
                  <a:lnTo>
                    <a:pt x="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 name="Freeform 88"/>
            <p:cNvSpPr>
              <a:spLocks/>
            </p:cNvSpPr>
            <p:nvPr/>
          </p:nvSpPr>
          <p:spPr bwMode="auto">
            <a:xfrm>
              <a:off x="7686782" y="4354553"/>
              <a:ext cx="100332" cy="147747"/>
            </a:xfrm>
            <a:custGeom>
              <a:avLst/>
              <a:gdLst>
                <a:gd name="T0" fmla="*/ 60 w 60"/>
                <a:gd name="T1" fmla="*/ 11 h 93"/>
                <a:gd name="T2" fmla="*/ 60 w 60"/>
                <a:gd name="T3" fmla="*/ 10 h 93"/>
                <a:gd name="T4" fmla="*/ 30 w 60"/>
                <a:gd name="T5" fmla="*/ 9 h 93"/>
                <a:gd name="T6" fmla="*/ 24 w 60"/>
                <a:gd name="T7" fmla="*/ 24 h 93"/>
                <a:gd name="T8" fmla="*/ 9 w 60"/>
                <a:gd name="T9" fmla="*/ 30 h 93"/>
                <a:gd name="T10" fmla="*/ 10 w 60"/>
                <a:gd name="T11" fmla="*/ 60 h 93"/>
                <a:gd name="T12" fmla="*/ 43 w 60"/>
                <a:gd name="T13" fmla="*/ 93 h 93"/>
                <a:gd name="T14" fmla="*/ 53 w 60"/>
                <a:gd name="T15" fmla="*/ 83 h 93"/>
                <a:gd name="T16" fmla="*/ 20 w 60"/>
                <a:gd name="T17" fmla="*/ 50 h 93"/>
                <a:gd name="T18" fmla="*/ 19 w 60"/>
                <a:gd name="T19" fmla="*/ 39 h 93"/>
                <a:gd name="T20" fmla="*/ 30 w 60"/>
                <a:gd name="T21" fmla="*/ 40 h 93"/>
                <a:gd name="T22" fmla="*/ 60 w 60"/>
                <a:gd name="T23" fmla="*/ 70 h 93"/>
                <a:gd name="T24" fmla="*/ 60 w 60"/>
                <a:gd name="T25" fmla="*/ 50 h 93"/>
                <a:gd name="T26" fmla="*/ 40 w 60"/>
                <a:gd name="T27" fmla="*/ 30 h 93"/>
                <a:gd name="T28" fmla="*/ 39 w 60"/>
                <a:gd name="T29" fmla="*/ 19 h 93"/>
                <a:gd name="T30" fmla="*/ 50 w 60"/>
                <a:gd name="T31" fmla="*/ 20 h 93"/>
                <a:gd name="T32" fmla="*/ 60 w 60"/>
                <a:gd name="T33" fmla="*/ 30 h 93"/>
                <a:gd name="T34" fmla="*/ 60 w 60"/>
                <a:gd name="T35" fmla="*/ 1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93">
                  <a:moveTo>
                    <a:pt x="60" y="11"/>
                  </a:moveTo>
                  <a:cubicBezTo>
                    <a:pt x="60" y="10"/>
                    <a:pt x="60" y="10"/>
                    <a:pt x="60" y="10"/>
                  </a:cubicBezTo>
                  <a:cubicBezTo>
                    <a:pt x="50" y="0"/>
                    <a:pt x="37" y="1"/>
                    <a:pt x="30" y="9"/>
                  </a:cubicBezTo>
                  <a:cubicBezTo>
                    <a:pt x="24" y="15"/>
                    <a:pt x="23" y="21"/>
                    <a:pt x="24" y="24"/>
                  </a:cubicBezTo>
                  <a:cubicBezTo>
                    <a:pt x="21" y="24"/>
                    <a:pt x="15" y="24"/>
                    <a:pt x="9" y="30"/>
                  </a:cubicBezTo>
                  <a:cubicBezTo>
                    <a:pt x="1" y="38"/>
                    <a:pt x="0" y="50"/>
                    <a:pt x="10" y="60"/>
                  </a:cubicBezTo>
                  <a:cubicBezTo>
                    <a:pt x="43" y="93"/>
                    <a:pt x="43" y="93"/>
                    <a:pt x="43" y="93"/>
                  </a:cubicBezTo>
                  <a:cubicBezTo>
                    <a:pt x="53" y="83"/>
                    <a:pt x="53" y="83"/>
                    <a:pt x="53" y="83"/>
                  </a:cubicBezTo>
                  <a:cubicBezTo>
                    <a:pt x="20" y="50"/>
                    <a:pt x="20" y="50"/>
                    <a:pt x="20" y="50"/>
                  </a:cubicBezTo>
                  <a:cubicBezTo>
                    <a:pt x="16" y="46"/>
                    <a:pt x="17" y="42"/>
                    <a:pt x="19" y="39"/>
                  </a:cubicBezTo>
                  <a:cubicBezTo>
                    <a:pt x="22" y="37"/>
                    <a:pt x="26" y="36"/>
                    <a:pt x="30" y="40"/>
                  </a:cubicBezTo>
                  <a:cubicBezTo>
                    <a:pt x="60" y="70"/>
                    <a:pt x="60" y="70"/>
                    <a:pt x="60" y="70"/>
                  </a:cubicBezTo>
                  <a:cubicBezTo>
                    <a:pt x="60" y="50"/>
                    <a:pt x="60" y="50"/>
                    <a:pt x="60" y="50"/>
                  </a:cubicBezTo>
                  <a:cubicBezTo>
                    <a:pt x="40" y="30"/>
                    <a:pt x="40" y="30"/>
                    <a:pt x="40" y="30"/>
                  </a:cubicBezTo>
                  <a:cubicBezTo>
                    <a:pt x="36" y="26"/>
                    <a:pt x="37" y="22"/>
                    <a:pt x="39" y="19"/>
                  </a:cubicBezTo>
                  <a:cubicBezTo>
                    <a:pt x="42" y="17"/>
                    <a:pt x="46" y="16"/>
                    <a:pt x="50" y="20"/>
                  </a:cubicBezTo>
                  <a:cubicBezTo>
                    <a:pt x="60" y="30"/>
                    <a:pt x="60" y="30"/>
                    <a:pt x="60" y="30"/>
                  </a:cubicBezTo>
                  <a:lnTo>
                    <a:pt x="60" y="11"/>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90" name="Freeform 89"/>
            <p:cNvSpPr>
              <a:spLocks/>
            </p:cNvSpPr>
            <p:nvPr/>
          </p:nvSpPr>
          <p:spPr bwMode="auto">
            <a:xfrm>
              <a:off x="8141337" y="4415076"/>
              <a:ext cx="103629" cy="66531"/>
            </a:xfrm>
            <a:custGeom>
              <a:avLst/>
              <a:gdLst>
                <a:gd name="T0" fmla="*/ 50 w 62"/>
                <a:gd name="T1" fmla="*/ 33 h 42"/>
                <a:gd name="T2" fmla="*/ 40 w 62"/>
                <a:gd name="T3" fmla="*/ 40 h 42"/>
                <a:gd name="T4" fmla="*/ 31 w 62"/>
                <a:gd name="T5" fmla="*/ 13 h 42"/>
                <a:gd name="T6" fmla="*/ 30 w 62"/>
                <a:gd name="T7" fmla="*/ 13 h 42"/>
                <a:gd name="T8" fmla="*/ 24 w 62"/>
                <a:gd name="T9" fmla="*/ 33 h 42"/>
                <a:gd name="T10" fmla="*/ 14 w 62"/>
                <a:gd name="T11" fmla="*/ 40 h 42"/>
                <a:gd name="T12" fmla="*/ 0 w 62"/>
                <a:gd name="T13" fmla="*/ 0 h 42"/>
                <a:gd name="T14" fmla="*/ 10 w 62"/>
                <a:gd name="T15" fmla="*/ 0 h 42"/>
                <a:gd name="T16" fmla="*/ 18 w 62"/>
                <a:gd name="T17" fmla="*/ 27 h 42"/>
                <a:gd name="T18" fmla="*/ 18 w 62"/>
                <a:gd name="T19" fmla="*/ 27 h 42"/>
                <a:gd name="T20" fmla="*/ 27 w 62"/>
                <a:gd name="T21" fmla="*/ 0 h 42"/>
                <a:gd name="T22" fmla="*/ 35 w 62"/>
                <a:gd name="T23" fmla="*/ 0 h 42"/>
                <a:gd name="T24" fmla="*/ 44 w 62"/>
                <a:gd name="T25" fmla="*/ 27 h 42"/>
                <a:gd name="T26" fmla="*/ 44 w 62"/>
                <a:gd name="T27" fmla="*/ 27 h 42"/>
                <a:gd name="T28" fmla="*/ 52 w 62"/>
                <a:gd name="T29" fmla="*/ 0 h 42"/>
                <a:gd name="T30" fmla="*/ 62 w 62"/>
                <a:gd name="T31" fmla="*/ 0 h 42"/>
                <a:gd name="T32" fmla="*/ 50 w 62"/>
                <a:gd name="T33" fmla="*/ 3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 h="42">
                  <a:moveTo>
                    <a:pt x="50" y="33"/>
                  </a:moveTo>
                  <a:cubicBezTo>
                    <a:pt x="47" y="42"/>
                    <a:pt x="40" y="40"/>
                    <a:pt x="40" y="40"/>
                  </a:cubicBezTo>
                  <a:cubicBezTo>
                    <a:pt x="31" y="13"/>
                    <a:pt x="31" y="13"/>
                    <a:pt x="31" y="13"/>
                  </a:cubicBezTo>
                  <a:cubicBezTo>
                    <a:pt x="30" y="13"/>
                    <a:pt x="30" y="13"/>
                    <a:pt x="30" y="13"/>
                  </a:cubicBezTo>
                  <a:cubicBezTo>
                    <a:pt x="30" y="13"/>
                    <a:pt x="26" y="26"/>
                    <a:pt x="24" y="33"/>
                  </a:cubicBezTo>
                  <a:cubicBezTo>
                    <a:pt x="21" y="42"/>
                    <a:pt x="14" y="40"/>
                    <a:pt x="14" y="40"/>
                  </a:cubicBezTo>
                  <a:cubicBezTo>
                    <a:pt x="0" y="0"/>
                    <a:pt x="0" y="0"/>
                    <a:pt x="0" y="0"/>
                  </a:cubicBezTo>
                  <a:cubicBezTo>
                    <a:pt x="10" y="0"/>
                    <a:pt x="10" y="0"/>
                    <a:pt x="10" y="0"/>
                  </a:cubicBezTo>
                  <a:cubicBezTo>
                    <a:pt x="18" y="27"/>
                    <a:pt x="18" y="27"/>
                    <a:pt x="18" y="27"/>
                  </a:cubicBezTo>
                  <a:cubicBezTo>
                    <a:pt x="18" y="27"/>
                    <a:pt x="18" y="27"/>
                    <a:pt x="18" y="27"/>
                  </a:cubicBezTo>
                  <a:cubicBezTo>
                    <a:pt x="27" y="0"/>
                    <a:pt x="27" y="0"/>
                    <a:pt x="27" y="0"/>
                  </a:cubicBezTo>
                  <a:cubicBezTo>
                    <a:pt x="35" y="0"/>
                    <a:pt x="35" y="0"/>
                    <a:pt x="35" y="0"/>
                  </a:cubicBezTo>
                  <a:cubicBezTo>
                    <a:pt x="44" y="27"/>
                    <a:pt x="44" y="27"/>
                    <a:pt x="44" y="27"/>
                  </a:cubicBezTo>
                  <a:cubicBezTo>
                    <a:pt x="44" y="27"/>
                    <a:pt x="44" y="27"/>
                    <a:pt x="44" y="27"/>
                  </a:cubicBezTo>
                  <a:cubicBezTo>
                    <a:pt x="52" y="0"/>
                    <a:pt x="52" y="0"/>
                    <a:pt x="52" y="0"/>
                  </a:cubicBezTo>
                  <a:cubicBezTo>
                    <a:pt x="62" y="0"/>
                    <a:pt x="62" y="0"/>
                    <a:pt x="62" y="0"/>
                  </a:cubicBezTo>
                  <a:cubicBezTo>
                    <a:pt x="62" y="0"/>
                    <a:pt x="53" y="26"/>
                    <a:pt x="50" y="33"/>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91" name="Freeform 90"/>
            <p:cNvSpPr>
              <a:spLocks noEditPoints="1"/>
            </p:cNvSpPr>
            <p:nvPr/>
          </p:nvSpPr>
          <p:spPr bwMode="auto">
            <a:xfrm>
              <a:off x="8246615" y="4413518"/>
              <a:ext cx="58645" cy="64973"/>
            </a:xfrm>
            <a:custGeom>
              <a:avLst/>
              <a:gdLst>
                <a:gd name="T0" fmla="*/ 27 w 35"/>
                <a:gd name="T1" fmla="*/ 41 h 41"/>
                <a:gd name="T2" fmla="*/ 25 w 35"/>
                <a:gd name="T3" fmla="*/ 37 h 41"/>
                <a:gd name="T4" fmla="*/ 13 w 35"/>
                <a:gd name="T5" fmla="*/ 41 h 41"/>
                <a:gd name="T6" fmla="*/ 0 w 35"/>
                <a:gd name="T7" fmla="*/ 29 h 41"/>
                <a:gd name="T8" fmla="*/ 17 w 35"/>
                <a:gd name="T9" fmla="*/ 16 h 41"/>
                <a:gd name="T10" fmla="*/ 24 w 35"/>
                <a:gd name="T11" fmla="*/ 15 h 41"/>
                <a:gd name="T12" fmla="*/ 24 w 35"/>
                <a:gd name="T13" fmla="*/ 14 h 41"/>
                <a:gd name="T14" fmla="*/ 16 w 35"/>
                <a:gd name="T15" fmla="*/ 8 h 41"/>
                <a:gd name="T16" fmla="*/ 6 w 35"/>
                <a:gd name="T17" fmla="*/ 11 h 41"/>
                <a:gd name="T18" fmla="*/ 3 w 35"/>
                <a:gd name="T19" fmla="*/ 4 h 41"/>
                <a:gd name="T20" fmla="*/ 18 w 35"/>
                <a:gd name="T21" fmla="*/ 0 h 41"/>
                <a:gd name="T22" fmla="*/ 34 w 35"/>
                <a:gd name="T23" fmla="*/ 14 h 41"/>
                <a:gd name="T24" fmla="*/ 34 w 35"/>
                <a:gd name="T25" fmla="*/ 30 h 41"/>
                <a:gd name="T26" fmla="*/ 35 w 35"/>
                <a:gd name="T27" fmla="*/ 41 h 41"/>
                <a:gd name="T28" fmla="*/ 27 w 35"/>
                <a:gd name="T29" fmla="*/ 41 h 41"/>
                <a:gd name="T30" fmla="*/ 24 w 35"/>
                <a:gd name="T31" fmla="*/ 22 h 41"/>
                <a:gd name="T32" fmla="*/ 18 w 35"/>
                <a:gd name="T33" fmla="*/ 22 h 41"/>
                <a:gd name="T34" fmla="*/ 10 w 35"/>
                <a:gd name="T35" fmla="*/ 28 h 41"/>
                <a:gd name="T36" fmla="*/ 17 w 35"/>
                <a:gd name="T37" fmla="*/ 33 h 41"/>
                <a:gd name="T38" fmla="*/ 24 w 35"/>
                <a:gd name="T39" fmla="*/ 31 h 41"/>
                <a:gd name="T40" fmla="*/ 24 w 35"/>
                <a:gd name="T41" fmla="*/ 2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 h="41">
                  <a:moveTo>
                    <a:pt x="27" y="41"/>
                  </a:moveTo>
                  <a:cubicBezTo>
                    <a:pt x="25" y="37"/>
                    <a:pt x="25" y="37"/>
                    <a:pt x="25" y="37"/>
                  </a:cubicBezTo>
                  <a:cubicBezTo>
                    <a:pt x="22" y="39"/>
                    <a:pt x="18" y="41"/>
                    <a:pt x="13" y="41"/>
                  </a:cubicBezTo>
                  <a:cubicBezTo>
                    <a:pt x="6" y="41"/>
                    <a:pt x="0" y="36"/>
                    <a:pt x="0" y="29"/>
                  </a:cubicBezTo>
                  <a:cubicBezTo>
                    <a:pt x="0" y="20"/>
                    <a:pt x="7" y="16"/>
                    <a:pt x="17" y="16"/>
                  </a:cubicBezTo>
                  <a:cubicBezTo>
                    <a:pt x="24" y="15"/>
                    <a:pt x="24" y="15"/>
                    <a:pt x="24" y="15"/>
                  </a:cubicBezTo>
                  <a:cubicBezTo>
                    <a:pt x="24" y="15"/>
                    <a:pt x="24" y="15"/>
                    <a:pt x="24" y="14"/>
                  </a:cubicBezTo>
                  <a:cubicBezTo>
                    <a:pt x="24" y="10"/>
                    <a:pt x="21" y="8"/>
                    <a:pt x="16" y="8"/>
                  </a:cubicBezTo>
                  <a:cubicBezTo>
                    <a:pt x="12" y="8"/>
                    <a:pt x="9" y="9"/>
                    <a:pt x="6" y="11"/>
                  </a:cubicBezTo>
                  <a:cubicBezTo>
                    <a:pt x="3" y="4"/>
                    <a:pt x="3" y="4"/>
                    <a:pt x="3" y="4"/>
                  </a:cubicBezTo>
                  <a:cubicBezTo>
                    <a:pt x="8" y="1"/>
                    <a:pt x="13" y="0"/>
                    <a:pt x="18" y="0"/>
                  </a:cubicBezTo>
                  <a:cubicBezTo>
                    <a:pt x="28" y="0"/>
                    <a:pt x="34" y="4"/>
                    <a:pt x="34" y="14"/>
                  </a:cubicBezTo>
                  <a:cubicBezTo>
                    <a:pt x="34" y="30"/>
                    <a:pt x="34" y="30"/>
                    <a:pt x="34" y="30"/>
                  </a:cubicBezTo>
                  <a:cubicBezTo>
                    <a:pt x="34" y="36"/>
                    <a:pt x="34" y="39"/>
                    <a:pt x="35" y="41"/>
                  </a:cubicBezTo>
                  <a:lnTo>
                    <a:pt x="27" y="41"/>
                  </a:lnTo>
                  <a:close/>
                  <a:moveTo>
                    <a:pt x="24" y="22"/>
                  </a:moveTo>
                  <a:cubicBezTo>
                    <a:pt x="18" y="22"/>
                    <a:pt x="18" y="22"/>
                    <a:pt x="18" y="22"/>
                  </a:cubicBezTo>
                  <a:cubicBezTo>
                    <a:pt x="13" y="23"/>
                    <a:pt x="10" y="24"/>
                    <a:pt x="10" y="28"/>
                  </a:cubicBezTo>
                  <a:cubicBezTo>
                    <a:pt x="10" y="31"/>
                    <a:pt x="13" y="33"/>
                    <a:pt x="17" y="33"/>
                  </a:cubicBezTo>
                  <a:cubicBezTo>
                    <a:pt x="20" y="33"/>
                    <a:pt x="23" y="32"/>
                    <a:pt x="24" y="31"/>
                  </a:cubicBezTo>
                  <a:lnTo>
                    <a:pt x="24" y="22"/>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92" name="Freeform 91"/>
            <p:cNvSpPr>
              <a:spLocks noEditPoints="1"/>
            </p:cNvSpPr>
            <p:nvPr/>
          </p:nvSpPr>
          <p:spPr bwMode="auto">
            <a:xfrm>
              <a:off x="8363669" y="4383257"/>
              <a:ext cx="63591" cy="95234"/>
            </a:xfrm>
            <a:custGeom>
              <a:avLst/>
              <a:gdLst>
                <a:gd name="T0" fmla="*/ 22 w 38"/>
                <a:gd name="T1" fmla="*/ 60 h 60"/>
                <a:gd name="T2" fmla="*/ 0 w 38"/>
                <a:gd name="T3" fmla="*/ 40 h 60"/>
                <a:gd name="T4" fmla="*/ 22 w 38"/>
                <a:gd name="T5" fmla="*/ 19 h 60"/>
                <a:gd name="T6" fmla="*/ 27 w 38"/>
                <a:gd name="T7" fmla="*/ 19 h 60"/>
                <a:gd name="T8" fmla="*/ 28 w 38"/>
                <a:gd name="T9" fmla="*/ 0 h 60"/>
                <a:gd name="T10" fmla="*/ 38 w 38"/>
                <a:gd name="T11" fmla="*/ 0 h 60"/>
                <a:gd name="T12" fmla="*/ 37 w 38"/>
                <a:gd name="T13" fmla="*/ 57 h 60"/>
                <a:gd name="T14" fmla="*/ 22 w 38"/>
                <a:gd name="T15" fmla="*/ 60 h 60"/>
                <a:gd name="T16" fmla="*/ 27 w 38"/>
                <a:gd name="T17" fmla="*/ 27 h 60"/>
                <a:gd name="T18" fmla="*/ 23 w 38"/>
                <a:gd name="T19" fmla="*/ 27 h 60"/>
                <a:gd name="T20" fmla="*/ 10 w 38"/>
                <a:gd name="T21" fmla="*/ 39 h 60"/>
                <a:gd name="T22" fmla="*/ 23 w 38"/>
                <a:gd name="T23" fmla="*/ 52 h 60"/>
                <a:gd name="T24" fmla="*/ 27 w 38"/>
                <a:gd name="T25" fmla="*/ 51 h 60"/>
                <a:gd name="T26" fmla="*/ 27 w 38"/>
                <a:gd name="T27" fmla="*/ 2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60">
                  <a:moveTo>
                    <a:pt x="22" y="60"/>
                  </a:moveTo>
                  <a:cubicBezTo>
                    <a:pt x="10" y="60"/>
                    <a:pt x="0" y="53"/>
                    <a:pt x="0" y="40"/>
                  </a:cubicBezTo>
                  <a:cubicBezTo>
                    <a:pt x="0" y="28"/>
                    <a:pt x="9" y="19"/>
                    <a:pt x="22" y="19"/>
                  </a:cubicBezTo>
                  <a:cubicBezTo>
                    <a:pt x="24" y="19"/>
                    <a:pt x="26" y="19"/>
                    <a:pt x="27" y="19"/>
                  </a:cubicBezTo>
                  <a:cubicBezTo>
                    <a:pt x="28" y="0"/>
                    <a:pt x="28" y="0"/>
                    <a:pt x="28" y="0"/>
                  </a:cubicBezTo>
                  <a:cubicBezTo>
                    <a:pt x="38" y="0"/>
                    <a:pt x="38" y="0"/>
                    <a:pt x="38" y="0"/>
                  </a:cubicBezTo>
                  <a:cubicBezTo>
                    <a:pt x="37" y="57"/>
                    <a:pt x="37" y="57"/>
                    <a:pt x="37" y="57"/>
                  </a:cubicBezTo>
                  <a:cubicBezTo>
                    <a:pt x="34" y="59"/>
                    <a:pt x="29" y="60"/>
                    <a:pt x="22" y="60"/>
                  </a:cubicBezTo>
                  <a:close/>
                  <a:moveTo>
                    <a:pt x="27" y="27"/>
                  </a:moveTo>
                  <a:cubicBezTo>
                    <a:pt x="26" y="27"/>
                    <a:pt x="25" y="27"/>
                    <a:pt x="23" y="27"/>
                  </a:cubicBezTo>
                  <a:cubicBezTo>
                    <a:pt x="16" y="27"/>
                    <a:pt x="10" y="32"/>
                    <a:pt x="10" y="39"/>
                  </a:cubicBezTo>
                  <a:cubicBezTo>
                    <a:pt x="10" y="47"/>
                    <a:pt x="15" y="52"/>
                    <a:pt x="23" y="52"/>
                  </a:cubicBezTo>
                  <a:cubicBezTo>
                    <a:pt x="24" y="52"/>
                    <a:pt x="26" y="52"/>
                    <a:pt x="27" y="51"/>
                  </a:cubicBezTo>
                  <a:lnTo>
                    <a:pt x="27" y="2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93" name="Freeform 92"/>
            <p:cNvSpPr>
              <a:spLocks/>
            </p:cNvSpPr>
            <p:nvPr/>
          </p:nvSpPr>
          <p:spPr bwMode="auto">
            <a:xfrm>
              <a:off x="8114724" y="4383257"/>
              <a:ext cx="16722" cy="95234"/>
            </a:xfrm>
            <a:custGeom>
              <a:avLst/>
              <a:gdLst>
                <a:gd name="T0" fmla="*/ 10 w 10"/>
                <a:gd name="T1" fmla="*/ 53 h 60"/>
                <a:gd name="T2" fmla="*/ 0 w 10"/>
                <a:gd name="T3" fmla="*/ 60 h 60"/>
                <a:gd name="T4" fmla="*/ 0 w 10"/>
                <a:gd name="T5" fmla="*/ 0 h 60"/>
                <a:gd name="T6" fmla="*/ 10 w 10"/>
                <a:gd name="T7" fmla="*/ 0 h 60"/>
                <a:gd name="T8" fmla="*/ 10 w 10"/>
                <a:gd name="T9" fmla="*/ 53 h 60"/>
              </a:gdLst>
              <a:ahLst/>
              <a:cxnLst>
                <a:cxn ang="0">
                  <a:pos x="T0" y="T1"/>
                </a:cxn>
                <a:cxn ang="0">
                  <a:pos x="T2" y="T3"/>
                </a:cxn>
                <a:cxn ang="0">
                  <a:pos x="T4" y="T5"/>
                </a:cxn>
                <a:cxn ang="0">
                  <a:pos x="T6" y="T7"/>
                </a:cxn>
                <a:cxn ang="0">
                  <a:pos x="T8" y="T9"/>
                </a:cxn>
              </a:cxnLst>
              <a:rect l="0" t="0" r="r" b="b"/>
              <a:pathLst>
                <a:path w="10" h="60">
                  <a:moveTo>
                    <a:pt x="10" y="53"/>
                  </a:moveTo>
                  <a:cubicBezTo>
                    <a:pt x="10" y="60"/>
                    <a:pt x="0" y="60"/>
                    <a:pt x="0" y="60"/>
                  </a:cubicBezTo>
                  <a:cubicBezTo>
                    <a:pt x="0" y="0"/>
                    <a:pt x="0" y="0"/>
                    <a:pt x="0" y="0"/>
                  </a:cubicBezTo>
                  <a:cubicBezTo>
                    <a:pt x="10" y="0"/>
                    <a:pt x="10" y="0"/>
                    <a:pt x="10" y="0"/>
                  </a:cubicBezTo>
                  <a:cubicBezTo>
                    <a:pt x="10" y="0"/>
                    <a:pt x="10" y="45"/>
                    <a:pt x="10" y="53"/>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94" name="Freeform 93"/>
            <p:cNvSpPr>
              <a:spLocks/>
            </p:cNvSpPr>
            <p:nvPr/>
          </p:nvSpPr>
          <p:spPr bwMode="auto">
            <a:xfrm>
              <a:off x="8081279" y="4383257"/>
              <a:ext cx="16722" cy="95234"/>
            </a:xfrm>
            <a:custGeom>
              <a:avLst/>
              <a:gdLst>
                <a:gd name="T0" fmla="*/ 10 w 10"/>
                <a:gd name="T1" fmla="*/ 53 h 60"/>
                <a:gd name="T2" fmla="*/ 0 w 10"/>
                <a:gd name="T3" fmla="*/ 60 h 60"/>
                <a:gd name="T4" fmla="*/ 0 w 10"/>
                <a:gd name="T5" fmla="*/ 0 h 60"/>
                <a:gd name="T6" fmla="*/ 10 w 10"/>
                <a:gd name="T7" fmla="*/ 0 h 60"/>
                <a:gd name="T8" fmla="*/ 10 w 10"/>
                <a:gd name="T9" fmla="*/ 53 h 60"/>
              </a:gdLst>
              <a:ahLst/>
              <a:cxnLst>
                <a:cxn ang="0">
                  <a:pos x="T0" y="T1"/>
                </a:cxn>
                <a:cxn ang="0">
                  <a:pos x="T2" y="T3"/>
                </a:cxn>
                <a:cxn ang="0">
                  <a:pos x="T4" y="T5"/>
                </a:cxn>
                <a:cxn ang="0">
                  <a:pos x="T6" y="T7"/>
                </a:cxn>
                <a:cxn ang="0">
                  <a:pos x="T8" y="T9"/>
                </a:cxn>
              </a:cxnLst>
              <a:rect l="0" t="0" r="r" b="b"/>
              <a:pathLst>
                <a:path w="10" h="60">
                  <a:moveTo>
                    <a:pt x="10" y="53"/>
                  </a:moveTo>
                  <a:cubicBezTo>
                    <a:pt x="10" y="60"/>
                    <a:pt x="0" y="60"/>
                    <a:pt x="0" y="60"/>
                  </a:cubicBezTo>
                  <a:cubicBezTo>
                    <a:pt x="0" y="0"/>
                    <a:pt x="0" y="0"/>
                    <a:pt x="0" y="0"/>
                  </a:cubicBezTo>
                  <a:cubicBezTo>
                    <a:pt x="10" y="0"/>
                    <a:pt x="10" y="0"/>
                    <a:pt x="10" y="0"/>
                  </a:cubicBezTo>
                  <a:cubicBezTo>
                    <a:pt x="10" y="0"/>
                    <a:pt x="10" y="45"/>
                    <a:pt x="10" y="53"/>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95" name="Freeform 94"/>
            <p:cNvSpPr>
              <a:spLocks/>
            </p:cNvSpPr>
            <p:nvPr/>
          </p:nvSpPr>
          <p:spPr bwMode="auto">
            <a:xfrm>
              <a:off x="8318450" y="4413518"/>
              <a:ext cx="43571" cy="64973"/>
            </a:xfrm>
            <a:custGeom>
              <a:avLst/>
              <a:gdLst>
                <a:gd name="T0" fmla="*/ 22 w 26"/>
                <a:gd name="T1" fmla="*/ 10 h 41"/>
                <a:gd name="T2" fmla="*/ 18 w 26"/>
                <a:gd name="T3" fmla="*/ 9 h 41"/>
                <a:gd name="T4" fmla="*/ 10 w 26"/>
                <a:gd name="T5" fmla="*/ 12 h 41"/>
                <a:gd name="T6" fmla="*/ 10 w 26"/>
                <a:gd name="T7" fmla="*/ 34 h 41"/>
                <a:gd name="T8" fmla="*/ 0 w 26"/>
                <a:gd name="T9" fmla="*/ 41 h 41"/>
                <a:gd name="T10" fmla="*/ 0 w 26"/>
                <a:gd name="T11" fmla="*/ 1 h 41"/>
                <a:gd name="T12" fmla="*/ 9 w 26"/>
                <a:gd name="T13" fmla="*/ 1 h 41"/>
                <a:gd name="T14" fmla="*/ 10 w 26"/>
                <a:gd name="T15" fmla="*/ 5 h 41"/>
                <a:gd name="T16" fmla="*/ 21 w 26"/>
                <a:gd name="T17" fmla="*/ 0 h 41"/>
                <a:gd name="T18" fmla="*/ 26 w 26"/>
                <a:gd name="T19" fmla="*/ 2 h 41"/>
                <a:gd name="T20" fmla="*/ 22 w 26"/>
                <a:gd name="T21" fmla="*/ 1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41">
                  <a:moveTo>
                    <a:pt x="22" y="10"/>
                  </a:moveTo>
                  <a:cubicBezTo>
                    <a:pt x="21" y="9"/>
                    <a:pt x="19" y="9"/>
                    <a:pt x="18" y="9"/>
                  </a:cubicBezTo>
                  <a:cubicBezTo>
                    <a:pt x="15" y="9"/>
                    <a:pt x="13" y="10"/>
                    <a:pt x="10" y="12"/>
                  </a:cubicBezTo>
                  <a:cubicBezTo>
                    <a:pt x="10" y="12"/>
                    <a:pt x="10" y="26"/>
                    <a:pt x="10" y="34"/>
                  </a:cubicBezTo>
                  <a:cubicBezTo>
                    <a:pt x="10" y="41"/>
                    <a:pt x="0" y="41"/>
                    <a:pt x="0" y="41"/>
                  </a:cubicBezTo>
                  <a:cubicBezTo>
                    <a:pt x="0" y="1"/>
                    <a:pt x="0" y="1"/>
                    <a:pt x="0" y="1"/>
                  </a:cubicBezTo>
                  <a:cubicBezTo>
                    <a:pt x="9" y="1"/>
                    <a:pt x="9" y="1"/>
                    <a:pt x="9" y="1"/>
                  </a:cubicBezTo>
                  <a:cubicBezTo>
                    <a:pt x="10" y="5"/>
                    <a:pt x="10" y="5"/>
                    <a:pt x="10" y="5"/>
                  </a:cubicBezTo>
                  <a:cubicBezTo>
                    <a:pt x="14" y="2"/>
                    <a:pt x="17" y="0"/>
                    <a:pt x="21" y="0"/>
                  </a:cubicBezTo>
                  <a:cubicBezTo>
                    <a:pt x="23" y="0"/>
                    <a:pt x="25" y="1"/>
                    <a:pt x="26" y="2"/>
                  </a:cubicBezTo>
                  <a:lnTo>
                    <a:pt x="22" y="1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96" name="Freeform 95"/>
            <p:cNvSpPr>
              <a:spLocks/>
            </p:cNvSpPr>
            <p:nvPr/>
          </p:nvSpPr>
          <p:spPr bwMode="auto">
            <a:xfrm>
              <a:off x="7929133" y="4383257"/>
              <a:ext cx="98684" cy="93677"/>
            </a:xfrm>
            <a:custGeom>
              <a:avLst/>
              <a:gdLst>
                <a:gd name="T0" fmla="*/ 48 w 59"/>
                <a:gd name="T1" fmla="*/ 59 h 59"/>
                <a:gd name="T2" fmla="*/ 48 w 59"/>
                <a:gd name="T3" fmla="*/ 24 h 59"/>
                <a:gd name="T4" fmla="*/ 49 w 59"/>
                <a:gd name="T5" fmla="*/ 18 h 59"/>
                <a:gd name="T6" fmla="*/ 48 w 59"/>
                <a:gd name="T7" fmla="*/ 18 h 59"/>
                <a:gd name="T8" fmla="*/ 45 w 59"/>
                <a:gd name="T9" fmla="*/ 24 h 59"/>
                <a:gd name="T10" fmla="*/ 33 w 59"/>
                <a:gd name="T11" fmla="*/ 42 h 59"/>
                <a:gd name="T12" fmla="*/ 28 w 59"/>
                <a:gd name="T13" fmla="*/ 42 h 59"/>
                <a:gd name="T14" fmla="*/ 14 w 59"/>
                <a:gd name="T15" fmla="*/ 23 h 59"/>
                <a:gd name="T16" fmla="*/ 11 w 59"/>
                <a:gd name="T17" fmla="*/ 18 h 59"/>
                <a:gd name="T18" fmla="*/ 11 w 59"/>
                <a:gd name="T19" fmla="*/ 18 h 59"/>
                <a:gd name="T20" fmla="*/ 11 w 59"/>
                <a:gd name="T21" fmla="*/ 24 h 59"/>
                <a:gd name="T22" fmla="*/ 11 w 59"/>
                <a:gd name="T23" fmla="*/ 59 h 59"/>
                <a:gd name="T24" fmla="*/ 0 w 59"/>
                <a:gd name="T25" fmla="*/ 59 h 59"/>
                <a:gd name="T26" fmla="*/ 0 w 59"/>
                <a:gd name="T27" fmla="*/ 0 h 59"/>
                <a:gd name="T28" fmla="*/ 10 w 59"/>
                <a:gd name="T29" fmla="*/ 0 h 59"/>
                <a:gd name="T30" fmla="*/ 26 w 59"/>
                <a:gd name="T31" fmla="*/ 24 h 59"/>
                <a:gd name="T32" fmla="*/ 30 w 59"/>
                <a:gd name="T33" fmla="*/ 30 h 59"/>
                <a:gd name="T34" fmla="*/ 30 w 59"/>
                <a:gd name="T35" fmla="*/ 30 h 59"/>
                <a:gd name="T36" fmla="*/ 34 w 59"/>
                <a:gd name="T37" fmla="*/ 24 h 59"/>
                <a:gd name="T38" fmla="*/ 49 w 59"/>
                <a:gd name="T39" fmla="*/ 0 h 59"/>
                <a:gd name="T40" fmla="*/ 59 w 59"/>
                <a:gd name="T41" fmla="*/ 0 h 59"/>
                <a:gd name="T42" fmla="*/ 59 w 59"/>
                <a:gd name="T43" fmla="*/ 59 h 59"/>
                <a:gd name="T44" fmla="*/ 48 w 59"/>
                <a:gd name="T4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9" h="59">
                  <a:moveTo>
                    <a:pt x="48" y="59"/>
                  </a:moveTo>
                  <a:cubicBezTo>
                    <a:pt x="48" y="24"/>
                    <a:pt x="48" y="24"/>
                    <a:pt x="48" y="24"/>
                  </a:cubicBezTo>
                  <a:cubicBezTo>
                    <a:pt x="48" y="22"/>
                    <a:pt x="48" y="20"/>
                    <a:pt x="49" y="18"/>
                  </a:cubicBezTo>
                  <a:cubicBezTo>
                    <a:pt x="48" y="18"/>
                    <a:pt x="48" y="18"/>
                    <a:pt x="48" y="18"/>
                  </a:cubicBezTo>
                  <a:cubicBezTo>
                    <a:pt x="48" y="19"/>
                    <a:pt x="46" y="22"/>
                    <a:pt x="45" y="24"/>
                  </a:cubicBezTo>
                  <a:cubicBezTo>
                    <a:pt x="33" y="42"/>
                    <a:pt x="33" y="42"/>
                    <a:pt x="33" y="42"/>
                  </a:cubicBezTo>
                  <a:cubicBezTo>
                    <a:pt x="28" y="42"/>
                    <a:pt x="28" y="42"/>
                    <a:pt x="28" y="42"/>
                  </a:cubicBezTo>
                  <a:cubicBezTo>
                    <a:pt x="14" y="23"/>
                    <a:pt x="14" y="23"/>
                    <a:pt x="14" y="23"/>
                  </a:cubicBezTo>
                  <a:cubicBezTo>
                    <a:pt x="13" y="22"/>
                    <a:pt x="12" y="20"/>
                    <a:pt x="11" y="18"/>
                  </a:cubicBezTo>
                  <a:cubicBezTo>
                    <a:pt x="11" y="18"/>
                    <a:pt x="11" y="18"/>
                    <a:pt x="11" y="18"/>
                  </a:cubicBezTo>
                  <a:cubicBezTo>
                    <a:pt x="11" y="20"/>
                    <a:pt x="11" y="22"/>
                    <a:pt x="11" y="24"/>
                  </a:cubicBezTo>
                  <a:cubicBezTo>
                    <a:pt x="11" y="59"/>
                    <a:pt x="11" y="59"/>
                    <a:pt x="11" y="59"/>
                  </a:cubicBezTo>
                  <a:cubicBezTo>
                    <a:pt x="0" y="59"/>
                    <a:pt x="0" y="59"/>
                    <a:pt x="0" y="59"/>
                  </a:cubicBezTo>
                  <a:cubicBezTo>
                    <a:pt x="0" y="0"/>
                    <a:pt x="0" y="0"/>
                    <a:pt x="0" y="0"/>
                  </a:cubicBezTo>
                  <a:cubicBezTo>
                    <a:pt x="10" y="0"/>
                    <a:pt x="10" y="0"/>
                    <a:pt x="10" y="0"/>
                  </a:cubicBezTo>
                  <a:cubicBezTo>
                    <a:pt x="26" y="24"/>
                    <a:pt x="26" y="24"/>
                    <a:pt x="26" y="24"/>
                  </a:cubicBezTo>
                  <a:cubicBezTo>
                    <a:pt x="28" y="26"/>
                    <a:pt x="29" y="28"/>
                    <a:pt x="30" y="30"/>
                  </a:cubicBezTo>
                  <a:cubicBezTo>
                    <a:pt x="30" y="30"/>
                    <a:pt x="30" y="30"/>
                    <a:pt x="30" y="30"/>
                  </a:cubicBezTo>
                  <a:cubicBezTo>
                    <a:pt x="31" y="28"/>
                    <a:pt x="32" y="26"/>
                    <a:pt x="34" y="24"/>
                  </a:cubicBezTo>
                  <a:cubicBezTo>
                    <a:pt x="49" y="0"/>
                    <a:pt x="49" y="0"/>
                    <a:pt x="49" y="0"/>
                  </a:cubicBezTo>
                  <a:cubicBezTo>
                    <a:pt x="59" y="0"/>
                    <a:pt x="59" y="0"/>
                    <a:pt x="59" y="0"/>
                  </a:cubicBezTo>
                  <a:cubicBezTo>
                    <a:pt x="59" y="59"/>
                    <a:pt x="59" y="59"/>
                    <a:pt x="59" y="59"/>
                  </a:cubicBezTo>
                  <a:lnTo>
                    <a:pt x="48" y="5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97" name="Freeform 96"/>
            <p:cNvSpPr>
              <a:spLocks noEditPoints="1"/>
            </p:cNvSpPr>
            <p:nvPr/>
          </p:nvSpPr>
          <p:spPr bwMode="auto">
            <a:xfrm>
              <a:off x="8044539" y="4386372"/>
              <a:ext cx="21668" cy="92119"/>
            </a:xfrm>
            <a:custGeom>
              <a:avLst/>
              <a:gdLst>
                <a:gd name="T0" fmla="*/ 6 w 13"/>
                <a:gd name="T1" fmla="*/ 12 h 58"/>
                <a:gd name="T2" fmla="*/ 0 w 13"/>
                <a:gd name="T3" fmla="*/ 6 h 58"/>
                <a:gd name="T4" fmla="*/ 6 w 13"/>
                <a:gd name="T5" fmla="*/ 0 h 58"/>
                <a:gd name="T6" fmla="*/ 13 w 13"/>
                <a:gd name="T7" fmla="*/ 6 h 58"/>
                <a:gd name="T8" fmla="*/ 6 w 13"/>
                <a:gd name="T9" fmla="*/ 12 h 58"/>
                <a:gd name="T10" fmla="*/ 1 w 13"/>
                <a:gd name="T11" fmla="*/ 58 h 58"/>
                <a:gd name="T12" fmla="*/ 1 w 13"/>
                <a:gd name="T13" fmla="*/ 18 h 58"/>
                <a:gd name="T14" fmla="*/ 11 w 13"/>
                <a:gd name="T15" fmla="*/ 18 h 58"/>
                <a:gd name="T16" fmla="*/ 11 w 13"/>
                <a:gd name="T17" fmla="*/ 51 h 58"/>
                <a:gd name="T18" fmla="*/ 1 w 13"/>
                <a:gd name="T19"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58">
                  <a:moveTo>
                    <a:pt x="6" y="12"/>
                  </a:moveTo>
                  <a:cubicBezTo>
                    <a:pt x="3" y="12"/>
                    <a:pt x="0" y="9"/>
                    <a:pt x="0" y="6"/>
                  </a:cubicBezTo>
                  <a:cubicBezTo>
                    <a:pt x="0" y="2"/>
                    <a:pt x="3" y="0"/>
                    <a:pt x="6" y="0"/>
                  </a:cubicBezTo>
                  <a:cubicBezTo>
                    <a:pt x="10" y="0"/>
                    <a:pt x="13" y="2"/>
                    <a:pt x="13" y="6"/>
                  </a:cubicBezTo>
                  <a:cubicBezTo>
                    <a:pt x="13" y="9"/>
                    <a:pt x="10" y="12"/>
                    <a:pt x="6" y="12"/>
                  </a:cubicBezTo>
                  <a:close/>
                  <a:moveTo>
                    <a:pt x="1" y="58"/>
                  </a:moveTo>
                  <a:cubicBezTo>
                    <a:pt x="1" y="18"/>
                    <a:pt x="1" y="18"/>
                    <a:pt x="1" y="18"/>
                  </a:cubicBezTo>
                  <a:cubicBezTo>
                    <a:pt x="11" y="18"/>
                    <a:pt x="11" y="18"/>
                    <a:pt x="11" y="18"/>
                  </a:cubicBezTo>
                  <a:cubicBezTo>
                    <a:pt x="11" y="18"/>
                    <a:pt x="11" y="43"/>
                    <a:pt x="11" y="51"/>
                  </a:cubicBezTo>
                  <a:cubicBezTo>
                    <a:pt x="11" y="58"/>
                    <a:pt x="1" y="58"/>
                    <a:pt x="1" y="58"/>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32" name="Freeform 131"/>
            <p:cNvSpPr>
              <a:spLocks/>
            </p:cNvSpPr>
            <p:nvPr/>
          </p:nvSpPr>
          <p:spPr bwMode="auto">
            <a:xfrm>
              <a:off x="8224947" y="4510310"/>
              <a:ext cx="13425" cy="79436"/>
            </a:xfrm>
            <a:custGeom>
              <a:avLst/>
              <a:gdLst>
                <a:gd name="T0" fmla="*/ 8 w 8"/>
                <a:gd name="T1" fmla="*/ 44 h 50"/>
                <a:gd name="T2" fmla="*/ 0 w 8"/>
                <a:gd name="T3" fmla="*/ 50 h 50"/>
                <a:gd name="T4" fmla="*/ 0 w 8"/>
                <a:gd name="T5" fmla="*/ 0 h 50"/>
                <a:gd name="T6" fmla="*/ 8 w 8"/>
                <a:gd name="T7" fmla="*/ 0 h 50"/>
                <a:gd name="T8" fmla="*/ 8 w 8"/>
                <a:gd name="T9" fmla="*/ 44 h 50"/>
              </a:gdLst>
              <a:ahLst/>
              <a:cxnLst>
                <a:cxn ang="0">
                  <a:pos x="T0" y="T1"/>
                </a:cxn>
                <a:cxn ang="0">
                  <a:pos x="T2" y="T3"/>
                </a:cxn>
                <a:cxn ang="0">
                  <a:pos x="T4" y="T5"/>
                </a:cxn>
                <a:cxn ang="0">
                  <a:pos x="T6" y="T7"/>
                </a:cxn>
                <a:cxn ang="0">
                  <a:pos x="T8" y="T9"/>
                </a:cxn>
              </a:cxnLst>
              <a:rect l="0" t="0" r="r" b="b"/>
              <a:pathLst>
                <a:path w="8" h="50">
                  <a:moveTo>
                    <a:pt x="8" y="44"/>
                  </a:moveTo>
                  <a:cubicBezTo>
                    <a:pt x="8" y="50"/>
                    <a:pt x="0" y="50"/>
                    <a:pt x="0" y="50"/>
                  </a:cubicBezTo>
                  <a:cubicBezTo>
                    <a:pt x="0" y="0"/>
                    <a:pt x="0" y="0"/>
                    <a:pt x="0" y="0"/>
                  </a:cubicBezTo>
                  <a:cubicBezTo>
                    <a:pt x="8" y="0"/>
                    <a:pt x="8" y="0"/>
                    <a:pt x="8" y="0"/>
                  </a:cubicBezTo>
                  <a:cubicBezTo>
                    <a:pt x="8" y="0"/>
                    <a:pt x="8" y="37"/>
                    <a:pt x="8"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 name="Freeform 132"/>
            <p:cNvSpPr>
              <a:spLocks noEditPoints="1"/>
            </p:cNvSpPr>
            <p:nvPr/>
          </p:nvSpPr>
          <p:spPr bwMode="auto">
            <a:xfrm>
              <a:off x="8007562" y="4513425"/>
              <a:ext cx="18371" cy="76321"/>
            </a:xfrm>
            <a:custGeom>
              <a:avLst/>
              <a:gdLst>
                <a:gd name="T0" fmla="*/ 5 w 11"/>
                <a:gd name="T1" fmla="*/ 10 h 48"/>
                <a:gd name="T2" fmla="*/ 0 w 11"/>
                <a:gd name="T3" fmla="*/ 5 h 48"/>
                <a:gd name="T4" fmla="*/ 5 w 11"/>
                <a:gd name="T5" fmla="*/ 0 h 48"/>
                <a:gd name="T6" fmla="*/ 11 w 11"/>
                <a:gd name="T7" fmla="*/ 5 h 48"/>
                <a:gd name="T8" fmla="*/ 5 w 11"/>
                <a:gd name="T9" fmla="*/ 10 h 48"/>
                <a:gd name="T10" fmla="*/ 1 w 11"/>
                <a:gd name="T11" fmla="*/ 48 h 48"/>
                <a:gd name="T12" fmla="*/ 1 w 11"/>
                <a:gd name="T13" fmla="*/ 15 h 48"/>
                <a:gd name="T14" fmla="*/ 10 w 11"/>
                <a:gd name="T15" fmla="*/ 15 h 48"/>
                <a:gd name="T16" fmla="*/ 10 w 11"/>
                <a:gd name="T17" fmla="*/ 42 h 48"/>
                <a:gd name="T18" fmla="*/ 1 w 11"/>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48">
                  <a:moveTo>
                    <a:pt x="5" y="10"/>
                  </a:moveTo>
                  <a:cubicBezTo>
                    <a:pt x="3" y="10"/>
                    <a:pt x="0" y="7"/>
                    <a:pt x="0" y="5"/>
                  </a:cubicBezTo>
                  <a:cubicBezTo>
                    <a:pt x="0" y="2"/>
                    <a:pt x="3" y="0"/>
                    <a:pt x="5" y="0"/>
                  </a:cubicBezTo>
                  <a:cubicBezTo>
                    <a:pt x="8" y="0"/>
                    <a:pt x="11" y="2"/>
                    <a:pt x="11" y="5"/>
                  </a:cubicBezTo>
                  <a:cubicBezTo>
                    <a:pt x="11" y="7"/>
                    <a:pt x="8" y="10"/>
                    <a:pt x="5" y="10"/>
                  </a:cubicBezTo>
                  <a:close/>
                  <a:moveTo>
                    <a:pt x="1" y="48"/>
                  </a:moveTo>
                  <a:cubicBezTo>
                    <a:pt x="1" y="15"/>
                    <a:pt x="1" y="15"/>
                    <a:pt x="1" y="15"/>
                  </a:cubicBezTo>
                  <a:cubicBezTo>
                    <a:pt x="10" y="15"/>
                    <a:pt x="10" y="15"/>
                    <a:pt x="10" y="15"/>
                  </a:cubicBezTo>
                  <a:cubicBezTo>
                    <a:pt x="10" y="15"/>
                    <a:pt x="10" y="36"/>
                    <a:pt x="10" y="42"/>
                  </a:cubicBezTo>
                  <a:cubicBezTo>
                    <a:pt x="10" y="48"/>
                    <a:pt x="1" y="48"/>
                    <a:pt x="1"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 name="Freeform 133"/>
            <p:cNvSpPr>
              <a:spLocks noEditPoints="1"/>
            </p:cNvSpPr>
            <p:nvPr/>
          </p:nvSpPr>
          <p:spPr bwMode="auto">
            <a:xfrm>
              <a:off x="8094469" y="4513425"/>
              <a:ext cx="16722" cy="76321"/>
            </a:xfrm>
            <a:custGeom>
              <a:avLst/>
              <a:gdLst>
                <a:gd name="T0" fmla="*/ 5 w 10"/>
                <a:gd name="T1" fmla="*/ 10 h 48"/>
                <a:gd name="T2" fmla="*/ 0 w 10"/>
                <a:gd name="T3" fmla="*/ 5 h 48"/>
                <a:gd name="T4" fmla="*/ 5 w 10"/>
                <a:gd name="T5" fmla="*/ 0 h 48"/>
                <a:gd name="T6" fmla="*/ 10 w 10"/>
                <a:gd name="T7" fmla="*/ 5 h 48"/>
                <a:gd name="T8" fmla="*/ 5 w 10"/>
                <a:gd name="T9" fmla="*/ 10 h 48"/>
                <a:gd name="T10" fmla="*/ 1 w 10"/>
                <a:gd name="T11" fmla="*/ 48 h 48"/>
                <a:gd name="T12" fmla="*/ 1 w 10"/>
                <a:gd name="T13" fmla="*/ 15 h 48"/>
                <a:gd name="T14" fmla="*/ 9 w 10"/>
                <a:gd name="T15" fmla="*/ 15 h 48"/>
                <a:gd name="T16" fmla="*/ 9 w 10"/>
                <a:gd name="T17" fmla="*/ 42 h 48"/>
                <a:gd name="T18" fmla="*/ 1 w 10"/>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48">
                  <a:moveTo>
                    <a:pt x="5" y="10"/>
                  </a:moveTo>
                  <a:cubicBezTo>
                    <a:pt x="2" y="10"/>
                    <a:pt x="0" y="8"/>
                    <a:pt x="0" y="5"/>
                  </a:cubicBezTo>
                  <a:cubicBezTo>
                    <a:pt x="0" y="2"/>
                    <a:pt x="2" y="0"/>
                    <a:pt x="5" y="0"/>
                  </a:cubicBezTo>
                  <a:cubicBezTo>
                    <a:pt x="8" y="0"/>
                    <a:pt x="10" y="2"/>
                    <a:pt x="10" y="5"/>
                  </a:cubicBezTo>
                  <a:cubicBezTo>
                    <a:pt x="10" y="8"/>
                    <a:pt x="8" y="10"/>
                    <a:pt x="5" y="10"/>
                  </a:cubicBezTo>
                  <a:close/>
                  <a:moveTo>
                    <a:pt x="1" y="48"/>
                  </a:moveTo>
                  <a:cubicBezTo>
                    <a:pt x="1" y="15"/>
                    <a:pt x="1" y="15"/>
                    <a:pt x="1" y="15"/>
                  </a:cubicBezTo>
                  <a:cubicBezTo>
                    <a:pt x="9" y="15"/>
                    <a:pt x="9" y="15"/>
                    <a:pt x="9" y="15"/>
                  </a:cubicBezTo>
                  <a:cubicBezTo>
                    <a:pt x="9" y="15"/>
                    <a:pt x="9" y="36"/>
                    <a:pt x="9" y="42"/>
                  </a:cubicBezTo>
                  <a:cubicBezTo>
                    <a:pt x="9" y="48"/>
                    <a:pt x="1" y="48"/>
                    <a:pt x="1"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 name="Freeform 134"/>
            <p:cNvSpPr>
              <a:spLocks noEditPoints="1"/>
            </p:cNvSpPr>
            <p:nvPr/>
          </p:nvSpPr>
          <p:spPr bwMode="auto">
            <a:xfrm>
              <a:off x="7929133" y="4510310"/>
              <a:ext cx="70185" cy="77879"/>
            </a:xfrm>
            <a:custGeom>
              <a:avLst/>
              <a:gdLst>
                <a:gd name="T0" fmla="*/ 0 w 42"/>
                <a:gd name="T1" fmla="*/ 0 h 49"/>
                <a:gd name="T2" fmla="*/ 15 w 42"/>
                <a:gd name="T3" fmla="*/ 0 h 49"/>
                <a:gd name="T4" fmla="*/ 42 w 42"/>
                <a:gd name="T5" fmla="*/ 25 h 49"/>
                <a:gd name="T6" fmla="*/ 14 w 42"/>
                <a:gd name="T7" fmla="*/ 49 h 49"/>
                <a:gd name="T8" fmla="*/ 0 w 42"/>
                <a:gd name="T9" fmla="*/ 49 h 49"/>
                <a:gd name="T10" fmla="*/ 0 w 42"/>
                <a:gd name="T11" fmla="*/ 0 h 49"/>
                <a:gd name="T12" fmla="*/ 14 w 42"/>
                <a:gd name="T13" fmla="*/ 42 h 49"/>
                <a:gd name="T14" fmla="*/ 32 w 42"/>
                <a:gd name="T15" fmla="*/ 25 h 49"/>
                <a:gd name="T16" fmla="*/ 14 w 42"/>
                <a:gd name="T17" fmla="*/ 8 h 49"/>
                <a:gd name="T18" fmla="*/ 8 w 42"/>
                <a:gd name="T19" fmla="*/ 8 h 49"/>
                <a:gd name="T20" fmla="*/ 8 w 42"/>
                <a:gd name="T21" fmla="*/ 42 h 49"/>
                <a:gd name="T22" fmla="*/ 14 w 42"/>
                <a:gd name="T23" fmla="*/ 4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49">
                  <a:moveTo>
                    <a:pt x="0" y="0"/>
                  </a:moveTo>
                  <a:cubicBezTo>
                    <a:pt x="15" y="0"/>
                    <a:pt x="15" y="0"/>
                    <a:pt x="15" y="0"/>
                  </a:cubicBezTo>
                  <a:cubicBezTo>
                    <a:pt x="32" y="0"/>
                    <a:pt x="42" y="10"/>
                    <a:pt x="42" y="25"/>
                  </a:cubicBezTo>
                  <a:cubicBezTo>
                    <a:pt x="42" y="40"/>
                    <a:pt x="31" y="49"/>
                    <a:pt x="14" y="49"/>
                  </a:cubicBezTo>
                  <a:cubicBezTo>
                    <a:pt x="0" y="49"/>
                    <a:pt x="0" y="49"/>
                    <a:pt x="0" y="49"/>
                  </a:cubicBezTo>
                  <a:lnTo>
                    <a:pt x="0" y="0"/>
                  </a:lnTo>
                  <a:close/>
                  <a:moveTo>
                    <a:pt x="14" y="42"/>
                  </a:moveTo>
                  <a:cubicBezTo>
                    <a:pt x="27" y="42"/>
                    <a:pt x="32" y="34"/>
                    <a:pt x="32" y="25"/>
                  </a:cubicBezTo>
                  <a:cubicBezTo>
                    <a:pt x="32" y="15"/>
                    <a:pt x="26" y="8"/>
                    <a:pt x="14" y="8"/>
                  </a:cubicBezTo>
                  <a:cubicBezTo>
                    <a:pt x="8" y="8"/>
                    <a:pt x="8" y="8"/>
                    <a:pt x="8" y="8"/>
                  </a:cubicBezTo>
                  <a:cubicBezTo>
                    <a:pt x="8" y="42"/>
                    <a:pt x="8" y="42"/>
                    <a:pt x="8" y="42"/>
                  </a:cubicBezTo>
                  <a:lnTo>
                    <a:pt x="1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 name="Freeform 135"/>
            <p:cNvSpPr>
              <a:spLocks noEditPoints="1"/>
            </p:cNvSpPr>
            <p:nvPr/>
          </p:nvSpPr>
          <p:spPr bwMode="auto">
            <a:xfrm>
              <a:off x="8031114" y="4529223"/>
              <a:ext cx="58409" cy="87447"/>
            </a:xfrm>
            <a:custGeom>
              <a:avLst/>
              <a:gdLst>
                <a:gd name="T0" fmla="*/ 0 w 35"/>
                <a:gd name="T1" fmla="*/ 45 h 55"/>
                <a:gd name="T2" fmla="*/ 6 w 35"/>
                <a:gd name="T3" fmla="*/ 37 h 55"/>
                <a:gd name="T4" fmla="*/ 4 w 35"/>
                <a:gd name="T5" fmla="*/ 32 h 55"/>
                <a:gd name="T6" fmla="*/ 8 w 35"/>
                <a:gd name="T7" fmla="*/ 26 h 55"/>
                <a:gd name="T8" fmla="*/ 2 w 35"/>
                <a:gd name="T9" fmla="*/ 15 h 55"/>
                <a:gd name="T10" fmla="*/ 16 w 35"/>
                <a:gd name="T11" fmla="*/ 2 h 55"/>
                <a:gd name="T12" fmla="*/ 23 w 35"/>
                <a:gd name="T13" fmla="*/ 3 h 55"/>
                <a:gd name="T14" fmla="*/ 24 w 35"/>
                <a:gd name="T15" fmla="*/ 3 h 55"/>
                <a:gd name="T16" fmla="*/ 33 w 35"/>
                <a:gd name="T17" fmla="*/ 0 h 55"/>
                <a:gd name="T18" fmla="*/ 35 w 35"/>
                <a:gd name="T19" fmla="*/ 0 h 55"/>
                <a:gd name="T20" fmla="*/ 33 w 35"/>
                <a:gd name="T21" fmla="*/ 7 h 55"/>
                <a:gd name="T22" fmla="*/ 31 w 35"/>
                <a:gd name="T23" fmla="*/ 6 h 55"/>
                <a:gd name="T24" fmla="*/ 28 w 35"/>
                <a:gd name="T25" fmla="*/ 7 h 55"/>
                <a:gd name="T26" fmla="*/ 31 w 35"/>
                <a:gd name="T27" fmla="*/ 15 h 55"/>
                <a:gd name="T28" fmla="*/ 17 w 35"/>
                <a:gd name="T29" fmla="*/ 28 h 55"/>
                <a:gd name="T30" fmla="*/ 12 w 35"/>
                <a:gd name="T31" fmla="*/ 28 h 55"/>
                <a:gd name="T32" fmla="*/ 12 w 35"/>
                <a:gd name="T33" fmla="*/ 30 h 55"/>
                <a:gd name="T34" fmla="*/ 35 w 35"/>
                <a:gd name="T35" fmla="*/ 44 h 55"/>
                <a:gd name="T36" fmla="*/ 16 w 35"/>
                <a:gd name="T37" fmla="*/ 55 h 55"/>
                <a:gd name="T38" fmla="*/ 0 w 35"/>
                <a:gd name="T39" fmla="*/ 45 h 55"/>
                <a:gd name="T40" fmla="*/ 26 w 35"/>
                <a:gd name="T41" fmla="*/ 45 h 55"/>
                <a:gd name="T42" fmla="*/ 10 w 35"/>
                <a:gd name="T43" fmla="*/ 39 h 55"/>
                <a:gd name="T44" fmla="*/ 8 w 35"/>
                <a:gd name="T45" fmla="*/ 44 h 55"/>
                <a:gd name="T46" fmla="*/ 17 w 35"/>
                <a:gd name="T47" fmla="*/ 49 h 55"/>
                <a:gd name="T48" fmla="*/ 26 w 35"/>
                <a:gd name="T49" fmla="*/ 45 h 55"/>
                <a:gd name="T50" fmla="*/ 23 w 35"/>
                <a:gd name="T51" fmla="*/ 15 h 55"/>
                <a:gd name="T52" fmla="*/ 17 w 35"/>
                <a:gd name="T53" fmla="*/ 9 h 55"/>
                <a:gd name="T54" fmla="*/ 10 w 35"/>
                <a:gd name="T55" fmla="*/ 15 h 55"/>
                <a:gd name="T56" fmla="*/ 17 w 35"/>
                <a:gd name="T57" fmla="*/ 22 h 55"/>
                <a:gd name="T58" fmla="*/ 23 w 35"/>
                <a:gd name="T59" fmla="*/ 1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 h="55">
                  <a:moveTo>
                    <a:pt x="0" y="45"/>
                  </a:moveTo>
                  <a:cubicBezTo>
                    <a:pt x="0" y="41"/>
                    <a:pt x="2" y="38"/>
                    <a:pt x="6" y="37"/>
                  </a:cubicBezTo>
                  <a:cubicBezTo>
                    <a:pt x="5" y="36"/>
                    <a:pt x="4" y="34"/>
                    <a:pt x="4" y="32"/>
                  </a:cubicBezTo>
                  <a:cubicBezTo>
                    <a:pt x="4" y="30"/>
                    <a:pt x="5" y="28"/>
                    <a:pt x="8" y="26"/>
                  </a:cubicBezTo>
                  <a:cubicBezTo>
                    <a:pt x="4" y="24"/>
                    <a:pt x="2" y="19"/>
                    <a:pt x="2" y="15"/>
                  </a:cubicBezTo>
                  <a:cubicBezTo>
                    <a:pt x="2" y="8"/>
                    <a:pt x="7" y="2"/>
                    <a:pt x="16" y="2"/>
                  </a:cubicBezTo>
                  <a:cubicBezTo>
                    <a:pt x="20" y="2"/>
                    <a:pt x="22" y="3"/>
                    <a:pt x="23" y="3"/>
                  </a:cubicBezTo>
                  <a:cubicBezTo>
                    <a:pt x="24" y="4"/>
                    <a:pt x="24" y="3"/>
                    <a:pt x="24" y="3"/>
                  </a:cubicBezTo>
                  <a:cubicBezTo>
                    <a:pt x="26" y="1"/>
                    <a:pt x="28" y="0"/>
                    <a:pt x="33" y="0"/>
                  </a:cubicBezTo>
                  <a:cubicBezTo>
                    <a:pt x="34" y="0"/>
                    <a:pt x="35" y="0"/>
                    <a:pt x="35" y="0"/>
                  </a:cubicBezTo>
                  <a:cubicBezTo>
                    <a:pt x="33" y="7"/>
                    <a:pt x="33" y="7"/>
                    <a:pt x="33" y="7"/>
                  </a:cubicBezTo>
                  <a:cubicBezTo>
                    <a:pt x="33" y="7"/>
                    <a:pt x="32" y="6"/>
                    <a:pt x="31" y="6"/>
                  </a:cubicBezTo>
                  <a:cubicBezTo>
                    <a:pt x="30" y="6"/>
                    <a:pt x="29" y="7"/>
                    <a:pt x="28" y="7"/>
                  </a:cubicBezTo>
                  <a:cubicBezTo>
                    <a:pt x="30" y="9"/>
                    <a:pt x="31" y="12"/>
                    <a:pt x="31" y="15"/>
                  </a:cubicBezTo>
                  <a:cubicBezTo>
                    <a:pt x="31" y="23"/>
                    <a:pt x="25" y="28"/>
                    <a:pt x="17" y="28"/>
                  </a:cubicBezTo>
                  <a:cubicBezTo>
                    <a:pt x="15" y="28"/>
                    <a:pt x="14" y="28"/>
                    <a:pt x="12" y="28"/>
                  </a:cubicBezTo>
                  <a:cubicBezTo>
                    <a:pt x="12" y="29"/>
                    <a:pt x="12" y="30"/>
                    <a:pt x="12" y="30"/>
                  </a:cubicBezTo>
                  <a:cubicBezTo>
                    <a:pt x="12" y="37"/>
                    <a:pt x="35" y="31"/>
                    <a:pt x="35" y="44"/>
                  </a:cubicBezTo>
                  <a:cubicBezTo>
                    <a:pt x="35" y="50"/>
                    <a:pt x="28" y="55"/>
                    <a:pt x="16" y="55"/>
                  </a:cubicBezTo>
                  <a:cubicBezTo>
                    <a:pt x="6" y="55"/>
                    <a:pt x="0" y="51"/>
                    <a:pt x="0" y="45"/>
                  </a:cubicBezTo>
                  <a:close/>
                  <a:moveTo>
                    <a:pt x="26" y="45"/>
                  </a:moveTo>
                  <a:cubicBezTo>
                    <a:pt x="26" y="40"/>
                    <a:pt x="15" y="41"/>
                    <a:pt x="10" y="39"/>
                  </a:cubicBezTo>
                  <a:cubicBezTo>
                    <a:pt x="9" y="40"/>
                    <a:pt x="8" y="41"/>
                    <a:pt x="8" y="44"/>
                  </a:cubicBezTo>
                  <a:cubicBezTo>
                    <a:pt x="8" y="47"/>
                    <a:pt x="11" y="49"/>
                    <a:pt x="17" y="49"/>
                  </a:cubicBezTo>
                  <a:cubicBezTo>
                    <a:pt x="23" y="49"/>
                    <a:pt x="26" y="47"/>
                    <a:pt x="26" y="45"/>
                  </a:cubicBezTo>
                  <a:close/>
                  <a:moveTo>
                    <a:pt x="23" y="15"/>
                  </a:moveTo>
                  <a:cubicBezTo>
                    <a:pt x="23" y="12"/>
                    <a:pt x="20" y="9"/>
                    <a:pt x="17" y="9"/>
                  </a:cubicBezTo>
                  <a:cubicBezTo>
                    <a:pt x="13" y="9"/>
                    <a:pt x="10" y="11"/>
                    <a:pt x="10" y="15"/>
                  </a:cubicBezTo>
                  <a:cubicBezTo>
                    <a:pt x="10" y="19"/>
                    <a:pt x="13" y="22"/>
                    <a:pt x="17" y="22"/>
                  </a:cubicBezTo>
                  <a:cubicBezTo>
                    <a:pt x="20" y="22"/>
                    <a:pt x="23" y="19"/>
                    <a:pt x="23"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 name="Freeform 136"/>
            <p:cNvSpPr>
              <a:spLocks/>
            </p:cNvSpPr>
            <p:nvPr/>
          </p:nvSpPr>
          <p:spPr bwMode="auto">
            <a:xfrm>
              <a:off x="8116372" y="4516540"/>
              <a:ext cx="44984" cy="74763"/>
            </a:xfrm>
            <a:custGeom>
              <a:avLst/>
              <a:gdLst>
                <a:gd name="T0" fmla="*/ 7 w 27"/>
                <a:gd name="T1" fmla="*/ 37 h 47"/>
                <a:gd name="T2" fmla="*/ 7 w 27"/>
                <a:gd name="T3" fmla="*/ 18 h 47"/>
                <a:gd name="T4" fmla="*/ 0 w 27"/>
                <a:gd name="T5" fmla="*/ 18 h 47"/>
                <a:gd name="T6" fmla="*/ 0 w 27"/>
                <a:gd name="T7" fmla="*/ 11 h 47"/>
                <a:gd name="T8" fmla="*/ 7 w 27"/>
                <a:gd name="T9" fmla="*/ 11 h 47"/>
                <a:gd name="T10" fmla="*/ 7 w 27"/>
                <a:gd name="T11" fmla="*/ 3 h 47"/>
                <a:gd name="T12" fmla="*/ 15 w 27"/>
                <a:gd name="T13" fmla="*/ 0 h 47"/>
                <a:gd name="T14" fmla="*/ 15 w 27"/>
                <a:gd name="T15" fmla="*/ 11 h 47"/>
                <a:gd name="T16" fmla="*/ 26 w 27"/>
                <a:gd name="T17" fmla="*/ 11 h 47"/>
                <a:gd name="T18" fmla="*/ 24 w 27"/>
                <a:gd name="T19" fmla="*/ 18 h 47"/>
                <a:gd name="T20" fmla="*/ 15 w 27"/>
                <a:gd name="T21" fmla="*/ 18 h 47"/>
                <a:gd name="T22" fmla="*/ 15 w 27"/>
                <a:gd name="T23" fmla="*/ 35 h 47"/>
                <a:gd name="T24" fmla="*/ 19 w 27"/>
                <a:gd name="T25" fmla="*/ 40 h 47"/>
                <a:gd name="T26" fmla="*/ 24 w 27"/>
                <a:gd name="T27" fmla="*/ 38 h 47"/>
                <a:gd name="T28" fmla="*/ 27 w 27"/>
                <a:gd name="T29" fmla="*/ 44 h 47"/>
                <a:gd name="T30" fmla="*/ 17 w 27"/>
                <a:gd name="T31" fmla="*/ 47 h 47"/>
                <a:gd name="T32" fmla="*/ 7 w 27"/>
                <a:gd name="T33" fmla="*/ 3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 h="47">
                  <a:moveTo>
                    <a:pt x="7" y="37"/>
                  </a:moveTo>
                  <a:cubicBezTo>
                    <a:pt x="7" y="18"/>
                    <a:pt x="7" y="18"/>
                    <a:pt x="7" y="18"/>
                  </a:cubicBezTo>
                  <a:cubicBezTo>
                    <a:pt x="0" y="18"/>
                    <a:pt x="0" y="18"/>
                    <a:pt x="0" y="18"/>
                  </a:cubicBezTo>
                  <a:cubicBezTo>
                    <a:pt x="0" y="11"/>
                    <a:pt x="0" y="11"/>
                    <a:pt x="0" y="11"/>
                  </a:cubicBezTo>
                  <a:cubicBezTo>
                    <a:pt x="7" y="11"/>
                    <a:pt x="7" y="11"/>
                    <a:pt x="7" y="11"/>
                  </a:cubicBezTo>
                  <a:cubicBezTo>
                    <a:pt x="7" y="3"/>
                    <a:pt x="7" y="3"/>
                    <a:pt x="7" y="3"/>
                  </a:cubicBezTo>
                  <a:cubicBezTo>
                    <a:pt x="15" y="0"/>
                    <a:pt x="15" y="0"/>
                    <a:pt x="15" y="0"/>
                  </a:cubicBezTo>
                  <a:cubicBezTo>
                    <a:pt x="15" y="11"/>
                    <a:pt x="15" y="11"/>
                    <a:pt x="15" y="11"/>
                  </a:cubicBezTo>
                  <a:cubicBezTo>
                    <a:pt x="26" y="11"/>
                    <a:pt x="26" y="11"/>
                    <a:pt x="26" y="11"/>
                  </a:cubicBezTo>
                  <a:cubicBezTo>
                    <a:pt x="24" y="18"/>
                    <a:pt x="24" y="18"/>
                    <a:pt x="24" y="18"/>
                  </a:cubicBezTo>
                  <a:cubicBezTo>
                    <a:pt x="15" y="18"/>
                    <a:pt x="15" y="18"/>
                    <a:pt x="15" y="18"/>
                  </a:cubicBezTo>
                  <a:cubicBezTo>
                    <a:pt x="15" y="35"/>
                    <a:pt x="15" y="35"/>
                    <a:pt x="15" y="35"/>
                  </a:cubicBezTo>
                  <a:cubicBezTo>
                    <a:pt x="15" y="38"/>
                    <a:pt x="17" y="40"/>
                    <a:pt x="19" y="40"/>
                  </a:cubicBezTo>
                  <a:cubicBezTo>
                    <a:pt x="21" y="40"/>
                    <a:pt x="23" y="39"/>
                    <a:pt x="24" y="38"/>
                  </a:cubicBezTo>
                  <a:cubicBezTo>
                    <a:pt x="27" y="44"/>
                    <a:pt x="27" y="44"/>
                    <a:pt x="27" y="44"/>
                  </a:cubicBezTo>
                  <a:cubicBezTo>
                    <a:pt x="24" y="46"/>
                    <a:pt x="20" y="47"/>
                    <a:pt x="17" y="47"/>
                  </a:cubicBezTo>
                  <a:cubicBezTo>
                    <a:pt x="10" y="47"/>
                    <a:pt x="7" y="43"/>
                    <a:pt x="7"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 name="Freeform 137"/>
            <p:cNvSpPr>
              <a:spLocks noEditPoints="1"/>
            </p:cNvSpPr>
            <p:nvPr/>
          </p:nvSpPr>
          <p:spPr bwMode="auto">
            <a:xfrm>
              <a:off x="8163005" y="4532562"/>
              <a:ext cx="51814" cy="58743"/>
            </a:xfrm>
            <a:custGeom>
              <a:avLst/>
              <a:gdLst>
                <a:gd name="T0" fmla="*/ 22 w 31"/>
                <a:gd name="T1" fmla="*/ 33 h 37"/>
                <a:gd name="T2" fmla="*/ 12 w 31"/>
                <a:gd name="T3" fmla="*/ 37 h 37"/>
                <a:gd name="T4" fmla="*/ 0 w 31"/>
                <a:gd name="T5" fmla="*/ 26 h 37"/>
                <a:gd name="T6" fmla="*/ 6 w 31"/>
                <a:gd name="T7" fmla="*/ 16 h 37"/>
                <a:gd name="T8" fmla="*/ 15 w 31"/>
                <a:gd name="T9" fmla="*/ 14 h 37"/>
                <a:gd name="T10" fmla="*/ 21 w 31"/>
                <a:gd name="T11" fmla="*/ 14 h 37"/>
                <a:gd name="T12" fmla="*/ 21 w 31"/>
                <a:gd name="T13" fmla="*/ 13 h 37"/>
                <a:gd name="T14" fmla="*/ 15 w 31"/>
                <a:gd name="T15" fmla="*/ 7 h 37"/>
                <a:gd name="T16" fmla="*/ 5 w 31"/>
                <a:gd name="T17" fmla="*/ 9 h 37"/>
                <a:gd name="T18" fmla="*/ 3 w 31"/>
                <a:gd name="T19" fmla="*/ 4 h 37"/>
                <a:gd name="T20" fmla="*/ 16 w 31"/>
                <a:gd name="T21" fmla="*/ 0 h 37"/>
                <a:gd name="T22" fmla="*/ 30 w 31"/>
                <a:gd name="T23" fmla="*/ 13 h 37"/>
                <a:gd name="T24" fmla="*/ 30 w 31"/>
                <a:gd name="T25" fmla="*/ 27 h 37"/>
                <a:gd name="T26" fmla="*/ 31 w 31"/>
                <a:gd name="T27" fmla="*/ 36 h 37"/>
                <a:gd name="T28" fmla="*/ 24 w 31"/>
                <a:gd name="T29" fmla="*/ 36 h 37"/>
                <a:gd name="T30" fmla="*/ 22 w 31"/>
                <a:gd name="T31" fmla="*/ 33 h 37"/>
                <a:gd name="T32" fmla="*/ 17 w 31"/>
                <a:gd name="T33" fmla="*/ 20 h 37"/>
                <a:gd name="T34" fmla="*/ 12 w 31"/>
                <a:gd name="T35" fmla="*/ 21 h 37"/>
                <a:gd name="T36" fmla="*/ 9 w 31"/>
                <a:gd name="T37" fmla="*/ 25 h 37"/>
                <a:gd name="T38" fmla="*/ 15 w 31"/>
                <a:gd name="T39" fmla="*/ 30 h 37"/>
                <a:gd name="T40" fmla="*/ 21 w 31"/>
                <a:gd name="T41" fmla="*/ 27 h 37"/>
                <a:gd name="T42" fmla="*/ 21 w 31"/>
                <a:gd name="T43" fmla="*/ 20 h 37"/>
                <a:gd name="T44" fmla="*/ 17 w 31"/>
                <a:gd name="T45"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7">
                  <a:moveTo>
                    <a:pt x="22" y="33"/>
                  </a:moveTo>
                  <a:cubicBezTo>
                    <a:pt x="20" y="35"/>
                    <a:pt x="16" y="37"/>
                    <a:pt x="12" y="37"/>
                  </a:cubicBezTo>
                  <a:cubicBezTo>
                    <a:pt x="5" y="37"/>
                    <a:pt x="0" y="32"/>
                    <a:pt x="0" y="26"/>
                  </a:cubicBezTo>
                  <a:cubicBezTo>
                    <a:pt x="0" y="21"/>
                    <a:pt x="3" y="18"/>
                    <a:pt x="6" y="16"/>
                  </a:cubicBezTo>
                  <a:cubicBezTo>
                    <a:pt x="9" y="15"/>
                    <a:pt x="12" y="14"/>
                    <a:pt x="15" y="14"/>
                  </a:cubicBezTo>
                  <a:cubicBezTo>
                    <a:pt x="21" y="14"/>
                    <a:pt x="21" y="14"/>
                    <a:pt x="21" y="14"/>
                  </a:cubicBezTo>
                  <a:cubicBezTo>
                    <a:pt x="21" y="13"/>
                    <a:pt x="21" y="13"/>
                    <a:pt x="21" y="13"/>
                  </a:cubicBezTo>
                  <a:cubicBezTo>
                    <a:pt x="21" y="9"/>
                    <a:pt x="19" y="7"/>
                    <a:pt x="15" y="7"/>
                  </a:cubicBezTo>
                  <a:cubicBezTo>
                    <a:pt x="11" y="7"/>
                    <a:pt x="8" y="8"/>
                    <a:pt x="5" y="9"/>
                  </a:cubicBezTo>
                  <a:cubicBezTo>
                    <a:pt x="3" y="4"/>
                    <a:pt x="3" y="4"/>
                    <a:pt x="3" y="4"/>
                  </a:cubicBezTo>
                  <a:cubicBezTo>
                    <a:pt x="7" y="1"/>
                    <a:pt x="11" y="0"/>
                    <a:pt x="16" y="0"/>
                  </a:cubicBezTo>
                  <a:cubicBezTo>
                    <a:pt x="26" y="0"/>
                    <a:pt x="30" y="4"/>
                    <a:pt x="30" y="13"/>
                  </a:cubicBezTo>
                  <a:cubicBezTo>
                    <a:pt x="30" y="27"/>
                    <a:pt x="30" y="27"/>
                    <a:pt x="30" y="27"/>
                  </a:cubicBezTo>
                  <a:cubicBezTo>
                    <a:pt x="30" y="31"/>
                    <a:pt x="30" y="34"/>
                    <a:pt x="31" y="36"/>
                  </a:cubicBezTo>
                  <a:cubicBezTo>
                    <a:pt x="24" y="36"/>
                    <a:pt x="24" y="36"/>
                    <a:pt x="24" y="36"/>
                  </a:cubicBezTo>
                  <a:lnTo>
                    <a:pt x="22" y="33"/>
                  </a:lnTo>
                  <a:close/>
                  <a:moveTo>
                    <a:pt x="17" y="20"/>
                  </a:moveTo>
                  <a:cubicBezTo>
                    <a:pt x="14" y="20"/>
                    <a:pt x="13" y="20"/>
                    <a:pt x="12" y="21"/>
                  </a:cubicBezTo>
                  <a:cubicBezTo>
                    <a:pt x="10" y="22"/>
                    <a:pt x="9" y="23"/>
                    <a:pt x="9" y="25"/>
                  </a:cubicBezTo>
                  <a:cubicBezTo>
                    <a:pt x="9" y="28"/>
                    <a:pt x="11" y="30"/>
                    <a:pt x="15" y="30"/>
                  </a:cubicBezTo>
                  <a:cubicBezTo>
                    <a:pt x="18" y="30"/>
                    <a:pt x="20" y="28"/>
                    <a:pt x="21" y="27"/>
                  </a:cubicBezTo>
                  <a:cubicBezTo>
                    <a:pt x="21" y="20"/>
                    <a:pt x="21" y="20"/>
                    <a:pt x="21" y="20"/>
                  </a:cubicBezTo>
                  <a:lnTo>
                    <a:pt x="17"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39" name="Group 138"/>
          <p:cNvGrpSpPr/>
          <p:nvPr userDrawn="1"/>
        </p:nvGrpSpPr>
        <p:grpSpPr>
          <a:xfrm>
            <a:off x="7686461" y="4906654"/>
            <a:ext cx="1124815" cy="151147"/>
            <a:chOff x="7686461" y="4581466"/>
            <a:chExt cx="1124815" cy="151147"/>
          </a:xfrm>
          <a:solidFill>
            <a:schemeClr val="bg1"/>
          </a:solidFill>
        </p:grpSpPr>
        <p:sp>
          <p:nvSpPr>
            <p:cNvPr id="140"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41"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42"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43"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44"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45"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46"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47"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48"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49"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50"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51"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52"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53"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54"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grpSp>
      <p:sp>
        <p:nvSpPr>
          <p:cNvPr id="74"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solidFill>
                  <a:schemeClr val="accent4">
                    <a:lumMod val="50000"/>
                  </a:schemeClr>
                </a:solidFill>
                <a:latin typeface="+mn-lt"/>
              </a:rPr>
              <a:t>Private and Confidental</a:t>
            </a:r>
            <a:endParaRPr lang="pt-BR" sz="500" dirty="0">
              <a:solidFill>
                <a:schemeClr val="accent4">
                  <a:lumMod val="50000"/>
                </a:schemeClr>
              </a:solidFill>
              <a:latin typeface="+mn-lt"/>
            </a:endParaRPr>
          </a:p>
        </p:txBody>
      </p:sp>
    </p:spTree>
    <p:extLst>
      <p:ext uri="{BB962C8B-B14F-4D97-AF65-F5344CB8AC3E}">
        <p14:creationId xmlns:p14="http://schemas.microsoft.com/office/powerpoint/2010/main" val="2928066553"/>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_V_MB_Slate3">
    <p:bg>
      <p:bgPr>
        <a:solidFill>
          <a:schemeClr val="bg1"/>
        </a:solidFill>
        <a:effectLst/>
      </p:bgPr>
    </p:bg>
    <p:spTree>
      <p:nvGrpSpPr>
        <p:cNvPr id="1" name=""/>
        <p:cNvGrpSpPr/>
        <p:nvPr/>
      </p:nvGrpSpPr>
      <p:grpSpPr>
        <a:xfrm>
          <a:off x="0" y="0"/>
          <a:ext cx="0" cy="0"/>
          <a:chOff x="0" y="0"/>
          <a:chExt cx="0" cy="0"/>
        </a:xfrm>
      </p:grpSpPr>
      <p:sp>
        <p:nvSpPr>
          <p:cNvPr id="31" name="Rectangle 30"/>
          <p:cNvSpPr/>
          <p:nvPr userDrawn="1"/>
        </p:nvSpPr>
        <p:spPr>
          <a:xfrm>
            <a:off x="0" y="0"/>
            <a:ext cx="9144000" cy="5148263"/>
          </a:xfrm>
          <a:prstGeom prst="rect">
            <a:avLst/>
          </a:prstGeom>
          <a:solidFill>
            <a:srgbClr val="4B4E53"/>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en-GB" sz="1050" smtClean="0">
              <a:solidFill>
                <a:schemeClr val="bg1"/>
              </a:solidFill>
              <a:latin typeface="Arial" panose="020B0604020202020204" pitchFamily="34" charset="0"/>
              <a:cs typeface="Arial" panose="020B0604020202020204" pitchFamily="34" charset="0"/>
            </a:endParaRPr>
          </a:p>
        </p:txBody>
      </p:sp>
      <p:pic>
        <p:nvPicPr>
          <p:cNvPr id="33" name="Picture 32" descr="cookie_white.png"/>
          <p:cNvPicPr>
            <a:picLocks noChangeAspect="1"/>
          </p:cNvPicPr>
          <p:nvPr userDrawn="1"/>
        </p:nvPicPr>
        <p:blipFill rotWithShape="1">
          <a:blip r:embed="rId2" cstate="screen">
            <a:alphaModFix amt="16000"/>
            <a:extLst>
              <a:ext uri="{28A0092B-C50C-407E-A947-70E740481C1C}">
                <a14:useLocalDpi xmlns:a14="http://schemas.microsoft.com/office/drawing/2010/main"/>
              </a:ext>
            </a:extLst>
          </a:blip>
          <a:srcRect/>
          <a:stretch/>
        </p:blipFill>
        <p:spPr>
          <a:xfrm flipH="1">
            <a:off x="5149029" y="2289839"/>
            <a:ext cx="4020091" cy="2880000"/>
          </a:xfrm>
          <a:prstGeom prst="rect">
            <a:avLst/>
          </a:prstGeom>
        </p:spPr>
      </p:pic>
      <p:cxnSp>
        <p:nvCxnSpPr>
          <p:cNvPr id="32" name="Straight Connector 31"/>
          <p:cNvCxnSpPr/>
          <p:nvPr userDrawn="1"/>
        </p:nvCxnSpPr>
        <p:spPr>
          <a:xfrm>
            <a:off x="343365" y="470176"/>
            <a:ext cx="8460000" cy="0"/>
          </a:xfrm>
          <a:prstGeom prst="line">
            <a:avLst/>
          </a:prstGeom>
          <a:ln w="6350" cmpd="sng">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343365" y="4801146"/>
            <a:ext cx="8460000" cy="0"/>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sp>
        <p:nvSpPr>
          <p:cNvPr id="67"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rgbClr val="FFFFFF"/>
                </a:solidFill>
                <a:latin typeface="+mn-lt"/>
              </a:defRPr>
            </a:lvl1pPr>
          </a:lstStyle>
          <a:p>
            <a:fld id="{19AB4E72-7858-48F1-A40D-12FF09E4BFB8}" type="slidenum">
              <a:rPr lang="en-GB" smtClean="0"/>
              <a:pPr/>
              <a:t>‹Nº›</a:t>
            </a:fld>
            <a:endParaRPr lang="en-GB"/>
          </a:p>
        </p:txBody>
      </p:sp>
      <p:sp>
        <p:nvSpPr>
          <p:cNvPr id="36" name="Title 1"/>
          <p:cNvSpPr>
            <a:spLocks noGrp="1"/>
          </p:cNvSpPr>
          <p:nvPr>
            <p:ph type="ctrTitle" hasCustomPrompt="1"/>
          </p:nvPr>
        </p:nvSpPr>
        <p:spPr>
          <a:xfrm>
            <a:off x="343365" y="2867487"/>
            <a:ext cx="8460000" cy="443198"/>
          </a:xfrm>
          <a:prstGeom prst="rect">
            <a:avLst/>
          </a:prstGeom>
        </p:spPr>
        <p:txBody>
          <a:bodyPr lIns="0" tIns="0" rIns="0" bIns="0" anchor="b"/>
          <a:lstStyle>
            <a:lvl1pPr>
              <a:lnSpc>
                <a:spcPct val="90000"/>
              </a:lnSpc>
              <a:defRPr sz="3200" b="0">
                <a:solidFill>
                  <a:schemeClr val="bg1"/>
                </a:solidFill>
              </a:defRPr>
            </a:lvl1pPr>
          </a:lstStyle>
          <a:p>
            <a:r>
              <a:rPr lang="en-US" dirty="0" smtClean="0"/>
              <a:t>Click to edit Master title Style</a:t>
            </a:r>
            <a:endParaRPr lang="en-US" dirty="0"/>
          </a:p>
        </p:txBody>
      </p:sp>
      <p:sp>
        <p:nvSpPr>
          <p:cNvPr id="37" name="Subtitle 2"/>
          <p:cNvSpPr>
            <a:spLocks noGrp="1"/>
          </p:cNvSpPr>
          <p:nvPr>
            <p:ph type="subTitle" idx="1" hasCustomPrompt="1"/>
          </p:nvPr>
        </p:nvSpPr>
        <p:spPr>
          <a:xfrm>
            <a:off x="343364" y="3474100"/>
            <a:ext cx="8460000" cy="202165"/>
          </a:xfrm>
          <a:prstGeom prst="rect">
            <a:avLst/>
          </a:prstGeom>
        </p:spPr>
        <p:txBody>
          <a:bodyPr lIns="0" tIns="0" rIns="0" bIns="0">
            <a:noAutofit/>
          </a:bodyPr>
          <a:lstStyle>
            <a:lvl1pPr marL="0" indent="0" algn="l">
              <a:buNone/>
              <a:defRPr sz="1400">
                <a:solidFill>
                  <a:schemeClr val="tx2"/>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cxnSp>
        <p:nvCxnSpPr>
          <p:cNvPr id="38" name="Straight Connector 37"/>
          <p:cNvCxnSpPr/>
          <p:nvPr userDrawn="1"/>
        </p:nvCxnSpPr>
        <p:spPr>
          <a:xfrm>
            <a:off x="346086" y="3395058"/>
            <a:ext cx="8460000" cy="0"/>
          </a:xfrm>
          <a:prstGeom prst="line">
            <a:avLst/>
          </a:prstGeom>
          <a:ln w="12700" cmpd="sng">
            <a:solidFill>
              <a:schemeClr val="bg1"/>
            </a:solidFill>
          </a:ln>
        </p:spPr>
        <p:style>
          <a:lnRef idx="1">
            <a:schemeClr val="accent1"/>
          </a:lnRef>
          <a:fillRef idx="0">
            <a:schemeClr val="accent1"/>
          </a:fillRef>
          <a:effectRef idx="0">
            <a:schemeClr val="accent1"/>
          </a:effectRef>
          <a:fontRef idx="minor">
            <a:schemeClr val="tx1"/>
          </a:fontRef>
        </p:style>
      </p:cxnSp>
      <p:grpSp>
        <p:nvGrpSpPr>
          <p:cNvPr id="52" name="Group 51"/>
          <p:cNvGrpSpPr/>
          <p:nvPr userDrawn="1"/>
        </p:nvGrpSpPr>
        <p:grpSpPr>
          <a:xfrm>
            <a:off x="6219557" y="4840100"/>
            <a:ext cx="1123200" cy="233974"/>
            <a:chOff x="7665803" y="4864376"/>
            <a:chExt cx="1123200" cy="233974"/>
          </a:xfrm>
          <a:solidFill>
            <a:schemeClr val="bg1"/>
          </a:solidFill>
        </p:grpSpPr>
        <p:sp>
          <p:nvSpPr>
            <p:cNvPr id="53" name="Freeform 6"/>
            <p:cNvSpPr>
              <a:spLocks/>
            </p:cNvSpPr>
            <p:nvPr userDrawn="1"/>
          </p:nvSpPr>
          <p:spPr bwMode="auto">
            <a:xfrm>
              <a:off x="8119644" y="4924717"/>
              <a:ext cx="103102" cy="66806"/>
            </a:xfrm>
            <a:custGeom>
              <a:avLst/>
              <a:gdLst>
                <a:gd name="T0" fmla="*/ 111 w 136"/>
                <a:gd name="T1" fmla="*/ 72 h 92"/>
                <a:gd name="T2" fmla="*/ 87 w 136"/>
                <a:gd name="T3" fmla="*/ 88 h 92"/>
                <a:gd name="T4" fmla="*/ 68 w 136"/>
                <a:gd name="T5" fmla="*/ 28 h 92"/>
                <a:gd name="T6" fmla="*/ 67 w 136"/>
                <a:gd name="T7" fmla="*/ 28 h 92"/>
                <a:gd name="T8" fmla="*/ 53 w 136"/>
                <a:gd name="T9" fmla="*/ 72 h 92"/>
                <a:gd name="T10" fmla="*/ 31 w 136"/>
                <a:gd name="T11" fmla="*/ 88 h 92"/>
                <a:gd name="T12" fmla="*/ 0 w 136"/>
                <a:gd name="T13" fmla="*/ 0 h 92"/>
                <a:gd name="T14" fmla="*/ 22 w 136"/>
                <a:gd name="T15" fmla="*/ 0 h 92"/>
                <a:gd name="T16" fmla="*/ 41 w 136"/>
                <a:gd name="T17" fmla="*/ 60 h 92"/>
                <a:gd name="T18" fmla="*/ 41 w 136"/>
                <a:gd name="T19" fmla="*/ 60 h 92"/>
                <a:gd name="T20" fmla="*/ 60 w 136"/>
                <a:gd name="T21" fmla="*/ 0 h 92"/>
                <a:gd name="T22" fmla="*/ 77 w 136"/>
                <a:gd name="T23" fmla="*/ 0 h 92"/>
                <a:gd name="T24" fmla="*/ 96 w 136"/>
                <a:gd name="T25" fmla="*/ 60 h 92"/>
                <a:gd name="T26" fmla="*/ 97 w 136"/>
                <a:gd name="T27" fmla="*/ 60 h 92"/>
                <a:gd name="T28" fmla="*/ 115 w 136"/>
                <a:gd name="T29" fmla="*/ 0 h 92"/>
                <a:gd name="T30" fmla="*/ 136 w 136"/>
                <a:gd name="T31" fmla="*/ 0 h 92"/>
                <a:gd name="T32" fmla="*/ 111 w 136"/>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 h="92">
                  <a:moveTo>
                    <a:pt x="111" y="72"/>
                  </a:moveTo>
                  <a:cubicBezTo>
                    <a:pt x="103" y="92"/>
                    <a:pt x="87" y="88"/>
                    <a:pt x="87" y="88"/>
                  </a:cubicBezTo>
                  <a:cubicBezTo>
                    <a:pt x="68" y="28"/>
                    <a:pt x="68" y="28"/>
                    <a:pt x="68" y="28"/>
                  </a:cubicBezTo>
                  <a:cubicBezTo>
                    <a:pt x="67" y="28"/>
                    <a:pt x="67" y="28"/>
                    <a:pt x="67" y="28"/>
                  </a:cubicBezTo>
                  <a:cubicBezTo>
                    <a:pt x="67" y="28"/>
                    <a:pt x="58"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6" y="60"/>
                    <a:pt x="96" y="60"/>
                    <a:pt x="96" y="60"/>
                  </a:cubicBezTo>
                  <a:cubicBezTo>
                    <a:pt x="97" y="60"/>
                    <a:pt x="97" y="60"/>
                    <a:pt x="97" y="60"/>
                  </a:cubicBezTo>
                  <a:cubicBezTo>
                    <a:pt x="115" y="0"/>
                    <a:pt x="115" y="0"/>
                    <a:pt x="115" y="0"/>
                  </a:cubicBezTo>
                  <a:cubicBezTo>
                    <a:pt x="136" y="0"/>
                    <a:pt x="136" y="0"/>
                    <a:pt x="136" y="0"/>
                  </a:cubicBezTo>
                  <a:cubicBezTo>
                    <a:pt x="136"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54" name="Freeform 7"/>
            <p:cNvSpPr>
              <a:spLocks noEditPoints="1"/>
            </p:cNvSpPr>
            <p:nvPr userDrawn="1"/>
          </p:nvSpPr>
          <p:spPr bwMode="auto">
            <a:xfrm>
              <a:off x="8225958" y="4923177"/>
              <a:ext cx="57493" cy="66190"/>
            </a:xfrm>
            <a:custGeom>
              <a:avLst/>
              <a:gdLst>
                <a:gd name="T0" fmla="*/ 57 w 76"/>
                <a:gd name="T1" fmla="*/ 90 h 91"/>
                <a:gd name="T2" fmla="*/ 53 w 76"/>
                <a:gd name="T3" fmla="*/ 81 h 91"/>
                <a:gd name="T4" fmla="*/ 28 w 76"/>
                <a:gd name="T5" fmla="*/ 91 h 91"/>
                <a:gd name="T6" fmla="*/ 0 w 76"/>
                <a:gd name="T7" fmla="*/ 63 h 91"/>
                <a:gd name="T8" fmla="*/ 36 w 76"/>
                <a:gd name="T9" fmla="*/ 34 h 91"/>
                <a:gd name="T10" fmla="*/ 51 w 76"/>
                <a:gd name="T11" fmla="*/ 34 h 91"/>
                <a:gd name="T12" fmla="*/ 51 w 76"/>
                <a:gd name="T13" fmla="*/ 31 h 91"/>
                <a:gd name="T14" fmla="*/ 35 w 76"/>
                <a:gd name="T15" fmla="*/ 17 h 91"/>
                <a:gd name="T16" fmla="*/ 12 w 76"/>
                <a:gd name="T17" fmla="*/ 23 h 91"/>
                <a:gd name="T18" fmla="*/ 5 w 76"/>
                <a:gd name="T19" fmla="*/ 9 h 91"/>
                <a:gd name="T20" fmla="*/ 39 w 76"/>
                <a:gd name="T21" fmla="*/ 0 h 91"/>
                <a:gd name="T22" fmla="*/ 74 w 76"/>
                <a:gd name="T23" fmla="*/ 31 h 91"/>
                <a:gd name="T24" fmla="*/ 74 w 76"/>
                <a:gd name="T25" fmla="*/ 66 h 91"/>
                <a:gd name="T26" fmla="*/ 76 w 76"/>
                <a:gd name="T27" fmla="*/ 90 h 91"/>
                <a:gd name="T28" fmla="*/ 57 w 76"/>
                <a:gd name="T29" fmla="*/ 90 h 91"/>
                <a:gd name="T30" fmla="*/ 51 w 76"/>
                <a:gd name="T31" fmla="*/ 49 h 91"/>
                <a:gd name="T32" fmla="*/ 39 w 76"/>
                <a:gd name="T33" fmla="*/ 49 h 91"/>
                <a:gd name="T34" fmla="*/ 22 w 76"/>
                <a:gd name="T35" fmla="*/ 61 h 91"/>
                <a:gd name="T36" fmla="*/ 36 w 76"/>
                <a:gd name="T37" fmla="*/ 73 h 91"/>
                <a:gd name="T38" fmla="*/ 51 w 76"/>
                <a:gd name="T39" fmla="*/ 68 h 91"/>
                <a:gd name="T40" fmla="*/ 51 w 76"/>
                <a:gd name="T41" fmla="*/ 4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91">
                  <a:moveTo>
                    <a:pt x="57" y="90"/>
                  </a:moveTo>
                  <a:cubicBezTo>
                    <a:pt x="53" y="81"/>
                    <a:pt x="53" y="81"/>
                    <a:pt x="53" y="81"/>
                  </a:cubicBezTo>
                  <a:cubicBezTo>
                    <a:pt x="48" y="86"/>
                    <a:pt x="40" y="91"/>
                    <a:pt x="28" y="91"/>
                  </a:cubicBezTo>
                  <a:cubicBezTo>
                    <a:pt x="12" y="91"/>
                    <a:pt x="0" y="80"/>
                    <a:pt x="0" y="63"/>
                  </a:cubicBezTo>
                  <a:cubicBezTo>
                    <a:pt x="0" y="45"/>
                    <a:pt x="14" y="35"/>
                    <a:pt x="36" y="34"/>
                  </a:cubicBezTo>
                  <a:cubicBezTo>
                    <a:pt x="51" y="34"/>
                    <a:pt x="51" y="34"/>
                    <a:pt x="51" y="34"/>
                  </a:cubicBezTo>
                  <a:cubicBezTo>
                    <a:pt x="51" y="33"/>
                    <a:pt x="51" y="32"/>
                    <a:pt x="51" y="31"/>
                  </a:cubicBezTo>
                  <a:cubicBezTo>
                    <a:pt x="51" y="21"/>
                    <a:pt x="44" y="17"/>
                    <a:pt x="35" y="17"/>
                  </a:cubicBezTo>
                  <a:cubicBezTo>
                    <a:pt x="25" y="17"/>
                    <a:pt x="18" y="20"/>
                    <a:pt x="12" y="23"/>
                  </a:cubicBezTo>
                  <a:cubicBezTo>
                    <a:pt x="5" y="9"/>
                    <a:pt x="5" y="9"/>
                    <a:pt x="5" y="9"/>
                  </a:cubicBezTo>
                  <a:cubicBezTo>
                    <a:pt x="17" y="2"/>
                    <a:pt x="28" y="0"/>
                    <a:pt x="39" y="0"/>
                  </a:cubicBezTo>
                  <a:cubicBezTo>
                    <a:pt x="61" y="0"/>
                    <a:pt x="74" y="9"/>
                    <a:pt x="74" y="31"/>
                  </a:cubicBezTo>
                  <a:cubicBezTo>
                    <a:pt x="74" y="66"/>
                    <a:pt x="74" y="66"/>
                    <a:pt x="74" y="66"/>
                  </a:cubicBezTo>
                  <a:cubicBezTo>
                    <a:pt x="74" y="78"/>
                    <a:pt x="75" y="86"/>
                    <a:pt x="76" y="90"/>
                  </a:cubicBezTo>
                  <a:lnTo>
                    <a:pt x="57" y="90"/>
                  </a:lnTo>
                  <a:close/>
                  <a:moveTo>
                    <a:pt x="51" y="49"/>
                  </a:moveTo>
                  <a:cubicBezTo>
                    <a:pt x="39" y="49"/>
                    <a:pt x="39" y="49"/>
                    <a:pt x="39" y="49"/>
                  </a:cubicBezTo>
                  <a:cubicBezTo>
                    <a:pt x="27" y="50"/>
                    <a:pt x="22" y="54"/>
                    <a:pt x="22" y="61"/>
                  </a:cubicBezTo>
                  <a:cubicBezTo>
                    <a:pt x="22" y="68"/>
                    <a:pt x="27" y="73"/>
                    <a:pt x="36" y="73"/>
                  </a:cubicBezTo>
                  <a:cubicBezTo>
                    <a:pt x="44" y="73"/>
                    <a:pt x="49" y="70"/>
                    <a:pt x="51" y="68"/>
                  </a:cubicBezTo>
                  <a:lnTo>
                    <a:pt x="51" y="4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55" name="Freeform 8"/>
            <p:cNvSpPr>
              <a:spLocks noEditPoints="1"/>
            </p:cNvSpPr>
            <p:nvPr userDrawn="1"/>
          </p:nvSpPr>
          <p:spPr bwMode="auto">
            <a:xfrm>
              <a:off x="8342550" y="4892699"/>
              <a:ext cx="62311" cy="96668"/>
            </a:xfrm>
            <a:custGeom>
              <a:avLst/>
              <a:gdLst>
                <a:gd name="T0" fmla="*/ 47 w 82"/>
                <a:gd name="T1" fmla="*/ 133 h 133"/>
                <a:gd name="T2" fmla="*/ 0 w 82"/>
                <a:gd name="T3" fmla="*/ 88 h 133"/>
                <a:gd name="T4" fmla="*/ 48 w 82"/>
                <a:gd name="T5" fmla="*/ 42 h 133"/>
                <a:gd name="T6" fmla="*/ 59 w 82"/>
                <a:gd name="T7" fmla="*/ 42 h 133"/>
                <a:gd name="T8" fmla="*/ 60 w 82"/>
                <a:gd name="T9" fmla="*/ 0 h 133"/>
                <a:gd name="T10" fmla="*/ 82 w 82"/>
                <a:gd name="T11" fmla="*/ 0 h 133"/>
                <a:gd name="T12" fmla="*/ 81 w 82"/>
                <a:gd name="T13" fmla="*/ 126 h 133"/>
                <a:gd name="T14" fmla="*/ 47 w 82"/>
                <a:gd name="T15" fmla="*/ 133 h 133"/>
                <a:gd name="T16" fmla="*/ 59 w 82"/>
                <a:gd name="T17" fmla="*/ 60 h 133"/>
                <a:gd name="T18" fmla="*/ 49 w 82"/>
                <a:gd name="T19" fmla="*/ 59 h 133"/>
                <a:gd name="T20" fmla="*/ 22 w 82"/>
                <a:gd name="T21" fmla="*/ 87 h 133"/>
                <a:gd name="T22" fmla="*/ 49 w 82"/>
                <a:gd name="T23" fmla="*/ 114 h 133"/>
                <a:gd name="T24" fmla="*/ 59 w 82"/>
                <a:gd name="T25" fmla="*/ 113 h 133"/>
                <a:gd name="T26" fmla="*/ 59 w 82"/>
                <a:gd name="T27" fmla="*/ 6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3">
                  <a:moveTo>
                    <a:pt x="47" y="133"/>
                  </a:moveTo>
                  <a:cubicBezTo>
                    <a:pt x="21" y="133"/>
                    <a:pt x="0" y="117"/>
                    <a:pt x="0" y="88"/>
                  </a:cubicBezTo>
                  <a:cubicBezTo>
                    <a:pt x="0" y="61"/>
                    <a:pt x="20" y="42"/>
                    <a:pt x="48" y="42"/>
                  </a:cubicBezTo>
                  <a:cubicBezTo>
                    <a:pt x="52" y="42"/>
                    <a:pt x="56" y="42"/>
                    <a:pt x="59" y="42"/>
                  </a:cubicBezTo>
                  <a:cubicBezTo>
                    <a:pt x="60" y="0"/>
                    <a:pt x="60" y="0"/>
                    <a:pt x="60" y="0"/>
                  </a:cubicBezTo>
                  <a:cubicBezTo>
                    <a:pt x="82" y="0"/>
                    <a:pt x="82" y="0"/>
                    <a:pt x="82" y="0"/>
                  </a:cubicBezTo>
                  <a:cubicBezTo>
                    <a:pt x="81" y="126"/>
                    <a:pt x="81" y="126"/>
                    <a:pt x="81" y="126"/>
                  </a:cubicBezTo>
                  <a:cubicBezTo>
                    <a:pt x="73" y="130"/>
                    <a:pt x="62" y="133"/>
                    <a:pt x="47" y="133"/>
                  </a:cubicBezTo>
                  <a:close/>
                  <a:moveTo>
                    <a:pt x="59" y="60"/>
                  </a:moveTo>
                  <a:cubicBezTo>
                    <a:pt x="56" y="60"/>
                    <a:pt x="54" y="59"/>
                    <a:pt x="49" y="59"/>
                  </a:cubicBezTo>
                  <a:cubicBezTo>
                    <a:pt x="33" y="59"/>
                    <a:pt x="22" y="70"/>
                    <a:pt x="22" y="87"/>
                  </a:cubicBezTo>
                  <a:cubicBezTo>
                    <a:pt x="22" y="103"/>
                    <a:pt x="32" y="114"/>
                    <a:pt x="49" y="114"/>
                  </a:cubicBezTo>
                  <a:cubicBezTo>
                    <a:pt x="53" y="114"/>
                    <a:pt x="57" y="114"/>
                    <a:pt x="59" y="113"/>
                  </a:cubicBezTo>
                  <a:lnTo>
                    <a:pt x="59" y="60"/>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6" name="Freeform 9"/>
            <p:cNvSpPr>
              <a:spLocks/>
            </p:cNvSpPr>
            <p:nvPr userDrawn="1"/>
          </p:nvSpPr>
          <p:spPr bwMode="auto">
            <a:xfrm>
              <a:off x="8093949"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8" name="Freeform 10"/>
            <p:cNvSpPr>
              <a:spLocks/>
            </p:cNvSpPr>
            <p:nvPr userDrawn="1"/>
          </p:nvSpPr>
          <p:spPr bwMode="auto">
            <a:xfrm>
              <a:off x="8060545"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9" name="Freeform 11"/>
            <p:cNvSpPr>
              <a:spLocks/>
            </p:cNvSpPr>
            <p:nvPr userDrawn="1"/>
          </p:nvSpPr>
          <p:spPr bwMode="auto">
            <a:xfrm>
              <a:off x="8297262" y="4923177"/>
              <a:ext cx="43039" cy="66190"/>
            </a:xfrm>
            <a:custGeom>
              <a:avLst/>
              <a:gdLst>
                <a:gd name="T0" fmla="*/ 49 w 57"/>
                <a:gd name="T1" fmla="*/ 22 h 91"/>
                <a:gd name="T2" fmla="*/ 39 w 57"/>
                <a:gd name="T3" fmla="*/ 20 h 91"/>
                <a:gd name="T4" fmla="*/ 22 w 57"/>
                <a:gd name="T5" fmla="*/ 27 h 91"/>
                <a:gd name="T6" fmla="*/ 22 w 57"/>
                <a:gd name="T7" fmla="*/ 74 h 91"/>
                <a:gd name="T8" fmla="*/ 0 w 57"/>
                <a:gd name="T9" fmla="*/ 90 h 91"/>
                <a:gd name="T10" fmla="*/ 0 w 57"/>
                <a:gd name="T11" fmla="*/ 2 h 91"/>
                <a:gd name="T12" fmla="*/ 18 w 57"/>
                <a:gd name="T13" fmla="*/ 2 h 91"/>
                <a:gd name="T14" fmla="*/ 21 w 57"/>
                <a:gd name="T15" fmla="*/ 11 h 91"/>
                <a:gd name="T16" fmla="*/ 45 w 57"/>
                <a:gd name="T17" fmla="*/ 0 h 91"/>
                <a:gd name="T18" fmla="*/ 57 w 57"/>
                <a:gd name="T19" fmla="*/ 4 h 91"/>
                <a:gd name="T20" fmla="*/ 49 w 57"/>
                <a:gd name="T21" fmla="*/ 2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1">
                  <a:moveTo>
                    <a:pt x="49" y="22"/>
                  </a:moveTo>
                  <a:cubicBezTo>
                    <a:pt x="45" y="20"/>
                    <a:pt x="41" y="20"/>
                    <a:pt x="39" y="20"/>
                  </a:cubicBezTo>
                  <a:cubicBezTo>
                    <a:pt x="34" y="20"/>
                    <a:pt x="28" y="22"/>
                    <a:pt x="22" y="27"/>
                  </a:cubicBezTo>
                  <a:cubicBezTo>
                    <a:pt x="22" y="27"/>
                    <a:pt x="22" y="57"/>
                    <a:pt x="22" y="74"/>
                  </a:cubicBezTo>
                  <a:cubicBezTo>
                    <a:pt x="22" y="91"/>
                    <a:pt x="0" y="90"/>
                    <a:pt x="0" y="90"/>
                  </a:cubicBezTo>
                  <a:cubicBezTo>
                    <a:pt x="0" y="2"/>
                    <a:pt x="0" y="2"/>
                    <a:pt x="0" y="2"/>
                  </a:cubicBezTo>
                  <a:cubicBezTo>
                    <a:pt x="18" y="2"/>
                    <a:pt x="18" y="2"/>
                    <a:pt x="18"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0" name="Freeform 12"/>
            <p:cNvSpPr>
              <a:spLocks/>
            </p:cNvSpPr>
            <p:nvPr userDrawn="1"/>
          </p:nvSpPr>
          <p:spPr bwMode="auto">
            <a:xfrm>
              <a:off x="7907980" y="4892699"/>
              <a:ext cx="98605" cy="95129"/>
            </a:xfrm>
            <a:custGeom>
              <a:avLst/>
              <a:gdLst>
                <a:gd name="T0" fmla="*/ 106 w 130"/>
                <a:gd name="T1" fmla="*/ 131 h 131"/>
                <a:gd name="T2" fmla="*/ 106 w 130"/>
                <a:gd name="T3" fmla="*/ 53 h 131"/>
                <a:gd name="T4" fmla="*/ 107 w 130"/>
                <a:gd name="T5" fmla="*/ 39 h 131"/>
                <a:gd name="T6" fmla="*/ 106 w 130"/>
                <a:gd name="T7" fmla="*/ 39 h 131"/>
                <a:gd name="T8" fmla="*/ 99 w 130"/>
                <a:gd name="T9" fmla="*/ 52 h 131"/>
                <a:gd name="T10" fmla="*/ 72 w 130"/>
                <a:gd name="T11" fmla="*/ 93 h 131"/>
                <a:gd name="T12" fmla="*/ 60 w 130"/>
                <a:gd name="T13" fmla="*/ 93 h 131"/>
                <a:gd name="T14" fmla="*/ 32 w 130"/>
                <a:gd name="T15" fmla="*/ 51 h 131"/>
                <a:gd name="T16" fmla="*/ 24 w 130"/>
                <a:gd name="T17" fmla="*/ 39 h 131"/>
                <a:gd name="T18" fmla="*/ 23 w 130"/>
                <a:gd name="T19" fmla="*/ 39 h 131"/>
                <a:gd name="T20" fmla="*/ 24 w 130"/>
                <a:gd name="T21" fmla="*/ 52 h 131"/>
                <a:gd name="T22" fmla="*/ 24 w 130"/>
                <a:gd name="T23" fmla="*/ 131 h 131"/>
                <a:gd name="T24" fmla="*/ 0 w 130"/>
                <a:gd name="T25" fmla="*/ 131 h 131"/>
                <a:gd name="T26" fmla="*/ 0 w 130"/>
                <a:gd name="T27" fmla="*/ 0 h 131"/>
                <a:gd name="T28" fmla="*/ 22 w 130"/>
                <a:gd name="T29" fmla="*/ 0 h 131"/>
                <a:gd name="T30" fmla="*/ 58 w 130"/>
                <a:gd name="T31" fmla="*/ 52 h 131"/>
                <a:gd name="T32" fmla="*/ 66 w 130"/>
                <a:gd name="T33" fmla="*/ 66 h 131"/>
                <a:gd name="T34" fmla="*/ 67 w 130"/>
                <a:gd name="T35" fmla="*/ 66 h 131"/>
                <a:gd name="T36" fmla="*/ 75 w 130"/>
                <a:gd name="T37" fmla="*/ 52 h 131"/>
                <a:gd name="T38" fmla="*/ 108 w 130"/>
                <a:gd name="T39" fmla="*/ 0 h 131"/>
                <a:gd name="T40" fmla="*/ 130 w 130"/>
                <a:gd name="T41" fmla="*/ 0 h 131"/>
                <a:gd name="T42" fmla="*/ 130 w 130"/>
                <a:gd name="T43" fmla="*/ 131 h 131"/>
                <a:gd name="T44" fmla="*/ 106 w 130"/>
                <a:gd name="T45"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0" h="131">
                  <a:moveTo>
                    <a:pt x="106" y="131"/>
                  </a:moveTo>
                  <a:cubicBezTo>
                    <a:pt x="106" y="53"/>
                    <a:pt x="106" y="53"/>
                    <a:pt x="106" y="53"/>
                  </a:cubicBezTo>
                  <a:cubicBezTo>
                    <a:pt x="106" y="48"/>
                    <a:pt x="106" y="44"/>
                    <a:pt x="107" y="39"/>
                  </a:cubicBezTo>
                  <a:cubicBezTo>
                    <a:pt x="106" y="39"/>
                    <a:pt x="106" y="39"/>
                    <a:pt x="106" y="39"/>
                  </a:cubicBezTo>
                  <a:cubicBezTo>
                    <a:pt x="105" y="43"/>
                    <a:pt x="101" y="49"/>
                    <a:pt x="99" y="52"/>
                  </a:cubicBezTo>
                  <a:cubicBezTo>
                    <a:pt x="72" y="93"/>
                    <a:pt x="72" y="93"/>
                    <a:pt x="72" y="93"/>
                  </a:cubicBezTo>
                  <a:cubicBezTo>
                    <a:pt x="60" y="93"/>
                    <a:pt x="60" y="93"/>
                    <a:pt x="60" y="93"/>
                  </a:cubicBezTo>
                  <a:cubicBezTo>
                    <a:pt x="32" y="51"/>
                    <a:pt x="32" y="51"/>
                    <a:pt x="32" y="51"/>
                  </a:cubicBezTo>
                  <a:cubicBezTo>
                    <a:pt x="29" y="48"/>
                    <a:pt x="26" y="44"/>
                    <a:pt x="24" y="39"/>
                  </a:cubicBezTo>
                  <a:cubicBezTo>
                    <a:pt x="23" y="39"/>
                    <a:pt x="23" y="39"/>
                    <a:pt x="23" y="39"/>
                  </a:cubicBezTo>
                  <a:cubicBezTo>
                    <a:pt x="24" y="44"/>
                    <a:pt x="24" y="48"/>
                    <a:pt x="24" y="52"/>
                  </a:cubicBezTo>
                  <a:cubicBezTo>
                    <a:pt x="24" y="131"/>
                    <a:pt x="24" y="131"/>
                    <a:pt x="24" y="131"/>
                  </a:cubicBezTo>
                  <a:cubicBezTo>
                    <a:pt x="0" y="131"/>
                    <a:pt x="0" y="131"/>
                    <a:pt x="0" y="131"/>
                  </a:cubicBezTo>
                  <a:cubicBezTo>
                    <a:pt x="0" y="0"/>
                    <a:pt x="0" y="0"/>
                    <a:pt x="0" y="0"/>
                  </a:cubicBezTo>
                  <a:cubicBezTo>
                    <a:pt x="22" y="0"/>
                    <a:pt x="22" y="0"/>
                    <a:pt x="22" y="0"/>
                  </a:cubicBezTo>
                  <a:cubicBezTo>
                    <a:pt x="58" y="52"/>
                    <a:pt x="58" y="52"/>
                    <a:pt x="58" y="52"/>
                  </a:cubicBezTo>
                  <a:cubicBezTo>
                    <a:pt x="61" y="57"/>
                    <a:pt x="64" y="61"/>
                    <a:pt x="66" y="66"/>
                  </a:cubicBezTo>
                  <a:cubicBezTo>
                    <a:pt x="67" y="66"/>
                    <a:pt x="67" y="66"/>
                    <a:pt x="67" y="66"/>
                  </a:cubicBezTo>
                  <a:cubicBezTo>
                    <a:pt x="69" y="61"/>
                    <a:pt x="71" y="57"/>
                    <a:pt x="75" y="52"/>
                  </a:cubicBezTo>
                  <a:cubicBezTo>
                    <a:pt x="108" y="0"/>
                    <a:pt x="108" y="0"/>
                    <a:pt x="108" y="0"/>
                  </a:cubicBezTo>
                  <a:cubicBezTo>
                    <a:pt x="130" y="0"/>
                    <a:pt x="130" y="0"/>
                    <a:pt x="130" y="0"/>
                  </a:cubicBezTo>
                  <a:cubicBezTo>
                    <a:pt x="130" y="131"/>
                    <a:pt x="130" y="131"/>
                    <a:pt x="130" y="131"/>
                  </a:cubicBezTo>
                  <a:lnTo>
                    <a:pt x="106" y="131"/>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1" name="Freeform 13"/>
            <p:cNvSpPr>
              <a:spLocks/>
            </p:cNvSpPr>
            <p:nvPr userDrawn="1"/>
          </p:nvSpPr>
          <p:spPr bwMode="auto">
            <a:xfrm>
              <a:off x="7665803" y="4864376"/>
              <a:ext cx="100854" cy="148389"/>
            </a:xfrm>
            <a:custGeom>
              <a:avLst/>
              <a:gdLst>
                <a:gd name="T0" fmla="*/ 133 w 133"/>
                <a:gd name="T1" fmla="*/ 23 h 204"/>
                <a:gd name="T2" fmla="*/ 132 w 133"/>
                <a:gd name="T3" fmla="*/ 22 h 204"/>
                <a:gd name="T4" fmla="*/ 65 w 133"/>
                <a:gd name="T5" fmla="*/ 20 h 204"/>
                <a:gd name="T6" fmla="*/ 52 w 133"/>
                <a:gd name="T7" fmla="*/ 52 h 204"/>
                <a:gd name="T8" fmla="*/ 20 w 133"/>
                <a:gd name="T9" fmla="*/ 65 h 204"/>
                <a:gd name="T10" fmla="*/ 22 w 133"/>
                <a:gd name="T11" fmla="*/ 132 h 204"/>
                <a:gd name="T12" fmla="*/ 95 w 133"/>
                <a:gd name="T13" fmla="*/ 204 h 204"/>
                <a:gd name="T14" fmla="*/ 117 w 133"/>
                <a:gd name="T15" fmla="*/ 182 h 204"/>
                <a:gd name="T16" fmla="*/ 44 w 133"/>
                <a:gd name="T17" fmla="*/ 110 h 204"/>
                <a:gd name="T18" fmla="*/ 42 w 133"/>
                <a:gd name="T19" fmla="*/ 86 h 204"/>
                <a:gd name="T20" fmla="*/ 66 w 133"/>
                <a:gd name="T21" fmla="*/ 88 h 204"/>
                <a:gd name="T22" fmla="*/ 133 w 133"/>
                <a:gd name="T23" fmla="*/ 155 h 204"/>
                <a:gd name="T24" fmla="*/ 133 w 133"/>
                <a:gd name="T25" fmla="*/ 111 h 204"/>
                <a:gd name="T26" fmla="*/ 88 w 133"/>
                <a:gd name="T27" fmla="*/ 66 h 204"/>
                <a:gd name="T28" fmla="*/ 86 w 133"/>
                <a:gd name="T29" fmla="*/ 42 h 204"/>
                <a:gd name="T30" fmla="*/ 110 w 133"/>
                <a:gd name="T31" fmla="*/ 44 h 204"/>
                <a:gd name="T32" fmla="*/ 133 w 133"/>
                <a:gd name="T33" fmla="*/ 66 h 204"/>
                <a:gd name="T34" fmla="*/ 133 w 133"/>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204">
                  <a:moveTo>
                    <a:pt x="133" y="23"/>
                  </a:moveTo>
                  <a:cubicBezTo>
                    <a:pt x="132" y="22"/>
                    <a:pt x="132" y="22"/>
                    <a:pt x="132" y="22"/>
                  </a:cubicBezTo>
                  <a:cubicBezTo>
                    <a:pt x="110" y="0"/>
                    <a:pt x="82" y="2"/>
                    <a:pt x="65" y="20"/>
                  </a:cubicBezTo>
                  <a:cubicBezTo>
                    <a:pt x="53" y="32"/>
                    <a:pt x="51" y="46"/>
                    <a:pt x="52" y="52"/>
                  </a:cubicBezTo>
                  <a:cubicBezTo>
                    <a:pt x="47" y="51"/>
                    <a:pt x="32" y="52"/>
                    <a:pt x="20" y="65"/>
                  </a:cubicBezTo>
                  <a:cubicBezTo>
                    <a:pt x="3" y="82"/>
                    <a:pt x="0" y="110"/>
                    <a:pt x="22" y="132"/>
                  </a:cubicBezTo>
                  <a:cubicBezTo>
                    <a:pt x="95" y="204"/>
                    <a:pt x="95" y="204"/>
                    <a:pt x="95" y="204"/>
                  </a:cubicBezTo>
                  <a:cubicBezTo>
                    <a:pt x="117" y="182"/>
                    <a:pt x="117" y="182"/>
                    <a:pt x="117" y="182"/>
                  </a:cubicBezTo>
                  <a:cubicBezTo>
                    <a:pt x="44" y="110"/>
                    <a:pt x="44" y="110"/>
                    <a:pt x="44" y="110"/>
                  </a:cubicBezTo>
                  <a:cubicBezTo>
                    <a:pt x="35" y="101"/>
                    <a:pt x="36" y="91"/>
                    <a:pt x="42" y="86"/>
                  </a:cubicBezTo>
                  <a:cubicBezTo>
                    <a:pt x="47" y="80"/>
                    <a:pt x="58" y="79"/>
                    <a:pt x="66" y="88"/>
                  </a:cubicBezTo>
                  <a:cubicBezTo>
                    <a:pt x="133" y="155"/>
                    <a:pt x="133" y="155"/>
                    <a:pt x="133" y="155"/>
                  </a:cubicBezTo>
                  <a:cubicBezTo>
                    <a:pt x="133" y="111"/>
                    <a:pt x="133" y="111"/>
                    <a:pt x="133" y="111"/>
                  </a:cubicBezTo>
                  <a:cubicBezTo>
                    <a:pt x="88" y="66"/>
                    <a:pt x="88" y="66"/>
                    <a:pt x="88" y="66"/>
                  </a:cubicBezTo>
                  <a:cubicBezTo>
                    <a:pt x="80" y="57"/>
                    <a:pt x="80" y="47"/>
                    <a:pt x="86" y="42"/>
                  </a:cubicBezTo>
                  <a:cubicBezTo>
                    <a:pt x="92" y="36"/>
                    <a:pt x="102" y="35"/>
                    <a:pt x="110" y="44"/>
                  </a:cubicBezTo>
                  <a:cubicBezTo>
                    <a:pt x="133" y="66"/>
                    <a:pt x="133" y="66"/>
                    <a:pt x="133" y="66"/>
                  </a:cubicBezTo>
                  <a:lnTo>
                    <a:pt x="133"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2" name="Freeform 14"/>
            <p:cNvSpPr>
              <a:spLocks noEditPoints="1"/>
            </p:cNvSpPr>
            <p:nvPr userDrawn="1"/>
          </p:nvSpPr>
          <p:spPr bwMode="auto">
            <a:xfrm>
              <a:off x="8023287" y="4895470"/>
              <a:ext cx="20556" cy="93282"/>
            </a:xfrm>
            <a:custGeom>
              <a:avLst/>
              <a:gdLst>
                <a:gd name="T0" fmla="*/ 14 w 27"/>
                <a:gd name="T1" fmla="*/ 26 h 128"/>
                <a:gd name="T2" fmla="*/ 0 w 27"/>
                <a:gd name="T3" fmla="*/ 13 h 128"/>
                <a:gd name="T4" fmla="*/ 14 w 27"/>
                <a:gd name="T5" fmla="*/ 0 h 128"/>
                <a:gd name="T6" fmla="*/ 27 w 27"/>
                <a:gd name="T7" fmla="*/ 13 h 128"/>
                <a:gd name="T8" fmla="*/ 14 w 27"/>
                <a:gd name="T9" fmla="*/ 26 h 128"/>
                <a:gd name="T10" fmla="*/ 3 w 27"/>
                <a:gd name="T11" fmla="*/ 128 h 128"/>
                <a:gd name="T12" fmla="*/ 3 w 27"/>
                <a:gd name="T13" fmla="*/ 40 h 128"/>
                <a:gd name="T14" fmla="*/ 25 w 27"/>
                <a:gd name="T15" fmla="*/ 40 h 128"/>
                <a:gd name="T16" fmla="*/ 25 w 27"/>
                <a:gd name="T17" fmla="*/ 112 h 128"/>
                <a:gd name="T18" fmla="*/ 3 w 27"/>
                <a:gd name="T1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128">
                  <a:moveTo>
                    <a:pt x="14" y="26"/>
                  </a:moveTo>
                  <a:cubicBezTo>
                    <a:pt x="6" y="26"/>
                    <a:pt x="0" y="20"/>
                    <a:pt x="0" y="13"/>
                  </a:cubicBezTo>
                  <a:cubicBezTo>
                    <a:pt x="0" y="6"/>
                    <a:pt x="6" y="0"/>
                    <a:pt x="14" y="0"/>
                  </a:cubicBezTo>
                  <a:cubicBezTo>
                    <a:pt x="21" y="0"/>
                    <a:pt x="27" y="5"/>
                    <a:pt x="27" y="13"/>
                  </a:cubicBezTo>
                  <a:cubicBezTo>
                    <a:pt x="27" y="20"/>
                    <a:pt x="21" y="26"/>
                    <a:pt x="14" y="26"/>
                  </a:cubicBezTo>
                  <a:close/>
                  <a:moveTo>
                    <a:pt x="3" y="128"/>
                  </a:moveTo>
                  <a:cubicBezTo>
                    <a:pt x="3" y="40"/>
                    <a:pt x="3" y="40"/>
                    <a:pt x="3" y="40"/>
                  </a:cubicBezTo>
                  <a:cubicBezTo>
                    <a:pt x="25" y="40"/>
                    <a:pt x="25" y="40"/>
                    <a:pt x="25" y="40"/>
                  </a:cubicBezTo>
                  <a:cubicBezTo>
                    <a:pt x="25" y="40"/>
                    <a:pt x="25" y="95"/>
                    <a:pt x="25" y="112"/>
                  </a:cubicBezTo>
                  <a:cubicBezTo>
                    <a:pt x="25" y="128"/>
                    <a:pt x="3" y="128"/>
                    <a:pt x="3" y="1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3" name="Freeform 15"/>
            <p:cNvSpPr>
              <a:spLocks/>
            </p:cNvSpPr>
            <p:nvPr userDrawn="1"/>
          </p:nvSpPr>
          <p:spPr bwMode="auto">
            <a:xfrm>
              <a:off x="8615239" y="4924717"/>
              <a:ext cx="103744" cy="66806"/>
            </a:xfrm>
            <a:custGeom>
              <a:avLst/>
              <a:gdLst>
                <a:gd name="T0" fmla="*/ 111 w 137"/>
                <a:gd name="T1" fmla="*/ 72 h 92"/>
                <a:gd name="T2" fmla="*/ 88 w 137"/>
                <a:gd name="T3" fmla="*/ 88 h 92"/>
                <a:gd name="T4" fmla="*/ 68 w 137"/>
                <a:gd name="T5" fmla="*/ 28 h 92"/>
                <a:gd name="T6" fmla="*/ 68 w 137"/>
                <a:gd name="T7" fmla="*/ 28 h 92"/>
                <a:gd name="T8" fmla="*/ 53 w 137"/>
                <a:gd name="T9" fmla="*/ 72 h 92"/>
                <a:gd name="T10" fmla="*/ 31 w 137"/>
                <a:gd name="T11" fmla="*/ 88 h 92"/>
                <a:gd name="T12" fmla="*/ 0 w 137"/>
                <a:gd name="T13" fmla="*/ 0 h 92"/>
                <a:gd name="T14" fmla="*/ 22 w 137"/>
                <a:gd name="T15" fmla="*/ 0 h 92"/>
                <a:gd name="T16" fmla="*/ 41 w 137"/>
                <a:gd name="T17" fmla="*/ 60 h 92"/>
                <a:gd name="T18" fmla="*/ 41 w 137"/>
                <a:gd name="T19" fmla="*/ 60 h 92"/>
                <a:gd name="T20" fmla="*/ 60 w 137"/>
                <a:gd name="T21" fmla="*/ 0 h 92"/>
                <a:gd name="T22" fmla="*/ 77 w 137"/>
                <a:gd name="T23" fmla="*/ 0 h 92"/>
                <a:gd name="T24" fmla="*/ 97 w 137"/>
                <a:gd name="T25" fmla="*/ 60 h 92"/>
                <a:gd name="T26" fmla="*/ 97 w 137"/>
                <a:gd name="T27" fmla="*/ 60 h 92"/>
                <a:gd name="T28" fmla="*/ 115 w 137"/>
                <a:gd name="T29" fmla="*/ 0 h 92"/>
                <a:gd name="T30" fmla="*/ 137 w 137"/>
                <a:gd name="T31" fmla="*/ 0 h 92"/>
                <a:gd name="T32" fmla="*/ 111 w 137"/>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 h="92">
                  <a:moveTo>
                    <a:pt x="111" y="72"/>
                  </a:moveTo>
                  <a:cubicBezTo>
                    <a:pt x="104" y="92"/>
                    <a:pt x="88" y="88"/>
                    <a:pt x="88" y="88"/>
                  </a:cubicBezTo>
                  <a:cubicBezTo>
                    <a:pt x="68" y="28"/>
                    <a:pt x="68" y="28"/>
                    <a:pt x="68" y="28"/>
                  </a:cubicBezTo>
                  <a:cubicBezTo>
                    <a:pt x="68" y="28"/>
                    <a:pt x="68" y="28"/>
                    <a:pt x="68" y="28"/>
                  </a:cubicBezTo>
                  <a:cubicBezTo>
                    <a:pt x="68" y="28"/>
                    <a:pt x="59"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7" y="60"/>
                    <a:pt x="97" y="60"/>
                    <a:pt x="97" y="60"/>
                  </a:cubicBezTo>
                  <a:cubicBezTo>
                    <a:pt x="97" y="60"/>
                    <a:pt x="97" y="60"/>
                    <a:pt x="97" y="60"/>
                  </a:cubicBezTo>
                  <a:cubicBezTo>
                    <a:pt x="115" y="0"/>
                    <a:pt x="115" y="0"/>
                    <a:pt x="115" y="0"/>
                  </a:cubicBezTo>
                  <a:cubicBezTo>
                    <a:pt x="137" y="0"/>
                    <a:pt x="137" y="0"/>
                    <a:pt x="137" y="0"/>
                  </a:cubicBezTo>
                  <a:cubicBezTo>
                    <a:pt x="137"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4" name="Freeform 16"/>
            <p:cNvSpPr>
              <a:spLocks noEditPoints="1"/>
            </p:cNvSpPr>
            <p:nvPr userDrawn="1"/>
          </p:nvSpPr>
          <p:spPr bwMode="auto">
            <a:xfrm>
              <a:off x="8423168" y="4892699"/>
              <a:ext cx="65844" cy="95129"/>
            </a:xfrm>
            <a:custGeom>
              <a:avLst/>
              <a:gdLst>
                <a:gd name="T0" fmla="*/ 1 w 87"/>
                <a:gd name="T1" fmla="*/ 0 h 131"/>
                <a:gd name="T2" fmla="*/ 0 w 87"/>
                <a:gd name="T3" fmla="*/ 131 h 131"/>
                <a:gd name="T4" fmla="*/ 41 w 87"/>
                <a:gd name="T5" fmla="*/ 131 h 131"/>
                <a:gd name="T6" fmla="*/ 87 w 87"/>
                <a:gd name="T7" fmla="*/ 92 h 131"/>
                <a:gd name="T8" fmla="*/ 65 w 87"/>
                <a:gd name="T9" fmla="*/ 61 h 131"/>
                <a:gd name="T10" fmla="*/ 62 w 87"/>
                <a:gd name="T11" fmla="*/ 60 h 131"/>
                <a:gd name="T12" fmla="*/ 64 w 87"/>
                <a:gd name="T13" fmla="*/ 59 h 131"/>
                <a:gd name="T14" fmla="*/ 79 w 87"/>
                <a:gd name="T15" fmla="*/ 32 h 131"/>
                <a:gd name="T16" fmla="*/ 42 w 87"/>
                <a:gd name="T17" fmla="*/ 0 h 131"/>
                <a:gd name="T18" fmla="*/ 1 w 87"/>
                <a:gd name="T19" fmla="*/ 0 h 131"/>
                <a:gd name="T20" fmla="*/ 23 w 87"/>
                <a:gd name="T21" fmla="*/ 17 h 131"/>
                <a:gd name="T22" fmla="*/ 36 w 87"/>
                <a:gd name="T23" fmla="*/ 17 h 131"/>
                <a:gd name="T24" fmla="*/ 56 w 87"/>
                <a:gd name="T25" fmla="*/ 35 h 131"/>
                <a:gd name="T26" fmla="*/ 38 w 87"/>
                <a:gd name="T27" fmla="*/ 55 h 131"/>
                <a:gd name="T28" fmla="*/ 22 w 87"/>
                <a:gd name="T29" fmla="*/ 55 h 131"/>
                <a:gd name="T30" fmla="*/ 23 w 87"/>
                <a:gd name="T31" fmla="*/ 17 h 131"/>
                <a:gd name="T32" fmla="*/ 22 w 87"/>
                <a:gd name="T33" fmla="*/ 74 h 131"/>
                <a:gd name="T34" fmla="*/ 40 w 87"/>
                <a:gd name="T35" fmla="*/ 74 h 131"/>
                <a:gd name="T36" fmla="*/ 64 w 87"/>
                <a:gd name="T37" fmla="*/ 92 h 131"/>
                <a:gd name="T38" fmla="*/ 39 w 87"/>
                <a:gd name="T39" fmla="*/ 113 h 131"/>
                <a:gd name="T40" fmla="*/ 22 w 87"/>
                <a:gd name="T41" fmla="*/ 113 h 131"/>
                <a:gd name="T42" fmla="*/ 22 w 87"/>
                <a:gd name="T43" fmla="*/ 7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131">
                  <a:moveTo>
                    <a:pt x="1" y="0"/>
                  </a:moveTo>
                  <a:cubicBezTo>
                    <a:pt x="1" y="3"/>
                    <a:pt x="0" y="129"/>
                    <a:pt x="0" y="131"/>
                  </a:cubicBezTo>
                  <a:cubicBezTo>
                    <a:pt x="2" y="131"/>
                    <a:pt x="41" y="131"/>
                    <a:pt x="41" y="131"/>
                  </a:cubicBezTo>
                  <a:cubicBezTo>
                    <a:pt x="73" y="131"/>
                    <a:pt x="87" y="111"/>
                    <a:pt x="87" y="92"/>
                  </a:cubicBezTo>
                  <a:cubicBezTo>
                    <a:pt x="87" y="77"/>
                    <a:pt x="79" y="65"/>
                    <a:pt x="65" y="61"/>
                  </a:cubicBezTo>
                  <a:cubicBezTo>
                    <a:pt x="62" y="60"/>
                    <a:pt x="62" y="60"/>
                    <a:pt x="62" y="60"/>
                  </a:cubicBezTo>
                  <a:cubicBezTo>
                    <a:pt x="64" y="59"/>
                    <a:pt x="64" y="59"/>
                    <a:pt x="64" y="59"/>
                  </a:cubicBezTo>
                  <a:cubicBezTo>
                    <a:pt x="74" y="54"/>
                    <a:pt x="79" y="44"/>
                    <a:pt x="79" y="32"/>
                  </a:cubicBezTo>
                  <a:cubicBezTo>
                    <a:pt x="79" y="17"/>
                    <a:pt x="68" y="0"/>
                    <a:pt x="42" y="0"/>
                  </a:cubicBezTo>
                  <a:cubicBezTo>
                    <a:pt x="42" y="0"/>
                    <a:pt x="3" y="0"/>
                    <a:pt x="1" y="0"/>
                  </a:cubicBezTo>
                  <a:close/>
                  <a:moveTo>
                    <a:pt x="23" y="17"/>
                  </a:moveTo>
                  <a:cubicBezTo>
                    <a:pt x="36" y="17"/>
                    <a:pt x="36" y="17"/>
                    <a:pt x="36" y="17"/>
                  </a:cubicBezTo>
                  <a:cubicBezTo>
                    <a:pt x="49" y="17"/>
                    <a:pt x="56" y="24"/>
                    <a:pt x="56" y="35"/>
                  </a:cubicBezTo>
                  <a:cubicBezTo>
                    <a:pt x="56" y="47"/>
                    <a:pt x="47" y="55"/>
                    <a:pt x="38" y="55"/>
                  </a:cubicBezTo>
                  <a:cubicBezTo>
                    <a:pt x="22" y="55"/>
                    <a:pt x="22" y="55"/>
                    <a:pt x="22" y="55"/>
                  </a:cubicBezTo>
                  <a:lnTo>
                    <a:pt x="23" y="17"/>
                  </a:lnTo>
                  <a:close/>
                  <a:moveTo>
                    <a:pt x="22" y="74"/>
                  </a:moveTo>
                  <a:cubicBezTo>
                    <a:pt x="40" y="74"/>
                    <a:pt x="40" y="74"/>
                    <a:pt x="40" y="74"/>
                  </a:cubicBezTo>
                  <a:cubicBezTo>
                    <a:pt x="55" y="74"/>
                    <a:pt x="64" y="81"/>
                    <a:pt x="64" y="92"/>
                  </a:cubicBezTo>
                  <a:cubicBezTo>
                    <a:pt x="64" y="105"/>
                    <a:pt x="55" y="113"/>
                    <a:pt x="39" y="113"/>
                  </a:cubicBezTo>
                  <a:cubicBezTo>
                    <a:pt x="22" y="113"/>
                    <a:pt x="22" y="113"/>
                    <a:pt x="22" y="113"/>
                  </a:cubicBezTo>
                  <a:lnTo>
                    <a:pt x="22" y="74"/>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5" name="Freeform 17"/>
            <p:cNvSpPr>
              <a:spLocks noEditPoints="1"/>
            </p:cNvSpPr>
            <p:nvPr userDrawn="1"/>
          </p:nvSpPr>
          <p:spPr bwMode="auto">
            <a:xfrm>
              <a:off x="8546184" y="4923177"/>
              <a:ext cx="66486" cy="66190"/>
            </a:xfrm>
            <a:custGeom>
              <a:avLst/>
              <a:gdLst>
                <a:gd name="T0" fmla="*/ 75 w 88"/>
                <a:gd name="T1" fmla="*/ 78 h 91"/>
                <a:gd name="T2" fmla="*/ 44 w 88"/>
                <a:gd name="T3" fmla="*/ 91 h 91"/>
                <a:gd name="T4" fmla="*/ 14 w 88"/>
                <a:gd name="T5" fmla="*/ 80 h 91"/>
                <a:gd name="T6" fmla="*/ 0 w 88"/>
                <a:gd name="T7" fmla="*/ 46 h 91"/>
                <a:gd name="T8" fmla="*/ 13 w 88"/>
                <a:gd name="T9" fmla="*/ 12 h 91"/>
                <a:gd name="T10" fmla="*/ 44 w 88"/>
                <a:gd name="T11" fmla="*/ 0 h 91"/>
                <a:gd name="T12" fmla="*/ 76 w 88"/>
                <a:gd name="T13" fmla="*/ 12 h 91"/>
                <a:gd name="T14" fmla="*/ 88 w 88"/>
                <a:gd name="T15" fmla="*/ 45 h 91"/>
                <a:gd name="T16" fmla="*/ 75 w 88"/>
                <a:gd name="T17" fmla="*/ 78 h 91"/>
                <a:gd name="T18" fmla="*/ 44 w 88"/>
                <a:gd name="T19" fmla="*/ 17 h 91"/>
                <a:gd name="T20" fmla="*/ 23 w 88"/>
                <a:gd name="T21" fmla="*/ 45 h 91"/>
                <a:gd name="T22" fmla="*/ 44 w 88"/>
                <a:gd name="T23" fmla="*/ 73 h 91"/>
                <a:gd name="T24" fmla="*/ 65 w 88"/>
                <a:gd name="T25" fmla="*/ 45 h 91"/>
                <a:gd name="T26" fmla="*/ 44 w 88"/>
                <a:gd name="T27"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91">
                  <a:moveTo>
                    <a:pt x="75" y="78"/>
                  </a:moveTo>
                  <a:cubicBezTo>
                    <a:pt x="68" y="86"/>
                    <a:pt x="57" y="91"/>
                    <a:pt x="44" y="91"/>
                  </a:cubicBezTo>
                  <a:cubicBezTo>
                    <a:pt x="32" y="91"/>
                    <a:pt x="21" y="87"/>
                    <a:pt x="14" y="80"/>
                  </a:cubicBezTo>
                  <a:cubicBezTo>
                    <a:pt x="5" y="72"/>
                    <a:pt x="0" y="60"/>
                    <a:pt x="0" y="46"/>
                  </a:cubicBezTo>
                  <a:cubicBezTo>
                    <a:pt x="0" y="32"/>
                    <a:pt x="5" y="20"/>
                    <a:pt x="13" y="12"/>
                  </a:cubicBezTo>
                  <a:cubicBezTo>
                    <a:pt x="21" y="4"/>
                    <a:pt x="31" y="0"/>
                    <a:pt x="44" y="0"/>
                  </a:cubicBezTo>
                  <a:cubicBezTo>
                    <a:pt x="57" y="0"/>
                    <a:pt x="68" y="4"/>
                    <a:pt x="76" y="12"/>
                  </a:cubicBezTo>
                  <a:cubicBezTo>
                    <a:pt x="84" y="20"/>
                    <a:pt x="88" y="32"/>
                    <a:pt x="88" y="45"/>
                  </a:cubicBezTo>
                  <a:cubicBezTo>
                    <a:pt x="88" y="58"/>
                    <a:pt x="83" y="70"/>
                    <a:pt x="75" y="78"/>
                  </a:cubicBezTo>
                  <a:close/>
                  <a:moveTo>
                    <a:pt x="44" y="17"/>
                  </a:moveTo>
                  <a:cubicBezTo>
                    <a:pt x="30" y="17"/>
                    <a:pt x="23" y="29"/>
                    <a:pt x="23" y="45"/>
                  </a:cubicBezTo>
                  <a:cubicBezTo>
                    <a:pt x="23" y="62"/>
                    <a:pt x="31" y="73"/>
                    <a:pt x="44" y="73"/>
                  </a:cubicBezTo>
                  <a:cubicBezTo>
                    <a:pt x="58" y="73"/>
                    <a:pt x="65" y="61"/>
                    <a:pt x="65" y="45"/>
                  </a:cubicBezTo>
                  <a:cubicBezTo>
                    <a:pt x="65" y="28"/>
                    <a:pt x="57" y="17"/>
                    <a:pt x="44" y="1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6" name="Freeform 18"/>
            <p:cNvSpPr>
              <a:spLocks/>
            </p:cNvSpPr>
            <p:nvPr userDrawn="1"/>
          </p:nvSpPr>
          <p:spPr bwMode="auto">
            <a:xfrm>
              <a:off x="8728298" y="4923177"/>
              <a:ext cx="60705" cy="65574"/>
            </a:xfrm>
            <a:custGeom>
              <a:avLst/>
              <a:gdLst>
                <a:gd name="T0" fmla="*/ 58 w 80"/>
                <a:gd name="T1" fmla="*/ 90 h 90"/>
                <a:gd name="T2" fmla="*/ 58 w 80"/>
                <a:gd name="T3" fmla="*/ 38 h 90"/>
                <a:gd name="T4" fmla="*/ 45 w 80"/>
                <a:gd name="T5" fmla="*/ 19 h 90"/>
                <a:gd name="T6" fmla="*/ 23 w 80"/>
                <a:gd name="T7" fmla="*/ 28 h 90"/>
                <a:gd name="T8" fmla="*/ 23 w 80"/>
                <a:gd name="T9" fmla="*/ 74 h 90"/>
                <a:gd name="T10" fmla="*/ 0 w 80"/>
                <a:gd name="T11" fmla="*/ 90 h 90"/>
                <a:gd name="T12" fmla="*/ 0 w 80"/>
                <a:gd name="T13" fmla="*/ 2 h 90"/>
                <a:gd name="T14" fmla="*/ 19 w 80"/>
                <a:gd name="T15" fmla="*/ 2 h 90"/>
                <a:gd name="T16" fmla="*/ 22 w 80"/>
                <a:gd name="T17" fmla="*/ 11 h 90"/>
                <a:gd name="T18" fmla="*/ 52 w 80"/>
                <a:gd name="T19" fmla="*/ 0 h 90"/>
                <a:gd name="T20" fmla="*/ 80 w 80"/>
                <a:gd name="T21" fmla="*/ 31 h 90"/>
                <a:gd name="T22" fmla="*/ 80 w 80"/>
                <a:gd name="T23" fmla="*/ 74 h 90"/>
                <a:gd name="T24" fmla="*/ 58 w 80"/>
                <a:gd name="T2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90">
                  <a:moveTo>
                    <a:pt x="58" y="90"/>
                  </a:moveTo>
                  <a:cubicBezTo>
                    <a:pt x="58" y="38"/>
                    <a:pt x="58" y="38"/>
                    <a:pt x="58" y="38"/>
                  </a:cubicBezTo>
                  <a:cubicBezTo>
                    <a:pt x="58" y="29"/>
                    <a:pt x="56" y="19"/>
                    <a:pt x="45" y="19"/>
                  </a:cubicBezTo>
                  <a:cubicBezTo>
                    <a:pt x="37" y="19"/>
                    <a:pt x="29" y="23"/>
                    <a:pt x="23" y="28"/>
                  </a:cubicBezTo>
                  <a:cubicBezTo>
                    <a:pt x="23" y="28"/>
                    <a:pt x="23" y="57"/>
                    <a:pt x="23" y="74"/>
                  </a:cubicBezTo>
                  <a:cubicBezTo>
                    <a:pt x="23" y="90"/>
                    <a:pt x="0" y="90"/>
                    <a:pt x="0" y="90"/>
                  </a:cubicBezTo>
                  <a:cubicBezTo>
                    <a:pt x="0" y="2"/>
                    <a:pt x="0" y="2"/>
                    <a:pt x="0" y="2"/>
                  </a:cubicBezTo>
                  <a:cubicBezTo>
                    <a:pt x="19" y="2"/>
                    <a:pt x="19" y="2"/>
                    <a:pt x="19" y="2"/>
                  </a:cubicBezTo>
                  <a:cubicBezTo>
                    <a:pt x="22" y="11"/>
                    <a:pt x="22" y="11"/>
                    <a:pt x="22" y="11"/>
                  </a:cubicBezTo>
                  <a:cubicBezTo>
                    <a:pt x="31" y="4"/>
                    <a:pt x="40" y="0"/>
                    <a:pt x="52" y="0"/>
                  </a:cubicBezTo>
                  <a:cubicBezTo>
                    <a:pt x="65" y="0"/>
                    <a:pt x="80" y="8"/>
                    <a:pt x="80" y="31"/>
                  </a:cubicBezTo>
                  <a:cubicBezTo>
                    <a:pt x="80" y="31"/>
                    <a:pt x="80" y="57"/>
                    <a:pt x="80" y="74"/>
                  </a:cubicBezTo>
                  <a:cubicBezTo>
                    <a:pt x="80" y="90"/>
                    <a:pt x="58" y="90"/>
                    <a:pt x="58" y="9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7" name="Freeform 19"/>
            <p:cNvSpPr>
              <a:spLocks/>
            </p:cNvSpPr>
            <p:nvPr userDrawn="1"/>
          </p:nvSpPr>
          <p:spPr bwMode="auto">
            <a:xfrm>
              <a:off x="8501217" y="4923177"/>
              <a:ext cx="43361" cy="65574"/>
            </a:xfrm>
            <a:custGeom>
              <a:avLst/>
              <a:gdLst>
                <a:gd name="T0" fmla="*/ 49 w 57"/>
                <a:gd name="T1" fmla="*/ 22 h 90"/>
                <a:gd name="T2" fmla="*/ 39 w 57"/>
                <a:gd name="T3" fmla="*/ 20 h 90"/>
                <a:gd name="T4" fmla="*/ 22 w 57"/>
                <a:gd name="T5" fmla="*/ 27 h 90"/>
                <a:gd name="T6" fmla="*/ 22 w 57"/>
                <a:gd name="T7" fmla="*/ 74 h 90"/>
                <a:gd name="T8" fmla="*/ 0 w 57"/>
                <a:gd name="T9" fmla="*/ 90 h 90"/>
                <a:gd name="T10" fmla="*/ 0 w 57"/>
                <a:gd name="T11" fmla="*/ 2 h 90"/>
                <a:gd name="T12" fmla="*/ 19 w 57"/>
                <a:gd name="T13" fmla="*/ 2 h 90"/>
                <a:gd name="T14" fmla="*/ 21 w 57"/>
                <a:gd name="T15" fmla="*/ 11 h 90"/>
                <a:gd name="T16" fmla="*/ 45 w 57"/>
                <a:gd name="T17" fmla="*/ 0 h 90"/>
                <a:gd name="T18" fmla="*/ 57 w 57"/>
                <a:gd name="T19" fmla="*/ 4 h 90"/>
                <a:gd name="T20" fmla="*/ 49 w 57"/>
                <a:gd name="T21" fmla="*/ 2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0">
                  <a:moveTo>
                    <a:pt x="49" y="22"/>
                  </a:moveTo>
                  <a:cubicBezTo>
                    <a:pt x="46" y="20"/>
                    <a:pt x="42" y="20"/>
                    <a:pt x="39" y="20"/>
                  </a:cubicBezTo>
                  <a:cubicBezTo>
                    <a:pt x="34" y="20"/>
                    <a:pt x="28" y="22"/>
                    <a:pt x="22" y="27"/>
                  </a:cubicBezTo>
                  <a:cubicBezTo>
                    <a:pt x="22" y="27"/>
                    <a:pt x="22" y="57"/>
                    <a:pt x="22" y="74"/>
                  </a:cubicBezTo>
                  <a:cubicBezTo>
                    <a:pt x="22" y="90"/>
                    <a:pt x="0" y="90"/>
                    <a:pt x="0" y="90"/>
                  </a:cubicBezTo>
                  <a:cubicBezTo>
                    <a:pt x="0" y="2"/>
                    <a:pt x="0" y="2"/>
                    <a:pt x="0" y="2"/>
                  </a:cubicBezTo>
                  <a:cubicBezTo>
                    <a:pt x="19" y="2"/>
                    <a:pt x="19" y="2"/>
                    <a:pt x="19"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8" name="Freeform 20"/>
            <p:cNvSpPr>
              <a:spLocks/>
            </p:cNvSpPr>
            <p:nvPr userDrawn="1"/>
          </p:nvSpPr>
          <p:spPr bwMode="auto">
            <a:xfrm>
              <a:off x="7766657" y="4864376"/>
              <a:ext cx="100211" cy="148389"/>
            </a:xfrm>
            <a:custGeom>
              <a:avLst/>
              <a:gdLst>
                <a:gd name="T0" fmla="*/ 0 w 132"/>
                <a:gd name="T1" fmla="*/ 23 h 204"/>
                <a:gd name="T2" fmla="*/ 1 w 132"/>
                <a:gd name="T3" fmla="*/ 22 h 204"/>
                <a:gd name="T4" fmla="*/ 67 w 132"/>
                <a:gd name="T5" fmla="*/ 20 h 204"/>
                <a:gd name="T6" fmla="*/ 80 w 132"/>
                <a:gd name="T7" fmla="*/ 52 h 204"/>
                <a:gd name="T8" fmla="*/ 113 w 132"/>
                <a:gd name="T9" fmla="*/ 65 h 204"/>
                <a:gd name="T10" fmla="*/ 111 w 132"/>
                <a:gd name="T11" fmla="*/ 132 h 204"/>
                <a:gd name="T12" fmla="*/ 38 w 132"/>
                <a:gd name="T13" fmla="*/ 204 h 204"/>
                <a:gd name="T14" fmla="*/ 16 w 132"/>
                <a:gd name="T15" fmla="*/ 182 h 204"/>
                <a:gd name="T16" fmla="*/ 88 w 132"/>
                <a:gd name="T17" fmla="*/ 110 h 204"/>
                <a:gd name="T18" fmla="*/ 91 w 132"/>
                <a:gd name="T19" fmla="*/ 86 h 204"/>
                <a:gd name="T20" fmla="*/ 67 w 132"/>
                <a:gd name="T21" fmla="*/ 88 h 204"/>
                <a:gd name="T22" fmla="*/ 0 w 132"/>
                <a:gd name="T23" fmla="*/ 155 h 204"/>
                <a:gd name="T24" fmla="*/ 0 w 132"/>
                <a:gd name="T25" fmla="*/ 111 h 204"/>
                <a:gd name="T26" fmla="*/ 45 w 132"/>
                <a:gd name="T27" fmla="*/ 66 h 204"/>
                <a:gd name="T28" fmla="*/ 46 w 132"/>
                <a:gd name="T29" fmla="*/ 42 h 204"/>
                <a:gd name="T30" fmla="*/ 22 w 132"/>
                <a:gd name="T31" fmla="*/ 44 h 204"/>
                <a:gd name="T32" fmla="*/ 0 w 132"/>
                <a:gd name="T33" fmla="*/ 66 h 204"/>
                <a:gd name="T34" fmla="*/ 0 w 132"/>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204">
                  <a:moveTo>
                    <a:pt x="0" y="23"/>
                  </a:moveTo>
                  <a:cubicBezTo>
                    <a:pt x="1" y="22"/>
                    <a:pt x="1" y="22"/>
                    <a:pt x="1" y="22"/>
                  </a:cubicBezTo>
                  <a:cubicBezTo>
                    <a:pt x="23" y="0"/>
                    <a:pt x="50" y="2"/>
                    <a:pt x="67" y="20"/>
                  </a:cubicBezTo>
                  <a:cubicBezTo>
                    <a:pt x="80" y="32"/>
                    <a:pt x="81" y="46"/>
                    <a:pt x="80" y="52"/>
                  </a:cubicBezTo>
                  <a:cubicBezTo>
                    <a:pt x="86" y="51"/>
                    <a:pt x="100" y="52"/>
                    <a:pt x="113" y="65"/>
                  </a:cubicBezTo>
                  <a:cubicBezTo>
                    <a:pt x="130" y="82"/>
                    <a:pt x="132" y="110"/>
                    <a:pt x="111" y="132"/>
                  </a:cubicBezTo>
                  <a:cubicBezTo>
                    <a:pt x="38" y="204"/>
                    <a:pt x="38" y="204"/>
                    <a:pt x="38" y="204"/>
                  </a:cubicBezTo>
                  <a:cubicBezTo>
                    <a:pt x="16" y="182"/>
                    <a:pt x="16" y="182"/>
                    <a:pt x="16" y="182"/>
                  </a:cubicBezTo>
                  <a:cubicBezTo>
                    <a:pt x="88" y="110"/>
                    <a:pt x="88" y="110"/>
                    <a:pt x="88" y="110"/>
                  </a:cubicBezTo>
                  <a:cubicBezTo>
                    <a:pt x="97" y="101"/>
                    <a:pt x="96" y="91"/>
                    <a:pt x="91" y="86"/>
                  </a:cubicBezTo>
                  <a:cubicBezTo>
                    <a:pt x="85" y="80"/>
                    <a:pt x="75" y="79"/>
                    <a:pt x="67" y="88"/>
                  </a:cubicBezTo>
                  <a:cubicBezTo>
                    <a:pt x="0" y="155"/>
                    <a:pt x="0" y="155"/>
                    <a:pt x="0" y="155"/>
                  </a:cubicBezTo>
                  <a:cubicBezTo>
                    <a:pt x="0" y="111"/>
                    <a:pt x="0" y="111"/>
                    <a:pt x="0" y="111"/>
                  </a:cubicBezTo>
                  <a:cubicBezTo>
                    <a:pt x="45" y="66"/>
                    <a:pt x="45" y="66"/>
                    <a:pt x="45" y="66"/>
                  </a:cubicBezTo>
                  <a:cubicBezTo>
                    <a:pt x="53" y="57"/>
                    <a:pt x="52" y="47"/>
                    <a:pt x="46" y="42"/>
                  </a:cubicBezTo>
                  <a:cubicBezTo>
                    <a:pt x="41" y="36"/>
                    <a:pt x="31" y="35"/>
                    <a:pt x="22" y="44"/>
                  </a:cubicBezTo>
                  <a:cubicBezTo>
                    <a:pt x="0" y="66"/>
                    <a:pt x="0" y="66"/>
                    <a:pt x="0" y="66"/>
                  </a:cubicBezTo>
                  <a:lnTo>
                    <a:pt x="0"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9" name="Freeform 21"/>
            <p:cNvSpPr>
              <a:spLocks noEditPoints="1"/>
            </p:cNvSpPr>
            <p:nvPr userDrawn="1"/>
          </p:nvSpPr>
          <p:spPr bwMode="auto">
            <a:xfrm>
              <a:off x="7980890" y="5040472"/>
              <a:ext cx="51390" cy="57878"/>
            </a:xfrm>
            <a:custGeom>
              <a:avLst/>
              <a:gdLst>
                <a:gd name="T0" fmla="*/ 0 w 68"/>
                <a:gd name="T1" fmla="*/ 40 h 80"/>
                <a:gd name="T2" fmla="*/ 35 w 68"/>
                <a:gd name="T3" fmla="*/ 0 h 80"/>
                <a:gd name="T4" fmla="*/ 68 w 68"/>
                <a:gd name="T5" fmla="*/ 41 h 80"/>
                <a:gd name="T6" fmla="*/ 68 w 68"/>
                <a:gd name="T7" fmla="*/ 46 h 80"/>
                <a:gd name="T8" fmla="*/ 20 w 68"/>
                <a:gd name="T9" fmla="*/ 46 h 80"/>
                <a:gd name="T10" fmla="*/ 41 w 68"/>
                <a:gd name="T11" fmla="*/ 65 h 80"/>
                <a:gd name="T12" fmla="*/ 60 w 68"/>
                <a:gd name="T13" fmla="*/ 60 h 80"/>
                <a:gd name="T14" fmla="*/ 66 w 68"/>
                <a:gd name="T15" fmla="*/ 73 h 80"/>
                <a:gd name="T16" fmla="*/ 39 w 68"/>
                <a:gd name="T17" fmla="*/ 80 h 80"/>
                <a:gd name="T18" fmla="*/ 0 w 68"/>
                <a:gd name="T19" fmla="*/ 40 h 80"/>
                <a:gd name="T20" fmla="*/ 49 w 68"/>
                <a:gd name="T21" fmla="*/ 32 h 80"/>
                <a:gd name="T22" fmla="*/ 34 w 68"/>
                <a:gd name="T23" fmla="*/ 15 h 80"/>
                <a:gd name="T24" fmla="*/ 19 w 68"/>
                <a:gd name="T25" fmla="*/ 32 h 80"/>
                <a:gd name="T26" fmla="*/ 49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3" y="0"/>
                    <a:pt x="35" y="0"/>
                  </a:cubicBezTo>
                  <a:cubicBezTo>
                    <a:pt x="56" y="0"/>
                    <a:pt x="68" y="16"/>
                    <a:pt x="68" y="41"/>
                  </a:cubicBezTo>
                  <a:cubicBezTo>
                    <a:pt x="68" y="46"/>
                    <a:pt x="68" y="46"/>
                    <a:pt x="68" y="46"/>
                  </a:cubicBezTo>
                  <a:cubicBezTo>
                    <a:pt x="20" y="46"/>
                    <a:pt x="20" y="46"/>
                    <a:pt x="20" y="46"/>
                  </a:cubicBezTo>
                  <a:cubicBezTo>
                    <a:pt x="20" y="57"/>
                    <a:pt x="28" y="65"/>
                    <a:pt x="41" y="65"/>
                  </a:cubicBezTo>
                  <a:cubicBezTo>
                    <a:pt x="49" y="65"/>
                    <a:pt x="55" y="63"/>
                    <a:pt x="60" y="60"/>
                  </a:cubicBezTo>
                  <a:cubicBezTo>
                    <a:pt x="66" y="73"/>
                    <a:pt x="66" y="73"/>
                    <a:pt x="66" y="73"/>
                  </a:cubicBezTo>
                  <a:cubicBezTo>
                    <a:pt x="58" y="78"/>
                    <a:pt x="49" y="80"/>
                    <a:pt x="39" y="80"/>
                  </a:cubicBezTo>
                  <a:cubicBezTo>
                    <a:pt x="11" y="80"/>
                    <a:pt x="0" y="61"/>
                    <a:pt x="0" y="40"/>
                  </a:cubicBezTo>
                  <a:close/>
                  <a:moveTo>
                    <a:pt x="49" y="32"/>
                  </a:moveTo>
                  <a:cubicBezTo>
                    <a:pt x="49" y="23"/>
                    <a:pt x="44" y="15"/>
                    <a:pt x="34" y="15"/>
                  </a:cubicBezTo>
                  <a:cubicBezTo>
                    <a:pt x="25" y="15"/>
                    <a:pt x="19" y="23"/>
                    <a:pt x="19" y="32"/>
                  </a:cubicBezTo>
                  <a:lnTo>
                    <a:pt x="49"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0" name="Freeform 22"/>
            <p:cNvSpPr>
              <a:spLocks/>
            </p:cNvSpPr>
            <p:nvPr userDrawn="1"/>
          </p:nvSpPr>
          <p:spPr bwMode="auto">
            <a:xfrm>
              <a:off x="8295656" y="5041088"/>
              <a:ext cx="37258" cy="56031"/>
            </a:xfrm>
            <a:custGeom>
              <a:avLst/>
              <a:gdLst>
                <a:gd name="T0" fmla="*/ 42 w 49"/>
                <a:gd name="T1" fmla="*/ 19 h 77"/>
                <a:gd name="T2" fmla="*/ 33 w 49"/>
                <a:gd name="T3" fmla="*/ 16 h 77"/>
                <a:gd name="T4" fmla="*/ 19 w 49"/>
                <a:gd name="T5" fmla="*/ 23 h 77"/>
                <a:gd name="T6" fmla="*/ 19 w 49"/>
                <a:gd name="T7" fmla="*/ 63 h 77"/>
                <a:gd name="T8" fmla="*/ 0 w 49"/>
                <a:gd name="T9" fmla="*/ 77 h 77"/>
                <a:gd name="T10" fmla="*/ 0 w 49"/>
                <a:gd name="T11" fmla="*/ 1 h 77"/>
                <a:gd name="T12" fmla="*/ 16 w 49"/>
                <a:gd name="T13" fmla="*/ 1 h 77"/>
                <a:gd name="T14" fmla="*/ 18 w 49"/>
                <a:gd name="T15" fmla="*/ 9 h 77"/>
                <a:gd name="T16" fmla="*/ 39 w 49"/>
                <a:gd name="T17" fmla="*/ 0 h 77"/>
                <a:gd name="T18" fmla="*/ 49 w 49"/>
                <a:gd name="T19" fmla="*/ 3 h 77"/>
                <a:gd name="T20" fmla="*/ 42 w 49"/>
                <a:gd name="T21"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77">
                  <a:moveTo>
                    <a:pt x="42" y="19"/>
                  </a:moveTo>
                  <a:cubicBezTo>
                    <a:pt x="39" y="17"/>
                    <a:pt x="36" y="16"/>
                    <a:pt x="33" y="16"/>
                  </a:cubicBezTo>
                  <a:cubicBezTo>
                    <a:pt x="29" y="16"/>
                    <a:pt x="24" y="18"/>
                    <a:pt x="19" y="23"/>
                  </a:cubicBezTo>
                  <a:cubicBezTo>
                    <a:pt x="19" y="2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2"/>
                    <a:pt x="32" y="0"/>
                    <a:pt x="39" y="0"/>
                  </a:cubicBezTo>
                  <a:cubicBezTo>
                    <a:pt x="42" y="0"/>
                    <a:pt x="46" y="1"/>
                    <a:pt x="49" y="3"/>
                  </a:cubicBezTo>
                  <a:lnTo>
                    <a:pt x="42" y="1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1" name="Freeform 23"/>
            <p:cNvSpPr>
              <a:spLocks noEditPoints="1"/>
            </p:cNvSpPr>
            <p:nvPr userDrawn="1"/>
          </p:nvSpPr>
          <p:spPr bwMode="auto">
            <a:xfrm>
              <a:off x="8178743" y="5040472"/>
              <a:ext cx="51712" cy="57878"/>
            </a:xfrm>
            <a:custGeom>
              <a:avLst/>
              <a:gdLst>
                <a:gd name="T0" fmla="*/ 0 w 68"/>
                <a:gd name="T1" fmla="*/ 40 h 80"/>
                <a:gd name="T2" fmla="*/ 34 w 68"/>
                <a:gd name="T3" fmla="*/ 0 h 80"/>
                <a:gd name="T4" fmla="*/ 68 w 68"/>
                <a:gd name="T5" fmla="*/ 41 h 80"/>
                <a:gd name="T6" fmla="*/ 68 w 68"/>
                <a:gd name="T7" fmla="*/ 46 h 80"/>
                <a:gd name="T8" fmla="*/ 19 w 68"/>
                <a:gd name="T9" fmla="*/ 46 h 80"/>
                <a:gd name="T10" fmla="*/ 41 w 68"/>
                <a:gd name="T11" fmla="*/ 65 h 80"/>
                <a:gd name="T12" fmla="*/ 60 w 68"/>
                <a:gd name="T13" fmla="*/ 60 h 80"/>
                <a:gd name="T14" fmla="*/ 66 w 68"/>
                <a:gd name="T15" fmla="*/ 73 h 80"/>
                <a:gd name="T16" fmla="*/ 39 w 68"/>
                <a:gd name="T17" fmla="*/ 80 h 80"/>
                <a:gd name="T18" fmla="*/ 0 w 68"/>
                <a:gd name="T19" fmla="*/ 40 h 80"/>
                <a:gd name="T20" fmla="*/ 49 w 68"/>
                <a:gd name="T21" fmla="*/ 32 h 80"/>
                <a:gd name="T22" fmla="*/ 34 w 68"/>
                <a:gd name="T23" fmla="*/ 15 h 80"/>
                <a:gd name="T24" fmla="*/ 19 w 68"/>
                <a:gd name="T25" fmla="*/ 32 h 80"/>
                <a:gd name="T26" fmla="*/ 49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3" y="0"/>
                    <a:pt x="34" y="0"/>
                  </a:cubicBezTo>
                  <a:cubicBezTo>
                    <a:pt x="56" y="0"/>
                    <a:pt x="68" y="16"/>
                    <a:pt x="68" y="41"/>
                  </a:cubicBezTo>
                  <a:cubicBezTo>
                    <a:pt x="68" y="46"/>
                    <a:pt x="68" y="46"/>
                    <a:pt x="68" y="46"/>
                  </a:cubicBezTo>
                  <a:cubicBezTo>
                    <a:pt x="19" y="46"/>
                    <a:pt x="19" y="46"/>
                    <a:pt x="19" y="46"/>
                  </a:cubicBezTo>
                  <a:cubicBezTo>
                    <a:pt x="20" y="57"/>
                    <a:pt x="28" y="65"/>
                    <a:pt x="41" y="65"/>
                  </a:cubicBezTo>
                  <a:cubicBezTo>
                    <a:pt x="49" y="65"/>
                    <a:pt x="55" y="63"/>
                    <a:pt x="60" y="60"/>
                  </a:cubicBezTo>
                  <a:cubicBezTo>
                    <a:pt x="66" y="73"/>
                    <a:pt x="66" y="73"/>
                    <a:pt x="66" y="73"/>
                  </a:cubicBezTo>
                  <a:cubicBezTo>
                    <a:pt x="58" y="78"/>
                    <a:pt x="48" y="80"/>
                    <a:pt x="39" y="80"/>
                  </a:cubicBezTo>
                  <a:cubicBezTo>
                    <a:pt x="11" y="80"/>
                    <a:pt x="0" y="61"/>
                    <a:pt x="0" y="40"/>
                  </a:cubicBezTo>
                  <a:close/>
                  <a:moveTo>
                    <a:pt x="49" y="32"/>
                  </a:moveTo>
                  <a:cubicBezTo>
                    <a:pt x="48" y="23"/>
                    <a:pt x="44" y="15"/>
                    <a:pt x="34" y="15"/>
                  </a:cubicBezTo>
                  <a:cubicBezTo>
                    <a:pt x="25" y="15"/>
                    <a:pt x="19" y="23"/>
                    <a:pt x="19" y="32"/>
                  </a:cubicBezTo>
                  <a:lnTo>
                    <a:pt x="49"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2" name="Freeform 24"/>
            <p:cNvSpPr>
              <a:spLocks noEditPoints="1"/>
            </p:cNvSpPr>
            <p:nvPr userDrawn="1"/>
          </p:nvSpPr>
          <p:spPr bwMode="auto">
            <a:xfrm>
              <a:off x="8236557" y="5040472"/>
              <a:ext cx="51390" cy="57878"/>
            </a:xfrm>
            <a:custGeom>
              <a:avLst/>
              <a:gdLst>
                <a:gd name="T0" fmla="*/ 0 w 68"/>
                <a:gd name="T1" fmla="*/ 40 h 80"/>
                <a:gd name="T2" fmla="*/ 34 w 68"/>
                <a:gd name="T3" fmla="*/ 0 h 80"/>
                <a:gd name="T4" fmla="*/ 68 w 68"/>
                <a:gd name="T5" fmla="*/ 41 h 80"/>
                <a:gd name="T6" fmla="*/ 68 w 68"/>
                <a:gd name="T7" fmla="*/ 46 h 80"/>
                <a:gd name="T8" fmla="*/ 19 w 68"/>
                <a:gd name="T9" fmla="*/ 46 h 80"/>
                <a:gd name="T10" fmla="*/ 40 w 68"/>
                <a:gd name="T11" fmla="*/ 65 h 80"/>
                <a:gd name="T12" fmla="*/ 60 w 68"/>
                <a:gd name="T13" fmla="*/ 60 h 80"/>
                <a:gd name="T14" fmla="*/ 65 w 68"/>
                <a:gd name="T15" fmla="*/ 73 h 80"/>
                <a:gd name="T16" fmla="*/ 39 w 68"/>
                <a:gd name="T17" fmla="*/ 80 h 80"/>
                <a:gd name="T18" fmla="*/ 0 w 68"/>
                <a:gd name="T19" fmla="*/ 40 h 80"/>
                <a:gd name="T20" fmla="*/ 48 w 68"/>
                <a:gd name="T21" fmla="*/ 32 h 80"/>
                <a:gd name="T22" fmla="*/ 34 w 68"/>
                <a:gd name="T23" fmla="*/ 15 h 80"/>
                <a:gd name="T24" fmla="*/ 19 w 68"/>
                <a:gd name="T25" fmla="*/ 32 h 80"/>
                <a:gd name="T26" fmla="*/ 48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2" y="0"/>
                    <a:pt x="34" y="0"/>
                  </a:cubicBezTo>
                  <a:cubicBezTo>
                    <a:pt x="55" y="0"/>
                    <a:pt x="68" y="16"/>
                    <a:pt x="68" y="41"/>
                  </a:cubicBezTo>
                  <a:cubicBezTo>
                    <a:pt x="68" y="46"/>
                    <a:pt x="68" y="46"/>
                    <a:pt x="68" y="46"/>
                  </a:cubicBezTo>
                  <a:cubicBezTo>
                    <a:pt x="19" y="46"/>
                    <a:pt x="19" y="46"/>
                    <a:pt x="19" y="46"/>
                  </a:cubicBezTo>
                  <a:cubicBezTo>
                    <a:pt x="19" y="57"/>
                    <a:pt x="28" y="65"/>
                    <a:pt x="40" y="65"/>
                  </a:cubicBezTo>
                  <a:cubicBezTo>
                    <a:pt x="48" y="65"/>
                    <a:pt x="54" y="63"/>
                    <a:pt x="60" y="60"/>
                  </a:cubicBezTo>
                  <a:cubicBezTo>
                    <a:pt x="65" y="73"/>
                    <a:pt x="65" y="73"/>
                    <a:pt x="65" y="73"/>
                  </a:cubicBezTo>
                  <a:cubicBezTo>
                    <a:pt x="57" y="78"/>
                    <a:pt x="48" y="80"/>
                    <a:pt x="39" y="80"/>
                  </a:cubicBezTo>
                  <a:cubicBezTo>
                    <a:pt x="11" y="80"/>
                    <a:pt x="0" y="61"/>
                    <a:pt x="0" y="40"/>
                  </a:cubicBezTo>
                  <a:close/>
                  <a:moveTo>
                    <a:pt x="48" y="32"/>
                  </a:moveTo>
                  <a:cubicBezTo>
                    <a:pt x="48" y="23"/>
                    <a:pt x="44" y="15"/>
                    <a:pt x="34" y="15"/>
                  </a:cubicBezTo>
                  <a:cubicBezTo>
                    <a:pt x="24" y="15"/>
                    <a:pt x="19" y="23"/>
                    <a:pt x="19" y="32"/>
                  </a:cubicBezTo>
                  <a:lnTo>
                    <a:pt x="48"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3" name="Freeform 25"/>
            <p:cNvSpPr>
              <a:spLocks/>
            </p:cNvSpPr>
            <p:nvPr userDrawn="1"/>
          </p:nvSpPr>
          <p:spPr bwMode="auto">
            <a:xfrm>
              <a:off x="8040631" y="5041088"/>
              <a:ext cx="37258" cy="56031"/>
            </a:xfrm>
            <a:custGeom>
              <a:avLst/>
              <a:gdLst>
                <a:gd name="T0" fmla="*/ 42 w 49"/>
                <a:gd name="T1" fmla="*/ 19 h 77"/>
                <a:gd name="T2" fmla="*/ 33 w 49"/>
                <a:gd name="T3" fmla="*/ 16 h 77"/>
                <a:gd name="T4" fmla="*/ 19 w 49"/>
                <a:gd name="T5" fmla="*/ 23 h 77"/>
                <a:gd name="T6" fmla="*/ 19 w 49"/>
                <a:gd name="T7" fmla="*/ 63 h 77"/>
                <a:gd name="T8" fmla="*/ 0 w 49"/>
                <a:gd name="T9" fmla="*/ 77 h 77"/>
                <a:gd name="T10" fmla="*/ 0 w 49"/>
                <a:gd name="T11" fmla="*/ 1 h 77"/>
                <a:gd name="T12" fmla="*/ 16 w 49"/>
                <a:gd name="T13" fmla="*/ 1 h 77"/>
                <a:gd name="T14" fmla="*/ 18 w 49"/>
                <a:gd name="T15" fmla="*/ 9 h 77"/>
                <a:gd name="T16" fmla="*/ 38 w 49"/>
                <a:gd name="T17" fmla="*/ 0 h 77"/>
                <a:gd name="T18" fmla="*/ 49 w 49"/>
                <a:gd name="T19" fmla="*/ 3 h 77"/>
                <a:gd name="T20" fmla="*/ 42 w 49"/>
                <a:gd name="T21"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77">
                  <a:moveTo>
                    <a:pt x="42" y="19"/>
                  </a:moveTo>
                  <a:cubicBezTo>
                    <a:pt x="39" y="17"/>
                    <a:pt x="35" y="16"/>
                    <a:pt x="33" y="16"/>
                  </a:cubicBezTo>
                  <a:cubicBezTo>
                    <a:pt x="29" y="16"/>
                    <a:pt x="24" y="18"/>
                    <a:pt x="19" y="23"/>
                  </a:cubicBezTo>
                  <a:cubicBezTo>
                    <a:pt x="19" y="2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2"/>
                    <a:pt x="31" y="0"/>
                    <a:pt x="38" y="0"/>
                  </a:cubicBezTo>
                  <a:cubicBezTo>
                    <a:pt x="42" y="0"/>
                    <a:pt x="46" y="1"/>
                    <a:pt x="49" y="3"/>
                  </a:cubicBezTo>
                  <a:lnTo>
                    <a:pt x="42" y="1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4" name="Freeform 26"/>
            <p:cNvSpPr>
              <a:spLocks/>
            </p:cNvSpPr>
            <p:nvPr userDrawn="1"/>
          </p:nvSpPr>
          <p:spPr bwMode="auto">
            <a:xfrm>
              <a:off x="8083992" y="5041088"/>
              <a:ext cx="86400" cy="56031"/>
            </a:xfrm>
            <a:custGeom>
              <a:avLst/>
              <a:gdLst>
                <a:gd name="T0" fmla="*/ 114 w 114"/>
                <a:gd name="T1" fmla="*/ 25 h 77"/>
                <a:gd name="T2" fmla="*/ 114 w 114"/>
                <a:gd name="T3" fmla="*/ 63 h 77"/>
                <a:gd name="T4" fmla="*/ 95 w 114"/>
                <a:gd name="T5" fmla="*/ 77 h 77"/>
                <a:gd name="T6" fmla="*/ 95 w 114"/>
                <a:gd name="T7" fmla="*/ 31 h 77"/>
                <a:gd name="T8" fmla="*/ 84 w 114"/>
                <a:gd name="T9" fmla="*/ 16 h 77"/>
                <a:gd name="T10" fmla="*/ 66 w 114"/>
                <a:gd name="T11" fmla="*/ 23 h 77"/>
                <a:gd name="T12" fmla="*/ 66 w 114"/>
                <a:gd name="T13" fmla="*/ 63 h 77"/>
                <a:gd name="T14" fmla="*/ 66 w 114"/>
                <a:gd name="T15" fmla="*/ 63 h 77"/>
                <a:gd name="T16" fmla="*/ 47 w 114"/>
                <a:gd name="T17" fmla="*/ 77 h 77"/>
                <a:gd name="T18" fmla="*/ 47 w 114"/>
                <a:gd name="T19" fmla="*/ 31 h 77"/>
                <a:gd name="T20" fmla="*/ 37 w 114"/>
                <a:gd name="T21" fmla="*/ 16 h 77"/>
                <a:gd name="T22" fmla="*/ 19 w 114"/>
                <a:gd name="T23" fmla="*/ 23 h 77"/>
                <a:gd name="T24" fmla="*/ 19 w 114"/>
                <a:gd name="T25" fmla="*/ 63 h 77"/>
                <a:gd name="T26" fmla="*/ 19 w 114"/>
                <a:gd name="T27" fmla="*/ 63 h 77"/>
                <a:gd name="T28" fmla="*/ 0 w 114"/>
                <a:gd name="T29" fmla="*/ 77 h 77"/>
                <a:gd name="T30" fmla="*/ 0 w 114"/>
                <a:gd name="T31" fmla="*/ 1 h 77"/>
                <a:gd name="T32" fmla="*/ 16 w 114"/>
                <a:gd name="T33" fmla="*/ 1 h 77"/>
                <a:gd name="T34" fmla="*/ 18 w 114"/>
                <a:gd name="T35" fmla="*/ 9 h 77"/>
                <a:gd name="T36" fmla="*/ 43 w 114"/>
                <a:gd name="T37" fmla="*/ 0 h 77"/>
                <a:gd name="T38" fmla="*/ 63 w 114"/>
                <a:gd name="T39" fmla="*/ 11 h 77"/>
                <a:gd name="T40" fmla="*/ 89 w 114"/>
                <a:gd name="T41" fmla="*/ 0 h 77"/>
                <a:gd name="T42" fmla="*/ 114 w 114"/>
                <a:gd name="T43" fmla="*/ 2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77">
                  <a:moveTo>
                    <a:pt x="114" y="25"/>
                  </a:moveTo>
                  <a:cubicBezTo>
                    <a:pt x="114" y="63"/>
                    <a:pt x="114" y="63"/>
                    <a:pt x="114" y="63"/>
                  </a:cubicBezTo>
                  <a:cubicBezTo>
                    <a:pt x="114" y="77"/>
                    <a:pt x="95" y="77"/>
                    <a:pt x="95" y="77"/>
                  </a:cubicBezTo>
                  <a:cubicBezTo>
                    <a:pt x="95" y="31"/>
                    <a:pt x="95" y="31"/>
                    <a:pt x="95" y="31"/>
                  </a:cubicBezTo>
                  <a:cubicBezTo>
                    <a:pt x="95" y="22"/>
                    <a:pt x="93" y="16"/>
                    <a:pt x="84" y="16"/>
                  </a:cubicBezTo>
                  <a:cubicBezTo>
                    <a:pt x="77" y="16"/>
                    <a:pt x="71" y="19"/>
                    <a:pt x="66" y="23"/>
                  </a:cubicBezTo>
                  <a:cubicBezTo>
                    <a:pt x="66" y="63"/>
                    <a:pt x="66" y="63"/>
                    <a:pt x="66" y="63"/>
                  </a:cubicBezTo>
                  <a:cubicBezTo>
                    <a:pt x="66" y="63"/>
                    <a:pt x="66" y="49"/>
                    <a:pt x="66" y="63"/>
                  </a:cubicBezTo>
                  <a:cubicBezTo>
                    <a:pt x="66" y="77"/>
                    <a:pt x="47" y="77"/>
                    <a:pt x="47" y="77"/>
                  </a:cubicBezTo>
                  <a:cubicBezTo>
                    <a:pt x="47" y="31"/>
                    <a:pt x="47" y="31"/>
                    <a:pt x="47" y="31"/>
                  </a:cubicBezTo>
                  <a:cubicBezTo>
                    <a:pt x="47" y="23"/>
                    <a:pt x="46" y="16"/>
                    <a:pt x="37" y="16"/>
                  </a:cubicBezTo>
                  <a:cubicBezTo>
                    <a:pt x="30" y="16"/>
                    <a:pt x="19" y="23"/>
                    <a:pt x="19" y="23"/>
                  </a:cubicBezTo>
                  <a:cubicBezTo>
                    <a:pt x="19" y="63"/>
                    <a:pt x="19" y="63"/>
                    <a:pt x="19" y="63"/>
                  </a:cubicBezTo>
                  <a:cubicBezTo>
                    <a:pt x="19" y="6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3"/>
                    <a:pt x="34" y="0"/>
                    <a:pt x="43" y="0"/>
                  </a:cubicBezTo>
                  <a:cubicBezTo>
                    <a:pt x="52" y="0"/>
                    <a:pt x="59" y="4"/>
                    <a:pt x="63" y="11"/>
                  </a:cubicBezTo>
                  <a:cubicBezTo>
                    <a:pt x="71" y="3"/>
                    <a:pt x="81" y="0"/>
                    <a:pt x="89" y="0"/>
                  </a:cubicBezTo>
                  <a:cubicBezTo>
                    <a:pt x="102" y="0"/>
                    <a:pt x="114" y="6"/>
                    <a:pt x="114" y="25"/>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5" name="Freeform 27"/>
            <p:cNvSpPr>
              <a:spLocks/>
            </p:cNvSpPr>
            <p:nvPr userDrawn="1"/>
          </p:nvSpPr>
          <p:spPr bwMode="auto">
            <a:xfrm>
              <a:off x="7908622" y="5019846"/>
              <a:ext cx="77407" cy="77889"/>
            </a:xfrm>
            <a:custGeom>
              <a:avLst/>
              <a:gdLst>
                <a:gd name="T0" fmla="*/ 43 w 102"/>
                <a:gd name="T1" fmla="*/ 107 h 107"/>
                <a:gd name="T2" fmla="*/ 65 w 102"/>
                <a:gd name="T3" fmla="*/ 91 h 107"/>
                <a:gd name="T4" fmla="*/ 102 w 102"/>
                <a:gd name="T5" fmla="*/ 0 h 107"/>
                <a:gd name="T6" fmla="*/ 81 w 102"/>
                <a:gd name="T7" fmla="*/ 0 h 107"/>
                <a:gd name="T8" fmla="*/ 51 w 102"/>
                <a:gd name="T9" fmla="*/ 78 h 107"/>
                <a:gd name="T10" fmla="*/ 51 w 102"/>
                <a:gd name="T11" fmla="*/ 78 h 107"/>
                <a:gd name="T12" fmla="*/ 21 w 102"/>
                <a:gd name="T13" fmla="*/ 0 h 107"/>
                <a:gd name="T14" fmla="*/ 0 w 102"/>
                <a:gd name="T15" fmla="*/ 0 h 107"/>
                <a:gd name="T16" fmla="*/ 43 w 102"/>
                <a:gd name="T17"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107">
                  <a:moveTo>
                    <a:pt x="43" y="107"/>
                  </a:moveTo>
                  <a:cubicBezTo>
                    <a:pt x="57" y="107"/>
                    <a:pt x="61" y="101"/>
                    <a:pt x="65" y="91"/>
                  </a:cubicBezTo>
                  <a:cubicBezTo>
                    <a:pt x="102" y="0"/>
                    <a:pt x="102" y="0"/>
                    <a:pt x="102" y="0"/>
                  </a:cubicBezTo>
                  <a:cubicBezTo>
                    <a:pt x="81" y="0"/>
                    <a:pt x="81" y="0"/>
                    <a:pt x="81" y="0"/>
                  </a:cubicBezTo>
                  <a:cubicBezTo>
                    <a:pt x="51" y="78"/>
                    <a:pt x="51" y="78"/>
                    <a:pt x="51" y="78"/>
                  </a:cubicBezTo>
                  <a:cubicBezTo>
                    <a:pt x="51" y="78"/>
                    <a:pt x="51" y="78"/>
                    <a:pt x="51" y="78"/>
                  </a:cubicBezTo>
                  <a:cubicBezTo>
                    <a:pt x="21" y="0"/>
                    <a:pt x="21" y="0"/>
                    <a:pt x="21" y="0"/>
                  </a:cubicBezTo>
                  <a:cubicBezTo>
                    <a:pt x="0" y="0"/>
                    <a:pt x="0" y="0"/>
                    <a:pt x="0" y="0"/>
                  </a:cubicBezTo>
                  <a:cubicBezTo>
                    <a:pt x="43" y="107"/>
                    <a:pt x="43" y="107"/>
                    <a:pt x="43" y="10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116" name="Group 115"/>
          <p:cNvGrpSpPr/>
          <p:nvPr userDrawn="1"/>
        </p:nvGrpSpPr>
        <p:grpSpPr>
          <a:xfrm>
            <a:off x="4756265" y="4843403"/>
            <a:ext cx="1123200" cy="262117"/>
            <a:chOff x="7686782" y="4354553"/>
            <a:chExt cx="1123200" cy="262117"/>
          </a:xfrm>
          <a:solidFill>
            <a:schemeClr val="bg1"/>
          </a:solidFill>
        </p:grpSpPr>
        <p:sp>
          <p:nvSpPr>
            <p:cNvPr id="117" name="Freeform 116"/>
            <p:cNvSpPr>
              <a:spLocks/>
            </p:cNvSpPr>
            <p:nvPr/>
          </p:nvSpPr>
          <p:spPr bwMode="auto">
            <a:xfrm>
              <a:off x="8637817" y="4415076"/>
              <a:ext cx="103629" cy="66531"/>
            </a:xfrm>
            <a:custGeom>
              <a:avLst/>
              <a:gdLst>
                <a:gd name="T0" fmla="*/ 50 w 62"/>
                <a:gd name="T1" fmla="*/ 33 h 42"/>
                <a:gd name="T2" fmla="*/ 39 w 62"/>
                <a:gd name="T3" fmla="*/ 40 h 42"/>
                <a:gd name="T4" fmla="*/ 31 w 62"/>
                <a:gd name="T5" fmla="*/ 13 h 42"/>
                <a:gd name="T6" fmla="*/ 30 w 62"/>
                <a:gd name="T7" fmla="*/ 13 h 42"/>
                <a:gd name="T8" fmla="*/ 24 w 62"/>
                <a:gd name="T9" fmla="*/ 33 h 42"/>
                <a:gd name="T10" fmla="*/ 14 w 62"/>
                <a:gd name="T11" fmla="*/ 40 h 42"/>
                <a:gd name="T12" fmla="*/ 0 w 62"/>
                <a:gd name="T13" fmla="*/ 0 h 42"/>
                <a:gd name="T14" fmla="*/ 10 w 62"/>
                <a:gd name="T15" fmla="*/ 0 h 42"/>
                <a:gd name="T16" fmla="*/ 18 w 62"/>
                <a:gd name="T17" fmla="*/ 27 h 42"/>
                <a:gd name="T18" fmla="*/ 18 w 62"/>
                <a:gd name="T19" fmla="*/ 27 h 42"/>
                <a:gd name="T20" fmla="*/ 27 w 62"/>
                <a:gd name="T21" fmla="*/ 0 h 42"/>
                <a:gd name="T22" fmla="*/ 35 w 62"/>
                <a:gd name="T23" fmla="*/ 0 h 42"/>
                <a:gd name="T24" fmla="*/ 43 w 62"/>
                <a:gd name="T25" fmla="*/ 27 h 42"/>
                <a:gd name="T26" fmla="*/ 44 w 62"/>
                <a:gd name="T27" fmla="*/ 27 h 42"/>
                <a:gd name="T28" fmla="*/ 52 w 62"/>
                <a:gd name="T29" fmla="*/ 0 h 42"/>
                <a:gd name="T30" fmla="*/ 62 w 62"/>
                <a:gd name="T31" fmla="*/ 0 h 42"/>
                <a:gd name="T32" fmla="*/ 50 w 62"/>
                <a:gd name="T33" fmla="*/ 3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 h="42">
                  <a:moveTo>
                    <a:pt x="50" y="33"/>
                  </a:moveTo>
                  <a:cubicBezTo>
                    <a:pt x="47" y="42"/>
                    <a:pt x="39" y="40"/>
                    <a:pt x="39" y="40"/>
                  </a:cubicBezTo>
                  <a:cubicBezTo>
                    <a:pt x="31" y="13"/>
                    <a:pt x="31" y="13"/>
                    <a:pt x="31" y="13"/>
                  </a:cubicBezTo>
                  <a:cubicBezTo>
                    <a:pt x="30" y="13"/>
                    <a:pt x="30" y="13"/>
                    <a:pt x="30" y="13"/>
                  </a:cubicBezTo>
                  <a:cubicBezTo>
                    <a:pt x="30" y="13"/>
                    <a:pt x="26" y="26"/>
                    <a:pt x="24" y="33"/>
                  </a:cubicBezTo>
                  <a:cubicBezTo>
                    <a:pt x="21" y="42"/>
                    <a:pt x="14" y="40"/>
                    <a:pt x="14" y="40"/>
                  </a:cubicBezTo>
                  <a:cubicBezTo>
                    <a:pt x="0" y="0"/>
                    <a:pt x="0" y="0"/>
                    <a:pt x="0" y="0"/>
                  </a:cubicBezTo>
                  <a:cubicBezTo>
                    <a:pt x="10" y="0"/>
                    <a:pt x="10" y="0"/>
                    <a:pt x="10" y="0"/>
                  </a:cubicBezTo>
                  <a:cubicBezTo>
                    <a:pt x="18" y="27"/>
                    <a:pt x="18" y="27"/>
                    <a:pt x="18" y="27"/>
                  </a:cubicBezTo>
                  <a:cubicBezTo>
                    <a:pt x="18" y="27"/>
                    <a:pt x="18" y="27"/>
                    <a:pt x="18" y="27"/>
                  </a:cubicBezTo>
                  <a:cubicBezTo>
                    <a:pt x="27" y="0"/>
                    <a:pt x="27" y="0"/>
                    <a:pt x="27" y="0"/>
                  </a:cubicBezTo>
                  <a:cubicBezTo>
                    <a:pt x="35" y="0"/>
                    <a:pt x="35" y="0"/>
                    <a:pt x="35" y="0"/>
                  </a:cubicBezTo>
                  <a:cubicBezTo>
                    <a:pt x="43" y="27"/>
                    <a:pt x="43" y="27"/>
                    <a:pt x="43" y="27"/>
                  </a:cubicBezTo>
                  <a:cubicBezTo>
                    <a:pt x="44" y="27"/>
                    <a:pt x="44" y="27"/>
                    <a:pt x="44" y="27"/>
                  </a:cubicBezTo>
                  <a:cubicBezTo>
                    <a:pt x="52" y="0"/>
                    <a:pt x="52" y="0"/>
                    <a:pt x="52" y="0"/>
                  </a:cubicBezTo>
                  <a:cubicBezTo>
                    <a:pt x="62" y="0"/>
                    <a:pt x="62" y="0"/>
                    <a:pt x="62" y="0"/>
                  </a:cubicBezTo>
                  <a:cubicBezTo>
                    <a:pt x="62" y="0"/>
                    <a:pt x="52" y="26"/>
                    <a:pt x="5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 name="Freeform 117"/>
            <p:cNvSpPr>
              <a:spLocks noEditPoints="1"/>
            </p:cNvSpPr>
            <p:nvPr/>
          </p:nvSpPr>
          <p:spPr bwMode="auto">
            <a:xfrm>
              <a:off x="8445631" y="4383257"/>
              <a:ext cx="65239" cy="93677"/>
            </a:xfrm>
            <a:custGeom>
              <a:avLst/>
              <a:gdLst>
                <a:gd name="T0" fmla="*/ 0 w 39"/>
                <a:gd name="T1" fmla="*/ 0 h 59"/>
                <a:gd name="T2" fmla="*/ 0 w 39"/>
                <a:gd name="T3" fmla="*/ 59 h 59"/>
                <a:gd name="T4" fmla="*/ 18 w 39"/>
                <a:gd name="T5" fmla="*/ 59 h 59"/>
                <a:gd name="T6" fmla="*/ 39 w 39"/>
                <a:gd name="T7" fmla="*/ 42 h 59"/>
                <a:gd name="T8" fmla="*/ 29 w 39"/>
                <a:gd name="T9" fmla="*/ 28 h 59"/>
                <a:gd name="T10" fmla="*/ 28 w 39"/>
                <a:gd name="T11" fmla="*/ 27 h 59"/>
                <a:gd name="T12" fmla="*/ 29 w 39"/>
                <a:gd name="T13" fmla="*/ 27 h 59"/>
                <a:gd name="T14" fmla="*/ 35 w 39"/>
                <a:gd name="T15" fmla="*/ 15 h 59"/>
                <a:gd name="T16" fmla="*/ 19 w 39"/>
                <a:gd name="T17" fmla="*/ 0 h 59"/>
                <a:gd name="T18" fmla="*/ 0 w 39"/>
                <a:gd name="T19" fmla="*/ 0 h 59"/>
                <a:gd name="T20" fmla="*/ 10 w 39"/>
                <a:gd name="T21" fmla="*/ 8 h 59"/>
                <a:gd name="T22" fmla="*/ 16 w 39"/>
                <a:gd name="T23" fmla="*/ 8 h 59"/>
                <a:gd name="T24" fmla="*/ 25 w 39"/>
                <a:gd name="T25" fmla="*/ 16 h 59"/>
                <a:gd name="T26" fmla="*/ 17 w 39"/>
                <a:gd name="T27" fmla="*/ 25 h 59"/>
                <a:gd name="T28" fmla="*/ 10 w 39"/>
                <a:gd name="T29" fmla="*/ 25 h 59"/>
                <a:gd name="T30" fmla="*/ 10 w 39"/>
                <a:gd name="T31" fmla="*/ 8 h 59"/>
                <a:gd name="T32" fmla="*/ 10 w 39"/>
                <a:gd name="T33" fmla="*/ 33 h 59"/>
                <a:gd name="T34" fmla="*/ 18 w 39"/>
                <a:gd name="T35" fmla="*/ 33 h 59"/>
                <a:gd name="T36" fmla="*/ 29 w 39"/>
                <a:gd name="T37" fmla="*/ 42 h 59"/>
                <a:gd name="T38" fmla="*/ 17 w 39"/>
                <a:gd name="T39" fmla="*/ 51 h 59"/>
                <a:gd name="T40" fmla="*/ 10 w 39"/>
                <a:gd name="T41" fmla="*/ 51 h 59"/>
                <a:gd name="T42" fmla="*/ 10 w 39"/>
                <a:gd name="T43"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9">
                  <a:moveTo>
                    <a:pt x="0" y="0"/>
                  </a:moveTo>
                  <a:cubicBezTo>
                    <a:pt x="0" y="1"/>
                    <a:pt x="0" y="59"/>
                    <a:pt x="0" y="59"/>
                  </a:cubicBezTo>
                  <a:cubicBezTo>
                    <a:pt x="1" y="59"/>
                    <a:pt x="18" y="59"/>
                    <a:pt x="18" y="59"/>
                  </a:cubicBezTo>
                  <a:cubicBezTo>
                    <a:pt x="33" y="59"/>
                    <a:pt x="39" y="51"/>
                    <a:pt x="39" y="42"/>
                  </a:cubicBezTo>
                  <a:cubicBezTo>
                    <a:pt x="39" y="35"/>
                    <a:pt x="36" y="29"/>
                    <a:pt x="29" y="28"/>
                  </a:cubicBezTo>
                  <a:cubicBezTo>
                    <a:pt x="28" y="27"/>
                    <a:pt x="28" y="27"/>
                    <a:pt x="28" y="27"/>
                  </a:cubicBezTo>
                  <a:cubicBezTo>
                    <a:pt x="29" y="27"/>
                    <a:pt x="29" y="27"/>
                    <a:pt x="29" y="27"/>
                  </a:cubicBezTo>
                  <a:cubicBezTo>
                    <a:pt x="33" y="24"/>
                    <a:pt x="35" y="20"/>
                    <a:pt x="35" y="15"/>
                  </a:cubicBezTo>
                  <a:cubicBezTo>
                    <a:pt x="35" y="8"/>
                    <a:pt x="30" y="0"/>
                    <a:pt x="19" y="0"/>
                  </a:cubicBezTo>
                  <a:cubicBezTo>
                    <a:pt x="19" y="0"/>
                    <a:pt x="1" y="0"/>
                    <a:pt x="0" y="0"/>
                  </a:cubicBezTo>
                  <a:close/>
                  <a:moveTo>
                    <a:pt x="10" y="8"/>
                  </a:moveTo>
                  <a:cubicBezTo>
                    <a:pt x="16" y="8"/>
                    <a:pt x="16" y="8"/>
                    <a:pt x="16" y="8"/>
                  </a:cubicBezTo>
                  <a:cubicBezTo>
                    <a:pt x="22" y="8"/>
                    <a:pt x="25" y="11"/>
                    <a:pt x="25" y="16"/>
                  </a:cubicBezTo>
                  <a:cubicBezTo>
                    <a:pt x="25" y="21"/>
                    <a:pt x="21" y="25"/>
                    <a:pt x="17" y="25"/>
                  </a:cubicBezTo>
                  <a:cubicBezTo>
                    <a:pt x="10" y="25"/>
                    <a:pt x="10" y="25"/>
                    <a:pt x="10" y="25"/>
                  </a:cubicBezTo>
                  <a:lnTo>
                    <a:pt x="10" y="8"/>
                  </a:lnTo>
                  <a:close/>
                  <a:moveTo>
                    <a:pt x="10" y="33"/>
                  </a:moveTo>
                  <a:cubicBezTo>
                    <a:pt x="18" y="33"/>
                    <a:pt x="18" y="33"/>
                    <a:pt x="18" y="33"/>
                  </a:cubicBezTo>
                  <a:cubicBezTo>
                    <a:pt x="25" y="33"/>
                    <a:pt x="29" y="37"/>
                    <a:pt x="29" y="42"/>
                  </a:cubicBezTo>
                  <a:cubicBezTo>
                    <a:pt x="29" y="48"/>
                    <a:pt x="25" y="51"/>
                    <a:pt x="17" y="51"/>
                  </a:cubicBezTo>
                  <a:cubicBezTo>
                    <a:pt x="10" y="51"/>
                    <a:pt x="10" y="51"/>
                    <a:pt x="10" y="51"/>
                  </a:cubicBezTo>
                  <a:lnTo>
                    <a:pt x="1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 name="Freeform 118"/>
            <p:cNvSpPr>
              <a:spLocks noEditPoints="1"/>
            </p:cNvSpPr>
            <p:nvPr/>
          </p:nvSpPr>
          <p:spPr bwMode="auto">
            <a:xfrm>
              <a:off x="8567631" y="4413518"/>
              <a:ext cx="66888" cy="64973"/>
            </a:xfrm>
            <a:custGeom>
              <a:avLst/>
              <a:gdLst>
                <a:gd name="T0" fmla="*/ 34 w 40"/>
                <a:gd name="T1" fmla="*/ 36 h 41"/>
                <a:gd name="T2" fmla="*/ 20 w 40"/>
                <a:gd name="T3" fmla="*/ 41 h 41"/>
                <a:gd name="T4" fmla="*/ 7 w 40"/>
                <a:gd name="T5" fmla="*/ 36 h 41"/>
                <a:gd name="T6" fmla="*/ 0 w 40"/>
                <a:gd name="T7" fmla="*/ 21 h 41"/>
                <a:gd name="T8" fmla="*/ 6 w 40"/>
                <a:gd name="T9" fmla="*/ 6 h 41"/>
                <a:gd name="T10" fmla="*/ 20 w 40"/>
                <a:gd name="T11" fmla="*/ 0 h 41"/>
                <a:gd name="T12" fmla="*/ 35 w 40"/>
                <a:gd name="T13" fmla="*/ 6 h 41"/>
                <a:gd name="T14" fmla="*/ 40 w 40"/>
                <a:gd name="T15" fmla="*/ 20 h 41"/>
                <a:gd name="T16" fmla="*/ 34 w 40"/>
                <a:gd name="T17" fmla="*/ 36 h 41"/>
                <a:gd name="T18" fmla="*/ 20 w 40"/>
                <a:gd name="T19" fmla="*/ 8 h 41"/>
                <a:gd name="T20" fmla="*/ 11 w 40"/>
                <a:gd name="T21" fmla="*/ 21 h 41"/>
                <a:gd name="T22" fmla="*/ 20 w 40"/>
                <a:gd name="T23" fmla="*/ 33 h 41"/>
                <a:gd name="T24" fmla="*/ 30 w 40"/>
                <a:gd name="T25" fmla="*/ 21 h 41"/>
                <a:gd name="T26" fmla="*/ 20 w 40"/>
                <a:gd name="T27" fmla="*/ 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4" y="36"/>
                  </a:moveTo>
                  <a:cubicBezTo>
                    <a:pt x="31" y="39"/>
                    <a:pt x="26" y="41"/>
                    <a:pt x="20" y="41"/>
                  </a:cubicBezTo>
                  <a:cubicBezTo>
                    <a:pt x="15" y="41"/>
                    <a:pt x="10" y="39"/>
                    <a:pt x="7" y="36"/>
                  </a:cubicBezTo>
                  <a:cubicBezTo>
                    <a:pt x="3" y="33"/>
                    <a:pt x="0" y="27"/>
                    <a:pt x="0" y="21"/>
                  </a:cubicBezTo>
                  <a:cubicBezTo>
                    <a:pt x="0" y="15"/>
                    <a:pt x="2" y="9"/>
                    <a:pt x="6" y="6"/>
                  </a:cubicBezTo>
                  <a:cubicBezTo>
                    <a:pt x="10" y="2"/>
                    <a:pt x="14" y="0"/>
                    <a:pt x="20" y="0"/>
                  </a:cubicBezTo>
                  <a:cubicBezTo>
                    <a:pt x="26" y="0"/>
                    <a:pt x="31" y="2"/>
                    <a:pt x="35" y="6"/>
                  </a:cubicBezTo>
                  <a:cubicBezTo>
                    <a:pt x="38" y="9"/>
                    <a:pt x="40" y="14"/>
                    <a:pt x="40" y="20"/>
                  </a:cubicBezTo>
                  <a:cubicBezTo>
                    <a:pt x="40" y="26"/>
                    <a:pt x="38" y="32"/>
                    <a:pt x="34" y="36"/>
                  </a:cubicBezTo>
                  <a:close/>
                  <a:moveTo>
                    <a:pt x="20" y="8"/>
                  </a:moveTo>
                  <a:cubicBezTo>
                    <a:pt x="14" y="8"/>
                    <a:pt x="11" y="13"/>
                    <a:pt x="11" y="21"/>
                  </a:cubicBezTo>
                  <a:cubicBezTo>
                    <a:pt x="11" y="28"/>
                    <a:pt x="14" y="33"/>
                    <a:pt x="20" y="33"/>
                  </a:cubicBezTo>
                  <a:cubicBezTo>
                    <a:pt x="27" y="33"/>
                    <a:pt x="30" y="28"/>
                    <a:pt x="30" y="21"/>
                  </a:cubicBezTo>
                  <a:cubicBezTo>
                    <a:pt x="30" y="13"/>
                    <a:pt x="26" y="8"/>
                    <a:pt x="2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 name="Freeform 119"/>
            <p:cNvSpPr>
              <a:spLocks/>
            </p:cNvSpPr>
            <p:nvPr/>
          </p:nvSpPr>
          <p:spPr bwMode="auto">
            <a:xfrm>
              <a:off x="8751573" y="4413518"/>
              <a:ext cx="58409" cy="64973"/>
            </a:xfrm>
            <a:custGeom>
              <a:avLst/>
              <a:gdLst>
                <a:gd name="T0" fmla="*/ 25 w 35"/>
                <a:gd name="T1" fmla="*/ 41 h 41"/>
                <a:gd name="T2" fmla="*/ 25 w 35"/>
                <a:gd name="T3" fmla="*/ 17 h 41"/>
                <a:gd name="T4" fmla="*/ 20 w 35"/>
                <a:gd name="T5" fmla="*/ 9 h 41"/>
                <a:gd name="T6" fmla="*/ 10 w 35"/>
                <a:gd name="T7" fmla="*/ 13 h 41"/>
                <a:gd name="T8" fmla="*/ 10 w 35"/>
                <a:gd name="T9" fmla="*/ 34 h 41"/>
                <a:gd name="T10" fmla="*/ 0 w 35"/>
                <a:gd name="T11" fmla="*/ 41 h 41"/>
                <a:gd name="T12" fmla="*/ 0 w 35"/>
                <a:gd name="T13" fmla="*/ 1 h 41"/>
                <a:gd name="T14" fmla="*/ 8 w 35"/>
                <a:gd name="T15" fmla="*/ 1 h 41"/>
                <a:gd name="T16" fmla="*/ 9 w 35"/>
                <a:gd name="T17" fmla="*/ 5 h 41"/>
                <a:gd name="T18" fmla="*/ 23 w 35"/>
                <a:gd name="T19" fmla="*/ 0 h 41"/>
                <a:gd name="T20" fmla="*/ 35 w 35"/>
                <a:gd name="T21" fmla="*/ 14 h 41"/>
                <a:gd name="T22" fmla="*/ 35 w 35"/>
                <a:gd name="T23" fmla="*/ 34 h 41"/>
                <a:gd name="T24" fmla="*/ 25 w 35"/>
                <a:gd name="T25"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41">
                  <a:moveTo>
                    <a:pt x="25" y="41"/>
                  </a:moveTo>
                  <a:cubicBezTo>
                    <a:pt x="25" y="17"/>
                    <a:pt x="25" y="17"/>
                    <a:pt x="25" y="17"/>
                  </a:cubicBezTo>
                  <a:cubicBezTo>
                    <a:pt x="25" y="13"/>
                    <a:pt x="25" y="9"/>
                    <a:pt x="20" y="9"/>
                  </a:cubicBezTo>
                  <a:cubicBezTo>
                    <a:pt x="16" y="9"/>
                    <a:pt x="13" y="10"/>
                    <a:pt x="10" y="13"/>
                  </a:cubicBezTo>
                  <a:cubicBezTo>
                    <a:pt x="10" y="13"/>
                    <a:pt x="10" y="26"/>
                    <a:pt x="10" y="34"/>
                  </a:cubicBezTo>
                  <a:cubicBezTo>
                    <a:pt x="10" y="41"/>
                    <a:pt x="0" y="41"/>
                    <a:pt x="0" y="41"/>
                  </a:cubicBezTo>
                  <a:cubicBezTo>
                    <a:pt x="0" y="1"/>
                    <a:pt x="0" y="1"/>
                    <a:pt x="0" y="1"/>
                  </a:cubicBezTo>
                  <a:cubicBezTo>
                    <a:pt x="8" y="1"/>
                    <a:pt x="8" y="1"/>
                    <a:pt x="8" y="1"/>
                  </a:cubicBezTo>
                  <a:cubicBezTo>
                    <a:pt x="9" y="5"/>
                    <a:pt x="9" y="5"/>
                    <a:pt x="9" y="5"/>
                  </a:cubicBezTo>
                  <a:cubicBezTo>
                    <a:pt x="13" y="2"/>
                    <a:pt x="18" y="0"/>
                    <a:pt x="23" y="0"/>
                  </a:cubicBezTo>
                  <a:cubicBezTo>
                    <a:pt x="29" y="0"/>
                    <a:pt x="35" y="3"/>
                    <a:pt x="35" y="14"/>
                  </a:cubicBezTo>
                  <a:cubicBezTo>
                    <a:pt x="35" y="14"/>
                    <a:pt x="35" y="26"/>
                    <a:pt x="35" y="34"/>
                  </a:cubicBezTo>
                  <a:cubicBezTo>
                    <a:pt x="35" y="41"/>
                    <a:pt x="25" y="41"/>
                    <a:pt x="2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 name="Freeform 120"/>
            <p:cNvSpPr>
              <a:spLocks/>
            </p:cNvSpPr>
            <p:nvPr/>
          </p:nvSpPr>
          <p:spPr bwMode="auto">
            <a:xfrm>
              <a:off x="8522411" y="4413518"/>
              <a:ext cx="43571" cy="64973"/>
            </a:xfrm>
            <a:custGeom>
              <a:avLst/>
              <a:gdLst>
                <a:gd name="T0" fmla="*/ 23 w 26"/>
                <a:gd name="T1" fmla="*/ 10 h 41"/>
                <a:gd name="T2" fmla="*/ 18 w 26"/>
                <a:gd name="T3" fmla="*/ 9 h 41"/>
                <a:gd name="T4" fmla="*/ 11 w 26"/>
                <a:gd name="T5" fmla="*/ 12 h 41"/>
                <a:gd name="T6" fmla="*/ 11 w 26"/>
                <a:gd name="T7" fmla="*/ 34 h 41"/>
                <a:gd name="T8" fmla="*/ 0 w 26"/>
                <a:gd name="T9" fmla="*/ 41 h 41"/>
                <a:gd name="T10" fmla="*/ 0 w 26"/>
                <a:gd name="T11" fmla="*/ 1 h 41"/>
                <a:gd name="T12" fmla="*/ 9 w 26"/>
                <a:gd name="T13" fmla="*/ 1 h 41"/>
                <a:gd name="T14" fmla="*/ 10 w 26"/>
                <a:gd name="T15" fmla="*/ 5 h 41"/>
                <a:gd name="T16" fmla="*/ 21 w 26"/>
                <a:gd name="T17" fmla="*/ 0 h 41"/>
                <a:gd name="T18" fmla="*/ 26 w 26"/>
                <a:gd name="T19" fmla="*/ 2 h 41"/>
                <a:gd name="T20" fmla="*/ 23 w 26"/>
                <a:gd name="T21" fmla="*/ 1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41">
                  <a:moveTo>
                    <a:pt x="23" y="10"/>
                  </a:moveTo>
                  <a:cubicBezTo>
                    <a:pt x="21" y="9"/>
                    <a:pt x="19" y="9"/>
                    <a:pt x="18" y="9"/>
                  </a:cubicBezTo>
                  <a:cubicBezTo>
                    <a:pt x="16" y="9"/>
                    <a:pt x="13" y="10"/>
                    <a:pt x="11" y="12"/>
                  </a:cubicBezTo>
                  <a:cubicBezTo>
                    <a:pt x="11" y="12"/>
                    <a:pt x="11" y="26"/>
                    <a:pt x="11" y="34"/>
                  </a:cubicBezTo>
                  <a:cubicBezTo>
                    <a:pt x="11" y="41"/>
                    <a:pt x="0" y="41"/>
                    <a:pt x="0" y="41"/>
                  </a:cubicBezTo>
                  <a:cubicBezTo>
                    <a:pt x="0" y="1"/>
                    <a:pt x="0" y="1"/>
                    <a:pt x="0" y="1"/>
                  </a:cubicBezTo>
                  <a:cubicBezTo>
                    <a:pt x="9" y="1"/>
                    <a:pt x="9" y="1"/>
                    <a:pt x="9" y="1"/>
                  </a:cubicBezTo>
                  <a:cubicBezTo>
                    <a:pt x="10" y="5"/>
                    <a:pt x="10" y="5"/>
                    <a:pt x="10" y="5"/>
                  </a:cubicBezTo>
                  <a:cubicBezTo>
                    <a:pt x="14" y="2"/>
                    <a:pt x="17" y="0"/>
                    <a:pt x="21" y="0"/>
                  </a:cubicBezTo>
                  <a:cubicBezTo>
                    <a:pt x="23" y="0"/>
                    <a:pt x="25" y="1"/>
                    <a:pt x="26" y="2"/>
                  </a:cubicBezTo>
                  <a:lnTo>
                    <a:pt x="23"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 name="Freeform 121"/>
            <p:cNvSpPr>
              <a:spLocks/>
            </p:cNvSpPr>
            <p:nvPr/>
          </p:nvSpPr>
          <p:spPr bwMode="auto">
            <a:xfrm>
              <a:off x="7787114" y="4354553"/>
              <a:ext cx="101745" cy="147747"/>
            </a:xfrm>
            <a:custGeom>
              <a:avLst/>
              <a:gdLst>
                <a:gd name="T0" fmla="*/ 0 w 61"/>
                <a:gd name="T1" fmla="*/ 11 h 93"/>
                <a:gd name="T2" fmla="*/ 1 w 61"/>
                <a:gd name="T3" fmla="*/ 10 h 93"/>
                <a:gd name="T4" fmla="*/ 31 w 61"/>
                <a:gd name="T5" fmla="*/ 9 h 93"/>
                <a:gd name="T6" fmla="*/ 37 w 61"/>
                <a:gd name="T7" fmla="*/ 24 h 93"/>
                <a:gd name="T8" fmla="*/ 52 w 61"/>
                <a:gd name="T9" fmla="*/ 30 h 93"/>
                <a:gd name="T10" fmla="*/ 51 w 61"/>
                <a:gd name="T11" fmla="*/ 60 h 93"/>
                <a:gd name="T12" fmla="*/ 18 w 61"/>
                <a:gd name="T13" fmla="*/ 93 h 93"/>
                <a:gd name="T14" fmla="*/ 8 w 61"/>
                <a:gd name="T15" fmla="*/ 83 h 93"/>
                <a:gd name="T16" fmla="*/ 41 w 61"/>
                <a:gd name="T17" fmla="*/ 50 h 93"/>
                <a:gd name="T18" fmla="*/ 42 w 61"/>
                <a:gd name="T19" fmla="*/ 39 h 93"/>
                <a:gd name="T20" fmla="*/ 31 w 61"/>
                <a:gd name="T21" fmla="*/ 40 h 93"/>
                <a:gd name="T22" fmla="*/ 0 w 61"/>
                <a:gd name="T23" fmla="*/ 70 h 93"/>
                <a:gd name="T24" fmla="*/ 0 w 61"/>
                <a:gd name="T25" fmla="*/ 50 h 93"/>
                <a:gd name="T26" fmla="*/ 21 w 61"/>
                <a:gd name="T27" fmla="*/ 30 h 93"/>
                <a:gd name="T28" fmla="*/ 22 w 61"/>
                <a:gd name="T29" fmla="*/ 19 h 93"/>
                <a:gd name="T30" fmla="*/ 11 w 61"/>
                <a:gd name="T31" fmla="*/ 20 h 93"/>
                <a:gd name="T32" fmla="*/ 0 w 61"/>
                <a:gd name="T33" fmla="*/ 30 h 93"/>
                <a:gd name="T34" fmla="*/ 0 w 61"/>
                <a:gd name="T35" fmla="*/ 1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 h="93">
                  <a:moveTo>
                    <a:pt x="0" y="11"/>
                  </a:moveTo>
                  <a:cubicBezTo>
                    <a:pt x="1" y="10"/>
                    <a:pt x="1" y="10"/>
                    <a:pt x="1" y="10"/>
                  </a:cubicBezTo>
                  <a:cubicBezTo>
                    <a:pt x="11" y="0"/>
                    <a:pt x="23" y="1"/>
                    <a:pt x="31" y="9"/>
                  </a:cubicBezTo>
                  <a:cubicBezTo>
                    <a:pt x="37" y="15"/>
                    <a:pt x="37" y="21"/>
                    <a:pt x="37" y="24"/>
                  </a:cubicBezTo>
                  <a:cubicBezTo>
                    <a:pt x="40" y="24"/>
                    <a:pt x="46" y="24"/>
                    <a:pt x="52" y="30"/>
                  </a:cubicBezTo>
                  <a:cubicBezTo>
                    <a:pt x="60" y="38"/>
                    <a:pt x="61" y="50"/>
                    <a:pt x="51" y="60"/>
                  </a:cubicBezTo>
                  <a:cubicBezTo>
                    <a:pt x="18" y="93"/>
                    <a:pt x="18" y="93"/>
                    <a:pt x="18" y="93"/>
                  </a:cubicBezTo>
                  <a:cubicBezTo>
                    <a:pt x="8" y="83"/>
                    <a:pt x="8" y="83"/>
                    <a:pt x="8" y="83"/>
                  </a:cubicBezTo>
                  <a:cubicBezTo>
                    <a:pt x="41" y="50"/>
                    <a:pt x="41" y="50"/>
                    <a:pt x="41" y="50"/>
                  </a:cubicBezTo>
                  <a:cubicBezTo>
                    <a:pt x="45" y="46"/>
                    <a:pt x="44" y="42"/>
                    <a:pt x="42" y="39"/>
                  </a:cubicBezTo>
                  <a:cubicBezTo>
                    <a:pt x="39" y="37"/>
                    <a:pt x="35" y="36"/>
                    <a:pt x="31" y="40"/>
                  </a:cubicBezTo>
                  <a:cubicBezTo>
                    <a:pt x="0" y="70"/>
                    <a:pt x="0" y="70"/>
                    <a:pt x="0" y="70"/>
                  </a:cubicBezTo>
                  <a:cubicBezTo>
                    <a:pt x="0" y="50"/>
                    <a:pt x="0" y="50"/>
                    <a:pt x="0" y="50"/>
                  </a:cubicBezTo>
                  <a:cubicBezTo>
                    <a:pt x="21" y="30"/>
                    <a:pt x="21" y="30"/>
                    <a:pt x="21" y="30"/>
                  </a:cubicBezTo>
                  <a:cubicBezTo>
                    <a:pt x="25" y="26"/>
                    <a:pt x="24" y="22"/>
                    <a:pt x="22" y="19"/>
                  </a:cubicBezTo>
                  <a:cubicBezTo>
                    <a:pt x="19" y="17"/>
                    <a:pt x="15" y="16"/>
                    <a:pt x="11" y="20"/>
                  </a:cubicBezTo>
                  <a:cubicBezTo>
                    <a:pt x="0" y="30"/>
                    <a:pt x="0" y="30"/>
                    <a:pt x="0" y="30"/>
                  </a:cubicBezTo>
                  <a:lnTo>
                    <a:pt x="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 name="Freeform 122"/>
            <p:cNvSpPr>
              <a:spLocks/>
            </p:cNvSpPr>
            <p:nvPr/>
          </p:nvSpPr>
          <p:spPr bwMode="auto">
            <a:xfrm>
              <a:off x="7686782" y="4354553"/>
              <a:ext cx="100332" cy="147747"/>
            </a:xfrm>
            <a:custGeom>
              <a:avLst/>
              <a:gdLst>
                <a:gd name="T0" fmla="*/ 60 w 60"/>
                <a:gd name="T1" fmla="*/ 11 h 93"/>
                <a:gd name="T2" fmla="*/ 60 w 60"/>
                <a:gd name="T3" fmla="*/ 10 h 93"/>
                <a:gd name="T4" fmla="*/ 30 w 60"/>
                <a:gd name="T5" fmla="*/ 9 h 93"/>
                <a:gd name="T6" fmla="*/ 24 w 60"/>
                <a:gd name="T7" fmla="*/ 24 h 93"/>
                <a:gd name="T8" fmla="*/ 9 w 60"/>
                <a:gd name="T9" fmla="*/ 30 h 93"/>
                <a:gd name="T10" fmla="*/ 10 w 60"/>
                <a:gd name="T11" fmla="*/ 60 h 93"/>
                <a:gd name="T12" fmla="*/ 43 w 60"/>
                <a:gd name="T13" fmla="*/ 93 h 93"/>
                <a:gd name="T14" fmla="*/ 53 w 60"/>
                <a:gd name="T15" fmla="*/ 83 h 93"/>
                <a:gd name="T16" fmla="*/ 20 w 60"/>
                <a:gd name="T17" fmla="*/ 50 h 93"/>
                <a:gd name="T18" fmla="*/ 19 w 60"/>
                <a:gd name="T19" fmla="*/ 39 h 93"/>
                <a:gd name="T20" fmla="*/ 30 w 60"/>
                <a:gd name="T21" fmla="*/ 40 h 93"/>
                <a:gd name="T22" fmla="*/ 60 w 60"/>
                <a:gd name="T23" fmla="*/ 70 h 93"/>
                <a:gd name="T24" fmla="*/ 60 w 60"/>
                <a:gd name="T25" fmla="*/ 50 h 93"/>
                <a:gd name="T26" fmla="*/ 40 w 60"/>
                <a:gd name="T27" fmla="*/ 30 h 93"/>
                <a:gd name="T28" fmla="*/ 39 w 60"/>
                <a:gd name="T29" fmla="*/ 19 h 93"/>
                <a:gd name="T30" fmla="*/ 50 w 60"/>
                <a:gd name="T31" fmla="*/ 20 h 93"/>
                <a:gd name="T32" fmla="*/ 60 w 60"/>
                <a:gd name="T33" fmla="*/ 30 h 93"/>
                <a:gd name="T34" fmla="*/ 60 w 60"/>
                <a:gd name="T35" fmla="*/ 1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93">
                  <a:moveTo>
                    <a:pt x="60" y="11"/>
                  </a:moveTo>
                  <a:cubicBezTo>
                    <a:pt x="60" y="10"/>
                    <a:pt x="60" y="10"/>
                    <a:pt x="60" y="10"/>
                  </a:cubicBezTo>
                  <a:cubicBezTo>
                    <a:pt x="50" y="0"/>
                    <a:pt x="37" y="1"/>
                    <a:pt x="30" y="9"/>
                  </a:cubicBezTo>
                  <a:cubicBezTo>
                    <a:pt x="24" y="15"/>
                    <a:pt x="23" y="21"/>
                    <a:pt x="24" y="24"/>
                  </a:cubicBezTo>
                  <a:cubicBezTo>
                    <a:pt x="21" y="24"/>
                    <a:pt x="15" y="24"/>
                    <a:pt x="9" y="30"/>
                  </a:cubicBezTo>
                  <a:cubicBezTo>
                    <a:pt x="1" y="38"/>
                    <a:pt x="0" y="50"/>
                    <a:pt x="10" y="60"/>
                  </a:cubicBezTo>
                  <a:cubicBezTo>
                    <a:pt x="43" y="93"/>
                    <a:pt x="43" y="93"/>
                    <a:pt x="43" y="93"/>
                  </a:cubicBezTo>
                  <a:cubicBezTo>
                    <a:pt x="53" y="83"/>
                    <a:pt x="53" y="83"/>
                    <a:pt x="53" y="83"/>
                  </a:cubicBezTo>
                  <a:cubicBezTo>
                    <a:pt x="20" y="50"/>
                    <a:pt x="20" y="50"/>
                    <a:pt x="20" y="50"/>
                  </a:cubicBezTo>
                  <a:cubicBezTo>
                    <a:pt x="16" y="46"/>
                    <a:pt x="17" y="42"/>
                    <a:pt x="19" y="39"/>
                  </a:cubicBezTo>
                  <a:cubicBezTo>
                    <a:pt x="22" y="37"/>
                    <a:pt x="26" y="36"/>
                    <a:pt x="30" y="40"/>
                  </a:cubicBezTo>
                  <a:cubicBezTo>
                    <a:pt x="60" y="70"/>
                    <a:pt x="60" y="70"/>
                    <a:pt x="60" y="70"/>
                  </a:cubicBezTo>
                  <a:cubicBezTo>
                    <a:pt x="60" y="50"/>
                    <a:pt x="60" y="50"/>
                    <a:pt x="60" y="50"/>
                  </a:cubicBezTo>
                  <a:cubicBezTo>
                    <a:pt x="40" y="30"/>
                    <a:pt x="40" y="30"/>
                    <a:pt x="40" y="30"/>
                  </a:cubicBezTo>
                  <a:cubicBezTo>
                    <a:pt x="36" y="26"/>
                    <a:pt x="37" y="22"/>
                    <a:pt x="39" y="19"/>
                  </a:cubicBezTo>
                  <a:cubicBezTo>
                    <a:pt x="42" y="17"/>
                    <a:pt x="46" y="16"/>
                    <a:pt x="50" y="20"/>
                  </a:cubicBezTo>
                  <a:cubicBezTo>
                    <a:pt x="60" y="30"/>
                    <a:pt x="60" y="30"/>
                    <a:pt x="60" y="30"/>
                  </a:cubicBezTo>
                  <a:lnTo>
                    <a:pt x="60" y="11"/>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24" name="Freeform 123"/>
            <p:cNvSpPr>
              <a:spLocks/>
            </p:cNvSpPr>
            <p:nvPr/>
          </p:nvSpPr>
          <p:spPr bwMode="auto">
            <a:xfrm>
              <a:off x="8141337" y="4415076"/>
              <a:ext cx="103629" cy="66531"/>
            </a:xfrm>
            <a:custGeom>
              <a:avLst/>
              <a:gdLst>
                <a:gd name="T0" fmla="*/ 50 w 62"/>
                <a:gd name="T1" fmla="*/ 33 h 42"/>
                <a:gd name="T2" fmla="*/ 40 w 62"/>
                <a:gd name="T3" fmla="*/ 40 h 42"/>
                <a:gd name="T4" fmla="*/ 31 w 62"/>
                <a:gd name="T5" fmla="*/ 13 h 42"/>
                <a:gd name="T6" fmla="*/ 30 w 62"/>
                <a:gd name="T7" fmla="*/ 13 h 42"/>
                <a:gd name="T8" fmla="*/ 24 w 62"/>
                <a:gd name="T9" fmla="*/ 33 h 42"/>
                <a:gd name="T10" fmla="*/ 14 w 62"/>
                <a:gd name="T11" fmla="*/ 40 h 42"/>
                <a:gd name="T12" fmla="*/ 0 w 62"/>
                <a:gd name="T13" fmla="*/ 0 h 42"/>
                <a:gd name="T14" fmla="*/ 10 w 62"/>
                <a:gd name="T15" fmla="*/ 0 h 42"/>
                <a:gd name="T16" fmla="*/ 18 w 62"/>
                <a:gd name="T17" fmla="*/ 27 h 42"/>
                <a:gd name="T18" fmla="*/ 18 w 62"/>
                <a:gd name="T19" fmla="*/ 27 h 42"/>
                <a:gd name="T20" fmla="*/ 27 w 62"/>
                <a:gd name="T21" fmla="*/ 0 h 42"/>
                <a:gd name="T22" fmla="*/ 35 w 62"/>
                <a:gd name="T23" fmla="*/ 0 h 42"/>
                <a:gd name="T24" fmla="*/ 44 w 62"/>
                <a:gd name="T25" fmla="*/ 27 h 42"/>
                <a:gd name="T26" fmla="*/ 44 w 62"/>
                <a:gd name="T27" fmla="*/ 27 h 42"/>
                <a:gd name="T28" fmla="*/ 52 w 62"/>
                <a:gd name="T29" fmla="*/ 0 h 42"/>
                <a:gd name="T30" fmla="*/ 62 w 62"/>
                <a:gd name="T31" fmla="*/ 0 h 42"/>
                <a:gd name="T32" fmla="*/ 50 w 62"/>
                <a:gd name="T33" fmla="*/ 3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 h="42">
                  <a:moveTo>
                    <a:pt x="50" y="33"/>
                  </a:moveTo>
                  <a:cubicBezTo>
                    <a:pt x="47" y="42"/>
                    <a:pt x="40" y="40"/>
                    <a:pt x="40" y="40"/>
                  </a:cubicBezTo>
                  <a:cubicBezTo>
                    <a:pt x="31" y="13"/>
                    <a:pt x="31" y="13"/>
                    <a:pt x="31" y="13"/>
                  </a:cubicBezTo>
                  <a:cubicBezTo>
                    <a:pt x="30" y="13"/>
                    <a:pt x="30" y="13"/>
                    <a:pt x="30" y="13"/>
                  </a:cubicBezTo>
                  <a:cubicBezTo>
                    <a:pt x="30" y="13"/>
                    <a:pt x="26" y="26"/>
                    <a:pt x="24" y="33"/>
                  </a:cubicBezTo>
                  <a:cubicBezTo>
                    <a:pt x="21" y="42"/>
                    <a:pt x="14" y="40"/>
                    <a:pt x="14" y="40"/>
                  </a:cubicBezTo>
                  <a:cubicBezTo>
                    <a:pt x="0" y="0"/>
                    <a:pt x="0" y="0"/>
                    <a:pt x="0" y="0"/>
                  </a:cubicBezTo>
                  <a:cubicBezTo>
                    <a:pt x="10" y="0"/>
                    <a:pt x="10" y="0"/>
                    <a:pt x="10" y="0"/>
                  </a:cubicBezTo>
                  <a:cubicBezTo>
                    <a:pt x="18" y="27"/>
                    <a:pt x="18" y="27"/>
                    <a:pt x="18" y="27"/>
                  </a:cubicBezTo>
                  <a:cubicBezTo>
                    <a:pt x="18" y="27"/>
                    <a:pt x="18" y="27"/>
                    <a:pt x="18" y="27"/>
                  </a:cubicBezTo>
                  <a:cubicBezTo>
                    <a:pt x="27" y="0"/>
                    <a:pt x="27" y="0"/>
                    <a:pt x="27" y="0"/>
                  </a:cubicBezTo>
                  <a:cubicBezTo>
                    <a:pt x="35" y="0"/>
                    <a:pt x="35" y="0"/>
                    <a:pt x="35" y="0"/>
                  </a:cubicBezTo>
                  <a:cubicBezTo>
                    <a:pt x="44" y="27"/>
                    <a:pt x="44" y="27"/>
                    <a:pt x="44" y="27"/>
                  </a:cubicBezTo>
                  <a:cubicBezTo>
                    <a:pt x="44" y="27"/>
                    <a:pt x="44" y="27"/>
                    <a:pt x="44" y="27"/>
                  </a:cubicBezTo>
                  <a:cubicBezTo>
                    <a:pt x="52" y="0"/>
                    <a:pt x="52" y="0"/>
                    <a:pt x="52" y="0"/>
                  </a:cubicBezTo>
                  <a:cubicBezTo>
                    <a:pt x="62" y="0"/>
                    <a:pt x="62" y="0"/>
                    <a:pt x="62" y="0"/>
                  </a:cubicBezTo>
                  <a:cubicBezTo>
                    <a:pt x="62" y="0"/>
                    <a:pt x="53" y="26"/>
                    <a:pt x="50" y="33"/>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25" name="Freeform 124"/>
            <p:cNvSpPr>
              <a:spLocks noEditPoints="1"/>
            </p:cNvSpPr>
            <p:nvPr/>
          </p:nvSpPr>
          <p:spPr bwMode="auto">
            <a:xfrm>
              <a:off x="8246615" y="4413518"/>
              <a:ext cx="58645" cy="64973"/>
            </a:xfrm>
            <a:custGeom>
              <a:avLst/>
              <a:gdLst>
                <a:gd name="T0" fmla="*/ 27 w 35"/>
                <a:gd name="T1" fmla="*/ 41 h 41"/>
                <a:gd name="T2" fmla="*/ 25 w 35"/>
                <a:gd name="T3" fmla="*/ 37 h 41"/>
                <a:gd name="T4" fmla="*/ 13 w 35"/>
                <a:gd name="T5" fmla="*/ 41 h 41"/>
                <a:gd name="T6" fmla="*/ 0 w 35"/>
                <a:gd name="T7" fmla="*/ 29 h 41"/>
                <a:gd name="T8" fmla="*/ 17 w 35"/>
                <a:gd name="T9" fmla="*/ 16 h 41"/>
                <a:gd name="T10" fmla="*/ 24 w 35"/>
                <a:gd name="T11" fmla="*/ 15 h 41"/>
                <a:gd name="T12" fmla="*/ 24 w 35"/>
                <a:gd name="T13" fmla="*/ 14 h 41"/>
                <a:gd name="T14" fmla="*/ 16 w 35"/>
                <a:gd name="T15" fmla="*/ 8 h 41"/>
                <a:gd name="T16" fmla="*/ 6 w 35"/>
                <a:gd name="T17" fmla="*/ 11 h 41"/>
                <a:gd name="T18" fmla="*/ 3 w 35"/>
                <a:gd name="T19" fmla="*/ 4 h 41"/>
                <a:gd name="T20" fmla="*/ 18 w 35"/>
                <a:gd name="T21" fmla="*/ 0 h 41"/>
                <a:gd name="T22" fmla="*/ 34 w 35"/>
                <a:gd name="T23" fmla="*/ 14 h 41"/>
                <a:gd name="T24" fmla="*/ 34 w 35"/>
                <a:gd name="T25" fmla="*/ 30 h 41"/>
                <a:gd name="T26" fmla="*/ 35 w 35"/>
                <a:gd name="T27" fmla="*/ 41 h 41"/>
                <a:gd name="T28" fmla="*/ 27 w 35"/>
                <a:gd name="T29" fmla="*/ 41 h 41"/>
                <a:gd name="T30" fmla="*/ 24 w 35"/>
                <a:gd name="T31" fmla="*/ 22 h 41"/>
                <a:gd name="T32" fmla="*/ 18 w 35"/>
                <a:gd name="T33" fmla="*/ 22 h 41"/>
                <a:gd name="T34" fmla="*/ 10 w 35"/>
                <a:gd name="T35" fmla="*/ 28 h 41"/>
                <a:gd name="T36" fmla="*/ 17 w 35"/>
                <a:gd name="T37" fmla="*/ 33 h 41"/>
                <a:gd name="T38" fmla="*/ 24 w 35"/>
                <a:gd name="T39" fmla="*/ 31 h 41"/>
                <a:gd name="T40" fmla="*/ 24 w 35"/>
                <a:gd name="T41" fmla="*/ 2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 h="41">
                  <a:moveTo>
                    <a:pt x="27" y="41"/>
                  </a:moveTo>
                  <a:cubicBezTo>
                    <a:pt x="25" y="37"/>
                    <a:pt x="25" y="37"/>
                    <a:pt x="25" y="37"/>
                  </a:cubicBezTo>
                  <a:cubicBezTo>
                    <a:pt x="22" y="39"/>
                    <a:pt x="18" y="41"/>
                    <a:pt x="13" y="41"/>
                  </a:cubicBezTo>
                  <a:cubicBezTo>
                    <a:pt x="6" y="41"/>
                    <a:pt x="0" y="36"/>
                    <a:pt x="0" y="29"/>
                  </a:cubicBezTo>
                  <a:cubicBezTo>
                    <a:pt x="0" y="20"/>
                    <a:pt x="7" y="16"/>
                    <a:pt x="17" y="16"/>
                  </a:cubicBezTo>
                  <a:cubicBezTo>
                    <a:pt x="24" y="15"/>
                    <a:pt x="24" y="15"/>
                    <a:pt x="24" y="15"/>
                  </a:cubicBezTo>
                  <a:cubicBezTo>
                    <a:pt x="24" y="15"/>
                    <a:pt x="24" y="15"/>
                    <a:pt x="24" y="14"/>
                  </a:cubicBezTo>
                  <a:cubicBezTo>
                    <a:pt x="24" y="10"/>
                    <a:pt x="21" y="8"/>
                    <a:pt x="16" y="8"/>
                  </a:cubicBezTo>
                  <a:cubicBezTo>
                    <a:pt x="12" y="8"/>
                    <a:pt x="9" y="9"/>
                    <a:pt x="6" y="11"/>
                  </a:cubicBezTo>
                  <a:cubicBezTo>
                    <a:pt x="3" y="4"/>
                    <a:pt x="3" y="4"/>
                    <a:pt x="3" y="4"/>
                  </a:cubicBezTo>
                  <a:cubicBezTo>
                    <a:pt x="8" y="1"/>
                    <a:pt x="13" y="0"/>
                    <a:pt x="18" y="0"/>
                  </a:cubicBezTo>
                  <a:cubicBezTo>
                    <a:pt x="28" y="0"/>
                    <a:pt x="34" y="4"/>
                    <a:pt x="34" y="14"/>
                  </a:cubicBezTo>
                  <a:cubicBezTo>
                    <a:pt x="34" y="30"/>
                    <a:pt x="34" y="30"/>
                    <a:pt x="34" y="30"/>
                  </a:cubicBezTo>
                  <a:cubicBezTo>
                    <a:pt x="34" y="36"/>
                    <a:pt x="34" y="39"/>
                    <a:pt x="35" y="41"/>
                  </a:cubicBezTo>
                  <a:lnTo>
                    <a:pt x="27" y="41"/>
                  </a:lnTo>
                  <a:close/>
                  <a:moveTo>
                    <a:pt x="24" y="22"/>
                  </a:moveTo>
                  <a:cubicBezTo>
                    <a:pt x="18" y="22"/>
                    <a:pt x="18" y="22"/>
                    <a:pt x="18" y="22"/>
                  </a:cubicBezTo>
                  <a:cubicBezTo>
                    <a:pt x="13" y="23"/>
                    <a:pt x="10" y="24"/>
                    <a:pt x="10" y="28"/>
                  </a:cubicBezTo>
                  <a:cubicBezTo>
                    <a:pt x="10" y="31"/>
                    <a:pt x="13" y="33"/>
                    <a:pt x="17" y="33"/>
                  </a:cubicBezTo>
                  <a:cubicBezTo>
                    <a:pt x="20" y="33"/>
                    <a:pt x="23" y="32"/>
                    <a:pt x="24" y="31"/>
                  </a:cubicBezTo>
                  <a:lnTo>
                    <a:pt x="24" y="22"/>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26" name="Freeform 125"/>
            <p:cNvSpPr>
              <a:spLocks noEditPoints="1"/>
            </p:cNvSpPr>
            <p:nvPr/>
          </p:nvSpPr>
          <p:spPr bwMode="auto">
            <a:xfrm>
              <a:off x="8363669" y="4383257"/>
              <a:ext cx="63591" cy="95234"/>
            </a:xfrm>
            <a:custGeom>
              <a:avLst/>
              <a:gdLst>
                <a:gd name="T0" fmla="*/ 22 w 38"/>
                <a:gd name="T1" fmla="*/ 60 h 60"/>
                <a:gd name="T2" fmla="*/ 0 w 38"/>
                <a:gd name="T3" fmla="*/ 40 h 60"/>
                <a:gd name="T4" fmla="*/ 22 w 38"/>
                <a:gd name="T5" fmla="*/ 19 h 60"/>
                <a:gd name="T6" fmla="*/ 27 w 38"/>
                <a:gd name="T7" fmla="*/ 19 h 60"/>
                <a:gd name="T8" fmla="*/ 28 w 38"/>
                <a:gd name="T9" fmla="*/ 0 h 60"/>
                <a:gd name="T10" fmla="*/ 38 w 38"/>
                <a:gd name="T11" fmla="*/ 0 h 60"/>
                <a:gd name="T12" fmla="*/ 37 w 38"/>
                <a:gd name="T13" fmla="*/ 57 h 60"/>
                <a:gd name="T14" fmla="*/ 22 w 38"/>
                <a:gd name="T15" fmla="*/ 60 h 60"/>
                <a:gd name="T16" fmla="*/ 27 w 38"/>
                <a:gd name="T17" fmla="*/ 27 h 60"/>
                <a:gd name="T18" fmla="*/ 23 w 38"/>
                <a:gd name="T19" fmla="*/ 27 h 60"/>
                <a:gd name="T20" fmla="*/ 10 w 38"/>
                <a:gd name="T21" fmla="*/ 39 h 60"/>
                <a:gd name="T22" fmla="*/ 23 w 38"/>
                <a:gd name="T23" fmla="*/ 52 h 60"/>
                <a:gd name="T24" fmla="*/ 27 w 38"/>
                <a:gd name="T25" fmla="*/ 51 h 60"/>
                <a:gd name="T26" fmla="*/ 27 w 38"/>
                <a:gd name="T27" fmla="*/ 2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60">
                  <a:moveTo>
                    <a:pt x="22" y="60"/>
                  </a:moveTo>
                  <a:cubicBezTo>
                    <a:pt x="10" y="60"/>
                    <a:pt x="0" y="53"/>
                    <a:pt x="0" y="40"/>
                  </a:cubicBezTo>
                  <a:cubicBezTo>
                    <a:pt x="0" y="28"/>
                    <a:pt x="9" y="19"/>
                    <a:pt x="22" y="19"/>
                  </a:cubicBezTo>
                  <a:cubicBezTo>
                    <a:pt x="24" y="19"/>
                    <a:pt x="26" y="19"/>
                    <a:pt x="27" y="19"/>
                  </a:cubicBezTo>
                  <a:cubicBezTo>
                    <a:pt x="28" y="0"/>
                    <a:pt x="28" y="0"/>
                    <a:pt x="28" y="0"/>
                  </a:cubicBezTo>
                  <a:cubicBezTo>
                    <a:pt x="38" y="0"/>
                    <a:pt x="38" y="0"/>
                    <a:pt x="38" y="0"/>
                  </a:cubicBezTo>
                  <a:cubicBezTo>
                    <a:pt x="37" y="57"/>
                    <a:pt x="37" y="57"/>
                    <a:pt x="37" y="57"/>
                  </a:cubicBezTo>
                  <a:cubicBezTo>
                    <a:pt x="34" y="59"/>
                    <a:pt x="29" y="60"/>
                    <a:pt x="22" y="60"/>
                  </a:cubicBezTo>
                  <a:close/>
                  <a:moveTo>
                    <a:pt x="27" y="27"/>
                  </a:moveTo>
                  <a:cubicBezTo>
                    <a:pt x="26" y="27"/>
                    <a:pt x="25" y="27"/>
                    <a:pt x="23" y="27"/>
                  </a:cubicBezTo>
                  <a:cubicBezTo>
                    <a:pt x="16" y="27"/>
                    <a:pt x="10" y="32"/>
                    <a:pt x="10" y="39"/>
                  </a:cubicBezTo>
                  <a:cubicBezTo>
                    <a:pt x="10" y="47"/>
                    <a:pt x="15" y="52"/>
                    <a:pt x="23" y="52"/>
                  </a:cubicBezTo>
                  <a:cubicBezTo>
                    <a:pt x="24" y="52"/>
                    <a:pt x="26" y="52"/>
                    <a:pt x="27" y="51"/>
                  </a:cubicBezTo>
                  <a:lnTo>
                    <a:pt x="27" y="2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27" name="Freeform 126"/>
            <p:cNvSpPr>
              <a:spLocks/>
            </p:cNvSpPr>
            <p:nvPr/>
          </p:nvSpPr>
          <p:spPr bwMode="auto">
            <a:xfrm>
              <a:off x="8114724" y="4383257"/>
              <a:ext cx="16722" cy="95234"/>
            </a:xfrm>
            <a:custGeom>
              <a:avLst/>
              <a:gdLst>
                <a:gd name="T0" fmla="*/ 10 w 10"/>
                <a:gd name="T1" fmla="*/ 53 h 60"/>
                <a:gd name="T2" fmla="*/ 0 w 10"/>
                <a:gd name="T3" fmla="*/ 60 h 60"/>
                <a:gd name="T4" fmla="*/ 0 w 10"/>
                <a:gd name="T5" fmla="*/ 0 h 60"/>
                <a:gd name="T6" fmla="*/ 10 w 10"/>
                <a:gd name="T7" fmla="*/ 0 h 60"/>
                <a:gd name="T8" fmla="*/ 10 w 10"/>
                <a:gd name="T9" fmla="*/ 53 h 60"/>
              </a:gdLst>
              <a:ahLst/>
              <a:cxnLst>
                <a:cxn ang="0">
                  <a:pos x="T0" y="T1"/>
                </a:cxn>
                <a:cxn ang="0">
                  <a:pos x="T2" y="T3"/>
                </a:cxn>
                <a:cxn ang="0">
                  <a:pos x="T4" y="T5"/>
                </a:cxn>
                <a:cxn ang="0">
                  <a:pos x="T6" y="T7"/>
                </a:cxn>
                <a:cxn ang="0">
                  <a:pos x="T8" y="T9"/>
                </a:cxn>
              </a:cxnLst>
              <a:rect l="0" t="0" r="r" b="b"/>
              <a:pathLst>
                <a:path w="10" h="60">
                  <a:moveTo>
                    <a:pt x="10" y="53"/>
                  </a:moveTo>
                  <a:cubicBezTo>
                    <a:pt x="10" y="60"/>
                    <a:pt x="0" y="60"/>
                    <a:pt x="0" y="60"/>
                  </a:cubicBezTo>
                  <a:cubicBezTo>
                    <a:pt x="0" y="0"/>
                    <a:pt x="0" y="0"/>
                    <a:pt x="0" y="0"/>
                  </a:cubicBezTo>
                  <a:cubicBezTo>
                    <a:pt x="10" y="0"/>
                    <a:pt x="10" y="0"/>
                    <a:pt x="10" y="0"/>
                  </a:cubicBezTo>
                  <a:cubicBezTo>
                    <a:pt x="10" y="0"/>
                    <a:pt x="10" y="45"/>
                    <a:pt x="10" y="53"/>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28" name="Freeform 127"/>
            <p:cNvSpPr>
              <a:spLocks/>
            </p:cNvSpPr>
            <p:nvPr/>
          </p:nvSpPr>
          <p:spPr bwMode="auto">
            <a:xfrm>
              <a:off x="8081279" y="4383257"/>
              <a:ext cx="16722" cy="95234"/>
            </a:xfrm>
            <a:custGeom>
              <a:avLst/>
              <a:gdLst>
                <a:gd name="T0" fmla="*/ 10 w 10"/>
                <a:gd name="T1" fmla="*/ 53 h 60"/>
                <a:gd name="T2" fmla="*/ 0 w 10"/>
                <a:gd name="T3" fmla="*/ 60 h 60"/>
                <a:gd name="T4" fmla="*/ 0 w 10"/>
                <a:gd name="T5" fmla="*/ 0 h 60"/>
                <a:gd name="T6" fmla="*/ 10 w 10"/>
                <a:gd name="T7" fmla="*/ 0 h 60"/>
                <a:gd name="T8" fmla="*/ 10 w 10"/>
                <a:gd name="T9" fmla="*/ 53 h 60"/>
              </a:gdLst>
              <a:ahLst/>
              <a:cxnLst>
                <a:cxn ang="0">
                  <a:pos x="T0" y="T1"/>
                </a:cxn>
                <a:cxn ang="0">
                  <a:pos x="T2" y="T3"/>
                </a:cxn>
                <a:cxn ang="0">
                  <a:pos x="T4" y="T5"/>
                </a:cxn>
                <a:cxn ang="0">
                  <a:pos x="T6" y="T7"/>
                </a:cxn>
                <a:cxn ang="0">
                  <a:pos x="T8" y="T9"/>
                </a:cxn>
              </a:cxnLst>
              <a:rect l="0" t="0" r="r" b="b"/>
              <a:pathLst>
                <a:path w="10" h="60">
                  <a:moveTo>
                    <a:pt x="10" y="53"/>
                  </a:moveTo>
                  <a:cubicBezTo>
                    <a:pt x="10" y="60"/>
                    <a:pt x="0" y="60"/>
                    <a:pt x="0" y="60"/>
                  </a:cubicBezTo>
                  <a:cubicBezTo>
                    <a:pt x="0" y="0"/>
                    <a:pt x="0" y="0"/>
                    <a:pt x="0" y="0"/>
                  </a:cubicBezTo>
                  <a:cubicBezTo>
                    <a:pt x="10" y="0"/>
                    <a:pt x="10" y="0"/>
                    <a:pt x="10" y="0"/>
                  </a:cubicBezTo>
                  <a:cubicBezTo>
                    <a:pt x="10" y="0"/>
                    <a:pt x="10" y="45"/>
                    <a:pt x="10" y="53"/>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29" name="Freeform 128"/>
            <p:cNvSpPr>
              <a:spLocks/>
            </p:cNvSpPr>
            <p:nvPr/>
          </p:nvSpPr>
          <p:spPr bwMode="auto">
            <a:xfrm>
              <a:off x="8318450" y="4413518"/>
              <a:ext cx="43571" cy="64973"/>
            </a:xfrm>
            <a:custGeom>
              <a:avLst/>
              <a:gdLst>
                <a:gd name="T0" fmla="*/ 22 w 26"/>
                <a:gd name="T1" fmla="*/ 10 h 41"/>
                <a:gd name="T2" fmla="*/ 18 w 26"/>
                <a:gd name="T3" fmla="*/ 9 h 41"/>
                <a:gd name="T4" fmla="*/ 10 w 26"/>
                <a:gd name="T5" fmla="*/ 12 h 41"/>
                <a:gd name="T6" fmla="*/ 10 w 26"/>
                <a:gd name="T7" fmla="*/ 34 h 41"/>
                <a:gd name="T8" fmla="*/ 0 w 26"/>
                <a:gd name="T9" fmla="*/ 41 h 41"/>
                <a:gd name="T10" fmla="*/ 0 w 26"/>
                <a:gd name="T11" fmla="*/ 1 h 41"/>
                <a:gd name="T12" fmla="*/ 9 w 26"/>
                <a:gd name="T13" fmla="*/ 1 h 41"/>
                <a:gd name="T14" fmla="*/ 10 w 26"/>
                <a:gd name="T15" fmla="*/ 5 h 41"/>
                <a:gd name="T16" fmla="*/ 21 w 26"/>
                <a:gd name="T17" fmla="*/ 0 h 41"/>
                <a:gd name="T18" fmla="*/ 26 w 26"/>
                <a:gd name="T19" fmla="*/ 2 h 41"/>
                <a:gd name="T20" fmla="*/ 22 w 26"/>
                <a:gd name="T21" fmla="*/ 1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41">
                  <a:moveTo>
                    <a:pt x="22" y="10"/>
                  </a:moveTo>
                  <a:cubicBezTo>
                    <a:pt x="21" y="9"/>
                    <a:pt x="19" y="9"/>
                    <a:pt x="18" y="9"/>
                  </a:cubicBezTo>
                  <a:cubicBezTo>
                    <a:pt x="15" y="9"/>
                    <a:pt x="13" y="10"/>
                    <a:pt x="10" y="12"/>
                  </a:cubicBezTo>
                  <a:cubicBezTo>
                    <a:pt x="10" y="12"/>
                    <a:pt x="10" y="26"/>
                    <a:pt x="10" y="34"/>
                  </a:cubicBezTo>
                  <a:cubicBezTo>
                    <a:pt x="10" y="41"/>
                    <a:pt x="0" y="41"/>
                    <a:pt x="0" y="41"/>
                  </a:cubicBezTo>
                  <a:cubicBezTo>
                    <a:pt x="0" y="1"/>
                    <a:pt x="0" y="1"/>
                    <a:pt x="0" y="1"/>
                  </a:cubicBezTo>
                  <a:cubicBezTo>
                    <a:pt x="9" y="1"/>
                    <a:pt x="9" y="1"/>
                    <a:pt x="9" y="1"/>
                  </a:cubicBezTo>
                  <a:cubicBezTo>
                    <a:pt x="10" y="5"/>
                    <a:pt x="10" y="5"/>
                    <a:pt x="10" y="5"/>
                  </a:cubicBezTo>
                  <a:cubicBezTo>
                    <a:pt x="14" y="2"/>
                    <a:pt x="17" y="0"/>
                    <a:pt x="21" y="0"/>
                  </a:cubicBezTo>
                  <a:cubicBezTo>
                    <a:pt x="23" y="0"/>
                    <a:pt x="25" y="1"/>
                    <a:pt x="26" y="2"/>
                  </a:cubicBezTo>
                  <a:lnTo>
                    <a:pt x="22" y="1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30" name="Freeform 129"/>
            <p:cNvSpPr>
              <a:spLocks/>
            </p:cNvSpPr>
            <p:nvPr/>
          </p:nvSpPr>
          <p:spPr bwMode="auto">
            <a:xfrm>
              <a:off x="7929133" y="4383257"/>
              <a:ext cx="98684" cy="93677"/>
            </a:xfrm>
            <a:custGeom>
              <a:avLst/>
              <a:gdLst>
                <a:gd name="T0" fmla="*/ 48 w 59"/>
                <a:gd name="T1" fmla="*/ 59 h 59"/>
                <a:gd name="T2" fmla="*/ 48 w 59"/>
                <a:gd name="T3" fmla="*/ 24 h 59"/>
                <a:gd name="T4" fmla="*/ 49 w 59"/>
                <a:gd name="T5" fmla="*/ 18 h 59"/>
                <a:gd name="T6" fmla="*/ 48 w 59"/>
                <a:gd name="T7" fmla="*/ 18 h 59"/>
                <a:gd name="T8" fmla="*/ 45 w 59"/>
                <a:gd name="T9" fmla="*/ 24 h 59"/>
                <a:gd name="T10" fmla="*/ 33 w 59"/>
                <a:gd name="T11" fmla="*/ 42 h 59"/>
                <a:gd name="T12" fmla="*/ 28 w 59"/>
                <a:gd name="T13" fmla="*/ 42 h 59"/>
                <a:gd name="T14" fmla="*/ 14 w 59"/>
                <a:gd name="T15" fmla="*/ 23 h 59"/>
                <a:gd name="T16" fmla="*/ 11 w 59"/>
                <a:gd name="T17" fmla="*/ 18 h 59"/>
                <a:gd name="T18" fmla="*/ 11 w 59"/>
                <a:gd name="T19" fmla="*/ 18 h 59"/>
                <a:gd name="T20" fmla="*/ 11 w 59"/>
                <a:gd name="T21" fmla="*/ 24 h 59"/>
                <a:gd name="T22" fmla="*/ 11 w 59"/>
                <a:gd name="T23" fmla="*/ 59 h 59"/>
                <a:gd name="T24" fmla="*/ 0 w 59"/>
                <a:gd name="T25" fmla="*/ 59 h 59"/>
                <a:gd name="T26" fmla="*/ 0 w 59"/>
                <a:gd name="T27" fmla="*/ 0 h 59"/>
                <a:gd name="T28" fmla="*/ 10 w 59"/>
                <a:gd name="T29" fmla="*/ 0 h 59"/>
                <a:gd name="T30" fmla="*/ 26 w 59"/>
                <a:gd name="T31" fmla="*/ 24 h 59"/>
                <a:gd name="T32" fmla="*/ 30 w 59"/>
                <a:gd name="T33" fmla="*/ 30 h 59"/>
                <a:gd name="T34" fmla="*/ 30 w 59"/>
                <a:gd name="T35" fmla="*/ 30 h 59"/>
                <a:gd name="T36" fmla="*/ 34 w 59"/>
                <a:gd name="T37" fmla="*/ 24 h 59"/>
                <a:gd name="T38" fmla="*/ 49 w 59"/>
                <a:gd name="T39" fmla="*/ 0 h 59"/>
                <a:gd name="T40" fmla="*/ 59 w 59"/>
                <a:gd name="T41" fmla="*/ 0 h 59"/>
                <a:gd name="T42" fmla="*/ 59 w 59"/>
                <a:gd name="T43" fmla="*/ 59 h 59"/>
                <a:gd name="T44" fmla="*/ 48 w 59"/>
                <a:gd name="T4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9" h="59">
                  <a:moveTo>
                    <a:pt x="48" y="59"/>
                  </a:moveTo>
                  <a:cubicBezTo>
                    <a:pt x="48" y="24"/>
                    <a:pt x="48" y="24"/>
                    <a:pt x="48" y="24"/>
                  </a:cubicBezTo>
                  <a:cubicBezTo>
                    <a:pt x="48" y="22"/>
                    <a:pt x="48" y="20"/>
                    <a:pt x="49" y="18"/>
                  </a:cubicBezTo>
                  <a:cubicBezTo>
                    <a:pt x="48" y="18"/>
                    <a:pt x="48" y="18"/>
                    <a:pt x="48" y="18"/>
                  </a:cubicBezTo>
                  <a:cubicBezTo>
                    <a:pt x="48" y="19"/>
                    <a:pt x="46" y="22"/>
                    <a:pt x="45" y="24"/>
                  </a:cubicBezTo>
                  <a:cubicBezTo>
                    <a:pt x="33" y="42"/>
                    <a:pt x="33" y="42"/>
                    <a:pt x="33" y="42"/>
                  </a:cubicBezTo>
                  <a:cubicBezTo>
                    <a:pt x="28" y="42"/>
                    <a:pt x="28" y="42"/>
                    <a:pt x="28" y="42"/>
                  </a:cubicBezTo>
                  <a:cubicBezTo>
                    <a:pt x="14" y="23"/>
                    <a:pt x="14" y="23"/>
                    <a:pt x="14" y="23"/>
                  </a:cubicBezTo>
                  <a:cubicBezTo>
                    <a:pt x="13" y="22"/>
                    <a:pt x="12" y="20"/>
                    <a:pt x="11" y="18"/>
                  </a:cubicBezTo>
                  <a:cubicBezTo>
                    <a:pt x="11" y="18"/>
                    <a:pt x="11" y="18"/>
                    <a:pt x="11" y="18"/>
                  </a:cubicBezTo>
                  <a:cubicBezTo>
                    <a:pt x="11" y="20"/>
                    <a:pt x="11" y="22"/>
                    <a:pt x="11" y="24"/>
                  </a:cubicBezTo>
                  <a:cubicBezTo>
                    <a:pt x="11" y="59"/>
                    <a:pt x="11" y="59"/>
                    <a:pt x="11" y="59"/>
                  </a:cubicBezTo>
                  <a:cubicBezTo>
                    <a:pt x="0" y="59"/>
                    <a:pt x="0" y="59"/>
                    <a:pt x="0" y="59"/>
                  </a:cubicBezTo>
                  <a:cubicBezTo>
                    <a:pt x="0" y="0"/>
                    <a:pt x="0" y="0"/>
                    <a:pt x="0" y="0"/>
                  </a:cubicBezTo>
                  <a:cubicBezTo>
                    <a:pt x="10" y="0"/>
                    <a:pt x="10" y="0"/>
                    <a:pt x="10" y="0"/>
                  </a:cubicBezTo>
                  <a:cubicBezTo>
                    <a:pt x="26" y="24"/>
                    <a:pt x="26" y="24"/>
                    <a:pt x="26" y="24"/>
                  </a:cubicBezTo>
                  <a:cubicBezTo>
                    <a:pt x="28" y="26"/>
                    <a:pt x="29" y="28"/>
                    <a:pt x="30" y="30"/>
                  </a:cubicBezTo>
                  <a:cubicBezTo>
                    <a:pt x="30" y="30"/>
                    <a:pt x="30" y="30"/>
                    <a:pt x="30" y="30"/>
                  </a:cubicBezTo>
                  <a:cubicBezTo>
                    <a:pt x="31" y="28"/>
                    <a:pt x="32" y="26"/>
                    <a:pt x="34" y="24"/>
                  </a:cubicBezTo>
                  <a:cubicBezTo>
                    <a:pt x="49" y="0"/>
                    <a:pt x="49" y="0"/>
                    <a:pt x="49" y="0"/>
                  </a:cubicBezTo>
                  <a:cubicBezTo>
                    <a:pt x="59" y="0"/>
                    <a:pt x="59" y="0"/>
                    <a:pt x="59" y="0"/>
                  </a:cubicBezTo>
                  <a:cubicBezTo>
                    <a:pt x="59" y="59"/>
                    <a:pt x="59" y="59"/>
                    <a:pt x="59" y="59"/>
                  </a:cubicBezTo>
                  <a:lnTo>
                    <a:pt x="48" y="5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31" name="Freeform 130"/>
            <p:cNvSpPr>
              <a:spLocks noEditPoints="1"/>
            </p:cNvSpPr>
            <p:nvPr/>
          </p:nvSpPr>
          <p:spPr bwMode="auto">
            <a:xfrm>
              <a:off x="8044539" y="4386372"/>
              <a:ext cx="21668" cy="92119"/>
            </a:xfrm>
            <a:custGeom>
              <a:avLst/>
              <a:gdLst>
                <a:gd name="T0" fmla="*/ 6 w 13"/>
                <a:gd name="T1" fmla="*/ 12 h 58"/>
                <a:gd name="T2" fmla="*/ 0 w 13"/>
                <a:gd name="T3" fmla="*/ 6 h 58"/>
                <a:gd name="T4" fmla="*/ 6 w 13"/>
                <a:gd name="T5" fmla="*/ 0 h 58"/>
                <a:gd name="T6" fmla="*/ 13 w 13"/>
                <a:gd name="T7" fmla="*/ 6 h 58"/>
                <a:gd name="T8" fmla="*/ 6 w 13"/>
                <a:gd name="T9" fmla="*/ 12 h 58"/>
                <a:gd name="T10" fmla="*/ 1 w 13"/>
                <a:gd name="T11" fmla="*/ 58 h 58"/>
                <a:gd name="T12" fmla="*/ 1 w 13"/>
                <a:gd name="T13" fmla="*/ 18 h 58"/>
                <a:gd name="T14" fmla="*/ 11 w 13"/>
                <a:gd name="T15" fmla="*/ 18 h 58"/>
                <a:gd name="T16" fmla="*/ 11 w 13"/>
                <a:gd name="T17" fmla="*/ 51 h 58"/>
                <a:gd name="T18" fmla="*/ 1 w 13"/>
                <a:gd name="T19"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58">
                  <a:moveTo>
                    <a:pt x="6" y="12"/>
                  </a:moveTo>
                  <a:cubicBezTo>
                    <a:pt x="3" y="12"/>
                    <a:pt x="0" y="9"/>
                    <a:pt x="0" y="6"/>
                  </a:cubicBezTo>
                  <a:cubicBezTo>
                    <a:pt x="0" y="2"/>
                    <a:pt x="3" y="0"/>
                    <a:pt x="6" y="0"/>
                  </a:cubicBezTo>
                  <a:cubicBezTo>
                    <a:pt x="10" y="0"/>
                    <a:pt x="13" y="2"/>
                    <a:pt x="13" y="6"/>
                  </a:cubicBezTo>
                  <a:cubicBezTo>
                    <a:pt x="13" y="9"/>
                    <a:pt x="10" y="12"/>
                    <a:pt x="6" y="12"/>
                  </a:cubicBezTo>
                  <a:close/>
                  <a:moveTo>
                    <a:pt x="1" y="58"/>
                  </a:moveTo>
                  <a:cubicBezTo>
                    <a:pt x="1" y="18"/>
                    <a:pt x="1" y="18"/>
                    <a:pt x="1" y="18"/>
                  </a:cubicBezTo>
                  <a:cubicBezTo>
                    <a:pt x="11" y="18"/>
                    <a:pt x="11" y="18"/>
                    <a:pt x="11" y="18"/>
                  </a:cubicBezTo>
                  <a:cubicBezTo>
                    <a:pt x="11" y="18"/>
                    <a:pt x="11" y="43"/>
                    <a:pt x="11" y="51"/>
                  </a:cubicBezTo>
                  <a:cubicBezTo>
                    <a:pt x="11" y="58"/>
                    <a:pt x="1" y="58"/>
                    <a:pt x="1" y="58"/>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32" name="Freeform 131"/>
            <p:cNvSpPr>
              <a:spLocks/>
            </p:cNvSpPr>
            <p:nvPr/>
          </p:nvSpPr>
          <p:spPr bwMode="auto">
            <a:xfrm>
              <a:off x="8224947" y="4510310"/>
              <a:ext cx="13425" cy="79436"/>
            </a:xfrm>
            <a:custGeom>
              <a:avLst/>
              <a:gdLst>
                <a:gd name="T0" fmla="*/ 8 w 8"/>
                <a:gd name="T1" fmla="*/ 44 h 50"/>
                <a:gd name="T2" fmla="*/ 0 w 8"/>
                <a:gd name="T3" fmla="*/ 50 h 50"/>
                <a:gd name="T4" fmla="*/ 0 w 8"/>
                <a:gd name="T5" fmla="*/ 0 h 50"/>
                <a:gd name="T6" fmla="*/ 8 w 8"/>
                <a:gd name="T7" fmla="*/ 0 h 50"/>
                <a:gd name="T8" fmla="*/ 8 w 8"/>
                <a:gd name="T9" fmla="*/ 44 h 50"/>
              </a:gdLst>
              <a:ahLst/>
              <a:cxnLst>
                <a:cxn ang="0">
                  <a:pos x="T0" y="T1"/>
                </a:cxn>
                <a:cxn ang="0">
                  <a:pos x="T2" y="T3"/>
                </a:cxn>
                <a:cxn ang="0">
                  <a:pos x="T4" y="T5"/>
                </a:cxn>
                <a:cxn ang="0">
                  <a:pos x="T6" y="T7"/>
                </a:cxn>
                <a:cxn ang="0">
                  <a:pos x="T8" y="T9"/>
                </a:cxn>
              </a:cxnLst>
              <a:rect l="0" t="0" r="r" b="b"/>
              <a:pathLst>
                <a:path w="8" h="50">
                  <a:moveTo>
                    <a:pt x="8" y="44"/>
                  </a:moveTo>
                  <a:cubicBezTo>
                    <a:pt x="8" y="50"/>
                    <a:pt x="0" y="50"/>
                    <a:pt x="0" y="50"/>
                  </a:cubicBezTo>
                  <a:cubicBezTo>
                    <a:pt x="0" y="0"/>
                    <a:pt x="0" y="0"/>
                    <a:pt x="0" y="0"/>
                  </a:cubicBezTo>
                  <a:cubicBezTo>
                    <a:pt x="8" y="0"/>
                    <a:pt x="8" y="0"/>
                    <a:pt x="8" y="0"/>
                  </a:cubicBezTo>
                  <a:cubicBezTo>
                    <a:pt x="8" y="0"/>
                    <a:pt x="8" y="37"/>
                    <a:pt x="8"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 name="Freeform 132"/>
            <p:cNvSpPr>
              <a:spLocks noEditPoints="1"/>
            </p:cNvSpPr>
            <p:nvPr/>
          </p:nvSpPr>
          <p:spPr bwMode="auto">
            <a:xfrm>
              <a:off x="8007562" y="4513425"/>
              <a:ext cx="18371" cy="76321"/>
            </a:xfrm>
            <a:custGeom>
              <a:avLst/>
              <a:gdLst>
                <a:gd name="T0" fmla="*/ 5 w 11"/>
                <a:gd name="T1" fmla="*/ 10 h 48"/>
                <a:gd name="T2" fmla="*/ 0 w 11"/>
                <a:gd name="T3" fmla="*/ 5 h 48"/>
                <a:gd name="T4" fmla="*/ 5 w 11"/>
                <a:gd name="T5" fmla="*/ 0 h 48"/>
                <a:gd name="T6" fmla="*/ 11 w 11"/>
                <a:gd name="T7" fmla="*/ 5 h 48"/>
                <a:gd name="T8" fmla="*/ 5 w 11"/>
                <a:gd name="T9" fmla="*/ 10 h 48"/>
                <a:gd name="T10" fmla="*/ 1 w 11"/>
                <a:gd name="T11" fmla="*/ 48 h 48"/>
                <a:gd name="T12" fmla="*/ 1 w 11"/>
                <a:gd name="T13" fmla="*/ 15 h 48"/>
                <a:gd name="T14" fmla="*/ 10 w 11"/>
                <a:gd name="T15" fmla="*/ 15 h 48"/>
                <a:gd name="T16" fmla="*/ 10 w 11"/>
                <a:gd name="T17" fmla="*/ 42 h 48"/>
                <a:gd name="T18" fmla="*/ 1 w 11"/>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48">
                  <a:moveTo>
                    <a:pt x="5" y="10"/>
                  </a:moveTo>
                  <a:cubicBezTo>
                    <a:pt x="3" y="10"/>
                    <a:pt x="0" y="7"/>
                    <a:pt x="0" y="5"/>
                  </a:cubicBezTo>
                  <a:cubicBezTo>
                    <a:pt x="0" y="2"/>
                    <a:pt x="3" y="0"/>
                    <a:pt x="5" y="0"/>
                  </a:cubicBezTo>
                  <a:cubicBezTo>
                    <a:pt x="8" y="0"/>
                    <a:pt x="11" y="2"/>
                    <a:pt x="11" y="5"/>
                  </a:cubicBezTo>
                  <a:cubicBezTo>
                    <a:pt x="11" y="7"/>
                    <a:pt x="8" y="10"/>
                    <a:pt x="5" y="10"/>
                  </a:cubicBezTo>
                  <a:close/>
                  <a:moveTo>
                    <a:pt x="1" y="48"/>
                  </a:moveTo>
                  <a:cubicBezTo>
                    <a:pt x="1" y="15"/>
                    <a:pt x="1" y="15"/>
                    <a:pt x="1" y="15"/>
                  </a:cubicBezTo>
                  <a:cubicBezTo>
                    <a:pt x="10" y="15"/>
                    <a:pt x="10" y="15"/>
                    <a:pt x="10" y="15"/>
                  </a:cubicBezTo>
                  <a:cubicBezTo>
                    <a:pt x="10" y="15"/>
                    <a:pt x="10" y="36"/>
                    <a:pt x="10" y="42"/>
                  </a:cubicBezTo>
                  <a:cubicBezTo>
                    <a:pt x="10" y="48"/>
                    <a:pt x="1" y="48"/>
                    <a:pt x="1"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 name="Freeform 133"/>
            <p:cNvSpPr>
              <a:spLocks noEditPoints="1"/>
            </p:cNvSpPr>
            <p:nvPr/>
          </p:nvSpPr>
          <p:spPr bwMode="auto">
            <a:xfrm>
              <a:off x="8094469" y="4513425"/>
              <a:ext cx="16722" cy="76321"/>
            </a:xfrm>
            <a:custGeom>
              <a:avLst/>
              <a:gdLst>
                <a:gd name="T0" fmla="*/ 5 w 10"/>
                <a:gd name="T1" fmla="*/ 10 h 48"/>
                <a:gd name="T2" fmla="*/ 0 w 10"/>
                <a:gd name="T3" fmla="*/ 5 h 48"/>
                <a:gd name="T4" fmla="*/ 5 w 10"/>
                <a:gd name="T5" fmla="*/ 0 h 48"/>
                <a:gd name="T6" fmla="*/ 10 w 10"/>
                <a:gd name="T7" fmla="*/ 5 h 48"/>
                <a:gd name="T8" fmla="*/ 5 w 10"/>
                <a:gd name="T9" fmla="*/ 10 h 48"/>
                <a:gd name="T10" fmla="*/ 1 w 10"/>
                <a:gd name="T11" fmla="*/ 48 h 48"/>
                <a:gd name="T12" fmla="*/ 1 w 10"/>
                <a:gd name="T13" fmla="*/ 15 h 48"/>
                <a:gd name="T14" fmla="*/ 9 w 10"/>
                <a:gd name="T15" fmla="*/ 15 h 48"/>
                <a:gd name="T16" fmla="*/ 9 w 10"/>
                <a:gd name="T17" fmla="*/ 42 h 48"/>
                <a:gd name="T18" fmla="*/ 1 w 10"/>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48">
                  <a:moveTo>
                    <a:pt x="5" y="10"/>
                  </a:moveTo>
                  <a:cubicBezTo>
                    <a:pt x="2" y="10"/>
                    <a:pt x="0" y="8"/>
                    <a:pt x="0" y="5"/>
                  </a:cubicBezTo>
                  <a:cubicBezTo>
                    <a:pt x="0" y="2"/>
                    <a:pt x="2" y="0"/>
                    <a:pt x="5" y="0"/>
                  </a:cubicBezTo>
                  <a:cubicBezTo>
                    <a:pt x="8" y="0"/>
                    <a:pt x="10" y="2"/>
                    <a:pt x="10" y="5"/>
                  </a:cubicBezTo>
                  <a:cubicBezTo>
                    <a:pt x="10" y="8"/>
                    <a:pt x="8" y="10"/>
                    <a:pt x="5" y="10"/>
                  </a:cubicBezTo>
                  <a:close/>
                  <a:moveTo>
                    <a:pt x="1" y="48"/>
                  </a:moveTo>
                  <a:cubicBezTo>
                    <a:pt x="1" y="15"/>
                    <a:pt x="1" y="15"/>
                    <a:pt x="1" y="15"/>
                  </a:cubicBezTo>
                  <a:cubicBezTo>
                    <a:pt x="9" y="15"/>
                    <a:pt x="9" y="15"/>
                    <a:pt x="9" y="15"/>
                  </a:cubicBezTo>
                  <a:cubicBezTo>
                    <a:pt x="9" y="15"/>
                    <a:pt x="9" y="36"/>
                    <a:pt x="9" y="42"/>
                  </a:cubicBezTo>
                  <a:cubicBezTo>
                    <a:pt x="9" y="48"/>
                    <a:pt x="1" y="48"/>
                    <a:pt x="1"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 name="Freeform 134"/>
            <p:cNvSpPr>
              <a:spLocks noEditPoints="1"/>
            </p:cNvSpPr>
            <p:nvPr/>
          </p:nvSpPr>
          <p:spPr bwMode="auto">
            <a:xfrm>
              <a:off x="7929133" y="4510310"/>
              <a:ext cx="70185" cy="77879"/>
            </a:xfrm>
            <a:custGeom>
              <a:avLst/>
              <a:gdLst>
                <a:gd name="T0" fmla="*/ 0 w 42"/>
                <a:gd name="T1" fmla="*/ 0 h 49"/>
                <a:gd name="T2" fmla="*/ 15 w 42"/>
                <a:gd name="T3" fmla="*/ 0 h 49"/>
                <a:gd name="T4" fmla="*/ 42 w 42"/>
                <a:gd name="T5" fmla="*/ 25 h 49"/>
                <a:gd name="T6" fmla="*/ 14 w 42"/>
                <a:gd name="T7" fmla="*/ 49 h 49"/>
                <a:gd name="T8" fmla="*/ 0 w 42"/>
                <a:gd name="T9" fmla="*/ 49 h 49"/>
                <a:gd name="T10" fmla="*/ 0 w 42"/>
                <a:gd name="T11" fmla="*/ 0 h 49"/>
                <a:gd name="T12" fmla="*/ 14 w 42"/>
                <a:gd name="T13" fmla="*/ 42 h 49"/>
                <a:gd name="T14" fmla="*/ 32 w 42"/>
                <a:gd name="T15" fmla="*/ 25 h 49"/>
                <a:gd name="T16" fmla="*/ 14 w 42"/>
                <a:gd name="T17" fmla="*/ 8 h 49"/>
                <a:gd name="T18" fmla="*/ 8 w 42"/>
                <a:gd name="T19" fmla="*/ 8 h 49"/>
                <a:gd name="T20" fmla="*/ 8 w 42"/>
                <a:gd name="T21" fmla="*/ 42 h 49"/>
                <a:gd name="T22" fmla="*/ 14 w 42"/>
                <a:gd name="T23" fmla="*/ 4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49">
                  <a:moveTo>
                    <a:pt x="0" y="0"/>
                  </a:moveTo>
                  <a:cubicBezTo>
                    <a:pt x="15" y="0"/>
                    <a:pt x="15" y="0"/>
                    <a:pt x="15" y="0"/>
                  </a:cubicBezTo>
                  <a:cubicBezTo>
                    <a:pt x="32" y="0"/>
                    <a:pt x="42" y="10"/>
                    <a:pt x="42" y="25"/>
                  </a:cubicBezTo>
                  <a:cubicBezTo>
                    <a:pt x="42" y="40"/>
                    <a:pt x="31" y="49"/>
                    <a:pt x="14" y="49"/>
                  </a:cubicBezTo>
                  <a:cubicBezTo>
                    <a:pt x="0" y="49"/>
                    <a:pt x="0" y="49"/>
                    <a:pt x="0" y="49"/>
                  </a:cubicBezTo>
                  <a:lnTo>
                    <a:pt x="0" y="0"/>
                  </a:lnTo>
                  <a:close/>
                  <a:moveTo>
                    <a:pt x="14" y="42"/>
                  </a:moveTo>
                  <a:cubicBezTo>
                    <a:pt x="27" y="42"/>
                    <a:pt x="32" y="34"/>
                    <a:pt x="32" y="25"/>
                  </a:cubicBezTo>
                  <a:cubicBezTo>
                    <a:pt x="32" y="15"/>
                    <a:pt x="26" y="8"/>
                    <a:pt x="14" y="8"/>
                  </a:cubicBezTo>
                  <a:cubicBezTo>
                    <a:pt x="8" y="8"/>
                    <a:pt x="8" y="8"/>
                    <a:pt x="8" y="8"/>
                  </a:cubicBezTo>
                  <a:cubicBezTo>
                    <a:pt x="8" y="42"/>
                    <a:pt x="8" y="42"/>
                    <a:pt x="8" y="42"/>
                  </a:cubicBezTo>
                  <a:lnTo>
                    <a:pt x="1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 name="Freeform 135"/>
            <p:cNvSpPr>
              <a:spLocks noEditPoints="1"/>
            </p:cNvSpPr>
            <p:nvPr/>
          </p:nvSpPr>
          <p:spPr bwMode="auto">
            <a:xfrm>
              <a:off x="8031114" y="4529223"/>
              <a:ext cx="58409" cy="87447"/>
            </a:xfrm>
            <a:custGeom>
              <a:avLst/>
              <a:gdLst>
                <a:gd name="T0" fmla="*/ 0 w 35"/>
                <a:gd name="T1" fmla="*/ 45 h 55"/>
                <a:gd name="T2" fmla="*/ 6 w 35"/>
                <a:gd name="T3" fmla="*/ 37 h 55"/>
                <a:gd name="T4" fmla="*/ 4 w 35"/>
                <a:gd name="T5" fmla="*/ 32 h 55"/>
                <a:gd name="T6" fmla="*/ 8 w 35"/>
                <a:gd name="T7" fmla="*/ 26 h 55"/>
                <a:gd name="T8" fmla="*/ 2 w 35"/>
                <a:gd name="T9" fmla="*/ 15 h 55"/>
                <a:gd name="T10" fmla="*/ 16 w 35"/>
                <a:gd name="T11" fmla="*/ 2 h 55"/>
                <a:gd name="T12" fmla="*/ 23 w 35"/>
                <a:gd name="T13" fmla="*/ 3 h 55"/>
                <a:gd name="T14" fmla="*/ 24 w 35"/>
                <a:gd name="T15" fmla="*/ 3 h 55"/>
                <a:gd name="T16" fmla="*/ 33 w 35"/>
                <a:gd name="T17" fmla="*/ 0 h 55"/>
                <a:gd name="T18" fmla="*/ 35 w 35"/>
                <a:gd name="T19" fmla="*/ 0 h 55"/>
                <a:gd name="T20" fmla="*/ 33 w 35"/>
                <a:gd name="T21" fmla="*/ 7 h 55"/>
                <a:gd name="T22" fmla="*/ 31 w 35"/>
                <a:gd name="T23" fmla="*/ 6 h 55"/>
                <a:gd name="T24" fmla="*/ 28 w 35"/>
                <a:gd name="T25" fmla="*/ 7 h 55"/>
                <a:gd name="T26" fmla="*/ 31 w 35"/>
                <a:gd name="T27" fmla="*/ 15 h 55"/>
                <a:gd name="T28" fmla="*/ 17 w 35"/>
                <a:gd name="T29" fmla="*/ 28 h 55"/>
                <a:gd name="T30" fmla="*/ 12 w 35"/>
                <a:gd name="T31" fmla="*/ 28 h 55"/>
                <a:gd name="T32" fmla="*/ 12 w 35"/>
                <a:gd name="T33" fmla="*/ 30 h 55"/>
                <a:gd name="T34" fmla="*/ 35 w 35"/>
                <a:gd name="T35" fmla="*/ 44 h 55"/>
                <a:gd name="T36" fmla="*/ 16 w 35"/>
                <a:gd name="T37" fmla="*/ 55 h 55"/>
                <a:gd name="T38" fmla="*/ 0 w 35"/>
                <a:gd name="T39" fmla="*/ 45 h 55"/>
                <a:gd name="T40" fmla="*/ 26 w 35"/>
                <a:gd name="T41" fmla="*/ 45 h 55"/>
                <a:gd name="T42" fmla="*/ 10 w 35"/>
                <a:gd name="T43" fmla="*/ 39 h 55"/>
                <a:gd name="T44" fmla="*/ 8 w 35"/>
                <a:gd name="T45" fmla="*/ 44 h 55"/>
                <a:gd name="T46" fmla="*/ 17 w 35"/>
                <a:gd name="T47" fmla="*/ 49 h 55"/>
                <a:gd name="T48" fmla="*/ 26 w 35"/>
                <a:gd name="T49" fmla="*/ 45 h 55"/>
                <a:gd name="T50" fmla="*/ 23 w 35"/>
                <a:gd name="T51" fmla="*/ 15 h 55"/>
                <a:gd name="T52" fmla="*/ 17 w 35"/>
                <a:gd name="T53" fmla="*/ 9 h 55"/>
                <a:gd name="T54" fmla="*/ 10 w 35"/>
                <a:gd name="T55" fmla="*/ 15 h 55"/>
                <a:gd name="T56" fmla="*/ 17 w 35"/>
                <a:gd name="T57" fmla="*/ 22 h 55"/>
                <a:gd name="T58" fmla="*/ 23 w 35"/>
                <a:gd name="T59" fmla="*/ 1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 h="55">
                  <a:moveTo>
                    <a:pt x="0" y="45"/>
                  </a:moveTo>
                  <a:cubicBezTo>
                    <a:pt x="0" y="41"/>
                    <a:pt x="2" y="38"/>
                    <a:pt x="6" y="37"/>
                  </a:cubicBezTo>
                  <a:cubicBezTo>
                    <a:pt x="5" y="36"/>
                    <a:pt x="4" y="34"/>
                    <a:pt x="4" y="32"/>
                  </a:cubicBezTo>
                  <a:cubicBezTo>
                    <a:pt x="4" y="30"/>
                    <a:pt x="5" y="28"/>
                    <a:pt x="8" y="26"/>
                  </a:cubicBezTo>
                  <a:cubicBezTo>
                    <a:pt x="4" y="24"/>
                    <a:pt x="2" y="19"/>
                    <a:pt x="2" y="15"/>
                  </a:cubicBezTo>
                  <a:cubicBezTo>
                    <a:pt x="2" y="8"/>
                    <a:pt x="7" y="2"/>
                    <a:pt x="16" y="2"/>
                  </a:cubicBezTo>
                  <a:cubicBezTo>
                    <a:pt x="20" y="2"/>
                    <a:pt x="22" y="3"/>
                    <a:pt x="23" y="3"/>
                  </a:cubicBezTo>
                  <a:cubicBezTo>
                    <a:pt x="24" y="4"/>
                    <a:pt x="24" y="3"/>
                    <a:pt x="24" y="3"/>
                  </a:cubicBezTo>
                  <a:cubicBezTo>
                    <a:pt x="26" y="1"/>
                    <a:pt x="28" y="0"/>
                    <a:pt x="33" y="0"/>
                  </a:cubicBezTo>
                  <a:cubicBezTo>
                    <a:pt x="34" y="0"/>
                    <a:pt x="35" y="0"/>
                    <a:pt x="35" y="0"/>
                  </a:cubicBezTo>
                  <a:cubicBezTo>
                    <a:pt x="33" y="7"/>
                    <a:pt x="33" y="7"/>
                    <a:pt x="33" y="7"/>
                  </a:cubicBezTo>
                  <a:cubicBezTo>
                    <a:pt x="33" y="7"/>
                    <a:pt x="32" y="6"/>
                    <a:pt x="31" y="6"/>
                  </a:cubicBezTo>
                  <a:cubicBezTo>
                    <a:pt x="30" y="6"/>
                    <a:pt x="29" y="7"/>
                    <a:pt x="28" y="7"/>
                  </a:cubicBezTo>
                  <a:cubicBezTo>
                    <a:pt x="30" y="9"/>
                    <a:pt x="31" y="12"/>
                    <a:pt x="31" y="15"/>
                  </a:cubicBezTo>
                  <a:cubicBezTo>
                    <a:pt x="31" y="23"/>
                    <a:pt x="25" y="28"/>
                    <a:pt x="17" y="28"/>
                  </a:cubicBezTo>
                  <a:cubicBezTo>
                    <a:pt x="15" y="28"/>
                    <a:pt x="14" y="28"/>
                    <a:pt x="12" y="28"/>
                  </a:cubicBezTo>
                  <a:cubicBezTo>
                    <a:pt x="12" y="29"/>
                    <a:pt x="12" y="30"/>
                    <a:pt x="12" y="30"/>
                  </a:cubicBezTo>
                  <a:cubicBezTo>
                    <a:pt x="12" y="37"/>
                    <a:pt x="35" y="31"/>
                    <a:pt x="35" y="44"/>
                  </a:cubicBezTo>
                  <a:cubicBezTo>
                    <a:pt x="35" y="50"/>
                    <a:pt x="28" y="55"/>
                    <a:pt x="16" y="55"/>
                  </a:cubicBezTo>
                  <a:cubicBezTo>
                    <a:pt x="6" y="55"/>
                    <a:pt x="0" y="51"/>
                    <a:pt x="0" y="45"/>
                  </a:cubicBezTo>
                  <a:close/>
                  <a:moveTo>
                    <a:pt x="26" y="45"/>
                  </a:moveTo>
                  <a:cubicBezTo>
                    <a:pt x="26" y="40"/>
                    <a:pt x="15" y="41"/>
                    <a:pt x="10" y="39"/>
                  </a:cubicBezTo>
                  <a:cubicBezTo>
                    <a:pt x="9" y="40"/>
                    <a:pt x="8" y="41"/>
                    <a:pt x="8" y="44"/>
                  </a:cubicBezTo>
                  <a:cubicBezTo>
                    <a:pt x="8" y="47"/>
                    <a:pt x="11" y="49"/>
                    <a:pt x="17" y="49"/>
                  </a:cubicBezTo>
                  <a:cubicBezTo>
                    <a:pt x="23" y="49"/>
                    <a:pt x="26" y="47"/>
                    <a:pt x="26" y="45"/>
                  </a:cubicBezTo>
                  <a:close/>
                  <a:moveTo>
                    <a:pt x="23" y="15"/>
                  </a:moveTo>
                  <a:cubicBezTo>
                    <a:pt x="23" y="12"/>
                    <a:pt x="20" y="9"/>
                    <a:pt x="17" y="9"/>
                  </a:cubicBezTo>
                  <a:cubicBezTo>
                    <a:pt x="13" y="9"/>
                    <a:pt x="10" y="11"/>
                    <a:pt x="10" y="15"/>
                  </a:cubicBezTo>
                  <a:cubicBezTo>
                    <a:pt x="10" y="19"/>
                    <a:pt x="13" y="22"/>
                    <a:pt x="17" y="22"/>
                  </a:cubicBezTo>
                  <a:cubicBezTo>
                    <a:pt x="20" y="22"/>
                    <a:pt x="23" y="19"/>
                    <a:pt x="23"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 name="Freeform 136"/>
            <p:cNvSpPr>
              <a:spLocks/>
            </p:cNvSpPr>
            <p:nvPr/>
          </p:nvSpPr>
          <p:spPr bwMode="auto">
            <a:xfrm>
              <a:off x="8116372" y="4516540"/>
              <a:ext cx="44984" cy="74763"/>
            </a:xfrm>
            <a:custGeom>
              <a:avLst/>
              <a:gdLst>
                <a:gd name="T0" fmla="*/ 7 w 27"/>
                <a:gd name="T1" fmla="*/ 37 h 47"/>
                <a:gd name="T2" fmla="*/ 7 w 27"/>
                <a:gd name="T3" fmla="*/ 18 h 47"/>
                <a:gd name="T4" fmla="*/ 0 w 27"/>
                <a:gd name="T5" fmla="*/ 18 h 47"/>
                <a:gd name="T6" fmla="*/ 0 w 27"/>
                <a:gd name="T7" fmla="*/ 11 h 47"/>
                <a:gd name="T8" fmla="*/ 7 w 27"/>
                <a:gd name="T9" fmla="*/ 11 h 47"/>
                <a:gd name="T10" fmla="*/ 7 w 27"/>
                <a:gd name="T11" fmla="*/ 3 h 47"/>
                <a:gd name="T12" fmla="*/ 15 w 27"/>
                <a:gd name="T13" fmla="*/ 0 h 47"/>
                <a:gd name="T14" fmla="*/ 15 w 27"/>
                <a:gd name="T15" fmla="*/ 11 h 47"/>
                <a:gd name="T16" fmla="*/ 26 w 27"/>
                <a:gd name="T17" fmla="*/ 11 h 47"/>
                <a:gd name="T18" fmla="*/ 24 w 27"/>
                <a:gd name="T19" fmla="*/ 18 h 47"/>
                <a:gd name="T20" fmla="*/ 15 w 27"/>
                <a:gd name="T21" fmla="*/ 18 h 47"/>
                <a:gd name="T22" fmla="*/ 15 w 27"/>
                <a:gd name="T23" fmla="*/ 35 h 47"/>
                <a:gd name="T24" fmla="*/ 19 w 27"/>
                <a:gd name="T25" fmla="*/ 40 h 47"/>
                <a:gd name="T26" fmla="*/ 24 w 27"/>
                <a:gd name="T27" fmla="*/ 38 h 47"/>
                <a:gd name="T28" fmla="*/ 27 w 27"/>
                <a:gd name="T29" fmla="*/ 44 h 47"/>
                <a:gd name="T30" fmla="*/ 17 w 27"/>
                <a:gd name="T31" fmla="*/ 47 h 47"/>
                <a:gd name="T32" fmla="*/ 7 w 27"/>
                <a:gd name="T33" fmla="*/ 3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 h="47">
                  <a:moveTo>
                    <a:pt x="7" y="37"/>
                  </a:moveTo>
                  <a:cubicBezTo>
                    <a:pt x="7" y="18"/>
                    <a:pt x="7" y="18"/>
                    <a:pt x="7" y="18"/>
                  </a:cubicBezTo>
                  <a:cubicBezTo>
                    <a:pt x="0" y="18"/>
                    <a:pt x="0" y="18"/>
                    <a:pt x="0" y="18"/>
                  </a:cubicBezTo>
                  <a:cubicBezTo>
                    <a:pt x="0" y="11"/>
                    <a:pt x="0" y="11"/>
                    <a:pt x="0" y="11"/>
                  </a:cubicBezTo>
                  <a:cubicBezTo>
                    <a:pt x="7" y="11"/>
                    <a:pt x="7" y="11"/>
                    <a:pt x="7" y="11"/>
                  </a:cubicBezTo>
                  <a:cubicBezTo>
                    <a:pt x="7" y="3"/>
                    <a:pt x="7" y="3"/>
                    <a:pt x="7" y="3"/>
                  </a:cubicBezTo>
                  <a:cubicBezTo>
                    <a:pt x="15" y="0"/>
                    <a:pt x="15" y="0"/>
                    <a:pt x="15" y="0"/>
                  </a:cubicBezTo>
                  <a:cubicBezTo>
                    <a:pt x="15" y="11"/>
                    <a:pt x="15" y="11"/>
                    <a:pt x="15" y="11"/>
                  </a:cubicBezTo>
                  <a:cubicBezTo>
                    <a:pt x="26" y="11"/>
                    <a:pt x="26" y="11"/>
                    <a:pt x="26" y="11"/>
                  </a:cubicBezTo>
                  <a:cubicBezTo>
                    <a:pt x="24" y="18"/>
                    <a:pt x="24" y="18"/>
                    <a:pt x="24" y="18"/>
                  </a:cubicBezTo>
                  <a:cubicBezTo>
                    <a:pt x="15" y="18"/>
                    <a:pt x="15" y="18"/>
                    <a:pt x="15" y="18"/>
                  </a:cubicBezTo>
                  <a:cubicBezTo>
                    <a:pt x="15" y="35"/>
                    <a:pt x="15" y="35"/>
                    <a:pt x="15" y="35"/>
                  </a:cubicBezTo>
                  <a:cubicBezTo>
                    <a:pt x="15" y="38"/>
                    <a:pt x="17" y="40"/>
                    <a:pt x="19" y="40"/>
                  </a:cubicBezTo>
                  <a:cubicBezTo>
                    <a:pt x="21" y="40"/>
                    <a:pt x="23" y="39"/>
                    <a:pt x="24" y="38"/>
                  </a:cubicBezTo>
                  <a:cubicBezTo>
                    <a:pt x="27" y="44"/>
                    <a:pt x="27" y="44"/>
                    <a:pt x="27" y="44"/>
                  </a:cubicBezTo>
                  <a:cubicBezTo>
                    <a:pt x="24" y="46"/>
                    <a:pt x="20" y="47"/>
                    <a:pt x="17" y="47"/>
                  </a:cubicBezTo>
                  <a:cubicBezTo>
                    <a:pt x="10" y="47"/>
                    <a:pt x="7" y="43"/>
                    <a:pt x="7"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 name="Freeform 137"/>
            <p:cNvSpPr>
              <a:spLocks noEditPoints="1"/>
            </p:cNvSpPr>
            <p:nvPr/>
          </p:nvSpPr>
          <p:spPr bwMode="auto">
            <a:xfrm>
              <a:off x="8163005" y="4532562"/>
              <a:ext cx="51814" cy="58743"/>
            </a:xfrm>
            <a:custGeom>
              <a:avLst/>
              <a:gdLst>
                <a:gd name="T0" fmla="*/ 22 w 31"/>
                <a:gd name="T1" fmla="*/ 33 h 37"/>
                <a:gd name="T2" fmla="*/ 12 w 31"/>
                <a:gd name="T3" fmla="*/ 37 h 37"/>
                <a:gd name="T4" fmla="*/ 0 w 31"/>
                <a:gd name="T5" fmla="*/ 26 h 37"/>
                <a:gd name="T6" fmla="*/ 6 w 31"/>
                <a:gd name="T7" fmla="*/ 16 h 37"/>
                <a:gd name="T8" fmla="*/ 15 w 31"/>
                <a:gd name="T9" fmla="*/ 14 h 37"/>
                <a:gd name="T10" fmla="*/ 21 w 31"/>
                <a:gd name="T11" fmla="*/ 14 h 37"/>
                <a:gd name="T12" fmla="*/ 21 w 31"/>
                <a:gd name="T13" fmla="*/ 13 h 37"/>
                <a:gd name="T14" fmla="*/ 15 w 31"/>
                <a:gd name="T15" fmla="*/ 7 h 37"/>
                <a:gd name="T16" fmla="*/ 5 w 31"/>
                <a:gd name="T17" fmla="*/ 9 h 37"/>
                <a:gd name="T18" fmla="*/ 3 w 31"/>
                <a:gd name="T19" fmla="*/ 4 h 37"/>
                <a:gd name="T20" fmla="*/ 16 w 31"/>
                <a:gd name="T21" fmla="*/ 0 h 37"/>
                <a:gd name="T22" fmla="*/ 30 w 31"/>
                <a:gd name="T23" fmla="*/ 13 h 37"/>
                <a:gd name="T24" fmla="*/ 30 w 31"/>
                <a:gd name="T25" fmla="*/ 27 h 37"/>
                <a:gd name="T26" fmla="*/ 31 w 31"/>
                <a:gd name="T27" fmla="*/ 36 h 37"/>
                <a:gd name="T28" fmla="*/ 24 w 31"/>
                <a:gd name="T29" fmla="*/ 36 h 37"/>
                <a:gd name="T30" fmla="*/ 22 w 31"/>
                <a:gd name="T31" fmla="*/ 33 h 37"/>
                <a:gd name="T32" fmla="*/ 17 w 31"/>
                <a:gd name="T33" fmla="*/ 20 h 37"/>
                <a:gd name="T34" fmla="*/ 12 w 31"/>
                <a:gd name="T35" fmla="*/ 21 h 37"/>
                <a:gd name="T36" fmla="*/ 9 w 31"/>
                <a:gd name="T37" fmla="*/ 25 h 37"/>
                <a:gd name="T38" fmla="*/ 15 w 31"/>
                <a:gd name="T39" fmla="*/ 30 h 37"/>
                <a:gd name="T40" fmla="*/ 21 w 31"/>
                <a:gd name="T41" fmla="*/ 27 h 37"/>
                <a:gd name="T42" fmla="*/ 21 w 31"/>
                <a:gd name="T43" fmla="*/ 20 h 37"/>
                <a:gd name="T44" fmla="*/ 17 w 31"/>
                <a:gd name="T45"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7">
                  <a:moveTo>
                    <a:pt x="22" y="33"/>
                  </a:moveTo>
                  <a:cubicBezTo>
                    <a:pt x="20" y="35"/>
                    <a:pt x="16" y="37"/>
                    <a:pt x="12" y="37"/>
                  </a:cubicBezTo>
                  <a:cubicBezTo>
                    <a:pt x="5" y="37"/>
                    <a:pt x="0" y="32"/>
                    <a:pt x="0" y="26"/>
                  </a:cubicBezTo>
                  <a:cubicBezTo>
                    <a:pt x="0" y="21"/>
                    <a:pt x="3" y="18"/>
                    <a:pt x="6" y="16"/>
                  </a:cubicBezTo>
                  <a:cubicBezTo>
                    <a:pt x="9" y="15"/>
                    <a:pt x="12" y="14"/>
                    <a:pt x="15" y="14"/>
                  </a:cubicBezTo>
                  <a:cubicBezTo>
                    <a:pt x="21" y="14"/>
                    <a:pt x="21" y="14"/>
                    <a:pt x="21" y="14"/>
                  </a:cubicBezTo>
                  <a:cubicBezTo>
                    <a:pt x="21" y="13"/>
                    <a:pt x="21" y="13"/>
                    <a:pt x="21" y="13"/>
                  </a:cubicBezTo>
                  <a:cubicBezTo>
                    <a:pt x="21" y="9"/>
                    <a:pt x="19" y="7"/>
                    <a:pt x="15" y="7"/>
                  </a:cubicBezTo>
                  <a:cubicBezTo>
                    <a:pt x="11" y="7"/>
                    <a:pt x="8" y="8"/>
                    <a:pt x="5" y="9"/>
                  </a:cubicBezTo>
                  <a:cubicBezTo>
                    <a:pt x="3" y="4"/>
                    <a:pt x="3" y="4"/>
                    <a:pt x="3" y="4"/>
                  </a:cubicBezTo>
                  <a:cubicBezTo>
                    <a:pt x="7" y="1"/>
                    <a:pt x="11" y="0"/>
                    <a:pt x="16" y="0"/>
                  </a:cubicBezTo>
                  <a:cubicBezTo>
                    <a:pt x="26" y="0"/>
                    <a:pt x="30" y="4"/>
                    <a:pt x="30" y="13"/>
                  </a:cubicBezTo>
                  <a:cubicBezTo>
                    <a:pt x="30" y="27"/>
                    <a:pt x="30" y="27"/>
                    <a:pt x="30" y="27"/>
                  </a:cubicBezTo>
                  <a:cubicBezTo>
                    <a:pt x="30" y="31"/>
                    <a:pt x="30" y="34"/>
                    <a:pt x="31" y="36"/>
                  </a:cubicBezTo>
                  <a:cubicBezTo>
                    <a:pt x="24" y="36"/>
                    <a:pt x="24" y="36"/>
                    <a:pt x="24" y="36"/>
                  </a:cubicBezTo>
                  <a:lnTo>
                    <a:pt x="22" y="33"/>
                  </a:lnTo>
                  <a:close/>
                  <a:moveTo>
                    <a:pt x="17" y="20"/>
                  </a:moveTo>
                  <a:cubicBezTo>
                    <a:pt x="14" y="20"/>
                    <a:pt x="13" y="20"/>
                    <a:pt x="12" y="21"/>
                  </a:cubicBezTo>
                  <a:cubicBezTo>
                    <a:pt x="10" y="22"/>
                    <a:pt x="9" y="23"/>
                    <a:pt x="9" y="25"/>
                  </a:cubicBezTo>
                  <a:cubicBezTo>
                    <a:pt x="9" y="28"/>
                    <a:pt x="11" y="30"/>
                    <a:pt x="15" y="30"/>
                  </a:cubicBezTo>
                  <a:cubicBezTo>
                    <a:pt x="18" y="30"/>
                    <a:pt x="20" y="28"/>
                    <a:pt x="21" y="27"/>
                  </a:cubicBezTo>
                  <a:cubicBezTo>
                    <a:pt x="21" y="20"/>
                    <a:pt x="21" y="20"/>
                    <a:pt x="21" y="20"/>
                  </a:cubicBezTo>
                  <a:lnTo>
                    <a:pt x="17"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39" name="Text Placeholder 2"/>
          <p:cNvSpPr>
            <a:spLocks noGrp="1"/>
          </p:cNvSpPr>
          <p:nvPr>
            <p:ph type="body" sz="quarter" idx="25" hasCustomPrompt="1"/>
          </p:nvPr>
        </p:nvSpPr>
        <p:spPr>
          <a:xfrm>
            <a:off x="3342796" y="4807465"/>
            <a:ext cx="1160462" cy="341313"/>
          </a:xfrm>
          <a:prstGeom prst="rect">
            <a:avLst/>
          </a:prstGeom>
        </p:spPr>
        <p:txBody>
          <a:bodyPr anchor="ctr"/>
          <a:lstStyle>
            <a:lvl1pPr marL="0" indent="0" algn="ctr">
              <a:buNone/>
              <a:defRPr sz="800">
                <a:solidFill>
                  <a:schemeClr val="bg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grpSp>
        <p:nvGrpSpPr>
          <p:cNvPr id="140" name="Group 139"/>
          <p:cNvGrpSpPr/>
          <p:nvPr userDrawn="1"/>
        </p:nvGrpSpPr>
        <p:grpSpPr>
          <a:xfrm>
            <a:off x="7686461" y="4906654"/>
            <a:ext cx="1124815" cy="151147"/>
            <a:chOff x="7686461" y="4581466"/>
            <a:chExt cx="1124815" cy="151147"/>
          </a:xfrm>
          <a:solidFill>
            <a:schemeClr val="bg1"/>
          </a:solidFill>
        </p:grpSpPr>
        <p:sp>
          <p:nvSpPr>
            <p:cNvPr id="141"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42"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43"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44"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45"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46"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47"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48"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49"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50"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51"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52"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53"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54"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55"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grpSp>
      <p:sp>
        <p:nvSpPr>
          <p:cNvPr id="86"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solidFill>
                  <a:schemeClr val="tx1">
                    <a:lumMod val="50000"/>
                    <a:lumOff val="50000"/>
                  </a:schemeClr>
                </a:solidFill>
                <a:latin typeface="+mn-lt"/>
              </a:rPr>
              <a:t>Private and Confidental</a:t>
            </a:r>
            <a:endParaRPr lang="pt-BR" sz="500" dirty="0">
              <a:solidFill>
                <a:schemeClr val="tx1">
                  <a:lumMod val="50000"/>
                  <a:lumOff val="50000"/>
                </a:schemeClr>
              </a:solidFill>
              <a:latin typeface="+mn-lt"/>
            </a:endParaRPr>
          </a:p>
        </p:txBody>
      </p:sp>
    </p:spTree>
    <p:extLst>
      <p:ext uri="{BB962C8B-B14F-4D97-AF65-F5344CB8AC3E}">
        <p14:creationId xmlns:p14="http://schemas.microsoft.com/office/powerpoint/2010/main" val="3816564263"/>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_A_MB_Leaf">
    <p:bg>
      <p:bgPr>
        <a:solidFill>
          <a:schemeClr val="bg1"/>
        </a:solidFill>
        <a:effectLst/>
      </p:bgPr>
    </p:bg>
    <p:spTree>
      <p:nvGrpSpPr>
        <p:cNvPr id="1" name=""/>
        <p:cNvGrpSpPr/>
        <p:nvPr/>
      </p:nvGrpSpPr>
      <p:grpSpPr>
        <a:xfrm>
          <a:off x="0" y="0"/>
          <a:ext cx="0" cy="0"/>
          <a:chOff x="0" y="0"/>
          <a:chExt cx="0" cy="0"/>
        </a:xfrm>
      </p:grpSpPr>
      <p:sp>
        <p:nvSpPr>
          <p:cNvPr id="31" name="Rectangle 30"/>
          <p:cNvSpPr/>
          <p:nvPr userDrawn="1"/>
        </p:nvSpPr>
        <p:spPr>
          <a:xfrm>
            <a:off x="0" y="0"/>
            <a:ext cx="9144000" cy="5148263"/>
          </a:xfrm>
          <a:prstGeom prst="rect">
            <a:avLst/>
          </a:prstGeom>
          <a:solidFill>
            <a:schemeClr val="tx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en-GB" sz="1050" smtClean="0">
              <a:solidFill>
                <a:schemeClr val="bg1"/>
              </a:solidFill>
              <a:latin typeface="Arial" panose="020B0604020202020204" pitchFamily="34" charset="0"/>
              <a:cs typeface="Arial" panose="020B0604020202020204" pitchFamily="34" charset="0"/>
            </a:endParaRPr>
          </a:p>
        </p:txBody>
      </p:sp>
      <p:sp>
        <p:nvSpPr>
          <p:cNvPr id="191" name="Text Placeholder 2"/>
          <p:cNvSpPr>
            <a:spLocks noGrp="1"/>
          </p:cNvSpPr>
          <p:nvPr>
            <p:ph type="body" sz="quarter" idx="25" hasCustomPrompt="1"/>
          </p:nvPr>
        </p:nvSpPr>
        <p:spPr>
          <a:xfrm>
            <a:off x="3342796" y="4807465"/>
            <a:ext cx="1160462" cy="341313"/>
          </a:xfrm>
          <a:prstGeom prst="rect">
            <a:avLst/>
          </a:prstGeom>
        </p:spPr>
        <p:txBody>
          <a:bodyPr anchor="ctr"/>
          <a:lstStyle>
            <a:lvl1pPr marL="0" indent="0" algn="ctr">
              <a:buNone/>
              <a:defRPr sz="800">
                <a:solidFill>
                  <a:schemeClr val="bg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pic>
        <p:nvPicPr>
          <p:cNvPr id="33" name="Picture 32" descr="cookie_white.png"/>
          <p:cNvPicPr>
            <a:picLocks noChangeAspect="1"/>
          </p:cNvPicPr>
          <p:nvPr userDrawn="1"/>
        </p:nvPicPr>
        <p:blipFill rotWithShape="1">
          <a:blip r:embed="rId2" cstate="screen">
            <a:alphaModFix amt="16000"/>
            <a:extLst>
              <a:ext uri="{28A0092B-C50C-407E-A947-70E740481C1C}">
                <a14:useLocalDpi xmlns:a14="http://schemas.microsoft.com/office/drawing/2010/main"/>
              </a:ext>
            </a:extLst>
          </a:blip>
          <a:srcRect/>
          <a:stretch/>
        </p:blipFill>
        <p:spPr>
          <a:xfrm flipH="1">
            <a:off x="5149029" y="2289839"/>
            <a:ext cx="4020091" cy="2880000"/>
          </a:xfrm>
          <a:prstGeom prst="rect">
            <a:avLst/>
          </a:prstGeom>
        </p:spPr>
      </p:pic>
      <p:cxnSp>
        <p:nvCxnSpPr>
          <p:cNvPr id="32" name="Straight Connector 31"/>
          <p:cNvCxnSpPr/>
          <p:nvPr userDrawn="1"/>
        </p:nvCxnSpPr>
        <p:spPr>
          <a:xfrm>
            <a:off x="343365" y="470176"/>
            <a:ext cx="8460000" cy="0"/>
          </a:xfrm>
          <a:prstGeom prst="line">
            <a:avLst/>
          </a:prstGeom>
          <a:ln w="6350" cmpd="sng">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343365" y="4801146"/>
            <a:ext cx="8460000" cy="0"/>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sp>
        <p:nvSpPr>
          <p:cNvPr id="67"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rgbClr val="FFFFFF"/>
                </a:solidFill>
                <a:latin typeface="+mn-lt"/>
              </a:defRPr>
            </a:lvl1pPr>
          </a:lstStyle>
          <a:p>
            <a:fld id="{19AB4E72-7858-48F1-A40D-12FF09E4BFB8}" type="slidenum">
              <a:rPr lang="en-GB" smtClean="0"/>
              <a:pPr/>
              <a:t>‹Nº›</a:t>
            </a:fld>
            <a:endParaRPr lang="en-GB"/>
          </a:p>
        </p:txBody>
      </p:sp>
      <p:sp>
        <p:nvSpPr>
          <p:cNvPr id="36" name="Title 1"/>
          <p:cNvSpPr>
            <a:spLocks noGrp="1"/>
          </p:cNvSpPr>
          <p:nvPr>
            <p:ph type="ctrTitle" hasCustomPrompt="1"/>
          </p:nvPr>
        </p:nvSpPr>
        <p:spPr>
          <a:xfrm>
            <a:off x="343365" y="2867487"/>
            <a:ext cx="8460000" cy="443198"/>
          </a:xfrm>
          <a:prstGeom prst="rect">
            <a:avLst/>
          </a:prstGeom>
        </p:spPr>
        <p:txBody>
          <a:bodyPr lIns="0" tIns="0" rIns="0" bIns="0" anchor="b"/>
          <a:lstStyle>
            <a:lvl1pPr>
              <a:lnSpc>
                <a:spcPct val="90000"/>
              </a:lnSpc>
              <a:defRPr sz="3200" b="0">
                <a:solidFill>
                  <a:schemeClr val="bg1"/>
                </a:solidFill>
              </a:defRPr>
            </a:lvl1pPr>
          </a:lstStyle>
          <a:p>
            <a:r>
              <a:rPr lang="en-US" dirty="0" smtClean="0"/>
              <a:t>Click to edit Master title Style</a:t>
            </a:r>
            <a:endParaRPr lang="en-US" dirty="0"/>
          </a:p>
        </p:txBody>
      </p:sp>
      <p:sp>
        <p:nvSpPr>
          <p:cNvPr id="37" name="Subtitle 2"/>
          <p:cNvSpPr>
            <a:spLocks noGrp="1"/>
          </p:cNvSpPr>
          <p:nvPr>
            <p:ph type="subTitle" idx="1" hasCustomPrompt="1"/>
          </p:nvPr>
        </p:nvSpPr>
        <p:spPr>
          <a:xfrm>
            <a:off x="343364" y="3474100"/>
            <a:ext cx="8460000" cy="202165"/>
          </a:xfrm>
          <a:prstGeom prst="rect">
            <a:avLst/>
          </a:prstGeom>
        </p:spPr>
        <p:txBody>
          <a:bodyPr lIns="0" tIns="0" rIns="0" bIns="0">
            <a:noAutofit/>
          </a:bodyPr>
          <a:lstStyle>
            <a:lvl1pPr marL="0" indent="0" algn="l">
              <a:buNone/>
              <a:defRPr sz="14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cxnSp>
        <p:nvCxnSpPr>
          <p:cNvPr id="38" name="Straight Connector 37"/>
          <p:cNvCxnSpPr/>
          <p:nvPr userDrawn="1"/>
        </p:nvCxnSpPr>
        <p:spPr>
          <a:xfrm>
            <a:off x="346086" y="3395058"/>
            <a:ext cx="8460000" cy="0"/>
          </a:xfrm>
          <a:prstGeom prst="line">
            <a:avLst/>
          </a:prstGeom>
          <a:ln w="12700" cmpd="sng">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52" name="Group 151"/>
          <p:cNvGrpSpPr/>
          <p:nvPr userDrawn="1"/>
        </p:nvGrpSpPr>
        <p:grpSpPr>
          <a:xfrm>
            <a:off x="4756265" y="4843403"/>
            <a:ext cx="1123200" cy="262117"/>
            <a:chOff x="7686782" y="4354553"/>
            <a:chExt cx="1123200" cy="262117"/>
          </a:xfrm>
          <a:solidFill>
            <a:schemeClr val="bg1"/>
          </a:solidFill>
        </p:grpSpPr>
        <p:sp>
          <p:nvSpPr>
            <p:cNvPr id="153" name="Freeform 152"/>
            <p:cNvSpPr>
              <a:spLocks/>
            </p:cNvSpPr>
            <p:nvPr/>
          </p:nvSpPr>
          <p:spPr bwMode="auto">
            <a:xfrm>
              <a:off x="8637817" y="4415076"/>
              <a:ext cx="103629" cy="66531"/>
            </a:xfrm>
            <a:custGeom>
              <a:avLst/>
              <a:gdLst>
                <a:gd name="T0" fmla="*/ 50 w 62"/>
                <a:gd name="T1" fmla="*/ 33 h 42"/>
                <a:gd name="T2" fmla="*/ 39 w 62"/>
                <a:gd name="T3" fmla="*/ 40 h 42"/>
                <a:gd name="T4" fmla="*/ 31 w 62"/>
                <a:gd name="T5" fmla="*/ 13 h 42"/>
                <a:gd name="T6" fmla="*/ 30 w 62"/>
                <a:gd name="T7" fmla="*/ 13 h 42"/>
                <a:gd name="T8" fmla="*/ 24 w 62"/>
                <a:gd name="T9" fmla="*/ 33 h 42"/>
                <a:gd name="T10" fmla="*/ 14 w 62"/>
                <a:gd name="T11" fmla="*/ 40 h 42"/>
                <a:gd name="T12" fmla="*/ 0 w 62"/>
                <a:gd name="T13" fmla="*/ 0 h 42"/>
                <a:gd name="T14" fmla="*/ 10 w 62"/>
                <a:gd name="T15" fmla="*/ 0 h 42"/>
                <a:gd name="T16" fmla="*/ 18 w 62"/>
                <a:gd name="T17" fmla="*/ 27 h 42"/>
                <a:gd name="T18" fmla="*/ 18 w 62"/>
                <a:gd name="T19" fmla="*/ 27 h 42"/>
                <a:gd name="T20" fmla="*/ 27 w 62"/>
                <a:gd name="T21" fmla="*/ 0 h 42"/>
                <a:gd name="T22" fmla="*/ 35 w 62"/>
                <a:gd name="T23" fmla="*/ 0 h 42"/>
                <a:gd name="T24" fmla="*/ 43 w 62"/>
                <a:gd name="T25" fmla="*/ 27 h 42"/>
                <a:gd name="T26" fmla="*/ 44 w 62"/>
                <a:gd name="T27" fmla="*/ 27 h 42"/>
                <a:gd name="T28" fmla="*/ 52 w 62"/>
                <a:gd name="T29" fmla="*/ 0 h 42"/>
                <a:gd name="T30" fmla="*/ 62 w 62"/>
                <a:gd name="T31" fmla="*/ 0 h 42"/>
                <a:gd name="T32" fmla="*/ 50 w 62"/>
                <a:gd name="T33" fmla="*/ 3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 h="42">
                  <a:moveTo>
                    <a:pt x="50" y="33"/>
                  </a:moveTo>
                  <a:cubicBezTo>
                    <a:pt x="47" y="42"/>
                    <a:pt x="39" y="40"/>
                    <a:pt x="39" y="40"/>
                  </a:cubicBezTo>
                  <a:cubicBezTo>
                    <a:pt x="31" y="13"/>
                    <a:pt x="31" y="13"/>
                    <a:pt x="31" y="13"/>
                  </a:cubicBezTo>
                  <a:cubicBezTo>
                    <a:pt x="30" y="13"/>
                    <a:pt x="30" y="13"/>
                    <a:pt x="30" y="13"/>
                  </a:cubicBezTo>
                  <a:cubicBezTo>
                    <a:pt x="30" y="13"/>
                    <a:pt x="26" y="26"/>
                    <a:pt x="24" y="33"/>
                  </a:cubicBezTo>
                  <a:cubicBezTo>
                    <a:pt x="21" y="42"/>
                    <a:pt x="14" y="40"/>
                    <a:pt x="14" y="40"/>
                  </a:cubicBezTo>
                  <a:cubicBezTo>
                    <a:pt x="0" y="0"/>
                    <a:pt x="0" y="0"/>
                    <a:pt x="0" y="0"/>
                  </a:cubicBezTo>
                  <a:cubicBezTo>
                    <a:pt x="10" y="0"/>
                    <a:pt x="10" y="0"/>
                    <a:pt x="10" y="0"/>
                  </a:cubicBezTo>
                  <a:cubicBezTo>
                    <a:pt x="18" y="27"/>
                    <a:pt x="18" y="27"/>
                    <a:pt x="18" y="27"/>
                  </a:cubicBezTo>
                  <a:cubicBezTo>
                    <a:pt x="18" y="27"/>
                    <a:pt x="18" y="27"/>
                    <a:pt x="18" y="27"/>
                  </a:cubicBezTo>
                  <a:cubicBezTo>
                    <a:pt x="27" y="0"/>
                    <a:pt x="27" y="0"/>
                    <a:pt x="27" y="0"/>
                  </a:cubicBezTo>
                  <a:cubicBezTo>
                    <a:pt x="35" y="0"/>
                    <a:pt x="35" y="0"/>
                    <a:pt x="35" y="0"/>
                  </a:cubicBezTo>
                  <a:cubicBezTo>
                    <a:pt x="43" y="27"/>
                    <a:pt x="43" y="27"/>
                    <a:pt x="43" y="27"/>
                  </a:cubicBezTo>
                  <a:cubicBezTo>
                    <a:pt x="44" y="27"/>
                    <a:pt x="44" y="27"/>
                    <a:pt x="44" y="27"/>
                  </a:cubicBezTo>
                  <a:cubicBezTo>
                    <a:pt x="52" y="0"/>
                    <a:pt x="52" y="0"/>
                    <a:pt x="52" y="0"/>
                  </a:cubicBezTo>
                  <a:cubicBezTo>
                    <a:pt x="62" y="0"/>
                    <a:pt x="62" y="0"/>
                    <a:pt x="62" y="0"/>
                  </a:cubicBezTo>
                  <a:cubicBezTo>
                    <a:pt x="62" y="0"/>
                    <a:pt x="52" y="26"/>
                    <a:pt x="5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4" name="Freeform 153"/>
            <p:cNvSpPr>
              <a:spLocks noEditPoints="1"/>
            </p:cNvSpPr>
            <p:nvPr/>
          </p:nvSpPr>
          <p:spPr bwMode="auto">
            <a:xfrm>
              <a:off x="8445631" y="4383257"/>
              <a:ext cx="65239" cy="93677"/>
            </a:xfrm>
            <a:custGeom>
              <a:avLst/>
              <a:gdLst>
                <a:gd name="T0" fmla="*/ 0 w 39"/>
                <a:gd name="T1" fmla="*/ 0 h 59"/>
                <a:gd name="T2" fmla="*/ 0 w 39"/>
                <a:gd name="T3" fmla="*/ 59 h 59"/>
                <a:gd name="T4" fmla="*/ 18 w 39"/>
                <a:gd name="T5" fmla="*/ 59 h 59"/>
                <a:gd name="T6" fmla="*/ 39 w 39"/>
                <a:gd name="T7" fmla="*/ 42 h 59"/>
                <a:gd name="T8" fmla="*/ 29 w 39"/>
                <a:gd name="T9" fmla="*/ 28 h 59"/>
                <a:gd name="T10" fmla="*/ 28 w 39"/>
                <a:gd name="T11" fmla="*/ 27 h 59"/>
                <a:gd name="T12" fmla="*/ 29 w 39"/>
                <a:gd name="T13" fmla="*/ 27 h 59"/>
                <a:gd name="T14" fmla="*/ 35 w 39"/>
                <a:gd name="T15" fmla="*/ 15 h 59"/>
                <a:gd name="T16" fmla="*/ 19 w 39"/>
                <a:gd name="T17" fmla="*/ 0 h 59"/>
                <a:gd name="T18" fmla="*/ 0 w 39"/>
                <a:gd name="T19" fmla="*/ 0 h 59"/>
                <a:gd name="T20" fmla="*/ 10 w 39"/>
                <a:gd name="T21" fmla="*/ 8 h 59"/>
                <a:gd name="T22" fmla="*/ 16 w 39"/>
                <a:gd name="T23" fmla="*/ 8 h 59"/>
                <a:gd name="T24" fmla="*/ 25 w 39"/>
                <a:gd name="T25" fmla="*/ 16 h 59"/>
                <a:gd name="T26" fmla="*/ 17 w 39"/>
                <a:gd name="T27" fmla="*/ 25 h 59"/>
                <a:gd name="T28" fmla="*/ 10 w 39"/>
                <a:gd name="T29" fmla="*/ 25 h 59"/>
                <a:gd name="T30" fmla="*/ 10 w 39"/>
                <a:gd name="T31" fmla="*/ 8 h 59"/>
                <a:gd name="T32" fmla="*/ 10 w 39"/>
                <a:gd name="T33" fmla="*/ 33 h 59"/>
                <a:gd name="T34" fmla="*/ 18 w 39"/>
                <a:gd name="T35" fmla="*/ 33 h 59"/>
                <a:gd name="T36" fmla="*/ 29 w 39"/>
                <a:gd name="T37" fmla="*/ 42 h 59"/>
                <a:gd name="T38" fmla="*/ 17 w 39"/>
                <a:gd name="T39" fmla="*/ 51 h 59"/>
                <a:gd name="T40" fmla="*/ 10 w 39"/>
                <a:gd name="T41" fmla="*/ 51 h 59"/>
                <a:gd name="T42" fmla="*/ 10 w 39"/>
                <a:gd name="T43"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9">
                  <a:moveTo>
                    <a:pt x="0" y="0"/>
                  </a:moveTo>
                  <a:cubicBezTo>
                    <a:pt x="0" y="1"/>
                    <a:pt x="0" y="59"/>
                    <a:pt x="0" y="59"/>
                  </a:cubicBezTo>
                  <a:cubicBezTo>
                    <a:pt x="1" y="59"/>
                    <a:pt x="18" y="59"/>
                    <a:pt x="18" y="59"/>
                  </a:cubicBezTo>
                  <a:cubicBezTo>
                    <a:pt x="33" y="59"/>
                    <a:pt x="39" y="51"/>
                    <a:pt x="39" y="42"/>
                  </a:cubicBezTo>
                  <a:cubicBezTo>
                    <a:pt x="39" y="35"/>
                    <a:pt x="36" y="29"/>
                    <a:pt x="29" y="28"/>
                  </a:cubicBezTo>
                  <a:cubicBezTo>
                    <a:pt x="28" y="27"/>
                    <a:pt x="28" y="27"/>
                    <a:pt x="28" y="27"/>
                  </a:cubicBezTo>
                  <a:cubicBezTo>
                    <a:pt x="29" y="27"/>
                    <a:pt x="29" y="27"/>
                    <a:pt x="29" y="27"/>
                  </a:cubicBezTo>
                  <a:cubicBezTo>
                    <a:pt x="33" y="24"/>
                    <a:pt x="35" y="20"/>
                    <a:pt x="35" y="15"/>
                  </a:cubicBezTo>
                  <a:cubicBezTo>
                    <a:pt x="35" y="8"/>
                    <a:pt x="30" y="0"/>
                    <a:pt x="19" y="0"/>
                  </a:cubicBezTo>
                  <a:cubicBezTo>
                    <a:pt x="19" y="0"/>
                    <a:pt x="1" y="0"/>
                    <a:pt x="0" y="0"/>
                  </a:cubicBezTo>
                  <a:close/>
                  <a:moveTo>
                    <a:pt x="10" y="8"/>
                  </a:moveTo>
                  <a:cubicBezTo>
                    <a:pt x="16" y="8"/>
                    <a:pt x="16" y="8"/>
                    <a:pt x="16" y="8"/>
                  </a:cubicBezTo>
                  <a:cubicBezTo>
                    <a:pt x="22" y="8"/>
                    <a:pt x="25" y="11"/>
                    <a:pt x="25" y="16"/>
                  </a:cubicBezTo>
                  <a:cubicBezTo>
                    <a:pt x="25" y="21"/>
                    <a:pt x="21" y="25"/>
                    <a:pt x="17" y="25"/>
                  </a:cubicBezTo>
                  <a:cubicBezTo>
                    <a:pt x="10" y="25"/>
                    <a:pt x="10" y="25"/>
                    <a:pt x="10" y="25"/>
                  </a:cubicBezTo>
                  <a:lnTo>
                    <a:pt x="10" y="8"/>
                  </a:lnTo>
                  <a:close/>
                  <a:moveTo>
                    <a:pt x="10" y="33"/>
                  </a:moveTo>
                  <a:cubicBezTo>
                    <a:pt x="18" y="33"/>
                    <a:pt x="18" y="33"/>
                    <a:pt x="18" y="33"/>
                  </a:cubicBezTo>
                  <a:cubicBezTo>
                    <a:pt x="25" y="33"/>
                    <a:pt x="29" y="37"/>
                    <a:pt x="29" y="42"/>
                  </a:cubicBezTo>
                  <a:cubicBezTo>
                    <a:pt x="29" y="48"/>
                    <a:pt x="25" y="51"/>
                    <a:pt x="17" y="51"/>
                  </a:cubicBezTo>
                  <a:cubicBezTo>
                    <a:pt x="10" y="51"/>
                    <a:pt x="10" y="51"/>
                    <a:pt x="10" y="51"/>
                  </a:cubicBezTo>
                  <a:lnTo>
                    <a:pt x="1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5" name="Freeform 154"/>
            <p:cNvSpPr>
              <a:spLocks noEditPoints="1"/>
            </p:cNvSpPr>
            <p:nvPr/>
          </p:nvSpPr>
          <p:spPr bwMode="auto">
            <a:xfrm>
              <a:off x="8567631" y="4413518"/>
              <a:ext cx="66888" cy="64973"/>
            </a:xfrm>
            <a:custGeom>
              <a:avLst/>
              <a:gdLst>
                <a:gd name="T0" fmla="*/ 34 w 40"/>
                <a:gd name="T1" fmla="*/ 36 h 41"/>
                <a:gd name="T2" fmla="*/ 20 w 40"/>
                <a:gd name="T3" fmla="*/ 41 h 41"/>
                <a:gd name="T4" fmla="*/ 7 w 40"/>
                <a:gd name="T5" fmla="*/ 36 h 41"/>
                <a:gd name="T6" fmla="*/ 0 w 40"/>
                <a:gd name="T7" fmla="*/ 21 h 41"/>
                <a:gd name="T8" fmla="*/ 6 w 40"/>
                <a:gd name="T9" fmla="*/ 6 h 41"/>
                <a:gd name="T10" fmla="*/ 20 w 40"/>
                <a:gd name="T11" fmla="*/ 0 h 41"/>
                <a:gd name="T12" fmla="*/ 35 w 40"/>
                <a:gd name="T13" fmla="*/ 6 h 41"/>
                <a:gd name="T14" fmla="*/ 40 w 40"/>
                <a:gd name="T15" fmla="*/ 20 h 41"/>
                <a:gd name="T16" fmla="*/ 34 w 40"/>
                <a:gd name="T17" fmla="*/ 36 h 41"/>
                <a:gd name="T18" fmla="*/ 20 w 40"/>
                <a:gd name="T19" fmla="*/ 8 h 41"/>
                <a:gd name="T20" fmla="*/ 11 w 40"/>
                <a:gd name="T21" fmla="*/ 21 h 41"/>
                <a:gd name="T22" fmla="*/ 20 w 40"/>
                <a:gd name="T23" fmla="*/ 33 h 41"/>
                <a:gd name="T24" fmla="*/ 30 w 40"/>
                <a:gd name="T25" fmla="*/ 21 h 41"/>
                <a:gd name="T26" fmla="*/ 20 w 40"/>
                <a:gd name="T27" fmla="*/ 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4" y="36"/>
                  </a:moveTo>
                  <a:cubicBezTo>
                    <a:pt x="31" y="39"/>
                    <a:pt x="26" y="41"/>
                    <a:pt x="20" y="41"/>
                  </a:cubicBezTo>
                  <a:cubicBezTo>
                    <a:pt x="15" y="41"/>
                    <a:pt x="10" y="39"/>
                    <a:pt x="7" y="36"/>
                  </a:cubicBezTo>
                  <a:cubicBezTo>
                    <a:pt x="3" y="33"/>
                    <a:pt x="0" y="27"/>
                    <a:pt x="0" y="21"/>
                  </a:cubicBezTo>
                  <a:cubicBezTo>
                    <a:pt x="0" y="15"/>
                    <a:pt x="2" y="9"/>
                    <a:pt x="6" y="6"/>
                  </a:cubicBezTo>
                  <a:cubicBezTo>
                    <a:pt x="10" y="2"/>
                    <a:pt x="14" y="0"/>
                    <a:pt x="20" y="0"/>
                  </a:cubicBezTo>
                  <a:cubicBezTo>
                    <a:pt x="26" y="0"/>
                    <a:pt x="31" y="2"/>
                    <a:pt x="35" y="6"/>
                  </a:cubicBezTo>
                  <a:cubicBezTo>
                    <a:pt x="38" y="9"/>
                    <a:pt x="40" y="14"/>
                    <a:pt x="40" y="20"/>
                  </a:cubicBezTo>
                  <a:cubicBezTo>
                    <a:pt x="40" y="26"/>
                    <a:pt x="38" y="32"/>
                    <a:pt x="34" y="36"/>
                  </a:cubicBezTo>
                  <a:close/>
                  <a:moveTo>
                    <a:pt x="20" y="8"/>
                  </a:moveTo>
                  <a:cubicBezTo>
                    <a:pt x="14" y="8"/>
                    <a:pt x="11" y="13"/>
                    <a:pt x="11" y="21"/>
                  </a:cubicBezTo>
                  <a:cubicBezTo>
                    <a:pt x="11" y="28"/>
                    <a:pt x="14" y="33"/>
                    <a:pt x="20" y="33"/>
                  </a:cubicBezTo>
                  <a:cubicBezTo>
                    <a:pt x="27" y="33"/>
                    <a:pt x="30" y="28"/>
                    <a:pt x="30" y="21"/>
                  </a:cubicBezTo>
                  <a:cubicBezTo>
                    <a:pt x="30" y="13"/>
                    <a:pt x="26" y="8"/>
                    <a:pt x="2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6" name="Freeform 155"/>
            <p:cNvSpPr>
              <a:spLocks/>
            </p:cNvSpPr>
            <p:nvPr/>
          </p:nvSpPr>
          <p:spPr bwMode="auto">
            <a:xfrm>
              <a:off x="8751573" y="4413518"/>
              <a:ext cx="58409" cy="64973"/>
            </a:xfrm>
            <a:custGeom>
              <a:avLst/>
              <a:gdLst>
                <a:gd name="T0" fmla="*/ 25 w 35"/>
                <a:gd name="T1" fmla="*/ 41 h 41"/>
                <a:gd name="T2" fmla="*/ 25 w 35"/>
                <a:gd name="T3" fmla="*/ 17 h 41"/>
                <a:gd name="T4" fmla="*/ 20 w 35"/>
                <a:gd name="T5" fmla="*/ 9 h 41"/>
                <a:gd name="T6" fmla="*/ 10 w 35"/>
                <a:gd name="T7" fmla="*/ 13 h 41"/>
                <a:gd name="T8" fmla="*/ 10 w 35"/>
                <a:gd name="T9" fmla="*/ 34 h 41"/>
                <a:gd name="T10" fmla="*/ 0 w 35"/>
                <a:gd name="T11" fmla="*/ 41 h 41"/>
                <a:gd name="T12" fmla="*/ 0 w 35"/>
                <a:gd name="T13" fmla="*/ 1 h 41"/>
                <a:gd name="T14" fmla="*/ 8 w 35"/>
                <a:gd name="T15" fmla="*/ 1 h 41"/>
                <a:gd name="T16" fmla="*/ 9 w 35"/>
                <a:gd name="T17" fmla="*/ 5 h 41"/>
                <a:gd name="T18" fmla="*/ 23 w 35"/>
                <a:gd name="T19" fmla="*/ 0 h 41"/>
                <a:gd name="T20" fmla="*/ 35 w 35"/>
                <a:gd name="T21" fmla="*/ 14 h 41"/>
                <a:gd name="T22" fmla="*/ 35 w 35"/>
                <a:gd name="T23" fmla="*/ 34 h 41"/>
                <a:gd name="T24" fmla="*/ 25 w 35"/>
                <a:gd name="T25"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41">
                  <a:moveTo>
                    <a:pt x="25" y="41"/>
                  </a:moveTo>
                  <a:cubicBezTo>
                    <a:pt x="25" y="17"/>
                    <a:pt x="25" y="17"/>
                    <a:pt x="25" y="17"/>
                  </a:cubicBezTo>
                  <a:cubicBezTo>
                    <a:pt x="25" y="13"/>
                    <a:pt x="25" y="9"/>
                    <a:pt x="20" y="9"/>
                  </a:cubicBezTo>
                  <a:cubicBezTo>
                    <a:pt x="16" y="9"/>
                    <a:pt x="13" y="10"/>
                    <a:pt x="10" y="13"/>
                  </a:cubicBezTo>
                  <a:cubicBezTo>
                    <a:pt x="10" y="13"/>
                    <a:pt x="10" y="26"/>
                    <a:pt x="10" y="34"/>
                  </a:cubicBezTo>
                  <a:cubicBezTo>
                    <a:pt x="10" y="41"/>
                    <a:pt x="0" y="41"/>
                    <a:pt x="0" y="41"/>
                  </a:cubicBezTo>
                  <a:cubicBezTo>
                    <a:pt x="0" y="1"/>
                    <a:pt x="0" y="1"/>
                    <a:pt x="0" y="1"/>
                  </a:cubicBezTo>
                  <a:cubicBezTo>
                    <a:pt x="8" y="1"/>
                    <a:pt x="8" y="1"/>
                    <a:pt x="8" y="1"/>
                  </a:cubicBezTo>
                  <a:cubicBezTo>
                    <a:pt x="9" y="5"/>
                    <a:pt x="9" y="5"/>
                    <a:pt x="9" y="5"/>
                  </a:cubicBezTo>
                  <a:cubicBezTo>
                    <a:pt x="13" y="2"/>
                    <a:pt x="18" y="0"/>
                    <a:pt x="23" y="0"/>
                  </a:cubicBezTo>
                  <a:cubicBezTo>
                    <a:pt x="29" y="0"/>
                    <a:pt x="35" y="3"/>
                    <a:pt x="35" y="14"/>
                  </a:cubicBezTo>
                  <a:cubicBezTo>
                    <a:pt x="35" y="14"/>
                    <a:pt x="35" y="26"/>
                    <a:pt x="35" y="34"/>
                  </a:cubicBezTo>
                  <a:cubicBezTo>
                    <a:pt x="35" y="41"/>
                    <a:pt x="25" y="41"/>
                    <a:pt x="2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7" name="Freeform 156"/>
            <p:cNvSpPr>
              <a:spLocks/>
            </p:cNvSpPr>
            <p:nvPr/>
          </p:nvSpPr>
          <p:spPr bwMode="auto">
            <a:xfrm>
              <a:off x="8522411" y="4413518"/>
              <a:ext cx="43571" cy="64973"/>
            </a:xfrm>
            <a:custGeom>
              <a:avLst/>
              <a:gdLst>
                <a:gd name="T0" fmla="*/ 23 w 26"/>
                <a:gd name="T1" fmla="*/ 10 h 41"/>
                <a:gd name="T2" fmla="*/ 18 w 26"/>
                <a:gd name="T3" fmla="*/ 9 h 41"/>
                <a:gd name="T4" fmla="*/ 11 w 26"/>
                <a:gd name="T5" fmla="*/ 12 h 41"/>
                <a:gd name="T6" fmla="*/ 11 w 26"/>
                <a:gd name="T7" fmla="*/ 34 h 41"/>
                <a:gd name="T8" fmla="*/ 0 w 26"/>
                <a:gd name="T9" fmla="*/ 41 h 41"/>
                <a:gd name="T10" fmla="*/ 0 w 26"/>
                <a:gd name="T11" fmla="*/ 1 h 41"/>
                <a:gd name="T12" fmla="*/ 9 w 26"/>
                <a:gd name="T13" fmla="*/ 1 h 41"/>
                <a:gd name="T14" fmla="*/ 10 w 26"/>
                <a:gd name="T15" fmla="*/ 5 h 41"/>
                <a:gd name="T16" fmla="*/ 21 w 26"/>
                <a:gd name="T17" fmla="*/ 0 h 41"/>
                <a:gd name="T18" fmla="*/ 26 w 26"/>
                <a:gd name="T19" fmla="*/ 2 h 41"/>
                <a:gd name="T20" fmla="*/ 23 w 26"/>
                <a:gd name="T21" fmla="*/ 1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41">
                  <a:moveTo>
                    <a:pt x="23" y="10"/>
                  </a:moveTo>
                  <a:cubicBezTo>
                    <a:pt x="21" y="9"/>
                    <a:pt x="19" y="9"/>
                    <a:pt x="18" y="9"/>
                  </a:cubicBezTo>
                  <a:cubicBezTo>
                    <a:pt x="16" y="9"/>
                    <a:pt x="13" y="10"/>
                    <a:pt x="11" y="12"/>
                  </a:cubicBezTo>
                  <a:cubicBezTo>
                    <a:pt x="11" y="12"/>
                    <a:pt x="11" y="26"/>
                    <a:pt x="11" y="34"/>
                  </a:cubicBezTo>
                  <a:cubicBezTo>
                    <a:pt x="11" y="41"/>
                    <a:pt x="0" y="41"/>
                    <a:pt x="0" y="41"/>
                  </a:cubicBezTo>
                  <a:cubicBezTo>
                    <a:pt x="0" y="1"/>
                    <a:pt x="0" y="1"/>
                    <a:pt x="0" y="1"/>
                  </a:cubicBezTo>
                  <a:cubicBezTo>
                    <a:pt x="9" y="1"/>
                    <a:pt x="9" y="1"/>
                    <a:pt x="9" y="1"/>
                  </a:cubicBezTo>
                  <a:cubicBezTo>
                    <a:pt x="10" y="5"/>
                    <a:pt x="10" y="5"/>
                    <a:pt x="10" y="5"/>
                  </a:cubicBezTo>
                  <a:cubicBezTo>
                    <a:pt x="14" y="2"/>
                    <a:pt x="17" y="0"/>
                    <a:pt x="21" y="0"/>
                  </a:cubicBezTo>
                  <a:cubicBezTo>
                    <a:pt x="23" y="0"/>
                    <a:pt x="25" y="1"/>
                    <a:pt x="26" y="2"/>
                  </a:cubicBezTo>
                  <a:lnTo>
                    <a:pt x="23"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8" name="Freeform 157"/>
            <p:cNvSpPr>
              <a:spLocks/>
            </p:cNvSpPr>
            <p:nvPr/>
          </p:nvSpPr>
          <p:spPr bwMode="auto">
            <a:xfrm>
              <a:off x="7787114" y="4354553"/>
              <a:ext cx="101745" cy="147747"/>
            </a:xfrm>
            <a:custGeom>
              <a:avLst/>
              <a:gdLst>
                <a:gd name="T0" fmla="*/ 0 w 61"/>
                <a:gd name="T1" fmla="*/ 11 h 93"/>
                <a:gd name="T2" fmla="*/ 1 w 61"/>
                <a:gd name="T3" fmla="*/ 10 h 93"/>
                <a:gd name="T4" fmla="*/ 31 w 61"/>
                <a:gd name="T5" fmla="*/ 9 h 93"/>
                <a:gd name="T6" fmla="*/ 37 w 61"/>
                <a:gd name="T7" fmla="*/ 24 h 93"/>
                <a:gd name="T8" fmla="*/ 52 w 61"/>
                <a:gd name="T9" fmla="*/ 30 h 93"/>
                <a:gd name="T10" fmla="*/ 51 w 61"/>
                <a:gd name="T11" fmla="*/ 60 h 93"/>
                <a:gd name="T12" fmla="*/ 18 w 61"/>
                <a:gd name="T13" fmla="*/ 93 h 93"/>
                <a:gd name="T14" fmla="*/ 8 w 61"/>
                <a:gd name="T15" fmla="*/ 83 h 93"/>
                <a:gd name="T16" fmla="*/ 41 w 61"/>
                <a:gd name="T17" fmla="*/ 50 h 93"/>
                <a:gd name="T18" fmla="*/ 42 w 61"/>
                <a:gd name="T19" fmla="*/ 39 h 93"/>
                <a:gd name="T20" fmla="*/ 31 w 61"/>
                <a:gd name="T21" fmla="*/ 40 h 93"/>
                <a:gd name="T22" fmla="*/ 0 w 61"/>
                <a:gd name="T23" fmla="*/ 70 h 93"/>
                <a:gd name="T24" fmla="*/ 0 w 61"/>
                <a:gd name="T25" fmla="*/ 50 h 93"/>
                <a:gd name="T26" fmla="*/ 21 w 61"/>
                <a:gd name="T27" fmla="*/ 30 h 93"/>
                <a:gd name="T28" fmla="*/ 22 w 61"/>
                <a:gd name="T29" fmla="*/ 19 h 93"/>
                <a:gd name="T30" fmla="*/ 11 w 61"/>
                <a:gd name="T31" fmla="*/ 20 h 93"/>
                <a:gd name="T32" fmla="*/ 0 w 61"/>
                <a:gd name="T33" fmla="*/ 30 h 93"/>
                <a:gd name="T34" fmla="*/ 0 w 61"/>
                <a:gd name="T35" fmla="*/ 1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 h="93">
                  <a:moveTo>
                    <a:pt x="0" y="11"/>
                  </a:moveTo>
                  <a:cubicBezTo>
                    <a:pt x="1" y="10"/>
                    <a:pt x="1" y="10"/>
                    <a:pt x="1" y="10"/>
                  </a:cubicBezTo>
                  <a:cubicBezTo>
                    <a:pt x="11" y="0"/>
                    <a:pt x="23" y="1"/>
                    <a:pt x="31" y="9"/>
                  </a:cubicBezTo>
                  <a:cubicBezTo>
                    <a:pt x="37" y="15"/>
                    <a:pt x="37" y="21"/>
                    <a:pt x="37" y="24"/>
                  </a:cubicBezTo>
                  <a:cubicBezTo>
                    <a:pt x="40" y="24"/>
                    <a:pt x="46" y="24"/>
                    <a:pt x="52" y="30"/>
                  </a:cubicBezTo>
                  <a:cubicBezTo>
                    <a:pt x="60" y="38"/>
                    <a:pt x="61" y="50"/>
                    <a:pt x="51" y="60"/>
                  </a:cubicBezTo>
                  <a:cubicBezTo>
                    <a:pt x="18" y="93"/>
                    <a:pt x="18" y="93"/>
                    <a:pt x="18" y="93"/>
                  </a:cubicBezTo>
                  <a:cubicBezTo>
                    <a:pt x="8" y="83"/>
                    <a:pt x="8" y="83"/>
                    <a:pt x="8" y="83"/>
                  </a:cubicBezTo>
                  <a:cubicBezTo>
                    <a:pt x="41" y="50"/>
                    <a:pt x="41" y="50"/>
                    <a:pt x="41" y="50"/>
                  </a:cubicBezTo>
                  <a:cubicBezTo>
                    <a:pt x="45" y="46"/>
                    <a:pt x="44" y="42"/>
                    <a:pt x="42" y="39"/>
                  </a:cubicBezTo>
                  <a:cubicBezTo>
                    <a:pt x="39" y="37"/>
                    <a:pt x="35" y="36"/>
                    <a:pt x="31" y="40"/>
                  </a:cubicBezTo>
                  <a:cubicBezTo>
                    <a:pt x="0" y="70"/>
                    <a:pt x="0" y="70"/>
                    <a:pt x="0" y="70"/>
                  </a:cubicBezTo>
                  <a:cubicBezTo>
                    <a:pt x="0" y="50"/>
                    <a:pt x="0" y="50"/>
                    <a:pt x="0" y="50"/>
                  </a:cubicBezTo>
                  <a:cubicBezTo>
                    <a:pt x="21" y="30"/>
                    <a:pt x="21" y="30"/>
                    <a:pt x="21" y="30"/>
                  </a:cubicBezTo>
                  <a:cubicBezTo>
                    <a:pt x="25" y="26"/>
                    <a:pt x="24" y="22"/>
                    <a:pt x="22" y="19"/>
                  </a:cubicBezTo>
                  <a:cubicBezTo>
                    <a:pt x="19" y="17"/>
                    <a:pt x="15" y="16"/>
                    <a:pt x="11" y="20"/>
                  </a:cubicBezTo>
                  <a:cubicBezTo>
                    <a:pt x="0" y="30"/>
                    <a:pt x="0" y="30"/>
                    <a:pt x="0" y="30"/>
                  </a:cubicBezTo>
                  <a:lnTo>
                    <a:pt x="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9" name="Freeform 158"/>
            <p:cNvSpPr>
              <a:spLocks/>
            </p:cNvSpPr>
            <p:nvPr/>
          </p:nvSpPr>
          <p:spPr bwMode="auto">
            <a:xfrm>
              <a:off x="7686782" y="4354553"/>
              <a:ext cx="100332" cy="147747"/>
            </a:xfrm>
            <a:custGeom>
              <a:avLst/>
              <a:gdLst>
                <a:gd name="T0" fmla="*/ 60 w 60"/>
                <a:gd name="T1" fmla="*/ 11 h 93"/>
                <a:gd name="T2" fmla="*/ 60 w 60"/>
                <a:gd name="T3" fmla="*/ 10 h 93"/>
                <a:gd name="T4" fmla="*/ 30 w 60"/>
                <a:gd name="T5" fmla="*/ 9 h 93"/>
                <a:gd name="T6" fmla="*/ 24 w 60"/>
                <a:gd name="T7" fmla="*/ 24 h 93"/>
                <a:gd name="T8" fmla="*/ 9 w 60"/>
                <a:gd name="T9" fmla="*/ 30 h 93"/>
                <a:gd name="T10" fmla="*/ 10 w 60"/>
                <a:gd name="T11" fmla="*/ 60 h 93"/>
                <a:gd name="T12" fmla="*/ 43 w 60"/>
                <a:gd name="T13" fmla="*/ 93 h 93"/>
                <a:gd name="T14" fmla="*/ 53 w 60"/>
                <a:gd name="T15" fmla="*/ 83 h 93"/>
                <a:gd name="T16" fmla="*/ 20 w 60"/>
                <a:gd name="T17" fmla="*/ 50 h 93"/>
                <a:gd name="T18" fmla="*/ 19 w 60"/>
                <a:gd name="T19" fmla="*/ 39 h 93"/>
                <a:gd name="T20" fmla="*/ 30 w 60"/>
                <a:gd name="T21" fmla="*/ 40 h 93"/>
                <a:gd name="T22" fmla="*/ 60 w 60"/>
                <a:gd name="T23" fmla="*/ 70 h 93"/>
                <a:gd name="T24" fmla="*/ 60 w 60"/>
                <a:gd name="T25" fmla="*/ 50 h 93"/>
                <a:gd name="T26" fmla="*/ 40 w 60"/>
                <a:gd name="T27" fmla="*/ 30 h 93"/>
                <a:gd name="T28" fmla="*/ 39 w 60"/>
                <a:gd name="T29" fmla="*/ 19 h 93"/>
                <a:gd name="T30" fmla="*/ 50 w 60"/>
                <a:gd name="T31" fmla="*/ 20 h 93"/>
                <a:gd name="T32" fmla="*/ 60 w 60"/>
                <a:gd name="T33" fmla="*/ 30 h 93"/>
                <a:gd name="T34" fmla="*/ 60 w 60"/>
                <a:gd name="T35" fmla="*/ 1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93">
                  <a:moveTo>
                    <a:pt x="60" y="11"/>
                  </a:moveTo>
                  <a:cubicBezTo>
                    <a:pt x="60" y="10"/>
                    <a:pt x="60" y="10"/>
                    <a:pt x="60" y="10"/>
                  </a:cubicBezTo>
                  <a:cubicBezTo>
                    <a:pt x="50" y="0"/>
                    <a:pt x="37" y="1"/>
                    <a:pt x="30" y="9"/>
                  </a:cubicBezTo>
                  <a:cubicBezTo>
                    <a:pt x="24" y="15"/>
                    <a:pt x="23" y="21"/>
                    <a:pt x="24" y="24"/>
                  </a:cubicBezTo>
                  <a:cubicBezTo>
                    <a:pt x="21" y="24"/>
                    <a:pt x="15" y="24"/>
                    <a:pt x="9" y="30"/>
                  </a:cubicBezTo>
                  <a:cubicBezTo>
                    <a:pt x="1" y="38"/>
                    <a:pt x="0" y="50"/>
                    <a:pt x="10" y="60"/>
                  </a:cubicBezTo>
                  <a:cubicBezTo>
                    <a:pt x="43" y="93"/>
                    <a:pt x="43" y="93"/>
                    <a:pt x="43" y="93"/>
                  </a:cubicBezTo>
                  <a:cubicBezTo>
                    <a:pt x="53" y="83"/>
                    <a:pt x="53" y="83"/>
                    <a:pt x="53" y="83"/>
                  </a:cubicBezTo>
                  <a:cubicBezTo>
                    <a:pt x="20" y="50"/>
                    <a:pt x="20" y="50"/>
                    <a:pt x="20" y="50"/>
                  </a:cubicBezTo>
                  <a:cubicBezTo>
                    <a:pt x="16" y="46"/>
                    <a:pt x="17" y="42"/>
                    <a:pt x="19" y="39"/>
                  </a:cubicBezTo>
                  <a:cubicBezTo>
                    <a:pt x="22" y="37"/>
                    <a:pt x="26" y="36"/>
                    <a:pt x="30" y="40"/>
                  </a:cubicBezTo>
                  <a:cubicBezTo>
                    <a:pt x="60" y="70"/>
                    <a:pt x="60" y="70"/>
                    <a:pt x="60" y="70"/>
                  </a:cubicBezTo>
                  <a:cubicBezTo>
                    <a:pt x="60" y="50"/>
                    <a:pt x="60" y="50"/>
                    <a:pt x="60" y="50"/>
                  </a:cubicBezTo>
                  <a:cubicBezTo>
                    <a:pt x="40" y="30"/>
                    <a:pt x="40" y="30"/>
                    <a:pt x="40" y="30"/>
                  </a:cubicBezTo>
                  <a:cubicBezTo>
                    <a:pt x="36" y="26"/>
                    <a:pt x="37" y="22"/>
                    <a:pt x="39" y="19"/>
                  </a:cubicBezTo>
                  <a:cubicBezTo>
                    <a:pt x="42" y="17"/>
                    <a:pt x="46" y="16"/>
                    <a:pt x="50" y="20"/>
                  </a:cubicBezTo>
                  <a:cubicBezTo>
                    <a:pt x="60" y="30"/>
                    <a:pt x="60" y="30"/>
                    <a:pt x="60" y="30"/>
                  </a:cubicBezTo>
                  <a:lnTo>
                    <a:pt x="60" y="11"/>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60" name="Freeform 159"/>
            <p:cNvSpPr>
              <a:spLocks/>
            </p:cNvSpPr>
            <p:nvPr/>
          </p:nvSpPr>
          <p:spPr bwMode="auto">
            <a:xfrm>
              <a:off x="8141337" y="4415076"/>
              <a:ext cx="103629" cy="66531"/>
            </a:xfrm>
            <a:custGeom>
              <a:avLst/>
              <a:gdLst>
                <a:gd name="T0" fmla="*/ 50 w 62"/>
                <a:gd name="T1" fmla="*/ 33 h 42"/>
                <a:gd name="T2" fmla="*/ 40 w 62"/>
                <a:gd name="T3" fmla="*/ 40 h 42"/>
                <a:gd name="T4" fmla="*/ 31 w 62"/>
                <a:gd name="T5" fmla="*/ 13 h 42"/>
                <a:gd name="T6" fmla="*/ 30 w 62"/>
                <a:gd name="T7" fmla="*/ 13 h 42"/>
                <a:gd name="T8" fmla="*/ 24 w 62"/>
                <a:gd name="T9" fmla="*/ 33 h 42"/>
                <a:gd name="T10" fmla="*/ 14 w 62"/>
                <a:gd name="T11" fmla="*/ 40 h 42"/>
                <a:gd name="T12" fmla="*/ 0 w 62"/>
                <a:gd name="T13" fmla="*/ 0 h 42"/>
                <a:gd name="T14" fmla="*/ 10 w 62"/>
                <a:gd name="T15" fmla="*/ 0 h 42"/>
                <a:gd name="T16" fmla="*/ 18 w 62"/>
                <a:gd name="T17" fmla="*/ 27 h 42"/>
                <a:gd name="T18" fmla="*/ 18 w 62"/>
                <a:gd name="T19" fmla="*/ 27 h 42"/>
                <a:gd name="T20" fmla="*/ 27 w 62"/>
                <a:gd name="T21" fmla="*/ 0 h 42"/>
                <a:gd name="T22" fmla="*/ 35 w 62"/>
                <a:gd name="T23" fmla="*/ 0 h 42"/>
                <a:gd name="T24" fmla="*/ 44 w 62"/>
                <a:gd name="T25" fmla="*/ 27 h 42"/>
                <a:gd name="T26" fmla="*/ 44 w 62"/>
                <a:gd name="T27" fmla="*/ 27 h 42"/>
                <a:gd name="T28" fmla="*/ 52 w 62"/>
                <a:gd name="T29" fmla="*/ 0 h 42"/>
                <a:gd name="T30" fmla="*/ 62 w 62"/>
                <a:gd name="T31" fmla="*/ 0 h 42"/>
                <a:gd name="T32" fmla="*/ 50 w 62"/>
                <a:gd name="T33" fmla="*/ 3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 h="42">
                  <a:moveTo>
                    <a:pt x="50" y="33"/>
                  </a:moveTo>
                  <a:cubicBezTo>
                    <a:pt x="47" y="42"/>
                    <a:pt x="40" y="40"/>
                    <a:pt x="40" y="40"/>
                  </a:cubicBezTo>
                  <a:cubicBezTo>
                    <a:pt x="31" y="13"/>
                    <a:pt x="31" y="13"/>
                    <a:pt x="31" y="13"/>
                  </a:cubicBezTo>
                  <a:cubicBezTo>
                    <a:pt x="30" y="13"/>
                    <a:pt x="30" y="13"/>
                    <a:pt x="30" y="13"/>
                  </a:cubicBezTo>
                  <a:cubicBezTo>
                    <a:pt x="30" y="13"/>
                    <a:pt x="26" y="26"/>
                    <a:pt x="24" y="33"/>
                  </a:cubicBezTo>
                  <a:cubicBezTo>
                    <a:pt x="21" y="42"/>
                    <a:pt x="14" y="40"/>
                    <a:pt x="14" y="40"/>
                  </a:cubicBezTo>
                  <a:cubicBezTo>
                    <a:pt x="0" y="0"/>
                    <a:pt x="0" y="0"/>
                    <a:pt x="0" y="0"/>
                  </a:cubicBezTo>
                  <a:cubicBezTo>
                    <a:pt x="10" y="0"/>
                    <a:pt x="10" y="0"/>
                    <a:pt x="10" y="0"/>
                  </a:cubicBezTo>
                  <a:cubicBezTo>
                    <a:pt x="18" y="27"/>
                    <a:pt x="18" y="27"/>
                    <a:pt x="18" y="27"/>
                  </a:cubicBezTo>
                  <a:cubicBezTo>
                    <a:pt x="18" y="27"/>
                    <a:pt x="18" y="27"/>
                    <a:pt x="18" y="27"/>
                  </a:cubicBezTo>
                  <a:cubicBezTo>
                    <a:pt x="27" y="0"/>
                    <a:pt x="27" y="0"/>
                    <a:pt x="27" y="0"/>
                  </a:cubicBezTo>
                  <a:cubicBezTo>
                    <a:pt x="35" y="0"/>
                    <a:pt x="35" y="0"/>
                    <a:pt x="35" y="0"/>
                  </a:cubicBezTo>
                  <a:cubicBezTo>
                    <a:pt x="44" y="27"/>
                    <a:pt x="44" y="27"/>
                    <a:pt x="44" y="27"/>
                  </a:cubicBezTo>
                  <a:cubicBezTo>
                    <a:pt x="44" y="27"/>
                    <a:pt x="44" y="27"/>
                    <a:pt x="44" y="27"/>
                  </a:cubicBezTo>
                  <a:cubicBezTo>
                    <a:pt x="52" y="0"/>
                    <a:pt x="52" y="0"/>
                    <a:pt x="52" y="0"/>
                  </a:cubicBezTo>
                  <a:cubicBezTo>
                    <a:pt x="62" y="0"/>
                    <a:pt x="62" y="0"/>
                    <a:pt x="62" y="0"/>
                  </a:cubicBezTo>
                  <a:cubicBezTo>
                    <a:pt x="62" y="0"/>
                    <a:pt x="53" y="26"/>
                    <a:pt x="50" y="33"/>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61" name="Freeform 160"/>
            <p:cNvSpPr>
              <a:spLocks noEditPoints="1"/>
            </p:cNvSpPr>
            <p:nvPr/>
          </p:nvSpPr>
          <p:spPr bwMode="auto">
            <a:xfrm>
              <a:off x="8246615" y="4413518"/>
              <a:ext cx="58645" cy="64973"/>
            </a:xfrm>
            <a:custGeom>
              <a:avLst/>
              <a:gdLst>
                <a:gd name="T0" fmla="*/ 27 w 35"/>
                <a:gd name="T1" fmla="*/ 41 h 41"/>
                <a:gd name="T2" fmla="*/ 25 w 35"/>
                <a:gd name="T3" fmla="*/ 37 h 41"/>
                <a:gd name="T4" fmla="*/ 13 w 35"/>
                <a:gd name="T5" fmla="*/ 41 h 41"/>
                <a:gd name="T6" fmla="*/ 0 w 35"/>
                <a:gd name="T7" fmla="*/ 29 h 41"/>
                <a:gd name="T8" fmla="*/ 17 w 35"/>
                <a:gd name="T9" fmla="*/ 16 h 41"/>
                <a:gd name="T10" fmla="*/ 24 w 35"/>
                <a:gd name="T11" fmla="*/ 15 h 41"/>
                <a:gd name="T12" fmla="*/ 24 w 35"/>
                <a:gd name="T13" fmla="*/ 14 h 41"/>
                <a:gd name="T14" fmla="*/ 16 w 35"/>
                <a:gd name="T15" fmla="*/ 8 h 41"/>
                <a:gd name="T16" fmla="*/ 6 w 35"/>
                <a:gd name="T17" fmla="*/ 11 h 41"/>
                <a:gd name="T18" fmla="*/ 3 w 35"/>
                <a:gd name="T19" fmla="*/ 4 h 41"/>
                <a:gd name="T20" fmla="*/ 18 w 35"/>
                <a:gd name="T21" fmla="*/ 0 h 41"/>
                <a:gd name="T22" fmla="*/ 34 w 35"/>
                <a:gd name="T23" fmla="*/ 14 h 41"/>
                <a:gd name="T24" fmla="*/ 34 w 35"/>
                <a:gd name="T25" fmla="*/ 30 h 41"/>
                <a:gd name="T26" fmla="*/ 35 w 35"/>
                <a:gd name="T27" fmla="*/ 41 h 41"/>
                <a:gd name="T28" fmla="*/ 27 w 35"/>
                <a:gd name="T29" fmla="*/ 41 h 41"/>
                <a:gd name="T30" fmla="*/ 24 w 35"/>
                <a:gd name="T31" fmla="*/ 22 h 41"/>
                <a:gd name="T32" fmla="*/ 18 w 35"/>
                <a:gd name="T33" fmla="*/ 22 h 41"/>
                <a:gd name="T34" fmla="*/ 10 w 35"/>
                <a:gd name="T35" fmla="*/ 28 h 41"/>
                <a:gd name="T36" fmla="*/ 17 w 35"/>
                <a:gd name="T37" fmla="*/ 33 h 41"/>
                <a:gd name="T38" fmla="*/ 24 w 35"/>
                <a:gd name="T39" fmla="*/ 31 h 41"/>
                <a:gd name="T40" fmla="*/ 24 w 35"/>
                <a:gd name="T41" fmla="*/ 2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 h="41">
                  <a:moveTo>
                    <a:pt x="27" y="41"/>
                  </a:moveTo>
                  <a:cubicBezTo>
                    <a:pt x="25" y="37"/>
                    <a:pt x="25" y="37"/>
                    <a:pt x="25" y="37"/>
                  </a:cubicBezTo>
                  <a:cubicBezTo>
                    <a:pt x="22" y="39"/>
                    <a:pt x="18" y="41"/>
                    <a:pt x="13" y="41"/>
                  </a:cubicBezTo>
                  <a:cubicBezTo>
                    <a:pt x="6" y="41"/>
                    <a:pt x="0" y="36"/>
                    <a:pt x="0" y="29"/>
                  </a:cubicBezTo>
                  <a:cubicBezTo>
                    <a:pt x="0" y="20"/>
                    <a:pt x="7" y="16"/>
                    <a:pt x="17" y="16"/>
                  </a:cubicBezTo>
                  <a:cubicBezTo>
                    <a:pt x="24" y="15"/>
                    <a:pt x="24" y="15"/>
                    <a:pt x="24" y="15"/>
                  </a:cubicBezTo>
                  <a:cubicBezTo>
                    <a:pt x="24" y="15"/>
                    <a:pt x="24" y="15"/>
                    <a:pt x="24" y="14"/>
                  </a:cubicBezTo>
                  <a:cubicBezTo>
                    <a:pt x="24" y="10"/>
                    <a:pt x="21" y="8"/>
                    <a:pt x="16" y="8"/>
                  </a:cubicBezTo>
                  <a:cubicBezTo>
                    <a:pt x="12" y="8"/>
                    <a:pt x="9" y="9"/>
                    <a:pt x="6" y="11"/>
                  </a:cubicBezTo>
                  <a:cubicBezTo>
                    <a:pt x="3" y="4"/>
                    <a:pt x="3" y="4"/>
                    <a:pt x="3" y="4"/>
                  </a:cubicBezTo>
                  <a:cubicBezTo>
                    <a:pt x="8" y="1"/>
                    <a:pt x="13" y="0"/>
                    <a:pt x="18" y="0"/>
                  </a:cubicBezTo>
                  <a:cubicBezTo>
                    <a:pt x="28" y="0"/>
                    <a:pt x="34" y="4"/>
                    <a:pt x="34" y="14"/>
                  </a:cubicBezTo>
                  <a:cubicBezTo>
                    <a:pt x="34" y="30"/>
                    <a:pt x="34" y="30"/>
                    <a:pt x="34" y="30"/>
                  </a:cubicBezTo>
                  <a:cubicBezTo>
                    <a:pt x="34" y="36"/>
                    <a:pt x="34" y="39"/>
                    <a:pt x="35" y="41"/>
                  </a:cubicBezTo>
                  <a:lnTo>
                    <a:pt x="27" y="41"/>
                  </a:lnTo>
                  <a:close/>
                  <a:moveTo>
                    <a:pt x="24" y="22"/>
                  </a:moveTo>
                  <a:cubicBezTo>
                    <a:pt x="18" y="22"/>
                    <a:pt x="18" y="22"/>
                    <a:pt x="18" y="22"/>
                  </a:cubicBezTo>
                  <a:cubicBezTo>
                    <a:pt x="13" y="23"/>
                    <a:pt x="10" y="24"/>
                    <a:pt x="10" y="28"/>
                  </a:cubicBezTo>
                  <a:cubicBezTo>
                    <a:pt x="10" y="31"/>
                    <a:pt x="13" y="33"/>
                    <a:pt x="17" y="33"/>
                  </a:cubicBezTo>
                  <a:cubicBezTo>
                    <a:pt x="20" y="33"/>
                    <a:pt x="23" y="32"/>
                    <a:pt x="24" y="31"/>
                  </a:cubicBezTo>
                  <a:lnTo>
                    <a:pt x="24" y="22"/>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62" name="Freeform 161"/>
            <p:cNvSpPr>
              <a:spLocks noEditPoints="1"/>
            </p:cNvSpPr>
            <p:nvPr/>
          </p:nvSpPr>
          <p:spPr bwMode="auto">
            <a:xfrm>
              <a:off x="8363669" y="4383257"/>
              <a:ext cx="63591" cy="95234"/>
            </a:xfrm>
            <a:custGeom>
              <a:avLst/>
              <a:gdLst>
                <a:gd name="T0" fmla="*/ 22 w 38"/>
                <a:gd name="T1" fmla="*/ 60 h 60"/>
                <a:gd name="T2" fmla="*/ 0 w 38"/>
                <a:gd name="T3" fmla="*/ 40 h 60"/>
                <a:gd name="T4" fmla="*/ 22 w 38"/>
                <a:gd name="T5" fmla="*/ 19 h 60"/>
                <a:gd name="T6" fmla="*/ 27 w 38"/>
                <a:gd name="T7" fmla="*/ 19 h 60"/>
                <a:gd name="T8" fmla="*/ 28 w 38"/>
                <a:gd name="T9" fmla="*/ 0 h 60"/>
                <a:gd name="T10" fmla="*/ 38 w 38"/>
                <a:gd name="T11" fmla="*/ 0 h 60"/>
                <a:gd name="T12" fmla="*/ 37 w 38"/>
                <a:gd name="T13" fmla="*/ 57 h 60"/>
                <a:gd name="T14" fmla="*/ 22 w 38"/>
                <a:gd name="T15" fmla="*/ 60 h 60"/>
                <a:gd name="T16" fmla="*/ 27 w 38"/>
                <a:gd name="T17" fmla="*/ 27 h 60"/>
                <a:gd name="T18" fmla="*/ 23 w 38"/>
                <a:gd name="T19" fmla="*/ 27 h 60"/>
                <a:gd name="T20" fmla="*/ 10 w 38"/>
                <a:gd name="T21" fmla="*/ 39 h 60"/>
                <a:gd name="T22" fmla="*/ 23 w 38"/>
                <a:gd name="T23" fmla="*/ 52 h 60"/>
                <a:gd name="T24" fmla="*/ 27 w 38"/>
                <a:gd name="T25" fmla="*/ 51 h 60"/>
                <a:gd name="T26" fmla="*/ 27 w 38"/>
                <a:gd name="T27" fmla="*/ 2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60">
                  <a:moveTo>
                    <a:pt x="22" y="60"/>
                  </a:moveTo>
                  <a:cubicBezTo>
                    <a:pt x="10" y="60"/>
                    <a:pt x="0" y="53"/>
                    <a:pt x="0" y="40"/>
                  </a:cubicBezTo>
                  <a:cubicBezTo>
                    <a:pt x="0" y="28"/>
                    <a:pt x="9" y="19"/>
                    <a:pt x="22" y="19"/>
                  </a:cubicBezTo>
                  <a:cubicBezTo>
                    <a:pt x="24" y="19"/>
                    <a:pt x="26" y="19"/>
                    <a:pt x="27" y="19"/>
                  </a:cubicBezTo>
                  <a:cubicBezTo>
                    <a:pt x="28" y="0"/>
                    <a:pt x="28" y="0"/>
                    <a:pt x="28" y="0"/>
                  </a:cubicBezTo>
                  <a:cubicBezTo>
                    <a:pt x="38" y="0"/>
                    <a:pt x="38" y="0"/>
                    <a:pt x="38" y="0"/>
                  </a:cubicBezTo>
                  <a:cubicBezTo>
                    <a:pt x="37" y="57"/>
                    <a:pt x="37" y="57"/>
                    <a:pt x="37" y="57"/>
                  </a:cubicBezTo>
                  <a:cubicBezTo>
                    <a:pt x="34" y="59"/>
                    <a:pt x="29" y="60"/>
                    <a:pt x="22" y="60"/>
                  </a:cubicBezTo>
                  <a:close/>
                  <a:moveTo>
                    <a:pt x="27" y="27"/>
                  </a:moveTo>
                  <a:cubicBezTo>
                    <a:pt x="26" y="27"/>
                    <a:pt x="25" y="27"/>
                    <a:pt x="23" y="27"/>
                  </a:cubicBezTo>
                  <a:cubicBezTo>
                    <a:pt x="16" y="27"/>
                    <a:pt x="10" y="32"/>
                    <a:pt x="10" y="39"/>
                  </a:cubicBezTo>
                  <a:cubicBezTo>
                    <a:pt x="10" y="47"/>
                    <a:pt x="15" y="52"/>
                    <a:pt x="23" y="52"/>
                  </a:cubicBezTo>
                  <a:cubicBezTo>
                    <a:pt x="24" y="52"/>
                    <a:pt x="26" y="52"/>
                    <a:pt x="27" y="51"/>
                  </a:cubicBezTo>
                  <a:lnTo>
                    <a:pt x="27" y="2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63" name="Freeform 162"/>
            <p:cNvSpPr>
              <a:spLocks/>
            </p:cNvSpPr>
            <p:nvPr/>
          </p:nvSpPr>
          <p:spPr bwMode="auto">
            <a:xfrm>
              <a:off x="8114724" y="4383257"/>
              <a:ext cx="16722" cy="95234"/>
            </a:xfrm>
            <a:custGeom>
              <a:avLst/>
              <a:gdLst>
                <a:gd name="T0" fmla="*/ 10 w 10"/>
                <a:gd name="T1" fmla="*/ 53 h 60"/>
                <a:gd name="T2" fmla="*/ 0 w 10"/>
                <a:gd name="T3" fmla="*/ 60 h 60"/>
                <a:gd name="T4" fmla="*/ 0 w 10"/>
                <a:gd name="T5" fmla="*/ 0 h 60"/>
                <a:gd name="T6" fmla="*/ 10 w 10"/>
                <a:gd name="T7" fmla="*/ 0 h 60"/>
                <a:gd name="T8" fmla="*/ 10 w 10"/>
                <a:gd name="T9" fmla="*/ 53 h 60"/>
              </a:gdLst>
              <a:ahLst/>
              <a:cxnLst>
                <a:cxn ang="0">
                  <a:pos x="T0" y="T1"/>
                </a:cxn>
                <a:cxn ang="0">
                  <a:pos x="T2" y="T3"/>
                </a:cxn>
                <a:cxn ang="0">
                  <a:pos x="T4" y="T5"/>
                </a:cxn>
                <a:cxn ang="0">
                  <a:pos x="T6" y="T7"/>
                </a:cxn>
                <a:cxn ang="0">
                  <a:pos x="T8" y="T9"/>
                </a:cxn>
              </a:cxnLst>
              <a:rect l="0" t="0" r="r" b="b"/>
              <a:pathLst>
                <a:path w="10" h="60">
                  <a:moveTo>
                    <a:pt x="10" y="53"/>
                  </a:moveTo>
                  <a:cubicBezTo>
                    <a:pt x="10" y="60"/>
                    <a:pt x="0" y="60"/>
                    <a:pt x="0" y="60"/>
                  </a:cubicBezTo>
                  <a:cubicBezTo>
                    <a:pt x="0" y="0"/>
                    <a:pt x="0" y="0"/>
                    <a:pt x="0" y="0"/>
                  </a:cubicBezTo>
                  <a:cubicBezTo>
                    <a:pt x="10" y="0"/>
                    <a:pt x="10" y="0"/>
                    <a:pt x="10" y="0"/>
                  </a:cubicBezTo>
                  <a:cubicBezTo>
                    <a:pt x="10" y="0"/>
                    <a:pt x="10" y="45"/>
                    <a:pt x="10" y="53"/>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64" name="Freeform 163"/>
            <p:cNvSpPr>
              <a:spLocks/>
            </p:cNvSpPr>
            <p:nvPr/>
          </p:nvSpPr>
          <p:spPr bwMode="auto">
            <a:xfrm>
              <a:off x="8081279" y="4383257"/>
              <a:ext cx="16722" cy="95234"/>
            </a:xfrm>
            <a:custGeom>
              <a:avLst/>
              <a:gdLst>
                <a:gd name="T0" fmla="*/ 10 w 10"/>
                <a:gd name="T1" fmla="*/ 53 h 60"/>
                <a:gd name="T2" fmla="*/ 0 w 10"/>
                <a:gd name="T3" fmla="*/ 60 h 60"/>
                <a:gd name="T4" fmla="*/ 0 w 10"/>
                <a:gd name="T5" fmla="*/ 0 h 60"/>
                <a:gd name="T6" fmla="*/ 10 w 10"/>
                <a:gd name="T7" fmla="*/ 0 h 60"/>
                <a:gd name="T8" fmla="*/ 10 w 10"/>
                <a:gd name="T9" fmla="*/ 53 h 60"/>
              </a:gdLst>
              <a:ahLst/>
              <a:cxnLst>
                <a:cxn ang="0">
                  <a:pos x="T0" y="T1"/>
                </a:cxn>
                <a:cxn ang="0">
                  <a:pos x="T2" y="T3"/>
                </a:cxn>
                <a:cxn ang="0">
                  <a:pos x="T4" y="T5"/>
                </a:cxn>
                <a:cxn ang="0">
                  <a:pos x="T6" y="T7"/>
                </a:cxn>
                <a:cxn ang="0">
                  <a:pos x="T8" y="T9"/>
                </a:cxn>
              </a:cxnLst>
              <a:rect l="0" t="0" r="r" b="b"/>
              <a:pathLst>
                <a:path w="10" h="60">
                  <a:moveTo>
                    <a:pt x="10" y="53"/>
                  </a:moveTo>
                  <a:cubicBezTo>
                    <a:pt x="10" y="60"/>
                    <a:pt x="0" y="60"/>
                    <a:pt x="0" y="60"/>
                  </a:cubicBezTo>
                  <a:cubicBezTo>
                    <a:pt x="0" y="0"/>
                    <a:pt x="0" y="0"/>
                    <a:pt x="0" y="0"/>
                  </a:cubicBezTo>
                  <a:cubicBezTo>
                    <a:pt x="10" y="0"/>
                    <a:pt x="10" y="0"/>
                    <a:pt x="10" y="0"/>
                  </a:cubicBezTo>
                  <a:cubicBezTo>
                    <a:pt x="10" y="0"/>
                    <a:pt x="10" y="45"/>
                    <a:pt x="10" y="53"/>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65" name="Freeform 164"/>
            <p:cNvSpPr>
              <a:spLocks/>
            </p:cNvSpPr>
            <p:nvPr/>
          </p:nvSpPr>
          <p:spPr bwMode="auto">
            <a:xfrm>
              <a:off x="8318450" y="4413518"/>
              <a:ext cx="43571" cy="64973"/>
            </a:xfrm>
            <a:custGeom>
              <a:avLst/>
              <a:gdLst>
                <a:gd name="T0" fmla="*/ 22 w 26"/>
                <a:gd name="T1" fmla="*/ 10 h 41"/>
                <a:gd name="T2" fmla="*/ 18 w 26"/>
                <a:gd name="T3" fmla="*/ 9 h 41"/>
                <a:gd name="T4" fmla="*/ 10 w 26"/>
                <a:gd name="T5" fmla="*/ 12 h 41"/>
                <a:gd name="T6" fmla="*/ 10 w 26"/>
                <a:gd name="T7" fmla="*/ 34 h 41"/>
                <a:gd name="T8" fmla="*/ 0 w 26"/>
                <a:gd name="T9" fmla="*/ 41 h 41"/>
                <a:gd name="T10" fmla="*/ 0 w 26"/>
                <a:gd name="T11" fmla="*/ 1 h 41"/>
                <a:gd name="T12" fmla="*/ 9 w 26"/>
                <a:gd name="T13" fmla="*/ 1 h 41"/>
                <a:gd name="T14" fmla="*/ 10 w 26"/>
                <a:gd name="T15" fmla="*/ 5 h 41"/>
                <a:gd name="T16" fmla="*/ 21 w 26"/>
                <a:gd name="T17" fmla="*/ 0 h 41"/>
                <a:gd name="T18" fmla="*/ 26 w 26"/>
                <a:gd name="T19" fmla="*/ 2 h 41"/>
                <a:gd name="T20" fmla="*/ 22 w 26"/>
                <a:gd name="T21" fmla="*/ 1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41">
                  <a:moveTo>
                    <a:pt x="22" y="10"/>
                  </a:moveTo>
                  <a:cubicBezTo>
                    <a:pt x="21" y="9"/>
                    <a:pt x="19" y="9"/>
                    <a:pt x="18" y="9"/>
                  </a:cubicBezTo>
                  <a:cubicBezTo>
                    <a:pt x="15" y="9"/>
                    <a:pt x="13" y="10"/>
                    <a:pt x="10" y="12"/>
                  </a:cubicBezTo>
                  <a:cubicBezTo>
                    <a:pt x="10" y="12"/>
                    <a:pt x="10" y="26"/>
                    <a:pt x="10" y="34"/>
                  </a:cubicBezTo>
                  <a:cubicBezTo>
                    <a:pt x="10" y="41"/>
                    <a:pt x="0" y="41"/>
                    <a:pt x="0" y="41"/>
                  </a:cubicBezTo>
                  <a:cubicBezTo>
                    <a:pt x="0" y="1"/>
                    <a:pt x="0" y="1"/>
                    <a:pt x="0" y="1"/>
                  </a:cubicBezTo>
                  <a:cubicBezTo>
                    <a:pt x="9" y="1"/>
                    <a:pt x="9" y="1"/>
                    <a:pt x="9" y="1"/>
                  </a:cubicBezTo>
                  <a:cubicBezTo>
                    <a:pt x="10" y="5"/>
                    <a:pt x="10" y="5"/>
                    <a:pt x="10" y="5"/>
                  </a:cubicBezTo>
                  <a:cubicBezTo>
                    <a:pt x="14" y="2"/>
                    <a:pt x="17" y="0"/>
                    <a:pt x="21" y="0"/>
                  </a:cubicBezTo>
                  <a:cubicBezTo>
                    <a:pt x="23" y="0"/>
                    <a:pt x="25" y="1"/>
                    <a:pt x="26" y="2"/>
                  </a:cubicBezTo>
                  <a:lnTo>
                    <a:pt x="22" y="1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66" name="Freeform 165"/>
            <p:cNvSpPr>
              <a:spLocks/>
            </p:cNvSpPr>
            <p:nvPr/>
          </p:nvSpPr>
          <p:spPr bwMode="auto">
            <a:xfrm>
              <a:off x="7929133" y="4383257"/>
              <a:ext cx="98684" cy="93677"/>
            </a:xfrm>
            <a:custGeom>
              <a:avLst/>
              <a:gdLst>
                <a:gd name="T0" fmla="*/ 48 w 59"/>
                <a:gd name="T1" fmla="*/ 59 h 59"/>
                <a:gd name="T2" fmla="*/ 48 w 59"/>
                <a:gd name="T3" fmla="*/ 24 h 59"/>
                <a:gd name="T4" fmla="*/ 49 w 59"/>
                <a:gd name="T5" fmla="*/ 18 h 59"/>
                <a:gd name="T6" fmla="*/ 48 w 59"/>
                <a:gd name="T7" fmla="*/ 18 h 59"/>
                <a:gd name="T8" fmla="*/ 45 w 59"/>
                <a:gd name="T9" fmla="*/ 24 h 59"/>
                <a:gd name="T10" fmla="*/ 33 w 59"/>
                <a:gd name="T11" fmla="*/ 42 h 59"/>
                <a:gd name="T12" fmla="*/ 28 w 59"/>
                <a:gd name="T13" fmla="*/ 42 h 59"/>
                <a:gd name="T14" fmla="*/ 14 w 59"/>
                <a:gd name="T15" fmla="*/ 23 h 59"/>
                <a:gd name="T16" fmla="*/ 11 w 59"/>
                <a:gd name="T17" fmla="*/ 18 h 59"/>
                <a:gd name="T18" fmla="*/ 11 w 59"/>
                <a:gd name="T19" fmla="*/ 18 h 59"/>
                <a:gd name="T20" fmla="*/ 11 w 59"/>
                <a:gd name="T21" fmla="*/ 24 h 59"/>
                <a:gd name="T22" fmla="*/ 11 w 59"/>
                <a:gd name="T23" fmla="*/ 59 h 59"/>
                <a:gd name="T24" fmla="*/ 0 w 59"/>
                <a:gd name="T25" fmla="*/ 59 h 59"/>
                <a:gd name="T26" fmla="*/ 0 w 59"/>
                <a:gd name="T27" fmla="*/ 0 h 59"/>
                <a:gd name="T28" fmla="*/ 10 w 59"/>
                <a:gd name="T29" fmla="*/ 0 h 59"/>
                <a:gd name="T30" fmla="*/ 26 w 59"/>
                <a:gd name="T31" fmla="*/ 24 h 59"/>
                <a:gd name="T32" fmla="*/ 30 w 59"/>
                <a:gd name="T33" fmla="*/ 30 h 59"/>
                <a:gd name="T34" fmla="*/ 30 w 59"/>
                <a:gd name="T35" fmla="*/ 30 h 59"/>
                <a:gd name="T36" fmla="*/ 34 w 59"/>
                <a:gd name="T37" fmla="*/ 24 h 59"/>
                <a:gd name="T38" fmla="*/ 49 w 59"/>
                <a:gd name="T39" fmla="*/ 0 h 59"/>
                <a:gd name="T40" fmla="*/ 59 w 59"/>
                <a:gd name="T41" fmla="*/ 0 h 59"/>
                <a:gd name="T42" fmla="*/ 59 w 59"/>
                <a:gd name="T43" fmla="*/ 59 h 59"/>
                <a:gd name="T44" fmla="*/ 48 w 59"/>
                <a:gd name="T4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9" h="59">
                  <a:moveTo>
                    <a:pt x="48" y="59"/>
                  </a:moveTo>
                  <a:cubicBezTo>
                    <a:pt x="48" y="24"/>
                    <a:pt x="48" y="24"/>
                    <a:pt x="48" y="24"/>
                  </a:cubicBezTo>
                  <a:cubicBezTo>
                    <a:pt x="48" y="22"/>
                    <a:pt x="48" y="20"/>
                    <a:pt x="49" y="18"/>
                  </a:cubicBezTo>
                  <a:cubicBezTo>
                    <a:pt x="48" y="18"/>
                    <a:pt x="48" y="18"/>
                    <a:pt x="48" y="18"/>
                  </a:cubicBezTo>
                  <a:cubicBezTo>
                    <a:pt x="48" y="19"/>
                    <a:pt x="46" y="22"/>
                    <a:pt x="45" y="24"/>
                  </a:cubicBezTo>
                  <a:cubicBezTo>
                    <a:pt x="33" y="42"/>
                    <a:pt x="33" y="42"/>
                    <a:pt x="33" y="42"/>
                  </a:cubicBezTo>
                  <a:cubicBezTo>
                    <a:pt x="28" y="42"/>
                    <a:pt x="28" y="42"/>
                    <a:pt x="28" y="42"/>
                  </a:cubicBezTo>
                  <a:cubicBezTo>
                    <a:pt x="14" y="23"/>
                    <a:pt x="14" y="23"/>
                    <a:pt x="14" y="23"/>
                  </a:cubicBezTo>
                  <a:cubicBezTo>
                    <a:pt x="13" y="22"/>
                    <a:pt x="12" y="20"/>
                    <a:pt x="11" y="18"/>
                  </a:cubicBezTo>
                  <a:cubicBezTo>
                    <a:pt x="11" y="18"/>
                    <a:pt x="11" y="18"/>
                    <a:pt x="11" y="18"/>
                  </a:cubicBezTo>
                  <a:cubicBezTo>
                    <a:pt x="11" y="20"/>
                    <a:pt x="11" y="22"/>
                    <a:pt x="11" y="24"/>
                  </a:cubicBezTo>
                  <a:cubicBezTo>
                    <a:pt x="11" y="59"/>
                    <a:pt x="11" y="59"/>
                    <a:pt x="11" y="59"/>
                  </a:cubicBezTo>
                  <a:cubicBezTo>
                    <a:pt x="0" y="59"/>
                    <a:pt x="0" y="59"/>
                    <a:pt x="0" y="59"/>
                  </a:cubicBezTo>
                  <a:cubicBezTo>
                    <a:pt x="0" y="0"/>
                    <a:pt x="0" y="0"/>
                    <a:pt x="0" y="0"/>
                  </a:cubicBezTo>
                  <a:cubicBezTo>
                    <a:pt x="10" y="0"/>
                    <a:pt x="10" y="0"/>
                    <a:pt x="10" y="0"/>
                  </a:cubicBezTo>
                  <a:cubicBezTo>
                    <a:pt x="26" y="24"/>
                    <a:pt x="26" y="24"/>
                    <a:pt x="26" y="24"/>
                  </a:cubicBezTo>
                  <a:cubicBezTo>
                    <a:pt x="28" y="26"/>
                    <a:pt x="29" y="28"/>
                    <a:pt x="30" y="30"/>
                  </a:cubicBezTo>
                  <a:cubicBezTo>
                    <a:pt x="30" y="30"/>
                    <a:pt x="30" y="30"/>
                    <a:pt x="30" y="30"/>
                  </a:cubicBezTo>
                  <a:cubicBezTo>
                    <a:pt x="31" y="28"/>
                    <a:pt x="32" y="26"/>
                    <a:pt x="34" y="24"/>
                  </a:cubicBezTo>
                  <a:cubicBezTo>
                    <a:pt x="49" y="0"/>
                    <a:pt x="49" y="0"/>
                    <a:pt x="49" y="0"/>
                  </a:cubicBezTo>
                  <a:cubicBezTo>
                    <a:pt x="59" y="0"/>
                    <a:pt x="59" y="0"/>
                    <a:pt x="59" y="0"/>
                  </a:cubicBezTo>
                  <a:cubicBezTo>
                    <a:pt x="59" y="59"/>
                    <a:pt x="59" y="59"/>
                    <a:pt x="59" y="59"/>
                  </a:cubicBezTo>
                  <a:lnTo>
                    <a:pt x="48" y="5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67" name="Freeform 166"/>
            <p:cNvSpPr>
              <a:spLocks noEditPoints="1"/>
            </p:cNvSpPr>
            <p:nvPr/>
          </p:nvSpPr>
          <p:spPr bwMode="auto">
            <a:xfrm>
              <a:off x="8044539" y="4386372"/>
              <a:ext cx="21668" cy="92119"/>
            </a:xfrm>
            <a:custGeom>
              <a:avLst/>
              <a:gdLst>
                <a:gd name="T0" fmla="*/ 6 w 13"/>
                <a:gd name="T1" fmla="*/ 12 h 58"/>
                <a:gd name="T2" fmla="*/ 0 w 13"/>
                <a:gd name="T3" fmla="*/ 6 h 58"/>
                <a:gd name="T4" fmla="*/ 6 w 13"/>
                <a:gd name="T5" fmla="*/ 0 h 58"/>
                <a:gd name="T6" fmla="*/ 13 w 13"/>
                <a:gd name="T7" fmla="*/ 6 h 58"/>
                <a:gd name="T8" fmla="*/ 6 w 13"/>
                <a:gd name="T9" fmla="*/ 12 h 58"/>
                <a:gd name="T10" fmla="*/ 1 w 13"/>
                <a:gd name="T11" fmla="*/ 58 h 58"/>
                <a:gd name="T12" fmla="*/ 1 w 13"/>
                <a:gd name="T13" fmla="*/ 18 h 58"/>
                <a:gd name="T14" fmla="*/ 11 w 13"/>
                <a:gd name="T15" fmla="*/ 18 h 58"/>
                <a:gd name="T16" fmla="*/ 11 w 13"/>
                <a:gd name="T17" fmla="*/ 51 h 58"/>
                <a:gd name="T18" fmla="*/ 1 w 13"/>
                <a:gd name="T19"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58">
                  <a:moveTo>
                    <a:pt x="6" y="12"/>
                  </a:moveTo>
                  <a:cubicBezTo>
                    <a:pt x="3" y="12"/>
                    <a:pt x="0" y="9"/>
                    <a:pt x="0" y="6"/>
                  </a:cubicBezTo>
                  <a:cubicBezTo>
                    <a:pt x="0" y="2"/>
                    <a:pt x="3" y="0"/>
                    <a:pt x="6" y="0"/>
                  </a:cubicBezTo>
                  <a:cubicBezTo>
                    <a:pt x="10" y="0"/>
                    <a:pt x="13" y="2"/>
                    <a:pt x="13" y="6"/>
                  </a:cubicBezTo>
                  <a:cubicBezTo>
                    <a:pt x="13" y="9"/>
                    <a:pt x="10" y="12"/>
                    <a:pt x="6" y="12"/>
                  </a:cubicBezTo>
                  <a:close/>
                  <a:moveTo>
                    <a:pt x="1" y="58"/>
                  </a:moveTo>
                  <a:cubicBezTo>
                    <a:pt x="1" y="18"/>
                    <a:pt x="1" y="18"/>
                    <a:pt x="1" y="18"/>
                  </a:cubicBezTo>
                  <a:cubicBezTo>
                    <a:pt x="11" y="18"/>
                    <a:pt x="11" y="18"/>
                    <a:pt x="11" y="18"/>
                  </a:cubicBezTo>
                  <a:cubicBezTo>
                    <a:pt x="11" y="18"/>
                    <a:pt x="11" y="43"/>
                    <a:pt x="11" y="51"/>
                  </a:cubicBezTo>
                  <a:cubicBezTo>
                    <a:pt x="11" y="58"/>
                    <a:pt x="1" y="58"/>
                    <a:pt x="1" y="58"/>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68" name="Freeform 167"/>
            <p:cNvSpPr>
              <a:spLocks/>
            </p:cNvSpPr>
            <p:nvPr/>
          </p:nvSpPr>
          <p:spPr bwMode="auto">
            <a:xfrm>
              <a:off x="8224947" y="4510310"/>
              <a:ext cx="13425" cy="79436"/>
            </a:xfrm>
            <a:custGeom>
              <a:avLst/>
              <a:gdLst>
                <a:gd name="T0" fmla="*/ 8 w 8"/>
                <a:gd name="T1" fmla="*/ 44 h 50"/>
                <a:gd name="T2" fmla="*/ 0 w 8"/>
                <a:gd name="T3" fmla="*/ 50 h 50"/>
                <a:gd name="T4" fmla="*/ 0 w 8"/>
                <a:gd name="T5" fmla="*/ 0 h 50"/>
                <a:gd name="T6" fmla="*/ 8 w 8"/>
                <a:gd name="T7" fmla="*/ 0 h 50"/>
                <a:gd name="T8" fmla="*/ 8 w 8"/>
                <a:gd name="T9" fmla="*/ 44 h 50"/>
              </a:gdLst>
              <a:ahLst/>
              <a:cxnLst>
                <a:cxn ang="0">
                  <a:pos x="T0" y="T1"/>
                </a:cxn>
                <a:cxn ang="0">
                  <a:pos x="T2" y="T3"/>
                </a:cxn>
                <a:cxn ang="0">
                  <a:pos x="T4" y="T5"/>
                </a:cxn>
                <a:cxn ang="0">
                  <a:pos x="T6" y="T7"/>
                </a:cxn>
                <a:cxn ang="0">
                  <a:pos x="T8" y="T9"/>
                </a:cxn>
              </a:cxnLst>
              <a:rect l="0" t="0" r="r" b="b"/>
              <a:pathLst>
                <a:path w="8" h="50">
                  <a:moveTo>
                    <a:pt x="8" y="44"/>
                  </a:moveTo>
                  <a:cubicBezTo>
                    <a:pt x="8" y="50"/>
                    <a:pt x="0" y="50"/>
                    <a:pt x="0" y="50"/>
                  </a:cubicBezTo>
                  <a:cubicBezTo>
                    <a:pt x="0" y="0"/>
                    <a:pt x="0" y="0"/>
                    <a:pt x="0" y="0"/>
                  </a:cubicBezTo>
                  <a:cubicBezTo>
                    <a:pt x="8" y="0"/>
                    <a:pt x="8" y="0"/>
                    <a:pt x="8" y="0"/>
                  </a:cubicBezTo>
                  <a:cubicBezTo>
                    <a:pt x="8" y="0"/>
                    <a:pt x="8" y="37"/>
                    <a:pt x="8"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9" name="Freeform 168"/>
            <p:cNvSpPr>
              <a:spLocks noEditPoints="1"/>
            </p:cNvSpPr>
            <p:nvPr/>
          </p:nvSpPr>
          <p:spPr bwMode="auto">
            <a:xfrm>
              <a:off x="8007562" y="4513425"/>
              <a:ext cx="18371" cy="76321"/>
            </a:xfrm>
            <a:custGeom>
              <a:avLst/>
              <a:gdLst>
                <a:gd name="T0" fmla="*/ 5 w 11"/>
                <a:gd name="T1" fmla="*/ 10 h 48"/>
                <a:gd name="T2" fmla="*/ 0 w 11"/>
                <a:gd name="T3" fmla="*/ 5 h 48"/>
                <a:gd name="T4" fmla="*/ 5 w 11"/>
                <a:gd name="T5" fmla="*/ 0 h 48"/>
                <a:gd name="T6" fmla="*/ 11 w 11"/>
                <a:gd name="T7" fmla="*/ 5 h 48"/>
                <a:gd name="T8" fmla="*/ 5 w 11"/>
                <a:gd name="T9" fmla="*/ 10 h 48"/>
                <a:gd name="T10" fmla="*/ 1 w 11"/>
                <a:gd name="T11" fmla="*/ 48 h 48"/>
                <a:gd name="T12" fmla="*/ 1 w 11"/>
                <a:gd name="T13" fmla="*/ 15 h 48"/>
                <a:gd name="T14" fmla="*/ 10 w 11"/>
                <a:gd name="T15" fmla="*/ 15 h 48"/>
                <a:gd name="T16" fmla="*/ 10 w 11"/>
                <a:gd name="T17" fmla="*/ 42 h 48"/>
                <a:gd name="T18" fmla="*/ 1 w 11"/>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48">
                  <a:moveTo>
                    <a:pt x="5" y="10"/>
                  </a:moveTo>
                  <a:cubicBezTo>
                    <a:pt x="3" y="10"/>
                    <a:pt x="0" y="7"/>
                    <a:pt x="0" y="5"/>
                  </a:cubicBezTo>
                  <a:cubicBezTo>
                    <a:pt x="0" y="2"/>
                    <a:pt x="3" y="0"/>
                    <a:pt x="5" y="0"/>
                  </a:cubicBezTo>
                  <a:cubicBezTo>
                    <a:pt x="8" y="0"/>
                    <a:pt x="11" y="2"/>
                    <a:pt x="11" y="5"/>
                  </a:cubicBezTo>
                  <a:cubicBezTo>
                    <a:pt x="11" y="7"/>
                    <a:pt x="8" y="10"/>
                    <a:pt x="5" y="10"/>
                  </a:cubicBezTo>
                  <a:close/>
                  <a:moveTo>
                    <a:pt x="1" y="48"/>
                  </a:moveTo>
                  <a:cubicBezTo>
                    <a:pt x="1" y="15"/>
                    <a:pt x="1" y="15"/>
                    <a:pt x="1" y="15"/>
                  </a:cubicBezTo>
                  <a:cubicBezTo>
                    <a:pt x="10" y="15"/>
                    <a:pt x="10" y="15"/>
                    <a:pt x="10" y="15"/>
                  </a:cubicBezTo>
                  <a:cubicBezTo>
                    <a:pt x="10" y="15"/>
                    <a:pt x="10" y="36"/>
                    <a:pt x="10" y="42"/>
                  </a:cubicBezTo>
                  <a:cubicBezTo>
                    <a:pt x="10" y="48"/>
                    <a:pt x="1" y="48"/>
                    <a:pt x="1"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0" name="Freeform 169"/>
            <p:cNvSpPr>
              <a:spLocks noEditPoints="1"/>
            </p:cNvSpPr>
            <p:nvPr/>
          </p:nvSpPr>
          <p:spPr bwMode="auto">
            <a:xfrm>
              <a:off x="8094469" y="4513425"/>
              <a:ext cx="16722" cy="76321"/>
            </a:xfrm>
            <a:custGeom>
              <a:avLst/>
              <a:gdLst>
                <a:gd name="T0" fmla="*/ 5 w 10"/>
                <a:gd name="T1" fmla="*/ 10 h 48"/>
                <a:gd name="T2" fmla="*/ 0 w 10"/>
                <a:gd name="T3" fmla="*/ 5 h 48"/>
                <a:gd name="T4" fmla="*/ 5 w 10"/>
                <a:gd name="T5" fmla="*/ 0 h 48"/>
                <a:gd name="T6" fmla="*/ 10 w 10"/>
                <a:gd name="T7" fmla="*/ 5 h 48"/>
                <a:gd name="T8" fmla="*/ 5 w 10"/>
                <a:gd name="T9" fmla="*/ 10 h 48"/>
                <a:gd name="T10" fmla="*/ 1 w 10"/>
                <a:gd name="T11" fmla="*/ 48 h 48"/>
                <a:gd name="T12" fmla="*/ 1 w 10"/>
                <a:gd name="T13" fmla="*/ 15 h 48"/>
                <a:gd name="T14" fmla="*/ 9 w 10"/>
                <a:gd name="T15" fmla="*/ 15 h 48"/>
                <a:gd name="T16" fmla="*/ 9 w 10"/>
                <a:gd name="T17" fmla="*/ 42 h 48"/>
                <a:gd name="T18" fmla="*/ 1 w 10"/>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48">
                  <a:moveTo>
                    <a:pt x="5" y="10"/>
                  </a:moveTo>
                  <a:cubicBezTo>
                    <a:pt x="2" y="10"/>
                    <a:pt x="0" y="8"/>
                    <a:pt x="0" y="5"/>
                  </a:cubicBezTo>
                  <a:cubicBezTo>
                    <a:pt x="0" y="2"/>
                    <a:pt x="2" y="0"/>
                    <a:pt x="5" y="0"/>
                  </a:cubicBezTo>
                  <a:cubicBezTo>
                    <a:pt x="8" y="0"/>
                    <a:pt x="10" y="2"/>
                    <a:pt x="10" y="5"/>
                  </a:cubicBezTo>
                  <a:cubicBezTo>
                    <a:pt x="10" y="8"/>
                    <a:pt x="8" y="10"/>
                    <a:pt x="5" y="10"/>
                  </a:cubicBezTo>
                  <a:close/>
                  <a:moveTo>
                    <a:pt x="1" y="48"/>
                  </a:moveTo>
                  <a:cubicBezTo>
                    <a:pt x="1" y="15"/>
                    <a:pt x="1" y="15"/>
                    <a:pt x="1" y="15"/>
                  </a:cubicBezTo>
                  <a:cubicBezTo>
                    <a:pt x="9" y="15"/>
                    <a:pt x="9" y="15"/>
                    <a:pt x="9" y="15"/>
                  </a:cubicBezTo>
                  <a:cubicBezTo>
                    <a:pt x="9" y="15"/>
                    <a:pt x="9" y="36"/>
                    <a:pt x="9" y="42"/>
                  </a:cubicBezTo>
                  <a:cubicBezTo>
                    <a:pt x="9" y="48"/>
                    <a:pt x="1" y="48"/>
                    <a:pt x="1"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 name="Freeform 170"/>
            <p:cNvSpPr>
              <a:spLocks noEditPoints="1"/>
            </p:cNvSpPr>
            <p:nvPr/>
          </p:nvSpPr>
          <p:spPr bwMode="auto">
            <a:xfrm>
              <a:off x="7929133" y="4510310"/>
              <a:ext cx="70185" cy="77879"/>
            </a:xfrm>
            <a:custGeom>
              <a:avLst/>
              <a:gdLst>
                <a:gd name="T0" fmla="*/ 0 w 42"/>
                <a:gd name="T1" fmla="*/ 0 h 49"/>
                <a:gd name="T2" fmla="*/ 15 w 42"/>
                <a:gd name="T3" fmla="*/ 0 h 49"/>
                <a:gd name="T4" fmla="*/ 42 w 42"/>
                <a:gd name="T5" fmla="*/ 25 h 49"/>
                <a:gd name="T6" fmla="*/ 14 w 42"/>
                <a:gd name="T7" fmla="*/ 49 h 49"/>
                <a:gd name="T8" fmla="*/ 0 w 42"/>
                <a:gd name="T9" fmla="*/ 49 h 49"/>
                <a:gd name="T10" fmla="*/ 0 w 42"/>
                <a:gd name="T11" fmla="*/ 0 h 49"/>
                <a:gd name="T12" fmla="*/ 14 w 42"/>
                <a:gd name="T13" fmla="*/ 42 h 49"/>
                <a:gd name="T14" fmla="*/ 32 w 42"/>
                <a:gd name="T15" fmla="*/ 25 h 49"/>
                <a:gd name="T16" fmla="*/ 14 w 42"/>
                <a:gd name="T17" fmla="*/ 8 h 49"/>
                <a:gd name="T18" fmla="*/ 8 w 42"/>
                <a:gd name="T19" fmla="*/ 8 h 49"/>
                <a:gd name="T20" fmla="*/ 8 w 42"/>
                <a:gd name="T21" fmla="*/ 42 h 49"/>
                <a:gd name="T22" fmla="*/ 14 w 42"/>
                <a:gd name="T23" fmla="*/ 4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49">
                  <a:moveTo>
                    <a:pt x="0" y="0"/>
                  </a:moveTo>
                  <a:cubicBezTo>
                    <a:pt x="15" y="0"/>
                    <a:pt x="15" y="0"/>
                    <a:pt x="15" y="0"/>
                  </a:cubicBezTo>
                  <a:cubicBezTo>
                    <a:pt x="32" y="0"/>
                    <a:pt x="42" y="10"/>
                    <a:pt x="42" y="25"/>
                  </a:cubicBezTo>
                  <a:cubicBezTo>
                    <a:pt x="42" y="40"/>
                    <a:pt x="31" y="49"/>
                    <a:pt x="14" y="49"/>
                  </a:cubicBezTo>
                  <a:cubicBezTo>
                    <a:pt x="0" y="49"/>
                    <a:pt x="0" y="49"/>
                    <a:pt x="0" y="49"/>
                  </a:cubicBezTo>
                  <a:lnTo>
                    <a:pt x="0" y="0"/>
                  </a:lnTo>
                  <a:close/>
                  <a:moveTo>
                    <a:pt x="14" y="42"/>
                  </a:moveTo>
                  <a:cubicBezTo>
                    <a:pt x="27" y="42"/>
                    <a:pt x="32" y="34"/>
                    <a:pt x="32" y="25"/>
                  </a:cubicBezTo>
                  <a:cubicBezTo>
                    <a:pt x="32" y="15"/>
                    <a:pt x="26" y="8"/>
                    <a:pt x="14" y="8"/>
                  </a:cubicBezTo>
                  <a:cubicBezTo>
                    <a:pt x="8" y="8"/>
                    <a:pt x="8" y="8"/>
                    <a:pt x="8" y="8"/>
                  </a:cubicBezTo>
                  <a:cubicBezTo>
                    <a:pt x="8" y="42"/>
                    <a:pt x="8" y="42"/>
                    <a:pt x="8" y="42"/>
                  </a:cubicBezTo>
                  <a:lnTo>
                    <a:pt x="1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2" name="Freeform 171"/>
            <p:cNvSpPr>
              <a:spLocks noEditPoints="1"/>
            </p:cNvSpPr>
            <p:nvPr/>
          </p:nvSpPr>
          <p:spPr bwMode="auto">
            <a:xfrm>
              <a:off x="8031114" y="4529223"/>
              <a:ext cx="58409" cy="87447"/>
            </a:xfrm>
            <a:custGeom>
              <a:avLst/>
              <a:gdLst>
                <a:gd name="T0" fmla="*/ 0 w 35"/>
                <a:gd name="T1" fmla="*/ 45 h 55"/>
                <a:gd name="T2" fmla="*/ 6 w 35"/>
                <a:gd name="T3" fmla="*/ 37 h 55"/>
                <a:gd name="T4" fmla="*/ 4 w 35"/>
                <a:gd name="T5" fmla="*/ 32 h 55"/>
                <a:gd name="T6" fmla="*/ 8 w 35"/>
                <a:gd name="T7" fmla="*/ 26 h 55"/>
                <a:gd name="T8" fmla="*/ 2 w 35"/>
                <a:gd name="T9" fmla="*/ 15 h 55"/>
                <a:gd name="T10" fmla="*/ 16 w 35"/>
                <a:gd name="T11" fmla="*/ 2 h 55"/>
                <a:gd name="T12" fmla="*/ 23 w 35"/>
                <a:gd name="T13" fmla="*/ 3 h 55"/>
                <a:gd name="T14" fmla="*/ 24 w 35"/>
                <a:gd name="T15" fmla="*/ 3 h 55"/>
                <a:gd name="T16" fmla="*/ 33 w 35"/>
                <a:gd name="T17" fmla="*/ 0 h 55"/>
                <a:gd name="T18" fmla="*/ 35 w 35"/>
                <a:gd name="T19" fmla="*/ 0 h 55"/>
                <a:gd name="T20" fmla="*/ 33 w 35"/>
                <a:gd name="T21" fmla="*/ 7 h 55"/>
                <a:gd name="T22" fmla="*/ 31 w 35"/>
                <a:gd name="T23" fmla="*/ 6 h 55"/>
                <a:gd name="T24" fmla="*/ 28 w 35"/>
                <a:gd name="T25" fmla="*/ 7 h 55"/>
                <a:gd name="T26" fmla="*/ 31 w 35"/>
                <a:gd name="T27" fmla="*/ 15 h 55"/>
                <a:gd name="T28" fmla="*/ 17 w 35"/>
                <a:gd name="T29" fmla="*/ 28 h 55"/>
                <a:gd name="T30" fmla="*/ 12 w 35"/>
                <a:gd name="T31" fmla="*/ 28 h 55"/>
                <a:gd name="T32" fmla="*/ 12 w 35"/>
                <a:gd name="T33" fmla="*/ 30 h 55"/>
                <a:gd name="T34" fmla="*/ 35 w 35"/>
                <a:gd name="T35" fmla="*/ 44 h 55"/>
                <a:gd name="T36" fmla="*/ 16 w 35"/>
                <a:gd name="T37" fmla="*/ 55 h 55"/>
                <a:gd name="T38" fmla="*/ 0 w 35"/>
                <a:gd name="T39" fmla="*/ 45 h 55"/>
                <a:gd name="T40" fmla="*/ 26 w 35"/>
                <a:gd name="T41" fmla="*/ 45 h 55"/>
                <a:gd name="T42" fmla="*/ 10 w 35"/>
                <a:gd name="T43" fmla="*/ 39 h 55"/>
                <a:gd name="T44" fmla="*/ 8 w 35"/>
                <a:gd name="T45" fmla="*/ 44 h 55"/>
                <a:gd name="T46" fmla="*/ 17 w 35"/>
                <a:gd name="T47" fmla="*/ 49 h 55"/>
                <a:gd name="T48" fmla="*/ 26 w 35"/>
                <a:gd name="T49" fmla="*/ 45 h 55"/>
                <a:gd name="T50" fmla="*/ 23 w 35"/>
                <a:gd name="T51" fmla="*/ 15 h 55"/>
                <a:gd name="T52" fmla="*/ 17 w 35"/>
                <a:gd name="T53" fmla="*/ 9 h 55"/>
                <a:gd name="T54" fmla="*/ 10 w 35"/>
                <a:gd name="T55" fmla="*/ 15 h 55"/>
                <a:gd name="T56" fmla="*/ 17 w 35"/>
                <a:gd name="T57" fmla="*/ 22 h 55"/>
                <a:gd name="T58" fmla="*/ 23 w 35"/>
                <a:gd name="T59" fmla="*/ 1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 h="55">
                  <a:moveTo>
                    <a:pt x="0" y="45"/>
                  </a:moveTo>
                  <a:cubicBezTo>
                    <a:pt x="0" y="41"/>
                    <a:pt x="2" y="38"/>
                    <a:pt x="6" y="37"/>
                  </a:cubicBezTo>
                  <a:cubicBezTo>
                    <a:pt x="5" y="36"/>
                    <a:pt x="4" y="34"/>
                    <a:pt x="4" y="32"/>
                  </a:cubicBezTo>
                  <a:cubicBezTo>
                    <a:pt x="4" y="30"/>
                    <a:pt x="5" y="28"/>
                    <a:pt x="8" y="26"/>
                  </a:cubicBezTo>
                  <a:cubicBezTo>
                    <a:pt x="4" y="24"/>
                    <a:pt x="2" y="19"/>
                    <a:pt x="2" y="15"/>
                  </a:cubicBezTo>
                  <a:cubicBezTo>
                    <a:pt x="2" y="8"/>
                    <a:pt x="7" y="2"/>
                    <a:pt x="16" y="2"/>
                  </a:cubicBezTo>
                  <a:cubicBezTo>
                    <a:pt x="20" y="2"/>
                    <a:pt x="22" y="3"/>
                    <a:pt x="23" y="3"/>
                  </a:cubicBezTo>
                  <a:cubicBezTo>
                    <a:pt x="24" y="4"/>
                    <a:pt x="24" y="3"/>
                    <a:pt x="24" y="3"/>
                  </a:cubicBezTo>
                  <a:cubicBezTo>
                    <a:pt x="26" y="1"/>
                    <a:pt x="28" y="0"/>
                    <a:pt x="33" y="0"/>
                  </a:cubicBezTo>
                  <a:cubicBezTo>
                    <a:pt x="34" y="0"/>
                    <a:pt x="35" y="0"/>
                    <a:pt x="35" y="0"/>
                  </a:cubicBezTo>
                  <a:cubicBezTo>
                    <a:pt x="33" y="7"/>
                    <a:pt x="33" y="7"/>
                    <a:pt x="33" y="7"/>
                  </a:cubicBezTo>
                  <a:cubicBezTo>
                    <a:pt x="33" y="7"/>
                    <a:pt x="32" y="6"/>
                    <a:pt x="31" y="6"/>
                  </a:cubicBezTo>
                  <a:cubicBezTo>
                    <a:pt x="30" y="6"/>
                    <a:pt x="29" y="7"/>
                    <a:pt x="28" y="7"/>
                  </a:cubicBezTo>
                  <a:cubicBezTo>
                    <a:pt x="30" y="9"/>
                    <a:pt x="31" y="12"/>
                    <a:pt x="31" y="15"/>
                  </a:cubicBezTo>
                  <a:cubicBezTo>
                    <a:pt x="31" y="23"/>
                    <a:pt x="25" y="28"/>
                    <a:pt x="17" y="28"/>
                  </a:cubicBezTo>
                  <a:cubicBezTo>
                    <a:pt x="15" y="28"/>
                    <a:pt x="14" y="28"/>
                    <a:pt x="12" y="28"/>
                  </a:cubicBezTo>
                  <a:cubicBezTo>
                    <a:pt x="12" y="29"/>
                    <a:pt x="12" y="30"/>
                    <a:pt x="12" y="30"/>
                  </a:cubicBezTo>
                  <a:cubicBezTo>
                    <a:pt x="12" y="37"/>
                    <a:pt x="35" y="31"/>
                    <a:pt x="35" y="44"/>
                  </a:cubicBezTo>
                  <a:cubicBezTo>
                    <a:pt x="35" y="50"/>
                    <a:pt x="28" y="55"/>
                    <a:pt x="16" y="55"/>
                  </a:cubicBezTo>
                  <a:cubicBezTo>
                    <a:pt x="6" y="55"/>
                    <a:pt x="0" y="51"/>
                    <a:pt x="0" y="45"/>
                  </a:cubicBezTo>
                  <a:close/>
                  <a:moveTo>
                    <a:pt x="26" y="45"/>
                  </a:moveTo>
                  <a:cubicBezTo>
                    <a:pt x="26" y="40"/>
                    <a:pt x="15" y="41"/>
                    <a:pt x="10" y="39"/>
                  </a:cubicBezTo>
                  <a:cubicBezTo>
                    <a:pt x="9" y="40"/>
                    <a:pt x="8" y="41"/>
                    <a:pt x="8" y="44"/>
                  </a:cubicBezTo>
                  <a:cubicBezTo>
                    <a:pt x="8" y="47"/>
                    <a:pt x="11" y="49"/>
                    <a:pt x="17" y="49"/>
                  </a:cubicBezTo>
                  <a:cubicBezTo>
                    <a:pt x="23" y="49"/>
                    <a:pt x="26" y="47"/>
                    <a:pt x="26" y="45"/>
                  </a:cubicBezTo>
                  <a:close/>
                  <a:moveTo>
                    <a:pt x="23" y="15"/>
                  </a:moveTo>
                  <a:cubicBezTo>
                    <a:pt x="23" y="12"/>
                    <a:pt x="20" y="9"/>
                    <a:pt x="17" y="9"/>
                  </a:cubicBezTo>
                  <a:cubicBezTo>
                    <a:pt x="13" y="9"/>
                    <a:pt x="10" y="11"/>
                    <a:pt x="10" y="15"/>
                  </a:cubicBezTo>
                  <a:cubicBezTo>
                    <a:pt x="10" y="19"/>
                    <a:pt x="13" y="22"/>
                    <a:pt x="17" y="22"/>
                  </a:cubicBezTo>
                  <a:cubicBezTo>
                    <a:pt x="20" y="22"/>
                    <a:pt x="23" y="19"/>
                    <a:pt x="23"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3" name="Freeform 172"/>
            <p:cNvSpPr>
              <a:spLocks/>
            </p:cNvSpPr>
            <p:nvPr/>
          </p:nvSpPr>
          <p:spPr bwMode="auto">
            <a:xfrm>
              <a:off x="8116372" y="4516540"/>
              <a:ext cx="44984" cy="74763"/>
            </a:xfrm>
            <a:custGeom>
              <a:avLst/>
              <a:gdLst>
                <a:gd name="T0" fmla="*/ 7 w 27"/>
                <a:gd name="T1" fmla="*/ 37 h 47"/>
                <a:gd name="T2" fmla="*/ 7 w 27"/>
                <a:gd name="T3" fmla="*/ 18 h 47"/>
                <a:gd name="T4" fmla="*/ 0 w 27"/>
                <a:gd name="T5" fmla="*/ 18 h 47"/>
                <a:gd name="T6" fmla="*/ 0 w 27"/>
                <a:gd name="T7" fmla="*/ 11 h 47"/>
                <a:gd name="T8" fmla="*/ 7 w 27"/>
                <a:gd name="T9" fmla="*/ 11 h 47"/>
                <a:gd name="T10" fmla="*/ 7 w 27"/>
                <a:gd name="T11" fmla="*/ 3 h 47"/>
                <a:gd name="T12" fmla="*/ 15 w 27"/>
                <a:gd name="T13" fmla="*/ 0 h 47"/>
                <a:gd name="T14" fmla="*/ 15 w 27"/>
                <a:gd name="T15" fmla="*/ 11 h 47"/>
                <a:gd name="T16" fmla="*/ 26 w 27"/>
                <a:gd name="T17" fmla="*/ 11 h 47"/>
                <a:gd name="T18" fmla="*/ 24 w 27"/>
                <a:gd name="T19" fmla="*/ 18 h 47"/>
                <a:gd name="T20" fmla="*/ 15 w 27"/>
                <a:gd name="T21" fmla="*/ 18 h 47"/>
                <a:gd name="T22" fmla="*/ 15 w 27"/>
                <a:gd name="T23" fmla="*/ 35 h 47"/>
                <a:gd name="T24" fmla="*/ 19 w 27"/>
                <a:gd name="T25" fmla="*/ 40 h 47"/>
                <a:gd name="T26" fmla="*/ 24 w 27"/>
                <a:gd name="T27" fmla="*/ 38 h 47"/>
                <a:gd name="T28" fmla="*/ 27 w 27"/>
                <a:gd name="T29" fmla="*/ 44 h 47"/>
                <a:gd name="T30" fmla="*/ 17 w 27"/>
                <a:gd name="T31" fmla="*/ 47 h 47"/>
                <a:gd name="T32" fmla="*/ 7 w 27"/>
                <a:gd name="T33" fmla="*/ 3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 h="47">
                  <a:moveTo>
                    <a:pt x="7" y="37"/>
                  </a:moveTo>
                  <a:cubicBezTo>
                    <a:pt x="7" y="18"/>
                    <a:pt x="7" y="18"/>
                    <a:pt x="7" y="18"/>
                  </a:cubicBezTo>
                  <a:cubicBezTo>
                    <a:pt x="0" y="18"/>
                    <a:pt x="0" y="18"/>
                    <a:pt x="0" y="18"/>
                  </a:cubicBezTo>
                  <a:cubicBezTo>
                    <a:pt x="0" y="11"/>
                    <a:pt x="0" y="11"/>
                    <a:pt x="0" y="11"/>
                  </a:cubicBezTo>
                  <a:cubicBezTo>
                    <a:pt x="7" y="11"/>
                    <a:pt x="7" y="11"/>
                    <a:pt x="7" y="11"/>
                  </a:cubicBezTo>
                  <a:cubicBezTo>
                    <a:pt x="7" y="3"/>
                    <a:pt x="7" y="3"/>
                    <a:pt x="7" y="3"/>
                  </a:cubicBezTo>
                  <a:cubicBezTo>
                    <a:pt x="15" y="0"/>
                    <a:pt x="15" y="0"/>
                    <a:pt x="15" y="0"/>
                  </a:cubicBezTo>
                  <a:cubicBezTo>
                    <a:pt x="15" y="11"/>
                    <a:pt x="15" y="11"/>
                    <a:pt x="15" y="11"/>
                  </a:cubicBezTo>
                  <a:cubicBezTo>
                    <a:pt x="26" y="11"/>
                    <a:pt x="26" y="11"/>
                    <a:pt x="26" y="11"/>
                  </a:cubicBezTo>
                  <a:cubicBezTo>
                    <a:pt x="24" y="18"/>
                    <a:pt x="24" y="18"/>
                    <a:pt x="24" y="18"/>
                  </a:cubicBezTo>
                  <a:cubicBezTo>
                    <a:pt x="15" y="18"/>
                    <a:pt x="15" y="18"/>
                    <a:pt x="15" y="18"/>
                  </a:cubicBezTo>
                  <a:cubicBezTo>
                    <a:pt x="15" y="35"/>
                    <a:pt x="15" y="35"/>
                    <a:pt x="15" y="35"/>
                  </a:cubicBezTo>
                  <a:cubicBezTo>
                    <a:pt x="15" y="38"/>
                    <a:pt x="17" y="40"/>
                    <a:pt x="19" y="40"/>
                  </a:cubicBezTo>
                  <a:cubicBezTo>
                    <a:pt x="21" y="40"/>
                    <a:pt x="23" y="39"/>
                    <a:pt x="24" y="38"/>
                  </a:cubicBezTo>
                  <a:cubicBezTo>
                    <a:pt x="27" y="44"/>
                    <a:pt x="27" y="44"/>
                    <a:pt x="27" y="44"/>
                  </a:cubicBezTo>
                  <a:cubicBezTo>
                    <a:pt x="24" y="46"/>
                    <a:pt x="20" y="47"/>
                    <a:pt x="17" y="47"/>
                  </a:cubicBezTo>
                  <a:cubicBezTo>
                    <a:pt x="10" y="47"/>
                    <a:pt x="7" y="43"/>
                    <a:pt x="7"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4" name="Freeform 173"/>
            <p:cNvSpPr>
              <a:spLocks noEditPoints="1"/>
            </p:cNvSpPr>
            <p:nvPr/>
          </p:nvSpPr>
          <p:spPr bwMode="auto">
            <a:xfrm>
              <a:off x="8163005" y="4532562"/>
              <a:ext cx="51814" cy="58743"/>
            </a:xfrm>
            <a:custGeom>
              <a:avLst/>
              <a:gdLst>
                <a:gd name="T0" fmla="*/ 22 w 31"/>
                <a:gd name="T1" fmla="*/ 33 h 37"/>
                <a:gd name="T2" fmla="*/ 12 w 31"/>
                <a:gd name="T3" fmla="*/ 37 h 37"/>
                <a:gd name="T4" fmla="*/ 0 w 31"/>
                <a:gd name="T5" fmla="*/ 26 h 37"/>
                <a:gd name="T6" fmla="*/ 6 w 31"/>
                <a:gd name="T7" fmla="*/ 16 h 37"/>
                <a:gd name="T8" fmla="*/ 15 w 31"/>
                <a:gd name="T9" fmla="*/ 14 h 37"/>
                <a:gd name="T10" fmla="*/ 21 w 31"/>
                <a:gd name="T11" fmla="*/ 14 h 37"/>
                <a:gd name="T12" fmla="*/ 21 w 31"/>
                <a:gd name="T13" fmla="*/ 13 h 37"/>
                <a:gd name="T14" fmla="*/ 15 w 31"/>
                <a:gd name="T15" fmla="*/ 7 h 37"/>
                <a:gd name="T16" fmla="*/ 5 w 31"/>
                <a:gd name="T17" fmla="*/ 9 h 37"/>
                <a:gd name="T18" fmla="*/ 3 w 31"/>
                <a:gd name="T19" fmla="*/ 4 h 37"/>
                <a:gd name="T20" fmla="*/ 16 w 31"/>
                <a:gd name="T21" fmla="*/ 0 h 37"/>
                <a:gd name="T22" fmla="*/ 30 w 31"/>
                <a:gd name="T23" fmla="*/ 13 h 37"/>
                <a:gd name="T24" fmla="*/ 30 w 31"/>
                <a:gd name="T25" fmla="*/ 27 h 37"/>
                <a:gd name="T26" fmla="*/ 31 w 31"/>
                <a:gd name="T27" fmla="*/ 36 h 37"/>
                <a:gd name="T28" fmla="*/ 24 w 31"/>
                <a:gd name="T29" fmla="*/ 36 h 37"/>
                <a:gd name="T30" fmla="*/ 22 w 31"/>
                <a:gd name="T31" fmla="*/ 33 h 37"/>
                <a:gd name="T32" fmla="*/ 17 w 31"/>
                <a:gd name="T33" fmla="*/ 20 h 37"/>
                <a:gd name="T34" fmla="*/ 12 w 31"/>
                <a:gd name="T35" fmla="*/ 21 h 37"/>
                <a:gd name="T36" fmla="*/ 9 w 31"/>
                <a:gd name="T37" fmla="*/ 25 h 37"/>
                <a:gd name="T38" fmla="*/ 15 w 31"/>
                <a:gd name="T39" fmla="*/ 30 h 37"/>
                <a:gd name="T40" fmla="*/ 21 w 31"/>
                <a:gd name="T41" fmla="*/ 27 h 37"/>
                <a:gd name="T42" fmla="*/ 21 w 31"/>
                <a:gd name="T43" fmla="*/ 20 h 37"/>
                <a:gd name="T44" fmla="*/ 17 w 31"/>
                <a:gd name="T45"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7">
                  <a:moveTo>
                    <a:pt x="22" y="33"/>
                  </a:moveTo>
                  <a:cubicBezTo>
                    <a:pt x="20" y="35"/>
                    <a:pt x="16" y="37"/>
                    <a:pt x="12" y="37"/>
                  </a:cubicBezTo>
                  <a:cubicBezTo>
                    <a:pt x="5" y="37"/>
                    <a:pt x="0" y="32"/>
                    <a:pt x="0" y="26"/>
                  </a:cubicBezTo>
                  <a:cubicBezTo>
                    <a:pt x="0" y="21"/>
                    <a:pt x="3" y="18"/>
                    <a:pt x="6" y="16"/>
                  </a:cubicBezTo>
                  <a:cubicBezTo>
                    <a:pt x="9" y="15"/>
                    <a:pt x="12" y="14"/>
                    <a:pt x="15" y="14"/>
                  </a:cubicBezTo>
                  <a:cubicBezTo>
                    <a:pt x="21" y="14"/>
                    <a:pt x="21" y="14"/>
                    <a:pt x="21" y="14"/>
                  </a:cubicBezTo>
                  <a:cubicBezTo>
                    <a:pt x="21" y="13"/>
                    <a:pt x="21" y="13"/>
                    <a:pt x="21" y="13"/>
                  </a:cubicBezTo>
                  <a:cubicBezTo>
                    <a:pt x="21" y="9"/>
                    <a:pt x="19" y="7"/>
                    <a:pt x="15" y="7"/>
                  </a:cubicBezTo>
                  <a:cubicBezTo>
                    <a:pt x="11" y="7"/>
                    <a:pt x="8" y="8"/>
                    <a:pt x="5" y="9"/>
                  </a:cubicBezTo>
                  <a:cubicBezTo>
                    <a:pt x="3" y="4"/>
                    <a:pt x="3" y="4"/>
                    <a:pt x="3" y="4"/>
                  </a:cubicBezTo>
                  <a:cubicBezTo>
                    <a:pt x="7" y="1"/>
                    <a:pt x="11" y="0"/>
                    <a:pt x="16" y="0"/>
                  </a:cubicBezTo>
                  <a:cubicBezTo>
                    <a:pt x="26" y="0"/>
                    <a:pt x="30" y="4"/>
                    <a:pt x="30" y="13"/>
                  </a:cubicBezTo>
                  <a:cubicBezTo>
                    <a:pt x="30" y="27"/>
                    <a:pt x="30" y="27"/>
                    <a:pt x="30" y="27"/>
                  </a:cubicBezTo>
                  <a:cubicBezTo>
                    <a:pt x="30" y="31"/>
                    <a:pt x="30" y="34"/>
                    <a:pt x="31" y="36"/>
                  </a:cubicBezTo>
                  <a:cubicBezTo>
                    <a:pt x="24" y="36"/>
                    <a:pt x="24" y="36"/>
                    <a:pt x="24" y="36"/>
                  </a:cubicBezTo>
                  <a:lnTo>
                    <a:pt x="22" y="33"/>
                  </a:lnTo>
                  <a:close/>
                  <a:moveTo>
                    <a:pt x="17" y="20"/>
                  </a:moveTo>
                  <a:cubicBezTo>
                    <a:pt x="14" y="20"/>
                    <a:pt x="13" y="20"/>
                    <a:pt x="12" y="21"/>
                  </a:cubicBezTo>
                  <a:cubicBezTo>
                    <a:pt x="10" y="22"/>
                    <a:pt x="9" y="23"/>
                    <a:pt x="9" y="25"/>
                  </a:cubicBezTo>
                  <a:cubicBezTo>
                    <a:pt x="9" y="28"/>
                    <a:pt x="11" y="30"/>
                    <a:pt x="15" y="30"/>
                  </a:cubicBezTo>
                  <a:cubicBezTo>
                    <a:pt x="18" y="30"/>
                    <a:pt x="20" y="28"/>
                    <a:pt x="21" y="27"/>
                  </a:cubicBezTo>
                  <a:cubicBezTo>
                    <a:pt x="21" y="20"/>
                    <a:pt x="21" y="20"/>
                    <a:pt x="21" y="20"/>
                  </a:cubicBezTo>
                  <a:lnTo>
                    <a:pt x="17"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5" name="Group 74"/>
          <p:cNvGrpSpPr/>
          <p:nvPr userDrawn="1"/>
        </p:nvGrpSpPr>
        <p:grpSpPr>
          <a:xfrm>
            <a:off x="7686461" y="4906654"/>
            <a:ext cx="1124815" cy="151147"/>
            <a:chOff x="7686461" y="4581466"/>
            <a:chExt cx="1124815" cy="151147"/>
          </a:xfrm>
          <a:solidFill>
            <a:schemeClr val="bg1"/>
          </a:solidFill>
        </p:grpSpPr>
        <p:sp>
          <p:nvSpPr>
            <p:cNvPr id="76"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77"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78"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79"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0"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1"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2"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3"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4"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5"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6"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7"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8"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9"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90"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grpSp>
      <p:grpSp>
        <p:nvGrpSpPr>
          <p:cNvPr id="91" name="Group 90"/>
          <p:cNvGrpSpPr/>
          <p:nvPr userDrawn="1"/>
        </p:nvGrpSpPr>
        <p:grpSpPr>
          <a:xfrm>
            <a:off x="6223980" y="4846685"/>
            <a:ext cx="1123200" cy="262528"/>
            <a:chOff x="7673274" y="4343117"/>
            <a:chExt cx="1123200" cy="262528"/>
          </a:xfrm>
          <a:solidFill>
            <a:schemeClr val="bg1"/>
          </a:solidFill>
        </p:grpSpPr>
        <p:grpSp>
          <p:nvGrpSpPr>
            <p:cNvPr id="92" name="Group 91"/>
            <p:cNvGrpSpPr/>
            <p:nvPr userDrawn="1"/>
          </p:nvGrpSpPr>
          <p:grpSpPr>
            <a:xfrm>
              <a:off x="7909937" y="4494135"/>
              <a:ext cx="438357" cy="111510"/>
              <a:chOff x="7909937" y="4491754"/>
              <a:chExt cx="438357" cy="111510"/>
            </a:xfrm>
            <a:grpFill/>
          </p:grpSpPr>
          <p:sp>
            <p:nvSpPr>
              <p:cNvPr id="130" name="Freeform 21"/>
              <p:cNvSpPr>
                <a:spLocks noEditPoints="1"/>
              </p:cNvSpPr>
              <p:nvPr/>
            </p:nvSpPr>
            <p:spPr bwMode="auto">
              <a:xfrm>
                <a:off x="7909937" y="4496945"/>
                <a:ext cx="72264" cy="78286"/>
              </a:xfrm>
              <a:custGeom>
                <a:avLst/>
                <a:gdLst>
                  <a:gd name="T0" fmla="*/ 290 w 696"/>
                  <a:gd name="T1" fmla="*/ 0 h 754"/>
                  <a:gd name="T2" fmla="*/ 394 w 696"/>
                  <a:gd name="T3" fmla="*/ 0 h 754"/>
                  <a:gd name="T4" fmla="*/ 696 w 696"/>
                  <a:gd name="T5" fmla="*/ 754 h 754"/>
                  <a:gd name="T6" fmla="*/ 550 w 696"/>
                  <a:gd name="T7" fmla="*/ 754 h 754"/>
                  <a:gd name="T8" fmla="*/ 478 w 696"/>
                  <a:gd name="T9" fmla="*/ 566 h 754"/>
                  <a:gd name="T10" fmla="*/ 210 w 696"/>
                  <a:gd name="T11" fmla="*/ 566 h 754"/>
                  <a:gd name="T12" fmla="*/ 140 w 696"/>
                  <a:gd name="T13" fmla="*/ 754 h 754"/>
                  <a:gd name="T14" fmla="*/ 0 w 696"/>
                  <a:gd name="T15" fmla="*/ 754 h 754"/>
                  <a:gd name="T16" fmla="*/ 290 w 696"/>
                  <a:gd name="T17" fmla="*/ 0 h 754"/>
                  <a:gd name="T18" fmla="*/ 436 w 696"/>
                  <a:gd name="T19" fmla="*/ 456 h 754"/>
                  <a:gd name="T20" fmla="*/ 384 w 696"/>
                  <a:gd name="T21" fmla="*/ 306 h 754"/>
                  <a:gd name="T22" fmla="*/ 384 w 696"/>
                  <a:gd name="T23" fmla="*/ 306 h 754"/>
                  <a:gd name="T24" fmla="*/ 360 w 696"/>
                  <a:gd name="T25" fmla="*/ 236 h 754"/>
                  <a:gd name="T26" fmla="*/ 346 w 696"/>
                  <a:gd name="T27" fmla="*/ 190 h 754"/>
                  <a:gd name="T28" fmla="*/ 344 w 696"/>
                  <a:gd name="T29" fmla="*/ 190 h 754"/>
                  <a:gd name="T30" fmla="*/ 344 w 696"/>
                  <a:gd name="T31" fmla="*/ 190 h 754"/>
                  <a:gd name="T32" fmla="*/ 328 w 696"/>
                  <a:gd name="T33" fmla="*/ 236 h 754"/>
                  <a:gd name="T34" fmla="*/ 304 w 696"/>
                  <a:gd name="T35" fmla="*/ 306 h 754"/>
                  <a:gd name="T36" fmla="*/ 250 w 696"/>
                  <a:gd name="T37" fmla="*/ 456 h 754"/>
                  <a:gd name="T38" fmla="*/ 436 w 696"/>
                  <a:gd name="T39" fmla="*/ 456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6" h="754">
                    <a:moveTo>
                      <a:pt x="290" y="0"/>
                    </a:moveTo>
                    <a:lnTo>
                      <a:pt x="394" y="0"/>
                    </a:lnTo>
                    <a:lnTo>
                      <a:pt x="696" y="754"/>
                    </a:lnTo>
                    <a:lnTo>
                      <a:pt x="550" y="754"/>
                    </a:lnTo>
                    <a:lnTo>
                      <a:pt x="478" y="566"/>
                    </a:lnTo>
                    <a:lnTo>
                      <a:pt x="210" y="566"/>
                    </a:lnTo>
                    <a:lnTo>
                      <a:pt x="140" y="754"/>
                    </a:lnTo>
                    <a:lnTo>
                      <a:pt x="0" y="754"/>
                    </a:lnTo>
                    <a:lnTo>
                      <a:pt x="290" y="0"/>
                    </a:lnTo>
                    <a:close/>
                    <a:moveTo>
                      <a:pt x="436" y="456"/>
                    </a:moveTo>
                    <a:lnTo>
                      <a:pt x="384" y="306"/>
                    </a:lnTo>
                    <a:lnTo>
                      <a:pt x="384" y="306"/>
                    </a:lnTo>
                    <a:lnTo>
                      <a:pt x="360" y="236"/>
                    </a:lnTo>
                    <a:lnTo>
                      <a:pt x="346" y="190"/>
                    </a:lnTo>
                    <a:lnTo>
                      <a:pt x="344" y="190"/>
                    </a:lnTo>
                    <a:lnTo>
                      <a:pt x="344" y="190"/>
                    </a:lnTo>
                    <a:lnTo>
                      <a:pt x="328" y="236"/>
                    </a:lnTo>
                    <a:lnTo>
                      <a:pt x="304" y="306"/>
                    </a:lnTo>
                    <a:lnTo>
                      <a:pt x="250" y="456"/>
                    </a:lnTo>
                    <a:lnTo>
                      <a:pt x="436" y="4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 name="Freeform 22"/>
              <p:cNvSpPr>
                <a:spLocks noEditPoints="1"/>
              </p:cNvSpPr>
              <p:nvPr/>
            </p:nvSpPr>
            <p:spPr bwMode="auto">
              <a:xfrm>
                <a:off x="8047404" y="4517918"/>
                <a:ext cx="48591" cy="58558"/>
              </a:xfrm>
              <a:custGeom>
                <a:avLst/>
                <a:gdLst>
                  <a:gd name="T0" fmla="*/ 334 w 468"/>
                  <a:gd name="T1" fmla="*/ 502 h 564"/>
                  <a:gd name="T2" fmla="*/ 302 w 468"/>
                  <a:gd name="T3" fmla="*/ 526 h 564"/>
                  <a:gd name="T4" fmla="*/ 266 w 468"/>
                  <a:gd name="T5" fmla="*/ 546 h 564"/>
                  <a:gd name="T6" fmla="*/ 226 w 468"/>
                  <a:gd name="T7" fmla="*/ 560 h 564"/>
                  <a:gd name="T8" fmla="*/ 178 w 468"/>
                  <a:gd name="T9" fmla="*/ 564 h 564"/>
                  <a:gd name="T10" fmla="*/ 160 w 468"/>
                  <a:gd name="T11" fmla="*/ 564 h 564"/>
                  <a:gd name="T12" fmla="*/ 124 w 468"/>
                  <a:gd name="T13" fmla="*/ 558 h 564"/>
                  <a:gd name="T14" fmla="*/ 92 w 468"/>
                  <a:gd name="T15" fmla="*/ 546 h 564"/>
                  <a:gd name="T16" fmla="*/ 62 w 468"/>
                  <a:gd name="T17" fmla="*/ 528 h 564"/>
                  <a:gd name="T18" fmla="*/ 38 w 468"/>
                  <a:gd name="T19" fmla="*/ 506 h 564"/>
                  <a:gd name="T20" fmla="*/ 20 w 468"/>
                  <a:gd name="T21" fmla="*/ 478 h 564"/>
                  <a:gd name="T22" fmla="*/ 6 w 468"/>
                  <a:gd name="T23" fmla="*/ 446 h 564"/>
                  <a:gd name="T24" fmla="*/ 0 w 468"/>
                  <a:gd name="T25" fmla="*/ 412 h 564"/>
                  <a:gd name="T26" fmla="*/ 0 w 468"/>
                  <a:gd name="T27" fmla="*/ 392 h 564"/>
                  <a:gd name="T28" fmla="*/ 6 w 468"/>
                  <a:gd name="T29" fmla="*/ 342 h 564"/>
                  <a:gd name="T30" fmla="*/ 24 w 468"/>
                  <a:gd name="T31" fmla="*/ 302 h 564"/>
                  <a:gd name="T32" fmla="*/ 52 w 468"/>
                  <a:gd name="T33" fmla="*/ 270 h 564"/>
                  <a:gd name="T34" fmla="*/ 90 w 468"/>
                  <a:gd name="T35" fmla="*/ 246 h 564"/>
                  <a:gd name="T36" fmla="*/ 120 w 468"/>
                  <a:gd name="T37" fmla="*/ 232 h 564"/>
                  <a:gd name="T38" fmla="*/ 190 w 468"/>
                  <a:gd name="T39" fmla="*/ 218 h 564"/>
                  <a:gd name="T40" fmla="*/ 322 w 468"/>
                  <a:gd name="T41" fmla="*/ 210 h 564"/>
                  <a:gd name="T42" fmla="*/ 322 w 468"/>
                  <a:gd name="T43" fmla="*/ 194 h 564"/>
                  <a:gd name="T44" fmla="*/ 314 w 468"/>
                  <a:gd name="T45" fmla="*/ 154 h 564"/>
                  <a:gd name="T46" fmla="*/ 294 w 468"/>
                  <a:gd name="T47" fmla="*/ 126 h 564"/>
                  <a:gd name="T48" fmla="*/ 260 w 468"/>
                  <a:gd name="T49" fmla="*/ 108 h 564"/>
                  <a:gd name="T50" fmla="*/ 218 w 468"/>
                  <a:gd name="T51" fmla="*/ 104 h 564"/>
                  <a:gd name="T52" fmla="*/ 198 w 468"/>
                  <a:gd name="T53" fmla="*/ 104 h 564"/>
                  <a:gd name="T54" fmla="*/ 160 w 468"/>
                  <a:gd name="T55" fmla="*/ 110 h 564"/>
                  <a:gd name="T56" fmla="*/ 108 w 468"/>
                  <a:gd name="T57" fmla="*/ 126 h 564"/>
                  <a:gd name="T58" fmla="*/ 32 w 468"/>
                  <a:gd name="T59" fmla="*/ 54 h 564"/>
                  <a:gd name="T60" fmla="*/ 56 w 468"/>
                  <a:gd name="T61" fmla="*/ 42 h 564"/>
                  <a:gd name="T62" fmla="*/ 106 w 468"/>
                  <a:gd name="T63" fmla="*/ 22 h 564"/>
                  <a:gd name="T64" fmla="*/ 158 w 468"/>
                  <a:gd name="T65" fmla="*/ 8 h 564"/>
                  <a:gd name="T66" fmla="*/ 212 w 468"/>
                  <a:gd name="T67" fmla="*/ 0 h 564"/>
                  <a:gd name="T68" fmla="*/ 240 w 468"/>
                  <a:gd name="T69" fmla="*/ 0 h 564"/>
                  <a:gd name="T70" fmla="*/ 292 w 468"/>
                  <a:gd name="T71" fmla="*/ 4 h 564"/>
                  <a:gd name="T72" fmla="*/ 336 w 468"/>
                  <a:gd name="T73" fmla="*/ 12 h 564"/>
                  <a:gd name="T74" fmla="*/ 372 w 468"/>
                  <a:gd name="T75" fmla="*/ 28 h 564"/>
                  <a:gd name="T76" fmla="*/ 404 w 468"/>
                  <a:gd name="T77" fmla="*/ 50 h 564"/>
                  <a:gd name="T78" fmla="*/ 426 w 468"/>
                  <a:gd name="T79" fmla="*/ 76 h 564"/>
                  <a:gd name="T80" fmla="*/ 444 w 468"/>
                  <a:gd name="T81" fmla="*/ 110 h 564"/>
                  <a:gd name="T82" fmla="*/ 454 w 468"/>
                  <a:gd name="T83" fmla="*/ 150 h 564"/>
                  <a:gd name="T84" fmla="*/ 458 w 468"/>
                  <a:gd name="T85" fmla="*/ 196 h 564"/>
                  <a:gd name="T86" fmla="*/ 458 w 468"/>
                  <a:gd name="T87" fmla="*/ 414 h 564"/>
                  <a:gd name="T88" fmla="*/ 460 w 468"/>
                  <a:gd name="T89" fmla="*/ 496 h 564"/>
                  <a:gd name="T90" fmla="*/ 468 w 468"/>
                  <a:gd name="T91" fmla="*/ 552 h 564"/>
                  <a:gd name="T92" fmla="*/ 334 w 468"/>
                  <a:gd name="T93" fmla="*/ 502 h 564"/>
                  <a:gd name="T94" fmla="*/ 248 w 468"/>
                  <a:gd name="T95" fmla="*/ 304 h 564"/>
                  <a:gd name="T96" fmla="*/ 204 w 468"/>
                  <a:gd name="T97" fmla="*/ 310 h 564"/>
                  <a:gd name="T98" fmla="*/ 170 w 468"/>
                  <a:gd name="T99" fmla="*/ 322 h 564"/>
                  <a:gd name="T100" fmla="*/ 162 w 468"/>
                  <a:gd name="T101" fmla="*/ 326 h 564"/>
                  <a:gd name="T102" fmla="*/ 150 w 468"/>
                  <a:gd name="T103" fmla="*/ 340 h 564"/>
                  <a:gd name="T104" fmla="*/ 142 w 468"/>
                  <a:gd name="T105" fmla="*/ 354 h 564"/>
                  <a:gd name="T106" fmla="*/ 138 w 468"/>
                  <a:gd name="T107" fmla="*/ 382 h 564"/>
                  <a:gd name="T108" fmla="*/ 138 w 468"/>
                  <a:gd name="T109" fmla="*/ 400 h 564"/>
                  <a:gd name="T110" fmla="*/ 150 w 468"/>
                  <a:gd name="T111" fmla="*/ 426 h 564"/>
                  <a:gd name="T112" fmla="*/ 170 w 468"/>
                  <a:gd name="T113" fmla="*/ 446 h 564"/>
                  <a:gd name="T114" fmla="*/ 200 w 468"/>
                  <a:gd name="T115" fmla="*/ 456 h 564"/>
                  <a:gd name="T116" fmla="*/ 216 w 468"/>
                  <a:gd name="T117" fmla="*/ 456 h 564"/>
                  <a:gd name="T118" fmla="*/ 252 w 468"/>
                  <a:gd name="T119" fmla="*/ 452 h 564"/>
                  <a:gd name="T120" fmla="*/ 282 w 468"/>
                  <a:gd name="T121" fmla="*/ 442 h 564"/>
                  <a:gd name="T122" fmla="*/ 322 w 468"/>
                  <a:gd name="T123" fmla="*/ 418 h 564"/>
                  <a:gd name="T124" fmla="*/ 248 w 468"/>
                  <a:gd name="T125" fmla="*/ 30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8" h="564">
                    <a:moveTo>
                      <a:pt x="334" y="502"/>
                    </a:moveTo>
                    <a:lnTo>
                      <a:pt x="334" y="502"/>
                    </a:lnTo>
                    <a:lnTo>
                      <a:pt x="318" y="514"/>
                    </a:lnTo>
                    <a:lnTo>
                      <a:pt x="302" y="526"/>
                    </a:lnTo>
                    <a:lnTo>
                      <a:pt x="284" y="536"/>
                    </a:lnTo>
                    <a:lnTo>
                      <a:pt x="266" y="546"/>
                    </a:lnTo>
                    <a:lnTo>
                      <a:pt x="246" y="554"/>
                    </a:lnTo>
                    <a:lnTo>
                      <a:pt x="226" y="560"/>
                    </a:lnTo>
                    <a:lnTo>
                      <a:pt x="202" y="562"/>
                    </a:lnTo>
                    <a:lnTo>
                      <a:pt x="178" y="564"/>
                    </a:lnTo>
                    <a:lnTo>
                      <a:pt x="178" y="564"/>
                    </a:lnTo>
                    <a:lnTo>
                      <a:pt x="160" y="564"/>
                    </a:lnTo>
                    <a:lnTo>
                      <a:pt x="140" y="560"/>
                    </a:lnTo>
                    <a:lnTo>
                      <a:pt x="124" y="558"/>
                    </a:lnTo>
                    <a:lnTo>
                      <a:pt x="106" y="552"/>
                    </a:lnTo>
                    <a:lnTo>
                      <a:pt x="92" y="546"/>
                    </a:lnTo>
                    <a:lnTo>
                      <a:pt x="76" y="538"/>
                    </a:lnTo>
                    <a:lnTo>
                      <a:pt x="62" y="528"/>
                    </a:lnTo>
                    <a:lnTo>
                      <a:pt x="50" y="516"/>
                    </a:lnTo>
                    <a:lnTo>
                      <a:pt x="38" y="506"/>
                    </a:lnTo>
                    <a:lnTo>
                      <a:pt x="28" y="492"/>
                    </a:lnTo>
                    <a:lnTo>
                      <a:pt x="20" y="478"/>
                    </a:lnTo>
                    <a:lnTo>
                      <a:pt x="12" y="462"/>
                    </a:lnTo>
                    <a:lnTo>
                      <a:pt x="6" y="446"/>
                    </a:lnTo>
                    <a:lnTo>
                      <a:pt x="2" y="430"/>
                    </a:lnTo>
                    <a:lnTo>
                      <a:pt x="0" y="412"/>
                    </a:lnTo>
                    <a:lnTo>
                      <a:pt x="0" y="392"/>
                    </a:lnTo>
                    <a:lnTo>
                      <a:pt x="0" y="392"/>
                    </a:lnTo>
                    <a:lnTo>
                      <a:pt x="0" y="366"/>
                    </a:lnTo>
                    <a:lnTo>
                      <a:pt x="6" y="342"/>
                    </a:lnTo>
                    <a:lnTo>
                      <a:pt x="14" y="320"/>
                    </a:lnTo>
                    <a:lnTo>
                      <a:pt x="24" y="302"/>
                    </a:lnTo>
                    <a:lnTo>
                      <a:pt x="36" y="284"/>
                    </a:lnTo>
                    <a:lnTo>
                      <a:pt x="52" y="270"/>
                    </a:lnTo>
                    <a:lnTo>
                      <a:pt x="70" y="256"/>
                    </a:lnTo>
                    <a:lnTo>
                      <a:pt x="90" y="246"/>
                    </a:lnTo>
                    <a:lnTo>
                      <a:pt x="90" y="246"/>
                    </a:lnTo>
                    <a:lnTo>
                      <a:pt x="120" y="232"/>
                    </a:lnTo>
                    <a:lnTo>
                      <a:pt x="154" y="224"/>
                    </a:lnTo>
                    <a:lnTo>
                      <a:pt x="190" y="218"/>
                    </a:lnTo>
                    <a:lnTo>
                      <a:pt x="230" y="214"/>
                    </a:lnTo>
                    <a:lnTo>
                      <a:pt x="322" y="210"/>
                    </a:lnTo>
                    <a:lnTo>
                      <a:pt x="322" y="194"/>
                    </a:lnTo>
                    <a:lnTo>
                      <a:pt x="322" y="194"/>
                    </a:lnTo>
                    <a:lnTo>
                      <a:pt x="320" y="172"/>
                    </a:lnTo>
                    <a:lnTo>
                      <a:pt x="314" y="154"/>
                    </a:lnTo>
                    <a:lnTo>
                      <a:pt x="306" y="138"/>
                    </a:lnTo>
                    <a:lnTo>
                      <a:pt x="294" y="126"/>
                    </a:lnTo>
                    <a:lnTo>
                      <a:pt x="278" y="116"/>
                    </a:lnTo>
                    <a:lnTo>
                      <a:pt x="260" y="108"/>
                    </a:lnTo>
                    <a:lnTo>
                      <a:pt x="240" y="106"/>
                    </a:lnTo>
                    <a:lnTo>
                      <a:pt x="218" y="104"/>
                    </a:lnTo>
                    <a:lnTo>
                      <a:pt x="218" y="104"/>
                    </a:lnTo>
                    <a:lnTo>
                      <a:pt x="198" y="104"/>
                    </a:lnTo>
                    <a:lnTo>
                      <a:pt x="178" y="106"/>
                    </a:lnTo>
                    <a:lnTo>
                      <a:pt x="160" y="110"/>
                    </a:lnTo>
                    <a:lnTo>
                      <a:pt x="142" y="114"/>
                    </a:lnTo>
                    <a:lnTo>
                      <a:pt x="108" y="126"/>
                    </a:lnTo>
                    <a:lnTo>
                      <a:pt x="76" y="142"/>
                    </a:lnTo>
                    <a:lnTo>
                      <a:pt x="32" y="54"/>
                    </a:lnTo>
                    <a:lnTo>
                      <a:pt x="32" y="54"/>
                    </a:lnTo>
                    <a:lnTo>
                      <a:pt x="56" y="42"/>
                    </a:lnTo>
                    <a:lnTo>
                      <a:pt x="82" y="30"/>
                    </a:lnTo>
                    <a:lnTo>
                      <a:pt x="106" y="22"/>
                    </a:lnTo>
                    <a:lnTo>
                      <a:pt x="132" y="14"/>
                    </a:lnTo>
                    <a:lnTo>
                      <a:pt x="158" y="8"/>
                    </a:lnTo>
                    <a:lnTo>
                      <a:pt x="186" y="4"/>
                    </a:lnTo>
                    <a:lnTo>
                      <a:pt x="212" y="0"/>
                    </a:lnTo>
                    <a:lnTo>
                      <a:pt x="240" y="0"/>
                    </a:lnTo>
                    <a:lnTo>
                      <a:pt x="240" y="0"/>
                    </a:lnTo>
                    <a:lnTo>
                      <a:pt x="268" y="0"/>
                    </a:lnTo>
                    <a:lnTo>
                      <a:pt x="292" y="4"/>
                    </a:lnTo>
                    <a:lnTo>
                      <a:pt x="314" y="6"/>
                    </a:lnTo>
                    <a:lnTo>
                      <a:pt x="336" y="12"/>
                    </a:lnTo>
                    <a:lnTo>
                      <a:pt x="356" y="20"/>
                    </a:lnTo>
                    <a:lnTo>
                      <a:pt x="372" y="28"/>
                    </a:lnTo>
                    <a:lnTo>
                      <a:pt x="388" y="38"/>
                    </a:lnTo>
                    <a:lnTo>
                      <a:pt x="404" y="50"/>
                    </a:lnTo>
                    <a:lnTo>
                      <a:pt x="416" y="62"/>
                    </a:lnTo>
                    <a:lnTo>
                      <a:pt x="426" y="76"/>
                    </a:lnTo>
                    <a:lnTo>
                      <a:pt x="436" y="94"/>
                    </a:lnTo>
                    <a:lnTo>
                      <a:pt x="444" y="110"/>
                    </a:lnTo>
                    <a:lnTo>
                      <a:pt x="450" y="130"/>
                    </a:lnTo>
                    <a:lnTo>
                      <a:pt x="454" y="150"/>
                    </a:lnTo>
                    <a:lnTo>
                      <a:pt x="456" y="172"/>
                    </a:lnTo>
                    <a:lnTo>
                      <a:pt x="458" y="196"/>
                    </a:lnTo>
                    <a:lnTo>
                      <a:pt x="458" y="414"/>
                    </a:lnTo>
                    <a:lnTo>
                      <a:pt x="458" y="414"/>
                    </a:lnTo>
                    <a:lnTo>
                      <a:pt x="458" y="458"/>
                    </a:lnTo>
                    <a:lnTo>
                      <a:pt x="460" y="496"/>
                    </a:lnTo>
                    <a:lnTo>
                      <a:pt x="462" y="528"/>
                    </a:lnTo>
                    <a:lnTo>
                      <a:pt x="468" y="552"/>
                    </a:lnTo>
                    <a:lnTo>
                      <a:pt x="354" y="552"/>
                    </a:lnTo>
                    <a:lnTo>
                      <a:pt x="334" y="502"/>
                    </a:lnTo>
                    <a:close/>
                    <a:moveTo>
                      <a:pt x="248" y="304"/>
                    </a:moveTo>
                    <a:lnTo>
                      <a:pt x="248" y="304"/>
                    </a:lnTo>
                    <a:lnTo>
                      <a:pt x="224" y="306"/>
                    </a:lnTo>
                    <a:lnTo>
                      <a:pt x="204" y="310"/>
                    </a:lnTo>
                    <a:lnTo>
                      <a:pt x="186" y="314"/>
                    </a:lnTo>
                    <a:lnTo>
                      <a:pt x="170" y="322"/>
                    </a:lnTo>
                    <a:lnTo>
                      <a:pt x="170" y="322"/>
                    </a:lnTo>
                    <a:lnTo>
                      <a:pt x="162" y="326"/>
                    </a:lnTo>
                    <a:lnTo>
                      <a:pt x="156" y="332"/>
                    </a:lnTo>
                    <a:lnTo>
                      <a:pt x="150" y="340"/>
                    </a:lnTo>
                    <a:lnTo>
                      <a:pt x="146" y="346"/>
                    </a:lnTo>
                    <a:lnTo>
                      <a:pt x="142" y="354"/>
                    </a:lnTo>
                    <a:lnTo>
                      <a:pt x="140" y="364"/>
                    </a:lnTo>
                    <a:lnTo>
                      <a:pt x="138" y="382"/>
                    </a:lnTo>
                    <a:lnTo>
                      <a:pt x="138" y="382"/>
                    </a:lnTo>
                    <a:lnTo>
                      <a:pt x="138" y="400"/>
                    </a:lnTo>
                    <a:lnTo>
                      <a:pt x="142" y="414"/>
                    </a:lnTo>
                    <a:lnTo>
                      <a:pt x="150" y="426"/>
                    </a:lnTo>
                    <a:lnTo>
                      <a:pt x="158" y="438"/>
                    </a:lnTo>
                    <a:lnTo>
                      <a:pt x="170" y="446"/>
                    </a:lnTo>
                    <a:lnTo>
                      <a:pt x="184" y="452"/>
                    </a:lnTo>
                    <a:lnTo>
                      <a:pt x="200" y="456"/>
                    </a:lnTo>
                    <a:lnTo>
                      <a:pt x="216" y="456"/>
                    </a:lnTo>
                    <a:lnTo>
                      <a:pt x="216" y="456"/>
                    </a:lnTo>
                    <a:lnTo>
                      <a:pt x="234" y="456"/>
                    </a:lnTo>
                    <a:lnTo>
                      <a:pt x="252" y="452"/>
                    </a:lnTo>
                    <a:lnTo>
                      <a:pt x="268" y="448"/>
                    </a:lnTo>
                    <a:lnTo>
                      <a:pt x="282" y="442"/>
                    </a:lnTo>
                    <a:lnTo>
                      <a:pt x="304" y="430"/>
                    </a:lnTo>
                    <a:lnTo>
                      <a:pt x="322" y="418"/>
                    </a:lnTo>
                    <a:lnTo>
                      <a:pt x="322" y="302"/>
                    </a:lnTo>
                    <a:lnTo>
                      <a:pt x="248" y="3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2" name="Freeform 23"/>
              <p:cNvSpPr>
                <a:spLocks/>
              </p:cNvSpPr>
              <p:nvPr/>
            </p:nvSpPr>
            <p:spPr bwMode="auto">
              <a:xfrm>
                <a:off x="8121536" y="4519372"/>
                <a:ext cx="62089" cy="83892"/>
              </a:xfrm>
              <a:custGeom>
                <a:avLst/>
                <a:gdLst>
                  <a:gd name="T0" fmla="*/ 34 w 598"/>
                  <a:gd name="T1" fmla="*/ 678 h 808"/>
                  <a:gd name="T2" fmla="*/ 34 w 598"/>
                  <a:gd name="T3" fmla="*/ 678 h 808"/>
                  <a:gd name="T4" fmla="*/ 54 w 598"/>
                  <a:gd name="T5" fmla="*/ 688 h 808"/>
                  <a:gd name="T6" fmla="*/ 74 w 598"/>
                  <a:gd name="T7" fmla="*/ 694 h 808"/>
                  <a:gd name="T8" fmla="*/ 94 w 598"/>
                  <a:gd name="T9" fmla="*/ 698 h 808"/>
                  <a:gd name="T10" fmla="*/ 116 w 598"/>
                  <a:gd name="T11" fmla="*/ 700 h 808"/>
                  <a:gd name="T12" fmla="*/ 116 w 598"/>
                  <a:gd name="T13" fmla="*/ 700 h 808"/>
                  <a:gd name="T14" fmla="*/ 138 w 598"/>
                  <a:gd name="T15" fmla="*/ 698 h 808"/>
                  <a:gd name="T16" fmla="*/ 158 w 598"/>
                  <a:gd name="T17" fmla="*/ 692 h 808"/>
                  <a:gd name="T18" fmla="*/ 168 w 598"/>
                  <a:gd name="T19" fmla="*/ 686 h 808"/>
                  <a:gd name="T20" fmla="*/ 178 w 598"/>
                  <a:gd name="T21" fmla="*/ 680 h 808"/>
                  <a:gd name="T22" fmla="*/ 188 w 598"/>
                  <a:gd name="T23" fmla="*/ 672 h 808"/>
                  <a:gd name="T24" fmla="*/ 198 w 598"/>
                  <a:gd name="T25" fmla="*/ 664 h 808"/>
                  <a:gd name="T26" fmla="*/ 216 w 598"/>
                  <a:gd name="T27" fmla="*/ 642 h 808"/>
                  <a:gd name="T28" fmla="*/ 234 w 598"/>
                  <a:gd name="T29" fmla="*/ 612 h 808"/>
                  <a:gd name="T30" fmla="*/ 250 w 598"/>
                  <a:gd name="T31" fmla="*/ 578 h 808"/>
                  <a:gd name="T32" fmla="*/ 266 w 598"/>
                  <a:gd name="T33" fmla="*/ 536 h 808"/>
                  <a:gd name="T34" fmla="*/ 24 w 598"/>
                  <a:gd name="T35" fmla="*/ 0 h 808"/>
                  <a:gd name="T36" fmla="*/ 164 w 598"/>
                  <a:gd name="T37" fmla="*/ 0 h 808"/>
                  <a:gd name="T38" fmla="*/ 328 w 598"/>
                  <a:gd name="T39" fmla="*/ 382 h 808"/>
                  <a:gd name="T40" fmla="*/ 330 w 598"/>
                  <a:gd name="T41" fmla="*/ 382 h 808"/>
                  <a:gd name="T42" fmla="*/ 460 w 598"/>
                  <a:gd name="T43" fmla="*/ 0 h 808"/>
                  <a:gd name="T44" fmla="*/ 598 w 598"/>
                  <a:gd name="T45" fmla="*/ 0 h 808"/>
                  <a:gd name="T46" fmla="*/ 392 w 598"/>
                  <a:gd name="T47" fmla="*/ 556 h 808"/>
                  <a:gd name="T48" fmla="*/ 392 w 598"/>
                  <a:gd name="T49" fmla="*/ 556 h 808"/>
                  <a:gd name="T50" fmla="*/ 376 w 598"/>
                  <a:gd name="T51" fmla="*/ 596 h 808"/>
                  <a:gd name="T52" fmla="*/ 360 w 598"/>
                  <a:gd name="T53" fmla="*/ 632 h 808"/>
                  <a:gd name="T54" fmla="*/ 344 w 598"/>
                  <a:gd name="T55" fmla="*/ 662 h 808"/>
                  <a:gd name="T56" fmla="*/ 326 w 598"/>
                  <a:gd name="T57" fmla="*/ 690 h 808"/>
                  <a:gd name="T58" fmla="*/ 308 w 598"/>
                  <a:gd name="T59" fmla="*/ 714 h 808"/>
                  <a:gd name="T60" fmla="*/ 292 w 598"/>
                  <a:gd name="T61" fmla="*/ 734 h 808"/>
                  <a:gd name="T62" fmla="*/ 274 w 598"/>
                  <a:gd name="T63" fmla="*/ 752 h 808"/>
                  <a:gd name="T64" fmla="*/ 256 w 598"/>
                  <a:gd name="T65" fmla="*/ 766 h 808"/>
                  <a:gd name="T66" fmla="*/ 238 w 598"/>
                  <a:gd name="T67" fmla="*/ 778 h 808"/>
                  <a:gd name="T68" fmla="*/ 220 w 598"/>
                  <a:gd name="T69" fmla="*/ 788 h 808"/>
                  <a:gd name="T70" fmla="*/ 200 w 598"/>
                  <a:gd name="T71" fmla="*/ 796 h 808"/>
                  <a:gd name="T72" fmla="*/ 182 w 598"/>
                  <a:gd name="T73" fmla="*/ 800 h 808"/>
                  <a:gd name="T74" fmla="*/ 164 w 598"/>
                  <a:gd name="T75" fmla="*/ 804 h 808"/>
                  <a:gd name="T76" fmla="*/ 146 w 598"/>
                  <a:gd name="T77" fmla="*/ 808 h 808"/>
                  <a:gd name="T78" fmla="*/ 108 w 598"/>
                  <a:gd name="T79" fmla="*/ 808 h 808"/>
                  <a:gd name="T80" fmla="*/ 108 w 598"/>
                  <a:gd name="T81" fmla="*/ 808 h 808"/>
                  <a:gd name="T82" fmla="*/ 78 w 598"/>
                  <a:gd name="T83" fmla="*/ 808 h 808"/>
                  <a:gd name="T84" fmla="*/ 52 w 598"/>
                  <a:gd name="T85" fmla="*/ 802 h 808"/>
                  <a:gd name="T86" fmla="*/ 26 w 598"/>
                  <a:gd name="T87" fmla="*/ 794 h 808"/>
                  <a:gd name="T88" fmla="*/ 0 w 598"/>
                  <a:gd name="T89" fmla="*/ 784 h 808"/>
                  <a:gd name="T90" fmla="*/ 34 w 598"/>
                  <a:gd name="T91" fmla="*/ 678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98" h="808">
                    <a:moveTo>
                      <a:pt x="34" y="678"/>
                    </a:moveTo>
                    <a:lnTo>
                      <a:pt x="34" y="678"/>
                    </a:lnTo>
                    <a:lnTo>
                      <a:pt x="54" y="688"/>
                    </a:lnTo>
                    <a:lnTo>
                      <a:pt x="74" y="694"/>
                    </a:lnTo>
                    <a:lnTo>
                      <a:pt x="94" y="698"/>
                    </a:lnTo>
                    <a:lnTo>
                      <a:pt x="116" y="700"/>
                    </a:lnTo>
                    <a:lnTo>
                      <a:pt x="116" y="700"/>
                    </a:lnTo>
                    <a:lnTo>
                      <a:pt x="138" y="698"/>
                    </a:lnTo>
                    <a:lnTo>
                      <a:pt x="158" y="692"/>
                    </a:lnTo>
                    <a:lnTo>
                      <a:pt x="168" y="686"/>
                    </a:lnTo>
                    <a:lnTo>
                      <a:pt x="178" y="680"/>
                    </a:lnTo>
                    <a:lnTo>
                      <a:pt x="188" y="672"/>
                    </a:lnTo>
                    <a:lnTo>
                      <a:pt x="198" y="664"/>
                    </a:lnTo>
                    <a:lnTo>
                      <a:pt x="216" y="642"/>
                    </a:lnTo>
                    <a:lnTo>
                      <a:pt x="234" y="612"/>
                    </a:lnTo>
                    <a:lnTo>
                      <a:pt x="250" y="578"/>
                    </a:lnTo>
                    <a:lnTo>
                      <a:pt x="266" y="536"/>
                    </a:lnTo>
                    <a:lnTo>
                      <a:pt x="24" y="0"/>
                    </a:lnTo>
                    <a:lnTo>
                      <a:pt x="164" y="0"/>
                    </a:lnTo>
                    <a:lnTo>
                      <a:pt x="328" y="382"/>
                    </a:lnTo>
                    <a:lnTo>
                      <a:pt x="330" y="382"/>
                    </a:lnTo>
                    <a:lnTo>
                      <a:pt x="460" y="0"/>
                    </a:lnTo>
                    <a:lnTo>
                      <a:pt x="598" y="0"/>
                    </a:lnTo>
                    <a:lnTo>
                      <a:pt x="392" y="556"/>
                    </a:lnTo>
                    <a:lnTo>
                      <a:pt x="392" y="556"/>
                    </a:lnTo>
                    <a:lnTo>
                      <a:pt x="376" y="596"/>
                    </a:lnTo>
                    <a:lnTo>
                      <a:pt x="360" y="632"/>
                    </a:lnTo>
                    <a:lnTo>
                      <a:pt x="344" y="662"/>
                    </a:lnTo>
                    <a:lnTo>
                      <a:pt x="326" y="690"/>
                    </a:lnTo>
                    <a:lnTo>
                      <a:pt x="308" y="714"/>
                    </a:lnTo>
                    <a:lnTo>
                      <a:pt x="292" y="734"/>
                    </a:lnTo>
                    <a:lnTo>
                      <a:pt x="274" y="752"/>
                    </a:lnTo>
                    <a:lnTo>
                      <a:pt x="256" y="766"/>
                    </a:lnTo>
                    <a:lnTo>
                      <a:pt x="238" y="778"/>
                    </a:lnTo>
                    <a:lnTo>
                      <a:pt x="220" y="788"/>
                    </a:lnTo>
                    <a:lnTo>
                      <a:pt x="200" y="796"/>
                    </a:lnTo>
                    <a:lnTo>
                      <a:pt x="182" y="800"/>
                    </a:lnTo>
                    <a:lnTo>
                      <a:pt x="164" y="804"/>
                    </a:lnTo>
                    <a:lnTo>
                      <a:pt x="146" y="808"/>
                    </a:lnTo>
                    <a:lnTo>
                      <a:pt x="108" y="808"/>
                    </a:lnTo>
                    <a:lnTo>
                      <a:pt x="108" y="808"/>
                    </a:lnTo>
                    <a:lnTo>
                      <a:pt x="78" y="808"/>
                    </a:lnTo>
                    <a:lnTo>
                      <a:pt x="52" y="802"/>
                    </a:lnTo>
                    <a:lnTo>
                      <a:pt x="26" y="794"/>
                    </a:lnTo>
                    <a:lnTo>
                      <a:pt x="0" y="784"/>
                    </a:lnTo>
                    <a:lnTo>
                      <a:pt x="34" y="6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 name="Freeform 24"/>
              <p:cNvSpPr>
                <a:spLocks/>
              </p:cNvSpPr>
              <p:nvPr/>
            </p:nvSpPr>
            <p:spPr bwMode="auto">
              <a:xfrm>
                <a:off x="8179056" y="4502136"/>
                <a:ext cx="45269" cy="74340"/>
              </a:xfrm>
              <a:custGeom>
                <a:avLst/>
                <a:gdLst>
                  <a:gd name="T0" fmla="*/ 124 w 436"/>
                  <a:gd name="T1" fmla="*/ 572 h 716"/>
                  <a:gd name="T2" fmla="*/ 124 w 436"/>
                  <a:gd name="T3" fmla="*/ 272 h 716"/>
                  <a:gd name="T4" fmla="*/ 0 w 436"/>
                  <a:gd name="T5" fmla="*/ 272 h 716"/>
                  <a:gd name="T6" fmla="*/ 28 w 436"/>
                  <a:gd name="T7" fmla="*/ 166 h 716"/>
                  <a:gd name="T8" fmla="*/ 124 w 436"/>
                  <a:gd name="T9" fmla="*/ 166 h 716"/>
                  <a:gd name="T10" fmla="*/ 124 w 436"/>
                  <a:gd name="T11" fmla="*/ 40 h 716"/>
                  <a:gd name="T12" fmla="*/ 260 w 436"/>
                  <a:gd name="T13" fmla="*/ 0 h 716"/>
                  <a:gd name="T14" fmla="*/ 260 w 436"/>
                  <a:gd name="T15" fmla="*/ 166 h 716"/>
                  <a:gd name="T16" fmla="*/ 424 w 436"/>
                  <a:gd name="T17" fmla="*/ 166 h 716"/>
                  <a:gd name="T18" fmla="*/ 390 w 436"/>
                  <a:gd name="T19" fmla="*/ 272 h 716"/>
                  <a:gd name="T20" fmla="*/ 260 w 436"/>
                  <a:gd name="T21" fmla="*/ 272 h 716"/>
                  <a:gd name="T22" fmla="*/ 260 w 436"/>
                  <a:gd name="T23" fmla="*/ 538 h 716"/>
                  <a:gd name="T24" fmla="*/ 260 w 436"/>
                  <a:gd name="T25" fmla="*/ 538 h 716"/>
                  <a:gd name="T26" fmla="*/ 262 w 436"/>
                  <a:gd name="T27" fmla="*/ 556 h 716"/>
                  <a:gd name="T28" fmla="*/ 264 w 436"/>
                  <a:gd name="T29" fmla="*/ 570 h 716"/>
                  <a:gd name="T30" fmla="*/ 268 w 436"/>
                  <a:gd name="T31" fmla="*/ 582 h 716"/>
                  <a:gd name="T32" fmla="*/ 274 w 436"/>
                  <a:gd name="T33" fmla="*/ 592 h 716"/>
                  <a:gd name="T34" fmla="*/ 280 w 436"/>
                  <a:gd name="T35" fmla="*/ 598 h 716"/>
                  <a:gd name="T36" fmla="*/ 290 w 436"/>
                  <a:gd name="T37" fmla="*/ 604 h 716"/>
                  <a:gd name="T38" fmla="*/ 300 w 436"/>
                  <a:gd name="T39" fmla="*/ 606 h 716"/>
                  <a:gd name="T40" fmla="*/ 312 w 436"/>
                  <a:gd name="T41" fmla="*/ 606 h 716"/>
                  <a:gd name="T42" fmla="*/ 312 w 436"/>
                  <a:gd name="T43" fmla="*/ 606 h 716"/>
                  <a:gd name="T44" fmla="*/ 336 w 436"/>
                  <a:gd name="T45" fmla="*/ 604 h 716"/>
                  <a:gd name="T46" fmla="*/ 358 w 436"/>
                  <a:gd name="T47" fmla="*/ 598 h 716"/>
                  <a:gd name="T48" fmla="*/ 378 w 436"/>
                  <a:gd name="T49" fmla="*/ 590 h 716"/>
                  <a:gd name="T50" fmla="*/ 394 w 436"/>
                  <a:gd name="T51" fmla="*/ 580 h 716"/>
                  <a:gd name="T52" fmla="*/ 436 w 436"/>
                  <a:gd name="T53" fmla="*/ 674 h 716"/>
                  <a:gd name="T54" fmla="*/ 436 w 436"/>
                  <a:gd name="T55" fmla="*/ 674 h 716"/>
                  <a:gd name="T56" fmla="*/ 420 w 436"/>
                  <a:gd name="T57" fmla="*/ 684 h 716"/>
                  <a:gd name="T58" fmla="*/ 402 w 436"/>
                  <a:gd name="T59" fmla="*/ 692 h 716"/>
                  <a:gd name="T60" fmla="*/ 384 w 436"/>
                  <a:gd name="T61" fmla="*/ 698 h 716"/>
                  <a:gd name="T62" fmla="*/ 362 w 436"/>
                  <a:gd name="T63" fmla="*/ 704 h 716"/>
                  <a:gd name="T64" fmla="*/ 342 w 436"/>
                  <a:gd name="T65" fmla="*/ 710 h 716"/>
                  <a:gd name="T66" fmla="*/ 320 w 436"/>
                  <a:gd name="T67" fmla="*/ 714 h 716"/>
                  <a:gd name="T68" fmla="*/ 300 w 436"/>
                  <a:gd name="T69" fmla="*/ 716 h 716"/>
                  <a:gd name="T70" fmla="*/ 278 w 436"/>
                  <a:gd name="T71" fmla="*/ 716 h 716"/>
                  <a:gd name="T72" fmla="*/ 278 w 436"/>
                  <a:gd name="T73" fmla="*/ 716 h 716"/>
                  <a:gd name="T74" fmla="*/ 260 w 436"/>
                  <a:gd name="T75" fmla="*/ 716 h 716"/>
                  <a:gd name="T76" fmla="*/ 244 w 436"/>
                  <a:gd name="T77" fmla="*/ 714 h 716"/>
                  <a:gd name="T78" fmla="*/ 228 w 436"/>
                  <a:gd name="T79" fmla="*/ 710 h 716"/>
                  <a:gd name="T80" fmla="*/ 214 w 436"/>
                  <a:gd name="T81" fmla="*/ 706 h 716"/>
                  <a:gd name="T82" fmla="*/ 200 w 436"/>
                  <a:gd name="T83" fmla="*/ 700 h 716"/>
                  <a:gd name="T84" fmla="*/ 188 w 436"/>
                  <a:gd name="T85" fmla="*/ 694 h 716"/>
                  <a:gd name="T86" fmla="*/ 176 w 436"/>
                  <a:gd name="T87" fmla="*/ 686 h 716"/>
                  <a:gd name="T88" fmla="*/ 166 w 436"/>
                  <a:gd name="T89" fmla="*/ 678 h 716"/>
                  <a:gd name="T90" fmla="*/ 156 w 436"/>
                  <a:gd name="T91" fmla="*/ 668 h 716"/>
                  <a:gd name="T92" fmla="*/ 148 w 436"/>
                  <a:gd name="T93" fmla="*/ 656 h 716"/>
                  <a:gd name="T94" fmla="*/ 142 w 436"/>
                  <a:gd name="T95" fmla="*/ 644 h 716"/>
                  <a:gd name="T96" fmla="*/ 136 w 436"/>
                  <a:gd name="T97" fmla="*/ 632 h 716"/>
                  <a:gd name="T98" fmla="*/ 130 w 436"/>
                  <a:gd name="T99" fmla="*/ 618 h 716"/>
                  <a:gd name="T100" fmla="*/ 128 w 436"/>
                  <a:gd name="T101" fmla="*/ 604 h 716"/>
                  <a:gd name="T102" fmla="*/ 126 w 436"/>
                  <a:gd name="T103" fmla="*/ 588 h 716"/>
                  <a:gd name="T104" fmla="*/ 124 w 436"/>
                  <a:gd name="T105" fmla="*/ 572 h 716"/>
                  <a:gd name="T106" fmla="*/ 124 w 436"/>
                  <a:gd name="T107" fmla="*/ 57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6" h="716">
                    <a:moveTo>
                      <a:pt x="124" y="572"/>
                    </a:moveTo>
                    <a:lnTo>
                      <a:pt x="124" y="272"/>
                    </a:lnTo>
                    <a:lnTo>
                      <a:pt x="0" y="272"/>
                    </a:lnTo>
                    <a:lnTo>
                      <a:pt x="28" y="166"/>
                    </a:lnTo>
                    <a:lnTo>
                      <a:pt x="124" y="166"/>
                    </a:lnTo>
                    <a:lnTo>
                      <a:pt x="124" y="40"/>
                    </a:lnTo>
                    <a:lnTo>
                      <a:pt x="260" y="0"/>
                    </a:lnTo>
                    <a:lnTo>
                      <a:pt x="260" y="166"/>
                    </a:lnTo>
                    <a:lnTo>
                      <a:pt x="424" y="166"/>
                    </a:lnTo>
                    <a:lnTo>
                      <a:pt x="390" y="272"/>
                    </a:lnTo>
                    <a:lnTo>
                      <a:pt x="260" y="272"/>
                    </a:lnTo>
                    <a:lnTo>
                      <a:pt x="260" y="538"/>
                    </a:lnTo>
                    <a:lnTo>
                      <a:pt x="260" y="538"/>
                    </a:lnTo>
                    <a:lnTo>
                      <a:pt x="262" y="556"/>
                    </a:lnTo>
                    <a:lnTo>
                      <a:pt x="264" y="570"/>
                    </a:lnTo>
                    <a:lnTo>
                      <a:pt x="268" y="582"/>
                    </a:lnTo>
                    <a:lnTo>
                      <a:pt x="274" y="592"/>
                    </a:lnTo>
                    <a:lnTo>
                      <a:pt x="280" y="598"/>
                    </a:lnTo>
                    <a:lnTo>
                      <a:pt x="290" y="604"/>
                    </a:lnTo>
                    <a:lnTo>
                      <a:pt x="300" y="606"/>
                    </a:lnTo>
                    <a:lnTo>
                      <a:pt x="312" y="606"/>
                    </a:lnTo>
                    <a:lnTo>
                      <a:pt x="312" y="606"/>
                    </a:lnTo>
                    <a:lnTo>
                      <a:pt x="336" y="604"/>
                    </a:lnTo>
                    <a:lnTo>
                      <a:pt x="358" y="598"/>
                    </a:lnTo>
                    <a:lnTo>
                      <a:pt x="378" y="590"/>
                    </a:lnTo>
                    <a:lnTo>
                      <a:pt x="394" y="580"/>
                    </a:lnTo>
                    <a:lnTo>
                      <a:pt x="436" y="674"/>
                    </a:lnTo>
                    <a:lnTo>
                      <a:pt x="436" y="674"/>
                    </a:lnTo>
                    <a:lnTo>
                      <a:pt x="420" y="684"/>
                    </a:lnTo>
                    <a:lnTo>
                      <a:pt x="402" y="692"/>
                    </a:lnTo>
                    <a:lnTo>
                      <a:pt x="384" y="698"/>
                    </a:lnTo>
                    <a:lnTo>
                      <a:pt x="362" y="704"/>
                    </a:lnTo>
                    <a:lnTo>
                      <a:pt x="342" y="710"/>
                    </a:lnTo>
                    <a:lnTo>
                      <a:pt x="320" y="714"/>
                    </a:lnTo>
                    <a:lnTo>
                      <a:pt x="300" y="716"/>
                    </a:lnTo>
                    <a:lnTo>
                      <a:pt x="278" y="716"/>
                    </a:lnTo>
                    <a:lnTo>
                      <a:pt x="278" y="716"/>
                    </a:lnTo>
                    <a:lnTo>
                      <a:pt x="260" y="716"/>
                    </a:lnTo>
                    <a:lnTo>
                      <a:pt x="244" y="714"/>
                    </a:lnTo>
                    <a:lnTo>
                      <a:pt x="228" y="710"/>
                    </a:lnTo>
                    <a:lnTo>
                      <a:pt x="214" y="706"/>
                    </a:lnTo>
                    <a:lnTo>
                      <a:pt x="200" y="700"/>
                    </a:lnTo>
                    <a:lnTo>
                      <a:pt x="188" y="694"/>
                    </a:lnTo>
                    <a:lnTo>
                      <a:pt x="176" y="686"/>
                    </a:lnTo>
                    <a:lnTo>
                      <a:pt x="166" y="678"/>
                    </a:lnTo>
                    <a:lnTo>
                      <a:pt x="156" y="668"/>
                    </a:lnTo>
                    <a:lnTo>
                      <a:pt x="148" y="656"/>
                    </a:lnTo>
                    <a:lnTo>
                      <a:pt x="142" y="644"/>
                    </a:lnTo>
                    <a:lnTo>
                      <a:pt x="136" y="632"/>
                    </a:lnTo>
                    <a:lnTo>
                      <a:pt x="130" y="618"/>
                    </a:lnTo>
                    <a:lnTo>
                      <a:pt x="128" y="604"/>
                    </a:lnTo>
                    <a:lnTo>
                      <a:pt x="126" y="588"/>
                    </a:lnTo>
                    <a:lnTo>
                      <a:pt x="124" y="572"/>
                    </a:lnTo>
                    <a:lnTo>
                      <a:pt x="124" y="5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 name="Freeform 25"/>
              <p:cNvSpPr>
                <a:spLocks/>
              </p:cNvSpPr>
              <p:nvPr/>
            </p:nvSpPr>
            <p:spPr bwMode="auto">
              <a:xfrm>
                <a:off x="8254227" y="4517918"/>
                <a:ext cx="47345" cy="58558"/>
              </a:xfrm>
              <a:custGeom>
                <a:avLst/>
                <a:gdLst>
                  <a:gd name="T0" fmla="*/ 0 w 456"/>
                  <a:gd name="T1" fmla="*/ 288 h 564"/>
                  <a:gd name="T2" fmla="*/ 4 w 456"/>
                  <a:gd name="T3" fmla="*/ 226 h 564"/>
                  <a:gd name="T4" fmla="*/ 22 w 456"/>
                  <a:gd name="T5" fmla="*/ 172 h 564"/>
                  <a:gd name="T6" fmla="*/ 48 w 456"/>
                  <a:gd name="T7" fmla="*/ 122 h 564"/>
                  <a:gd name="T8" fmla="*/ 82 w 456"/>
                  <a:gd name="T9" fmla="*/ 80 h 564"/>
                  <a:gd name="T10" fmla="*/ 124 w 456"/>
                  <a:gd name="T11" fmla="*/ 46 h 564"/>
                  <a:gd name="T12" fmla="*/ 172 w 456"/>
                  <a:gd name="T13" fmla="*/ 22 h 564"/>
                  <a:gd name="T14" fmla="*/ 226 w 456"/>
                  <a:gd name="T15" fmla="*/ 6 h 564"/>
                  <a:gd name="T16" fmla="*/ 284 w 456"/>
                  <a:gd name="T17" fmla="*/ 0 h 564"/>
                  <a:gd name="T18" fmla="*/ 308 w 456"/>
                  <a:gd name="T19" fmla="*/ 0 h 564"/>
                  <a:gd name="T20" fmla="*/ 352 w 456"/>
                  <a:gd name="T21" fmla="*/ 6 h 564"/>
                  <a:gd name="T22" fmla="*/ 388 w 456"/>
                  <a:gd name="T23" fmla="*/ 16 h 564"/>
                  <a:gd name="T24" fmla="*/ 428 w 456"/>
                  <a:gd name="T25" fmla="*/ 36 h 564"/>
                  <a:gd name="T26" fmla="*/ 428 w 456"/>
                  <a:gd name="T27" fmla="*/ 152 h 564"/>
                  <a:gd name="T28" fmla="*/ 400 w 456"/>
                  <a:gd name="T29" fmla="*/ 134 h 564"/>
                  <a:gd name="T30" fmla="*/ 368 w 456"/>
                  <a:gd name="T31" fmla="*/ 120 h 564"/>
                  <a:gd name="T32" fmla="*/ 336 w 456"/>
                  <a:gd name="T33" fmla="*/ 112 h 564"/>
                  <a:gd name="T34" fmla="*/ 298 w 456"/>
                  <a:gd name="T35" fmla="*/ 110 h 564"/>
                  <a:gd name="T36" fmla="*/ 280 w 456"/>
                  <a:gd name="T37" fmla="*/ 110 h 564"/>
                  <a:gd name="T38" fmla="*/ 246 w 456"/>
                  <a:gd name="T39" fmla="*/ 118 h 564"/>
                  <a:gd name="T40" fmla="*/ 216 w 456"/>
                  <a:gd name="T41" fmla="*/ 130 h 564"/>
                  <a:gd name="T42" fmla="*/ 192 w 456"/>
                  <a:gd name="T43" fmla="*/ 148 h 564"/>
                  <a:gd name="T44" fmla="*/ 170 w 456"/>
                  <a:gd name="T45" fmla="*/ 172 h 564"/>
                  <a:gd name="T46" fmla="*/ 156 w 456"/>
                  <a:gd name="T47" fmla="*/ 200 h 564"/>
                  <a:gd name="T48" fmla="*/ 144 w 456"/>
                  <a:gd name="T49" fmla="*/ 230 h 564"/>
                  <a:gd name="T50" fmla="*/ 140 w 456"/>
                  <a:gd name="T51" fmla="*/ 266 h 564"/>
                  <a:gd name="T52" fmla="*/ 138 w 456"/>
                  <a:gd name="T53" fmla="*/ 284 h 564"/>
                  <a:gd name="T54" fmla="*/ 142 w 456"/>
                  <a:gd name="T55" fmla="*/ 322 h 564"/>
                  <a:gd name="T56" fmla="*/ 150 w 456"/>
                  <a:gd name="T57" fmla="*/ 358 h 564"/>
                  <a:gd name="T58" fmla="*/ 162 w 456"/>
                  <a:gd name="T59" fmla="*/ 386 h 564"/>
                  <a:gd name="T60" fmla="*/ 180 w 456"/>
                  <a:gd name="T61" fmla="*/ 410 h 564"/>
                  <a:gd name="T62" fmla="*/ 202 w 456"/>
                  <a:gd name="T63" fmla="*/ 430 h 564"/>
                  <a:gd name="T64" fmla="*/ 228 w 456"/>
                  <a:gd name="T65" fmla="*/ 444 h 564"/>
                  <a:gd name="T66" fmla="*/ 258 w 456"/>
                  <a:gd name="T67" fmla="*/ 452 h 564"/>
                  <a:gd name="T68" fmla="*/ 292 w 456"/>
                  <a:gd name="T69" fmla="*/ 454 h 564"/>
                  <a:gd name="T70" fmla="*/ 310 w 456"/>
                  <a:gd name="T71" fmla="*/ 454 h 564"/>
                  <a:gd name="T72" fmla="*/ 342 w 456"/>
                  <a:gd name="T73" fmla="*/ 448 h 564"/>
                  <a:gd name="T74" fmla="*/ 388 w 456"/>
                  <a:gd name="T75" fmla="*/ 432 h 564"/>
                  <a:gd name="T76" fmla="*/ 456 w 456"/>
                  <a:gd name="T77" fmla="*/ 512 h 564"/>
                  <a:gd name="T78" fmla="*/ 438 w 456"/>
                  <a:gd name="T79" fmla="*/ 522 h 564"/>
                  <a:gd name="T80" fmla="*/ 398 w 456"/>
                  <a:gd name="T81" fmla="*/ 542 h 564"/>
                  <a:gd name="T82" fmla="*/ 352 w 456"/>
                  <a:gd name="T83" fmla="*/ 556 h 564"/>
                  <a:gd name="T84" fmla="*/ 300 w 456"/>
                  <a:gd name="T85" fmla="*/ 564 h 564"/>
                  <a:gd name="T86" fmla="*/ 272 w 456"/>
                  <a:gd name="T87" fmla="*/ 564 h 564"/>
                  <a:gd name="T88" fmla="*/ 210 w 456"/>
                  <a:gd name="T89" fmla="*/ 558 h 564"/>
                  <a:gd name="T90" fmla="*/ 156 w 456"/>
                  <a:gd name="T91" fmla="*/ 542 h 564"/>
                  <a:gd name="T92" fmla="*/ 108 w 456"/>
                  <a:gd name="T93" fmla="*/ 518 h 564"/>
                  <a:gd name="T94" fmla="*/ 70 w 456"/>
                  <a:gd name="T95" fmla="*/ 484 h 564"/>
                  <a:gd name="T96" fmla="*/ 40 w 456"/>
                  <a:gd name="T97" fmla="*/ 444 h 564"/>
                  <a:gd name="T98" fmla="*/ 18 w 456"/>
                  <a:gd name="T99" fmla="*/ 396 h 564"/>
                  <a:gd name="T100" fmla="*/ 4 w 456"/>
                  <a:gd name="T101" fmla="*/ 344 h 564"/>
                  <a:gd name="T102" fmla="*/ 0 w 456"/>
                  <a:gd name="T103" fmla="*/ 288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56" h="564">
                    <a:moveTo>
                      <a:pt x="0" y="288"/>
                    </a:moveTo>
                    <a:lnTo>
                      <a:pt x="0" y="288"/>
                    </a:lnTo>
                    <a:lnTo>
                      <a:pt x="0" y="256"/>
                    </a:lnTo>
                    <a:lnTo>
                      <a:pt x="4" y="226"/>
                    </a:lnTo>
                    <a:lnTo>
                      <a:pt x="12" y="198"/>
                    </a:lnTo>
                    <a:lnTo>
                      <a:pt x="22" y="172"/>
                    </a:lnTo>
                    <a:lnTo>
                      <a:pt x="32" y="146"/>
                    </a:lnTo>
                    <a:lnTo>
                      <a:pt x="48" y="122"/>
                    </a:lnTo>
                    <a:lnTo>
                      <a:pt x="64" y="100"/>
                    </a:lnTo>
                    <a:lnTo>
                      <a:pt x="82" y="80"/>
                    </a:lnTo>
                    <a:lnTo>
                      <a:pt x="102" y="62"/>
                    </a:lnTo>
                    <a:lnTo>
                      <a:pt x="124" y="46"/>
                    </a:lnTo>
                    <a:lnTo>
                      <a:pt x="146" y="32"/>
                    </a:lnTo>
                    <a:lnTo>
                      <a:pt x="172" y="22"/>
                    </a:lnTo>
                    <a:lnTo>
                      <a:pt x="198" y="12"/>
                    </a:lnTo>
                    <a:lnTo>
                      <a:pt x="226" y="6"/>
                    </a:lnTo>
                    <a:lnTo>
                      <a:pt x="254" y="2"/>
                    </a:lnTo>
                    <a:lnTo>
                      <a:pt x="284" y="0"/>
                    </a:lnTo>
                    <a:lnTo>
                      <a:pt x="284" y="0"/>
                    </a:lnTo>
                    <a:lnTo>
                      <a:pt x="308" y="0"/>
                    </a:lnTo>
                    <a:lnTo>
                      <a:pt x="332" y="4"/>
                    </a:lnTo>
                    <a:lnTo>
                      <a:pt x="352" y="6"/>
                    </a:lnTo>
                    <a:lnTo>
                      <a:pt x="372" y="12"/>
                    </a:lnTo>
                    <a:lnTo>
                      <a:pt x="388" y="16"/>
                    </a:lnTo>
                    <a:lnTo>
                      <a:pt x="404" y="24"/>
                    </a:lnTo>
                    <a:lnTo>
                      <a:pt x="428" y="36"/>
                    </a:lnTo>
                    <a:lnTo>
                      <a:pt x="428" y="152"/>
                    </a:lnTo>
                    <a:lnTo>
                      <a:pt x="428" y="152"/>
                    </a:lnTo>
                    <a:lnTo>
                      <a:pt x="414" y="142"/>
                    </a:lnTo>
                    <a:lnTo>
                      <a:pt x="400" y="134"/>
                    </a:lnTo>
                    <a:lnTo>
                      <a:pt x="384" y="126"/>
                    </a:lnTo>
                    <a:lnTo>
                      <a:pt x="368" y="120"/>
                    </a:lnTo>
                    <a:lnTo>
                      <a:pt x="352" y="116"/>
                    </a:lnTo>
                    <a:lnTo>
                      <a:pt x="336" y="112"/>
                    </a:lnTo>
                    <a:lnTo>
                      <a:pt x="316" y="110"/>
                    </a:lnTo>
                    <a:lnTo>
                      <a:pt x="298" y="110"/>
                    </a:lnTo>
                    <a:lnTo>
                      <a:pt x="298" y="110"/>
                    </a:lnTo>
                    <a:lnTo>
                      <a:pt x="280" y="110"/>
                    </a:lnTo>
                    <a:lnTo>
                      <a:pt x="262" y="112"/>
                    </a:lnTo>
                    <a:lnTo>
                      <a:pt x="246" y="118"/>
                    </a:lnTo>
                    <a:lnTo>
                      <a:pt x="230" y="122"/>
                    </a:lnTo>
                    <a:lnTo>
                      <a:pt x="216" y="130"/>
                    </a:lnTo>
                    <a:lnTo>
                      <a:pt x="204" y="138"/>
                    </a:lnTo>
                    <a:lnTo>
                      <a:pt x="192" y="148"/>
                    </a:lnTo>
                    <a:lnTo>
                      <a:pt x="180" y="160"/>
                    </a:lnTo>
                    <a:lnTo>
                      <a:pt x="170" y="172"/>
                    </a:lnTo>
                    <a:lnTo>
                      <a:pt x="162" y="186"/>
                    </a:lnTo>
                    <a:lnTo>
                      <a:pt x="156" y="200"/>
                    </a:lnTo>
                    <a:lnTo>
                      <a:pt x="150" y="214"/>
                    </a:lnTo>
                    <a:lnTo>
                      <a:pt x="144" y="230"/>
                    </a:lnTo>
                    <a:lnTo>
                      <a:pt x="142" y="248"/>
                    </a:lnTo>
                    <a:lnTo>
                      <a:pt x="140" y="266"/>
                    </a:lnTo>
                    <a:lnTo>
                      <a:pt x="138" y="284"/>
                    </a:lnTo>
                    <a:lnTo>
                      <a:pt x="138" y="284"/>
                    </a:lnTo>
                    <a:lnTo>
                      <a:pt x="140" y="304"/>
                    </a:lnTo>
                    <a:lnTo>
                      <a:pt x="142" y="322"/>
                    </a:lnTo>
                    <a:lnTo>
                      <a:pt x="144" y="340"/>
                    </a:lnTo>
                    <a:lnTo>
                      <a:pt x="150" y="358"/>
                    </a:lnTo>
                    <a:lnTo>
                      <a:pt x="156" y="372"/>
                    </a:lnTo>
                    <a:lnTo>
                      <a:pt x="162" y="386"/>
                    </a:lnTo>
                    <a:lnTo>
                      <a:pt x="170" y="400"/>
                    </a:lnTo>
                    <a:lnTo>
                      <a:pt x="180" y="410"/>
                    </a:lnTo>
                    <a:lnTo>
                      <a:pt x="190" y="420"/>
                    </a:lnTo>
                    <a:lnTo>
                      <a:pt x="202" y="430"/>
                    </a:lnTo>
                    <a:lnTo>
                      <a:pt x="214" y="438"/>
                    </a:lnTo>
                    <a:lnTo>
                      <a:pt x="228" y="444"/>
                    </a:lnTo>
                    <a:lnTo>
                      <a:pt x="242" y="448"/>
                    </a:lnTo>
                    <a:lnTo>
                      <a:pt x="258" y="452"/>
                    </a:lnTo>
                    <a:lnTo>
                      <a:pt x="274" y="454"/>
                    </a:lnTo>
                    <a:lnTo>
                      <a:pt x="292" y="454"/>
                    </a:lnTo>
                    <a:lnTo>
                      <a:pt x="292" y="454"/>
                    </a:lnTo>
                    <a:lnTo>
                      <a:pt x="310" y="454"/>
                    </a:lnTo>
                    <a:lnTo>
                      <a:pt x="326" y="452"/>
                    </a:lnTo>
                    <a:lnTo>
                      <a:pt x="342" y="448"/>
                    </a:lnTo>
                    <a:lnTo>
                      <a:pt x="358" y="444"/>
                    </a:lnTo>
                    <a:lnTo>
                      <a:pt x="388" y="432"/>
                    </a:lnTo>
                    <a:lnTo>
                      <a:pt x="416" y="418"/>
                    </a:lnTo>
                    <a:lnTo>
                      <a:pt x="456" y="512"/>
                    </a:lnTo>
                    <a:lnTo>
                      <a:pt x="456" y="512"/>
                    </a:lnTo>
                    <a:lnTo>
                      <a:pt x="438" y="522"/>
                    </a:lnTo>
                    <a:lnTo>
                      <a:pt x="420" y="532"/>
                    </a:lnTo>
                    <a:lnTo>
                      <a:pt x="398" y="542"/>
                    </a:lnTo>
                    <a:lnTo>
                      <a:pt x="376" y="550"/>
                    </a:lnTo>
                    <a:lnTo>
                      <a:pt x="352" y="556"/>
                    </a:lnTo>
                    <a:lnTo>
                      <a:pt x="326" y="560"/>
                    </a:lnTo>
                    <a:lnTo>
                      <a:pt x="300" y="564"/>
                    </a:lnTo>
                    <a:lnTo>
                      <a:pt x="272" y="564"/>
                    </a:lnTo>
                    <a:lnTo>
                      <a:pt x="272" y="564"/>
                    </a:lnTo>
                    <a:lnTo>
                      <a:pt x="240" y="562"/>
                    </a:lnTo>
                    <a:lnTo>
                      <a:pt x="210" y="558"/>
                    </a:lnTo>
                    <a:lnTo>
                      <a:pt x="182" y="552"/>
                    </a:lnTo>
                    <a:lnTo>
                      <a:pt x="156" y="542"/>
                    </a:lnTo>
                    <a:lnTo>
                      <a:pt x="130" y="532"/>
                    </a:lnTo>
                    <a:lnTo>
                      <a:pt x="108" y="518"/>
                    </a:lnTo>
                    <a:lnTo>
                      <a:pt x="88" y="502"/>
                    </a:lnTo>
                    <a:lnTo>
                      <a:pt x="70" y="484"/>
                    </a:lnTo>
                    <a:lnTo>
                      <a:pt x="54" y="464"/>
                    </a:lnTo>
                    <a:lnTo>
                      <a:pt x="40" y="444"/>
                    </a:lnTo>
                    <a:lnTo>
                      <a:pt x="28" y="420"/>
                    </a:lnTo>
                    <a:lnTo>
                      <a:pt x="18" y="396"/>
                    </a:lnTo>
                    <a:lnTo>
                      <a:pt x="10" y="370"/>
                    </a:lnTo>
                    <a:lnTo>
                      <a:pt x="4" y="344"/>
                    </a:lnTo>
                    <a:lnTo>
                      <a:pt x="0" y="316"/>
                    </a:lnTo>
                    <a:lnTo>
                      <a:pt x="0" y="288"/>
                    </a:lnTo>
                    <a:lnTo>
                      <a:pt x="0"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5" name="Freeform 26"/>
              <p:cNvSpPr>
                <a:spLocks/>
              </p:cNvSpPr>
              <p:nvPr/>
            </p:nvSpPr>
            <p:spPr bwMode="auto">
              <a:xfrm>
                <a:off x="8304894" y="4517918"/>
                <a:ext cx="43400" cy="58558"/>
              </a:xfrm>
              <a:custGeom>
                <a:avLst/>
                <a:gdLst>
                  <a:gd name="T0" fmla="*/ 58 w 418"/>
                  <a:gd name="T1" fmla="*/ 422 h 564"/>
                  <a:gd name="T2" fmla="*/ 112 w 418"/>
                  <a:gd name="T3" fmla="*/ 444 h 564"/>
                  <a:gd name="T4" fmla="*/ 170 w 418"/>
                  <a:gd name="T5" fmla="*/ 456 h 564"/>
                  <a:gd name="T6" fmla="*/ 210 w 418"/>
                  <a:gd name="T7" fmla="*/ 456 h 564"/>
                  <a:gd name="T8" fmla="*/ 258 w 418"/>
                  <a:gd name="T9" fmla="*/ 444 h 564"/>
                  <a:gd name="T10" fmla="*/ 282 w 418"/>
                  <a:gd name="T11" fmla="*/ 414 h 564"/>
                  <a:gd name="T12" fmla="*/ 284 w 418"/>
                  <a:gd name="T13" fmla="*/ 392 h 564"/>
                  <a:gd name="T14" fmla="*/ 274 w 418"/>
                  <a:gd name="T15" fmla="*/ 372 h 564"/>
                  <a:gd name="T16" fmla="*/ 226 w 418"/>
                  <a:gd name="T17" fmla="*/ 340 h 564"/>
                  <a:gd name="T18" fmla="*/ 134 w 418"/>
                  <a:gd name="T19" fmla="*/ 304 h 564"/>
                  <a:gd name="T20" fmla="*/ 72 w 418"/>
                  <a:gd name="T21" fmla="*/ 264 h 564"/>
                  <a:gd name="T22" fmla="*/ 48 w 418"/>
                  <a:gd name="T23" fmla="*/ 232 h 564"/>
                  <a:gd name="T24" fmla="*/ 34 w 418"/>
                  <a:gd name="T25" fmla="*/ 194 h 564"/>
                  <a:gd name="T26" fmla="*/ 32 w 418"/>
                  <a:gd name="T27" fmla="*/ 162 h 564"/>
                  <a:gd name="T28" fmla="*/ 40 w 418"/>
                  <a:gd name="T29" fmla="*/ 112 h 564"/>
                  <a:gd name="T30" fmla="*/ 62 w 418"/>
                  <a:gd name="T31" fmla="*/ 70 h 564"/>
                  <a:gd name="T32" fmla="*/ 100 w 418"/>
                  <a:gd name="T33" fmla="*/ 36 h 564"/>
                  <a:gd name="T34" fmla="*/ 150 w 418"/>
                  <a:gd name="T35" fmla="*/ 12 h 564"/>
                  <a:gd name="T36" fmla="*/ 212 w 418"/>
                  <a:gd name="T37" fmla="*/ 0 h 564"/>
                  <a:gd name="T38" fmla="*/ 280 w 418"/>
                  <a:gd name="T39" fmla="*/ 2 h 564"/>
                  <a:gd name="T40" fmla="*/ 394 w 418"/>
                  <a:gd name="T41" fmla="*/ 26 h 564"/>
                  <a:gd name="T42" fmla="*/ 358 w 418"/>
                  <a:gd name="T43" fmla="*/ 128 h 564"/>
                  <a:gd name="T44" fmla="*/ 262 w 418"/>
                  <a:gd name="T45" fmla="*/ 108 h 564"/>
                  <a:gd name="T46" fmla="*/ 224 w 418"/>
                  <a:gd name="T47" fmla="*/ 108 h 564"/>
                  <a:gd name="T48" fmla="*/ 186 w 418"/>
                  <a:gd name="T49" fmla="*/ 118 h 564"/>
                  <a:gd name="T50" fmla="*/ 166 w 418"/>
                  <a:gd name="T51" fmla="*/ 144 h 564"/>
                  <a:gd name="T52" fmla="*/ 166 w 418"/>
                  <a:gd name="T53" fmla="*/ 164 h 564"/>
                  <a:gd name="T54" fmla="*/ 176 w 418"/>
                  <a:gd name="T55" fmla="*/ 184 h 564"/>
                  <a:gd name="T56" fmla="*/ 224 w 418"/>
                  <a:gd name="T57" fmla="*/ 212 h 564"/>
                  <a:gd name="T58" fmla="*/ 314 w 418"/>
                  <a:gd name="T59" fmla="*/ 248 h 564"/>
                  <a:gd name="T60" fmla="*/ 378 w 418"/>
                  <a:gd name="T61" fmla="*/ 292 h 564"/>
                  <a:gd name="T62" fmla="*/ 402 w 418"/>
                  <a:gd name="T63" fmla="*/ 324 h 564"/>
                  <a:gd name="T64" fmla="*/ 414 w 418"/>
                  <a:gd name="T65" fmla="*/ 364 h 564"/>
                  <a:gd name="T66" fmla="*/ 418 w 418"/>
                  <a:gd name="T67" fmla="*/ 396 h 564"/>
                  <a:gd name="T68" fmla="*/ 408 w 418"/>
                  <a:gd name="T69" fmla="*/ 456 h 564"/>
                  <a:gd name="T70" fmla="*/ 380 w 418"/>
                  <a:gd name="T71" fmla="*/ 502 h 564"/>
                  <a:gd name="T72" fmla="*/ 336 w 418"/>
                  <a:gd name="T73" fmla="*/ 534 h 564"/>
                  <a:gd name="T74" fmla="*/ 282 w 418"/>
                  <a:gd name="T75" fmla="*/ 554 h 564"/>
                  <a:gd name="T76" fmla="*/ 220 w 418"/>
                  <a:gd name="T77" fmla="*/ 564 h 564"/>
                  <a:gd name="T78" fmla="*/ 168 w 418"/>
                  <a:gd name="T79" fmla="*/ 562 h 564"/>
                  <a:gd name="T80" fmla="*/ 84 w 418"/>
                  <a:gd name="T81" fmla="*/ 548 h 564"/>
                  <a:gd name="T82" fmla="*/ 18 w 418"/>
                  <a:gd name="T83" fmla="*/ 522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8" h="564">
                    <a:moveTo>
                      <a:pt x="42" y="412"/>
                    </a:moveTo>
                    <a:lnTo>
                      <a:pt x="42" y="412"/>
                    </a:lnTo>
                    <a:lnTo>
                      <a:pt x="58" y="422"/>
                    </a:lnTo>
                    <a:lnTo>
                      <a:pt x="76" y="430"/>
                    </a:lnTo>
                    <a:lnTo>
                      <a:pt x="94" y="438"/>
                    </a:lnTo>
                    <a:lnTo>
                      <a:pt x="112" y="444"/>
                    </a:lnTo>
                    <a:lnTo>
                      <a:pt x="130" y="450"/>
                    </a:lnTo>
                    <a:lnTo>
                      <a:pt x="150" y="454"/>
                    </a:lnTo>
                    <a:lnTo>
                      <a:pt x="170" y="456"/>
                    </a:lnTo>
                    <a:lnTo>
                      <a:pt x="190" y="456"/>
                    </a:lnTo>
                    <a:lnTo>
                      <a:pt x="190" y="456"/>
                    </a:lnTo>
                    <a:lnTo>
                      <a:pt x="210" y="456"/>
                    </a:lnTo>
                    <a:lnTo>
                      <a:pt x="228" y="454"/>
                    </a:lnTo>
                    <a:lnTo>
                      <a:pt x="244" y="450"/>
                    </a:lnTo>
                    <a:lnTo>
                      <a:pt x="258" y="444"/>
                    </a:lnTo>
                    <a:lnTo>
                      <a:pt x="268" y="436"/>
                    </a:lnTo>
                    <a:lnTo>
                      <a:pt x="278" y="426"/>
                    </a:lnTo>
                    <a:lnTo>
                      <a:pt x="282" y="414"/>
                    </a:lnTo>
                    <a:lnTo>
                      <a:pt x="284" y="400"/>
                    </a:lnTo>
                    <a:lnTo>
                      <a:pt x="284" y="400"/>
                    </a:lnTo>
                    <a:lnTo>
                      <a:pt x="284" y="392"/>
                    </a:lnTo>
                    <a:lnTo>
                      <a:pt x="282" y="384"/>
                    </a:lnTo>
                    <a:lnTo>
                      <a:pt x="278" y="378"/>
                    </a:lnTo>
                    <a:lnTo>
                      <a:pt x="274" y="372"/>
                    </a:lnTo>
                    <a:lnTo>
                      <a:pt x="262" y="360"/>
                    </a:lnTo>
                    <a:lnTo>
                      <a:pt x="244" y="350"/>
                    </a:lnTo>
                    <a:lnTo>
                      <a:pt x="226" y="340"/>
                    </a:lnTo>
                    <a:lnTo>
                      <a:pt x="204" y="332"/>
                    </a:lnTo>
                    <a:lnTo>
                      <a:pt x="158" y="314"/>
                    </a:lnTo>
                    <a:lnTo>
                      <a:pt x="134" y="304"/>
                    </a:lnTo>
                    <a:lnTo>
                      <a:pt x="112" y="294"/>
                    </a:lnTo>
                    <a:lnTo>
                      <a:pt x="90" y="280"/>
                    </a:lnTo>
                    <a:lnTo>
                      <a:pt x="72" y="264"/>
                    </a:lnTo>
                    <a:lnTo>
                      <a:pt x="62" y="254"/>
                    </a:lnTo>
                    <a:lnTo>
                      <a:pt x="54" y="244"/>
                    </a:lnTo>
                    <a:lnTo>
                      <a:pt x="48" y="232"/>
                    </a:lnTo>
                    <a:lnTo>
                      <a:pt x="42" y="222"/>
                    </a:lnTo>
                    <a:lnTo>
                      <a:pt x="38" y="208"/>
                    </a:lnTo>
                    <a:lnTo>
                      <a:pt x="34" y="194"/>
                    </a:lnTo>
                    <a:lnTo>
                      <a:pt x="32" y="180"/>
                    </a:lnTo>
                    <a:lnTo>
                      <a:pt x="32" y="162"/>
                    </a:lnTo>
                    <a:lnTo>
                      <a:pt x="32" y="162"/>
                    </a:lnTo>
                    <a:lnTo>
                      <a:pt x="32" y="146"/>
                    </a:lnTo>
                    <a:lnTo>
                      <a:pt x="36" y="128"/>
                    </a:lnTo>
                    <a:lnTo>
                      <a:pt x="40" y="112"/>
                    </a:lnTo>
                    <a:lnTo>
                      <a:pt x="46" y="98"/>
                    </a:lnTo>
                    <a:lnTo>
                      <a:pt x="54" y="82"/>
                    </a:lnTo>
                    <a:lnTo>
                      <a:pt x="62" y="70"/>
                    </a:lnTo>
                    <a:lnTo>
                      <a:pt x="74" y="56"/>
                    </a:lnTo>
                    <a:lnTo>
                      <a:pt x="86" y="46"/>
                    </a:lnTo>
                    <a:lnTo>
                      <a:pt x="100" y="36"/>
                    </a:lnTo>
                    <a:lnTo>
                      <a:pt x="116" y="26"/>
                    </a:lnTo>
                    <a:lnTo>
                      <a:pt x="132" y="18"/>
                    </a:lnTo>
                    <a:lnTo>
                      <a:pt x="150" y="12"/>
                    </a:lnTo>
                    <a:lnTo>
                      <a:pt x="170" y="6"/>
                    </a:lnTo>
                    <a:lnTo>
                      <a:pt x="190" y="4"/>
                    </a:lnTo>
                    <a:lnTo>
                      <a:pt x="212" y="0"/>
                    </a:lnTo>
                    <a:lnTo>
                      <a:pt x="236" y="0"/>
                    </a:lnTo>
                    <a:lnTo>
                      <a:pt x="236" y="0"/>
                    </a:lnTo>
                    <a:lnTo>
                      <a:pt x="280" y="2"/>
                    </a:lnTo>
                    <a:lnTo>
                      <a:pt x="320" y="8"/>
                    </a:lnTo>
                    <a:lnTo>
                      <a:pt x="358" y="16"/>
                    </a:lnTo>
                    <a:lnTo>
                      <a:pt x="394" y="26"/>
                    </a:lnTo>
                    <a:lnTo>
                      <a:pt x="394" y="142"/>
                    </a:lnTo>
                    <a:lnTo>
                      <a:pt x="394" y="142"/>
                    </a:lnTo>
                    <a:lnTo>
                      <a:pt x="358" y="128"/>
                    </a:lnTo>
                    <a:lnTo>
                      <a:pt x="322" y="116"/>
                    </a:lnTo>
                    <a:lnTo>
                      <a:pt x="282" y="110"/>
                    </a:lnTo>
                    <a:lnTo>
                      <a:pt x="262" y="108"/>
                    </a:lnTo>
                    <a:lnTo>
                      <a:pt x="242" y="108"/>
                    </a:lnTo>
                    <a:lnTo>
                      <a:pt x="242" y="108"/>
                    </a:lnTo>
                    <a:lnTo>
                      <a:pt x="224" y="108"/>
                    </a:lnTo>
                    <a:lnTo>
                      <a:pt x="210" y="110"/>
                    </a:lnTo>
                    <a:lnTo>
                      <a:pt x="198" y="114"/>
                    </a:lnTo>
                    <a:lnTo>
                      <a:pt x="186" y="118"/>
                    </a:lnTo>
                    <a:lnTo>
                      <a:pt x="176" y="126"/>
                    </a:lnTo>
                    <a:lnTo>
                      <a:pt x="170" y="134"/>
                    </a:lnTo>
                    <a:lnTo>
                      <a:pt x="166" y="144"/>
                    </a:lnTo>
                    <a:lnTo>
                      <a:pt x="164" y="156"/>
                    </a:lnTo>
                    <a:lnTo>
                      <a:pt x="164" y="156"/>
                    </a:lnTo>
                    <a:lnTo>
                      <a:pt x="166" y="164"/>
                    </a:lnTo>
                    <a:lnTo>
                      <a:pt x="168" y="170"/>
                    </a:lnTo>
                    <a:lnTo>
                      <a:pt x="172" y="178"/>
                    </a:lnTo>
                    <a:lnTo>
                      <a:pt x="176" y="184"/>
                    </a:lnTo>
                    <a:lnTo>
                      <a:pt x="188" y="194"/>
                    </a:lnTo>
                    <a:lnTo>
                      <a:pt x="204" y="204"/>
                    </a:lnTo>
                    <a:lnTo>
                      <a:pt x="224" y="212"/>
                    </a:lnTo>
                    <a:lnTo>
                      <a:pt x="244" y="220"/>
                    </a:lnTo>
                    <a:lnTo>
                      <a:pt x="292" y="238"/>
                    </a:lnTo>
                    <a:lnTo>
                      <a:pt x="314" y="248"/>
                    </a:lnTo>
                    <a:lnTo>
                      <a:pt x="338" y="260"/>
                    </a:lnTo>
                    <a:lnTo>
                      <a:pt x="360" y="274"/>
                    </a:lnTo>
                    <a:lnTo>
                      <a:pt x="378" y="292"/>
                    </a:lnTo>
                    <a:lnTo>
                      <a:pt x="386" y="302"/>
                    </a:lnTo>
                    <a:lnTo>
                      <a:pt x="394" y="312"/>
                    </a:lnTo>
                    <a:lnTo>
                      <a:pt x="402" y="324"/>
                    </a:lnTo>
                    <a:lnTo>
                      <a:pt x="406" y="336"/>
                    </a:lnTo>
                    <a:lnTo>
                      <a:pt x="412" y="350"/>
                    </a:lnTo>
                    <a:lnTo>
                      <a:pt x="414" y="364"/>
                    </a:lnTo>
                    <a:lnTo>
                      <a:pt x="418" y="380"/>
                    </a:lnTo>
                    <a:lnTo>
                      <a:pt x="418" y="396"/>
                    </a:lnTo>
                    <a:lnTo>
                      <a:pt x="418" y="396"/>
                    </a:lnTo>
                    <a:lnTo>
                      <a:pt x="416" y="418"/>
                    </a:lnTo>
                    <a:lnTo>
                      <a:pt x="414" y="438"/>
                    </a:lnTo>
                    <a:lnTo>
                      <a:pt x="408" y="456"/>
                    </a:lnTo>
                    <a:lnTo>
                      <a:pt x="400" y="472"/>
                    </a:lnTo>
                    <a:lnTo>
                      <a:pt x="390" y="488"/>
                    </a:lnTo>
                    <a:lnTo>
                      <a:pt x="380" y="502"/>
                    </a:lnTo>
                    <a:lnTo>
                      <a:pt x="366" y="514"/>
                    </a:lnTo>
                    <a:lnTo>
                      <a:pt x="352" y="524"/>
                    </a:lnTo>
                    <a:lnTo>
                      <a:pt x="336" y="534"/>
                    </a:lnTo>
                    <a:lnTo>
                      <a:pt x="320" y="542"/>
                    </a:lnTo>
                    <a:lnTo>
                      <a:pt x="302" y="550"/>
                    </a:lnTo>
                    <a:lnTo>
                      <a:pt x="282" y="554"/>
                    </a:lnTo>
                    <a:lnTo>
                      <a:pt x="262" y="558"/>
                    </a:lnTo>
                    <a:lnTo>
                      <a:pt x="242" y="562"/>
                    </a:lnTo>
                    <a:lnTo>
                      <a:pt x="220" y="564"/>
                    </a:lnTo>
                    <a:lnTo>
                      <a:pt x="200" y="564"/>
                    </a:lnTo>
                    <a:lnTo>
                      <a:pt x="200" y="564"/>
                    </a:lnTo>
                    <a:lnTo>
                      <a:pt x="168" y="562"/>
                    </a:lnTo>
                    <a:lnTo>
                      <a:pt x="138" y="560"/>
                    </a:lnTo>
                    <a:lnTo>
                      <a:pt x="110" y="554"/>
                    </a:lnTo>
                    <a:lnTo>
                      <a:pt x="84" y="548"/>
                    </a:lnTo>
                    <a:lnTo>
                      <a:pt x="60" y="540"/>
                    </a:lnTo>
                    <a:lnTo>
                      <a:pt x="38" y="532"/>
                    </a:lnTo>
                    <a:lnTo>
                      <a:pt x="18" y="522"/>
                    </a:lnTo>
                    <a:lnTo>
                      <a:pt x="0" y="512"/>
                    </a:lnTo>
                    <a:lnTo>
                      <a:pt x="42" y="4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6" name="Freeform 27"/>
              <p:cNvSpPr>
                <a:spLocks noEditPoints="1"/>
              </p:cNvSpPr>
              <p:nvPr/>
            </p:nvSpPr>
            <p:spPr bwMode="auto">
              <a:xfrm>
                <a:off x="8230347" y="4493623"/>
                <a:ext cx="17443" cy="81608"/>
              </a:xfrm>
              <a:custGeom>
                <a:avLst/>
                <a:gdLst>
                  <a:gd name="T0" fmla="*/ 84 w 168"/>
                  <a:gd name="T1" fmla="*/ 162 h 786"/>
                  <a:gd name="T2" fmla="*/ 84 w 168"/>
                  <a:gd name="T3" fmla="*/ 162 h 786"/>
                  <a:gd name="T4" fmla="*/ 68 w 168"/>
                  <a:gd name="T5" fmla="*/ 160 h 786"/>
                  <a:gd name="T6" fmla="*/ 52 w 168"/>
                  <a:gd name="T7" fmla="*/ 156 h 786"/>
                  <a:gd name="T8" fmla="*/ 38 w 168"/>
                  <a:gd name="T9" fmla="*/ 148 h 786"/>
                  <a:gd name="T10" fmla="*/ 26 w 168"/>
                  <a:gd name="T11" fmla="*/ 138 h 786"/>
                  <a:gd name="T12" fmla="*/ 14 w 168"/>
                  <a:gd name="T13" fmla="*/ 126 h 786"/>
                  <a:gd name="T14" fmla="*/ 8 w 168"/>
                  <a:gd name="T15" fmla="*/ 112 h 786"/>
                  <a:gd name="T16" fmla="*/ 2 w 168"/>
                  <a:gd name="T17" fmla="*/ 98 h 786"/>
                  <a:gd name="T18" fmla="*/ 0 w 168"/>
                  <a:gd name="T19" fmla="*/ 80 h 786"/>
                  <a:gd name="T20" fmla="*/ 0 w 168"/>
                  <a:gd name="T21" fmla="*/ 80 h 786"/>
                  <a:gd name="T22" fmla="*/ 2 w 168"/>
                  <a:gd name="T23" fmla="*/ 64 h 786"/>
                  <a:gd name="T24" fmla="*/ 8 w 168"/>
                  <a:gd name="T25" fmla="*/ 50 h 786"/>
                  <a:gd name="T26" fmla="*/ 14 w 168"/>
                  <a:gd name="T27" fmla="*/ 36 h 786"/>
                  <a:gd name="T28" fmla="*/ 26 w 168"/>
                  <a:gd name="T29" fmla="*/ 24 h 786"/>
                  <a:gd name="T30" fmla="*/ 38 w 168"/>
                  <a:gd name="T31" fmla="*/ 14 h 786"/>
                  <a:gd name="T32" fmla="*/ 52 w 168"/>
                  <a:gd name="T33" fmla="*/ 6 h 786"/>
                  <a:gd name="T34" fmla="*/ 68 w 168"/>
                  <a:gd name="T35" fmla="*/ 2 h 786"/>
                  <a:gd name="T36" fmla="*/ 84 w 168"/>
                  <a:gd name="T37" fmla="*/ 0 h 786"/>
                  <a:gd name="T38" fmla="*/ 84 w 168"/>
                  <a:gd name="T39" fmla="*/ 0 h 786"/>
                  <a:gd name="T40" fmla="*/ 102 w 168"/>
                  <a:gd name="T41" fmla="*/ 2 h 786"/>
                  <a:gd name="T42" fmla="*/ 118 w 168"/>
                  <a:gd name="T43" fmla="*/ 6 h 786"/>
                  <a:gd name="T44" fmla="*/ 132 w 168"/>
                  <a:gd name="T45" fmla="*/ 14 h 786"/>
                  <a:gd name="T46" fmla="*/ 144 w 168"/>
                  <a:gd name="T47" fmla="*/ 24 h 786"/>
                  <a:gd name="T48" fmla="*/ 154 w 168"/>
                  <a:gd name="T49" fmla="*/ 36 h 786"/>
                  <a:gd name="T50" fmla="*/ 162 w 168"/>
                  <a:gd name="T51" fmla="*/ 48 h 786"/>
                  <a:gd name="T52" fmla="*/ 166 w 168"/>
                  <a:gd name="T53" fmla="*/ 64 h 786"/>
                  <a:gd name="T54" fmla="*/ 168 w 168"/>
                  <a:gd name="T55" fmla="*/ 80 h 786"/>
                  <a:gd name="T56" fmla="*/ 168 w 168"/>
                  <a:gd name="T57" fmla="*/ 80 h 786"/>
                  <a:gd name="T58" fmla="*/ 166 w 168"/>
                  <a:gd name="T59" fmla="*/ 96 h 786"/>
                  <a:gd name="T60" fmla="*/ 162 w 168"/>
                  <a:gd name="T61" fmla="*/ 112 h 786"/>
                  <a:gd name="T62" fmla="*/ 154 w 168"/>
                  <a:gd name="T63" fmla="*/ 126 h 786"/>
                  <a:gd name="T64" fmla="*/ 144 w 168"/>
                  <a:gd name="T65" fmla="*/ 138 h 786"/>
                  <a:gd name="T66" fmla="*/ 132 w 168"/>
                  <a:gd name="T67" fmla="*/ 148 h 786"/>
                  <a:gd name="T68" fmla="*/ 118 w 168"/>
                  <a:gd name="T69" fmla="*/ 156 h 786"/>
                  <a:gd name="T70" fmla="*/ 102 w 168"/>
                  <a:gd name="T71" fmla="*/ 160 h 786"/>
                  <a:gd name="T72" fmla="*/ 84 w 168"/>
                  <a:gd name="T73" fmla="*/ 162 h 786"/>
                  <a:gd name="T74" fmla="*/ 84 w 168"/>
                  <a:gd name="T75" fmla="*/ 162 h 786"/>
                  <a:gd name="T76" fmla="*/ 16 w 168"/>
                  <a:gd name="T77" fmla="*/ 786 h 786"/>
                  <a:gd name="T78" fmla="*/ 16 w 168"/>
                  <a:gd name="T79" fmla="*/ 244 h 786"/>
                  <a:gd name="T80" fmla="*/ 152 w 168"/>
                  <a:gd name="T81" fmla="*/ 244 h 786"/>
                  <a:gd name="T82" fmla="*/ 152 w 168"/>
                  <a:gd name="T83" fmla="*/ 244 h 786"/>
                  <a:gd name="T84" fmla="*/ 152 w 168"/>
                  <a:gd name="T85" fmla="*/ 686 h 786"/>
                  <a:gd name="T86" fmla="*/ 152 w 168"/>
                  <a:gd name="T87" fmla="*/ 686 h 786"/>
                  <a:gd name="T88" fmla="*/ 150 w 168"/>
                  <a:gd name="T89" fmla="*/ 704 h 786"/>
                  <a:gd name="T90" fmla="*/ 146 w 168"/>
                  <a:gd name="T91" fmla="*/ 720 h 786"/>
                  <a:gd name="T92" fmla="*/ 138 w 168"/>
                  <a:gd name="T93" fmla="*/ 732 h 786"/>
                  <a:gd name="T94" fmla="*/ 130 w 168"/>
                  <a:gd name="T95" fmla="*/ 744 h 786"/>
                  <a:gd name="T96" fmla="*/ 120 w 168"/>
                  <a:gd name="T97" fmla="*/ 754 h 786"/>
                  <a:gd name="T98" fmla="*/ 108 w 168"/>
                  <a:gd name="T99" fmla="*/ 762 h 786"/>
                  <a:gd name="T100" fmla="*/ 96 w 168"/>
                  <a:gd name="T101" fmla="*/ 768 h 786"/>
                  <a:gd name="T102" fmla="*/ 84 w 168"/>
                  <a:gd name="T103" fmla="*/ 774 h 786"/>
                  <a:gd name="T104" fmla="*/ 60 w 168"/>
                  <a:gd name="T105" fmla="*/ 782 h 786"/>
                  <a:gd name="T106" fmla="*/ 38 w 168"/>
                  <a:gd name="T107" fmla="*/ 784 h 786"/>
                  <a:gd name="T108" fmla="*/ 16 w 168"/>
                  <a:gd name="T109" fmla="*/ 786 h 786"/>
                  <a:gd name="T110" fmla="*/ 16 w 168"/>
                  <a:gd name="T111" fmla="*/ 786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8" h="786">
                    <a:moveTo>
                      <a:pt x="84" y="162"/>
                    </a:moveTo>
                    <a:lnTo>
                      <a:pt x="84" y="162"/>
                    </a:lnTo>
                    <a:lnTo>
                      <a:pt x="68" y="160"/>
                    </a:lnTo>
                    <a:lnTo>
                      <a:pt x="52" y="156"/>
                    </a:lnTo>
                    <a:lnTo>
                      <a:pt x="38" y="148"/>
                    </a:lnTo>
                    <a:lnTo>
                      <a:pt x="26" y="138"/>
                    </a:lnTo>
                    <a:lnTo>
                      <a:pt x="14" y="126"/>
                    </a:lnTo>
                    <a:lnTo>
                      <a:pt x="8" y="112"/>
                    </a:lnTo>
                    <a:lnTo>
                      <a:pt x="2" y="98"/>
                    </a:lnTo>
                    <a:lnTo>
                      <a:pt x="0" y="80"/>
                    </a:lnTo>
                    <a:lnTo>
                      <a:pt x="0" y="80"/>
                    </a:lnTo>
                    <a:lnTo>
                      <a:pt x="2" y="64"/>
                    </a:lnTo>
                    <a:lnTo>
                      <a:pt x="8" y="50"/>
                    </a:lnTo>
                    <a:lnTo>
                      <a:pt x="14" y="36"/>
                    </a:lnTo>
                    <a:lnTo>
                      <a:pt x="26" y="24"/>
                    </a:lnTo>
                    <a:lnTo>
                      <a:pt x="38" y="14"/>
                    </a:lnTo>
                    <a:lnTo>
                      <a:pt x="52" y="6"/>
                    </a:lnTo>
                    <a:lnTo>
                      <a:pt x="68" y="2"/>
                    </a:lnTo>
                    <a:lnTo>
                      <a:pt x="84" y="0"/>
                    </a:lnTo>
                    <a:lnTo>
                      <a:pt x="84" y="0"/>
                    </a:lnTo>
                    <a:lnTo>
                      <a:pt x="102" y="2"/>
                    </a:lnTo>
                    <a:lnTo>
                      <a:pt x="118" y="6"/>
                    </a:lnTo>
                    <a:lnTo>
                      <a:pt x="132" y="14"/>
                    </a:lnTo>
                    <a:lnTo>
                      <a:pt x="144" y="24"/>
                    </a:lnTo>
                    <a:lnTo>
                      <a:pt x="154" y="36"/>
                    </a:lnTo>
                    <a:lnTo>
                      <a:pt x="162" y="48"/>
                    </a:lnTo>
                    <a:lnTo>
                      <a:pt x="166" y="64"/>
                    </a:lnTo>
                    <a:lnTo>
                      <a:pt x="168" y="80"/>
                    </a:lnTo>
                    <a:lnTo>
                      <a:pt x="168" y="80"/>
                    </a:lnTo>
                    <a:lnTo>
                      <a:pt x="166" y="96"/>
                    </a:lnTo>
                    <a:lnTo>
                      <a:pt x="162" y="112"/>
                    </a:lnTo>
                    <a:lnTo>
                      <a:pt x="154" y="126"/>
                    </a:lnTo>
                    <a:lnTo>
                      <a:pt x="144" y="138"/>
                    </a:lnTo>
                    <a:lnTo>
                      <a:pt x="132" y="148"/>
                    </a:lnTo>
                    <a:lnTo>
                      <a:pt x="118" y="156"/>
                    </a:lnTo>
                    <a:lnTo>
                      <a:pt x="102" y="160"/>
                    </a:lnTo>
                    <a:lnTo>
                      <a:pt x="84" y="162"/>
                    </a:lnTo>
                    <a:lnTo>
                      <a:pt x="84" y="162"/>
                    </a:lnTo>
                    <a:close/>
                    <a:moveTo>
                      <a:pt x="16" y="786"/>
                    </a:moveTo>
                    <a:lnTo>
                      <a:pt x="16" y="244"/>
                    </a:lnTo>
                    <a:lnTo>
                      <a:pt x="152" y="244"/>
                    </a:lnTo>
                    <a:lnTo>
                      <a:pt x="152" y="244"/>
                    </a:lnTo>
                    <a:lnTo>
                      <a:pt x="152" y="686"/>
                    </a:lnTo>
                    <a:lnTo>
                      <a:pt x="152" y="686"/>
                    </a:lnTo>
                    <a:lnTo>
                      <a:pt x="150" y="704"/>
                    </a:lnTo>
                    <a:lnTo>
                      <a:pt x="146" y="720"/>
                    </a:lnTo>
                    <a:lnTo>
                      <a:pt x="138" y="732"/>
                    </a:lnTo>
                    <a:lnTo>
                      <a:pt x="130" y="744"/>
                    </a:lnTo>
                    <a:lnTo>
                      <a:pt x="120" y="754"/>
                    </a:lnTo>
                    <a:lnTo>
                      <a:pt x="108" y="762"/>
                    </a:lnTo>
                    <a:lnTo>
                      <a:pt x="96" y="768"/>
                    </a:lnTo>
                    <a:lnTo>
                      <a:pt x="84" y="774"/>
                    </a:lnTo>
                    <a:lnTo>
                      <a:pt x="60" y="782"/>
                    </a:lnTo>
                    <a:lnTo>
                      <a:pt x="38" y="784"/>
                    </a:lnTo>
                    <a:lnTo>
                      <a:pt x="16" y="786"/>
                    </a:lnTo>
                    <a:lnTo>
                      <a:pt x="16" y="7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7" name="Freeform 28"/>
              <p:cNvSpPr>
                <a:spLocks/>
              </p:cNvSpPr>
              <p:nvPr/>
            </p:nvSpPr>
            <p:spPr bwMode="auto">
              <a:xfrm>
                <a:off x="7989468" y="4518126"/>
                <a:ext cx="49837" cy="57313"/>
              </a:xfrm>
              <a:custGeom>
                <a:avLst/>
                <a:gdLst>
                  <a:gd name="T0" fmla="*/ 346 w 480"/>
                  <a:gd name="T1" fmla="*/ 230 h 552"/>
                  <a:gd name="T2" fmla="*/ 344 w 480"/>
                  <a:gd name="T3" fmla="*/ 210 h 552"/>
                  <a:gd name="T4" fmla="*/ 338 w 480"/>
                  <a:gd name="T5" fmla="*/ 170 h 552"/>
                  <a:gd name="T6" fmla="*/ 322 w 480"/>
                  <a:gd name="T7" fmla="*/ 138 h 552"/>
                  <a:gd name="T8" fmla="*/ 308 w 480"/>
                  <a:gd name="T9" fmla="*/ 126 h 552"/>
                  <a:gd name="T10" fmla="*/ 290 w 480"/>
                  <a:gd name="T11" fmla="*/ 118 h 552"/>
                  <a:gd name="T12" fmla="*/ 268 w 480"/>
                  <a:gd name="T13" fmla="*/ 116 h 552"/>
                  <a:gd name="T14" fmla="*/ 250 w 480"/>
                  <a:gd name="T15" fmla="*/ 116 h 552"/>
                  <a:gd name="T16" fmla="*/ 216 w 480"/>
                  <a:gd name="T17" fmla="*/ 126 h 552"/>
                  <a:gd name="T18" fmla="*/ 182 w 480"/>
                  <a:gd name="T19" fmla="*/ 140 h 552"/>
                  <a:gd name="T20" fmla="*/ 134 w 480"/>
                  <a:gd name="T21" fmla="*/ 172 h 552"/>
                  <a:gd name="T22" fmla="*/ 134 w 480"/>
                  <a:gd name="T23" fmla="*/ 452 h 552"/>
                  <a:gd name="T24" fmla="*/ 132 w 480"/>
                  <a:gd name="T25" fmla="*/ 470 h 552"/>
                  <a:gd name="T26" fmla="*/ 120 w 480"/>
                  <a:gd name="T27" fmla="*/ 498 h 552"/>
                  <a:gd name="T28" fmla="*/ 102 w 480"/>
                  <a:gd name="T29" fmla="*/ 518 h 552"/>
                  <a:gd name="T30" fmla="*/ 78 w 480"/>
                  <a:gd name="T31" fmla="*/ 534 h 552"/>
                  <a:gd name="T32" fmla="*/ 42 w 480"/>
                  <a:gd name="T33" fmla="*/ 546 h 552"/>
                  <a:gd name="T34" fmla="*/ 0 w 480"/>
                  <a:gd name="T35" fmla="*/ 552 h 552"/>
                  <a:gd name="T36" fmla="*/ 114 w 480"/>
                  <a:gd name="T37" fmla="*/ 14 h 552"/>
                  <a:gd name="T38" fmla="*/ 128 w 480"/>
                  <a:gd name="T39" fmla="*/ 70 h 552"/>
                  <a:gd name="T40" fmla="*/ 170 w 480"/>
                  <a:gd name="T41" fmla="*/ 42 h 552"/>
                  <a:gd name="T42" fmla="*/ 214 w 480"/>
                  <a:gd name="T43" fmla="*/ 20 h 552"/>
                  <a:gd name="T44" fmla="*/ 262 w 480"/>
                  <a:gd name="T45" fmla="*/ 6 h 552"/>
                  <a:gd name="T46" fmla="*/ 314 w 480"/>
                  <a:gd name="T47" fmla="*/ 0 h 552"/>
                  <a:gd name="T48" fmla="*/ 328 w 480"/>
                  <a:gd name="T49" fmla="*/ 2 h 552"/>
                  <a:gd name="T50" fmla="*/ 358 w 480"/>
                  <a:gd name="T51" fmla="*/ 6 h 552"/>
                  <a:gd name="T52" fmla="*/ 388 w 480"/>
                  <a:gd name="T53" fmla="*/ 16 h 552"/>
                  <a:gd name="T54" fmla="*/ 414 w 480"/>
                  <a:gd name="T55" fmla="*/ 32 h 552"/>
                  <a:gd name="T56" fmla="*/ 438 w 480"/>
                  <a:gd name="T57" fmla="*/ 54 h 552"/>
                  <a:gd name="T58" fmla="*/ 458 w 480"/>
                  <a:gd name="T59" fmla="*/ 84 h 552"/>
                  <a:gd name="T60" fmla="*/ 472 w 480"/>
                  <a:gd name="T61" fmla="*/ 120 h 552"/>
                  <a:gd name="T62" fmla="*/ 478 w 480"/>
                  <a:gd name="T63" fmla="*/ 166 h 552"/>
                  <a:gd name="T64" fmla="*/ 480 w 480"/>
                  <a:gd name="T65" fmla="*/ 190 h 552"/>
                  <a:gd name="T66" fmla="*/ 480 w 480"/>
                  <a:gd name="T67" fmla="*/ 452 h 552"/>
                  <a:gd name="T68" fmla="*/ 474 w 480"/>
                  <a:gd name="T69" fmla="*/ 484 h 552"/>
                  <a:gd name="T70" fmla="*/ 458 w 480"/>
                  <a:gd name="T71" fmla="*/ 510 h 552"/>
                  <a:gd name="T72" fmla="*/ 438 w 480"/>
                  <a:gd name="T73" fmla="*/ 528 h 552"/>
                  <a:gd name="T74" fmla="*/ 412 w 480"/>
                  <a:gd name="T75" fmla="*/ 540 h 552"/>
                  <a:gd name="T76" fmla="*/ 366 w 480"/>
                  <a:gd name="T77" fmla="*/ 550 h 552"/>
                  <a:gd name="T78" fmla="*/ 346 w 480"/>
                  <a:gd name="T79" fmla="*/ 552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80" h="552">
                    <a:moveTo>
                      <a:pt x="346" y="552"/>
                    </a:moveTo>
                    <a:lnTo>
                      <a:pt x="346" y="230"/>
                    </a:lnTo>
                    <a:lnTo>
                      <a:pt x="346" y="230"/>
                    </a:lnTo>
                    <a:lnTo>
                      <a:pt x="344" y="210"/>
                    </a:lnTo>
                    <a:lnTo>
                      <a:pt x="342" y="190"/>
                    </a:lnTo>
                    <a:lnTo>
                      <a:pt x="338" y="170"/>
                    </a:lnTo>
                    <a:lnTo>
                      <a:pt x="332" y="152"/>
                    </a:lnTo>
                    <a:lnTo>
                      <a:pt x="322" y="138"/>
                    </a:lnTo>
                    <a:lnTo>
                      <a:pt x="316" y="132"/>
                    </a:lnTo>
                    <a:lnTo>
                      <a:pt x="308" y="126"/>
                    </a:lnTo>
                    <a:lnTo>
                      <a:pt x="300" y="122"/>
                    </a:lnTo>
                    <a:lnTo>
                      <a:pt x="290" y="118"/>
                    </a:lnTo>
                    <a:lnTo>
                      <a:pt x="280" y="116"/>
                    </a:lnTo>
                    <a:lnTo>
                      <a:pt x="268" y="116"/>
                    </a:lnTo>
                    <a:lnTo>
                      <a:pt x="268" y="116"/>
                    </a:lnTo>
                    <a:lnTo>
                      <a:pt x="250" y="116"/>
                    </a:lnTo>
                    <a:lnTo>
                      <a:pt x="232" y="120"/>
                    </a:lnTo>
                    <a:lnTo>
                      <a:pt x="216" y="126"/>
                    </a:lnTo>
                    <a:lnTo>
                      <a:pt x="198" y="132"/>
                    </a:lnTo>
                    <a:lnTo>
                      <a:pt x="182" y="140"/>
                    </a:lnTo>
                    <a:lnTo>
                      <a:pt x="166" y="150"/>
                    </a:lnTo>
                    <a:lnTo>
                      <a:pt x="134" y="172"/>
                    </a:lnTo>
                    <a:lnTo>
                      <a:pt x="134" y="172"/>
                    </a:lnTo>
                    <a:lnTo>
                      <a:pt x="134" y="452"/>
                    </a:lnTo>
                    <a:lnTo>
                      <a:pt x="134" y="452"/>
                    </a:lnTo>
                    <a:lnTo>
                      <a:pt x="132" y="470"/>
                    </a:lnTo>
                    <a:lnTo>
                      <a:pt x="128" y="484"/>
                    </a:lnTo>
                    <a:lnTo>
                      <a:pt x="120" y="498"/>
                    </a:lnTo>
                    <a:lnTo>
                      <a:pt x="112" y="510"/>
                    </a:lnTo>
                    <a:lnTo>
                      <a:pt x="102" y="518"/>
                    </a:lnTo>
                    <a:lnTo>
                      <a:pt x="90" y="528"/>
                    </a:lnTo>
                    <a:lnTo>
                      <a:pt x="78" y="534"/>
                    </a:lnTo>
                    <a:lnTo>
                      <a:pt x="66" y="540"/>
                    </a:lnTo>
                    <a:lnTo>
                      <a:pt x="42" y="546"/>
                    </a:lnTo>
                    <a:lnTo>
                      <a:pt x="20" y="550"/>
                    </a:lnTo>
                    <a:lnTo>
                      <a:pt x="0" y="552"/>
                    </a:lnTo>
                    <a:lnTo>
                      <a:pt x="0" y="14"/>
                    </a:lnTo>
                    <a:lnTo>
                      <a:pt x="114" y="14"/>
                    </a:lnTo>
                    <a:lnTo>
                      <a:pt x="128" y="70"/>
                    </a:lnTo>
                    <a:lnTo>
                      <a:pt x="128" y="70"/>
                    </a:lnTo>
                    <a:lnTo>
                      <a:pt x="150" y="54"/>
                    </a:lnTo>
                    <a:lnTo>
                      <a:pt x="170" y="42"/>
                    </a:lnTo>
                    <a:lnTo>
                      <a:pt x="192" y="30"/>
                    </a:lnTo>
                    <a:lnTo>
                      <a:pt x="214" y="20"/>
                    </a:lnTo>
                    <a:lnTo>
                      <a:pt x="238" y="12"/>
                    </a:lnTo>
                    <a:lnTo>
                      <a:pt x="262" y="6"/>
                    </a:lnTo>
                    <a:lnTo>
                      <a:pt x="286" y="2"/>
                    </a:lnTo>
                    <a:lnTo>
                      <a:pt x="314" y="0"/>
                    </a:lnTo>
                    <a:lnTo>
                      <a:pt x="314" y="0"/>
                    </a:lnTo>
                    <a:lnTo>
                      <a:pt x="328" y="2"/>
                    </a:lnTo>
                    <a:lnTo>
                      <a:pt x="344" y="2"/>
                    </a:lnTo>
                    <a:lnTo>
                      <a:pt x="358" y="6"/>
                    </a:lnTo>
                    <a:lnTo>
                      <a:pt x="374" y="10"/>
                    </a:lnTo>
                    <a:lnTo>
                      <a:pt x="388" y="16"/>
                    </a:lnTo>
                    <a:lnTo>
                      <a:pt x="402" y="24"/>
                    </a:lnTo>
                    <a:lnTo>
                      <a:pt x="414" y="32"/>
                    </a:lnTo>
                    <a:lnTo>
                      <a:pt x="426" y="42"/>
                    </a:lnTo>
                    <a:lnTo>
                      <a:pt x="438" y="54"/>
                    </a:lnTo>
                    <a:lnTo>
                      <a:pt x="448" y="68"/>
                    </a:lnTo>
                    <a:lnTo>
                      <a:pt x="458" y="84"/>
                    </a:lnTo>
                    <a:lnTo>
                      <a:pt x="464" y="102"/>
                    </a:lnTo>
                    <a:lnTo>
                      <a:pt x="472" y="120"/>
                    </a:lnTo>
                    <a:lnTo>
                      <a:pt x="476" y="142"/>
                    </a:lnTo>
                    <a:lnTo>
                      <a:pt x="478" y="166"/>
                    </a:lnTo>
                    <a:lnTo>
                      <a:pt x="480" y="190"/>
                    </a:lnTo>
                    <a:lnTo>
                      <a:pt x="480" y="190"/>
                    </a:lnTo>
                    <a:lnTo>
                      <a:pt x="480" y="452"/>
                    </a:lnTo>
                    <a:lnTo>
                      <a:pt x="480" y="452"/>
                    </a:lnTo>
                    <a:lnTo>
                      <a:pt x="478" y="470"/>
                    </a:lnTo>
                    <a:lnTo>
                      <a:pt x="474" y="484"/>
                    </a:lnTo>
                    <a:lnTo>
                      <a:pt x="468" y="498"/>
                    </a:lnTo>
                    <a:lnTo>
                      <a:pt x="458" y="510"/>
                    </a:lnTo>
                    <a:lnTo>
                      <a:pt x="448" y="520"/>
                    </a:lnTo>
                    <a:lnTo>
                      <a:pt x="438" y="528"/>
                    </a:lnTo>
                    <a:lnTo>
                      <a:pt x="424" y="534"/>
                    </a:lnTo>
                    <a:lnTo>
                      <a:pt x="412" y="540"/>
                    </a:lnTo>
                    <a:lnTo>
                      <a:pt x="388" y="546"/>
                    </a:lnTo>
                    <a:lnTo>
                      <a:pt x="366" y="550"/>
                    </a:lnTo>
                    <a:lnTo>
                      <a:pt x="346" y="552"/>
                    </a:lnTo>
                    <a:lnTo>
                      <a:pt x="346" y="5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8" name="Freeform 29"/>
              <p:cNvSpPr>
                <a:spLocks/>
              </p:cNvSpPr>
              <p:nvPr/>
            </p:nvSpPr>
            <p:spPr bwMode="auto">
              <a:xfrm>
                <a:off x="8106170" y="4491754"/>
                <a:ext cx="14120" cy="83477"/>
              </a:xfrm>
              <a:custGeom>
                <a:avLst/>
                <a:gdLst>
                  <a:gd name="T0" fmla="*/ 136 w 136"/>
                  <a:gd name="T1" fmla="*/ 704 h 804"/>
                  <a:gd name="T2" fmla="*/ 136 w 136"/>
                  <a:gd name="T3" fmla="*/ 704 h 804"/>
                  <a:gd name="T4" fmla="*/ 134 w 136"/>
                  <a:gd name="T5" fmla="*/ 722 h 804"/>
                  <a:gd name="T6" fmla="*/ 130 w 136"/>
                  <a:gd name="T7" fmla="*/ 738 h 804"/>
                  <a:gd name="T8" fmla="*/ 122 w 136"/>
                  <a:gd name="T9" fmla="*/ 750 h 804"/>
                  <a:gd name="T10" fmla="*/ 114 w 136"/>
                  <a:gd name="T11" fmla="*/ 762 h 804"/>
                  <a:gd name="T12" fmla="*/ 104 w 136"/>
                  <a:gd name="T13" fmla="*/ 772 h 804"/>
                  <a:gd name="T14" fmla="*/ 92 w 136"/>
                  <a:gd name="T15" fmla="*/ 780 h 804"/>
                  <a:gd name="T16" fmla="*/ 80 w 136"/>
                  <a:gd name="T17" fmla="*/ 786 h 804"/>
                  <a:gd name="T18" fmla="*/ 68 w 136"/>
                  <a:gd name="T19" fmla="*/ 792 h 804"/>
                  <a:gd name="T20" fmla="*/ 44 w 136"/>
                  <a:gd name="T21" fmla="*/ 800 h 804"/>
                  <a:gd name="T22" fmla="*/ 22 w 136"/>
                  <a:gd name="T23" fmla="*/ 802 h 804"/>
                  <a:gd name="T24" fmla="*/ 0 w 136"/>
                  <a:gd name="T25" fmla="*/ 804 h 804"/>
                  <a:gd name="T26" fmla="*/ 0 w 136"/>
                  <a:gd name="T27" fmla="*/ 0 h 804"/>
                  <a:gd name="T28" fmla="*/ 136 w 136"/>
                  <a:gd name="T29" fmla="*/ 0 h 804"/>
                  <a:gd name="T30" fmla="*/ 136 w 136"/>
                  <a:gd name="T31" fmla="*/ 0 h 804"/>
                  <a:gd name="T32" fmla="*/ 136 w 136"/>
                  <a:gd name="T33" fmla="*/ 704 h 804"/>
                  <a:gd name="T34" fmla="*/ 136 w 136"/>
                  <a:gd name="T35" fmla="*/ 70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04">
                    <a:moveTo>
                      <a:pt x="136" y="704"/>
                    </a:moveTo>
                    <a:lnTo>
                      <a:pt x="136" y="704"/>
                    </a:lnTo>
                    <a:lnTo>
                      <a:pt x="134" y="722"/>
                    </a:lnTo>
                    <a:lnTo>
                      <a:pt x="130" y="738"/>
                    </a:lnTo>
                    <a:lnTo>
                      <a:pt x="122" y="750"/>
                    </a:lnTo>
                    <a:lnTo>
                      <a:pt x="114" y="762"/>
                    </a:lnTo>
                    <a:lnTo>
                      <a:pt x="104" y="772"/>
                    </a:lnTo>
                    <a:lnTo>
                      <a:pt x="92" y="780"/>
                    </a:lnTo>
                    <a:lnTo>
                      <a:pt x="80" y="786"/>
                    </a:lnTo>
                    <a:lnTo>
                      <a:pt x="68" y="792"/>
                    </a:lnTo>
                    <a:lnTo>
                      <a:pt x="44" y="800"/>
                    </a:lnTo>
                    <a:lnTo>
                      <a:pt x="22" y="802"/>
                    </a:lnTo>
                    <a:lnTo>
                      <a:pt x="0" y="804"/>
                    </a:lnTo>
                    <a:lnTo>
                      <a:pt x="0" y="0"/>
                    </a:lnTo>
                    <a:lnTo>
                      <a:pt x="136" y="0"/>
                    </a:lnTo>
                    <a:lnTo>
                      <a:pt x="136" y="0"/>
                    </a:lnTo>
                    <a:lnTo>
                      <a:pt x="136" y="704"/>
                    </a:lnTo>
                    <a:lnTo>
                      <a:pt x="136" y="7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3" name="Group 92"/>
            <p:cNvGrpSpPr/>
            <p:nvPr userDrawn="1"/>
          </p:nvGrpSpPr>
          <p:grpSpPr>
            <a:xfrm>
              <a:off x="7673274" y="4343117"/>
              <a:ext cx="1123200" cy="148389"/>
              <a:chOff x="7665803" y="4864376"/>
              <a:chExt cx="1123200" cy="148389"/>
            </a:xfrm>
            <a:grpFill/>
          </p:grpSpPr>
          <p:sp>
            <p:nvSpPr>
              <p:cNvPr id="94" name="Freeform 6"/>
              <p:cNvSpPr>
                <a:spLocks/>
              </p:cNvSpPr>
              <p:nvPr userDrawn="1"/>
            </p:nvSpPr>
            <p:spPr bwMode="auto">
              <a:xfrm>
                <a:off x="8119644" y="4924717"/>
                <a:ext cx="103102" cy="66806"/>
              </a:xfrm>
              <a:custGeom>
                <a:avLst/>
                <a:gdLst>
                  <a:gd name="T0" fmla="*/ 111 w 136"/>
                  <a:gd name="T1" fmla="*/ 72 h 92"/>
                  <a:gd name="T2" fmla="*/ 87 w 136"/>
                  <a:gd name="T3" fmla="*/ 88 h 92"/>
                  <a:gd name="T4" fmla="*/ 68 w 136"/>
                  <a:gd name="T5" fmla="*/ 28 h 92"/>
                  <a:gd name="T6" fmla="*/ 67 w 136"/>
                  <a:gd name="T7" fmla="*/ 28 h 92"/>
                  <a:gd name="T8" fmla="*/ 53 w 136"/>
                  <a:gd name="T9" fmla="*/ 72 h 92"/>
                  <a:gd name="T10" fmla="*/ 31 w 136"/>
                  <a:gd name="T11" fmla="*/ 88 h 92"/>
                  <a:gd name="T12" fmla="*/ 0 w 136"/>
                  <a:gd name="T13" fmla="*/ 0 h 92"/>
                  <a:gd name="T14" fmla="*/ 22 w 136"/>
                  <a:gd name="T15" fmla="*/ 0 h 92"/>
                  <a:gd name="T16" fmla="*/ 41 w 136"/>
                  <a:gd name="T17" fmla="*/ 60 h 92"/>
                  <a:gd name="T18" fmla="*/ 41 w 136"/>
                  <a:gd name="T19" fmla="*/ 60 h 92"/>
                  <a:gd name="T20" fmla="*/ 60 w 136"/>
                  <a:gd name="T21" fmla="*/ 0 h 92"/>
                  <a:gd name="T22" fmla="*/ 77 w 136"/>
                  <a:gd name="T23" fmla="*/ 0 h 92"/>
                  <a:gd name="T24" fmla="*/ 96 w 136"/>
                  <a:gd name="T25" fmla="*/ 60 h 92"/>
                  <a:gd name="T26" fmla="*/ 97 w 136"/>
                  <a:gd name="T27" fmla="*/ 60 h 92"/>
                  <a:gd name="T28" fmla="*/ 115 w 136"/>
                  <a:gd name="T29" fmla="*/ 0 h 92"/>
                  <a:gd name="T30" fmla="*/ 136 w 136"/>
                  <a:gd name="T31" fmla="*/ 0 h 92"/>
                  <a:gd name="T32" fmla="*/ 111 w 136"/>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 h="92">
                    <a:moveTo>
                      <a:pt x="111" y="72"/>
                    </a:moveTo>
                    <a:cubicBezTo>
                      <a:pt x="103" y="92"/>
                      <a:pt x="87" y="88"/>
                      <a:pt x="87" y="88"/>
                    </a:cubicBezTo>
                    <a:cubicBezTo>
                      <a:pt x="68" y="28"/>
                      <a:pt x="68" y="28"/>
                      <a:pt x="68" y="28"/>
                    </a:cubicBezTo>
                    <a:cubicBezTo>
                      <a:pt x="67" y="28"/>
                      <a:pt x="67" y="28"/>
                      <a:pt x="67" y="28"/>
                    </a:cubicBezTo>
                    <a:cubicBezTo>
                      <a:pt x="67" y="28"/>
                      <a:pt x="58"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6" y="60"/>
                      <a:pt x="96" y="60"/>
                      <a:pt x="96" y="60"/>
                    </a:cubicBezTo>
                    <a:cubicBezTo>
                      <a:pt x="97" y="60"/>
                      <a:pt x="97" y="60"/>
                      <a:pt x="97" y="60"/>
                    </a:cubicBezTo>
                    <a:cubicBezTo>
                      <a:pt x="115" y="0"/>
                      <a:pt x="115" y="0"/>
                      <a:pt x="115" y="0"/>
                    </a:cubicBezTo>
                    <a:cubicBezTo>
                      <a:pt x="136" y="0"/>
                      <a:pt x="136" y="0"/>
                      <a:pt x="136" y="0"/>
                    </a:cubicBezTo>
                    <a:cubicBezTo>
                      <a:pt x="136"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5" name="Freeform 7"/>
              <p:cNvSpPr>
                <a:spLocks noEditPoints="1"/>
              </p:cNvSpPr>
              <p:nvPr userDrawn="1"/>
            </p:nvSpPr>
            <p:spPr bwMode="auto">
              <a:xfrm>
                <a:off x="8225958" y="4923177"/>
                <a:ext cx="57493" cy="66190"/>
              </a:xfrm>
              <a:custGeom>
                <a:avLst/>
                <a:gdLst>
                  <a:gd name="T0" fmla="*/ 57 w 76"/>
                  <a:gd name="T1" fmla="*/ 90 h 91"/>
                  <a:gd name="T2" fmla="*/ 53 w 76"/>
                  <a:gd name="T3" fmla="*/ 81 h 91"/>
                  <a:gd name="T4" fmla="*/ 28 w 76"/>
                  <a:gd name="T5" fmla="*/ 91 h 91"/>
                  <a:gd name="T6" fmla="*/ 0 w 76"/>
                  <a:gd name="T7" fmla="*/ 63 h 91"/>
                  <a:gd name="T8" fmla="*/ 36 w 76"/>
                  <a:gd name="T9" fmla="*/ 34 h 91"/>
                  <a:gd name="T10" fmla="*/ 51 w 76"/>
                  <a:gd name="T11" fmla="*/ 34 h 91"/>
                  <a:gd name="T12" fmla="*/ 51 w 76"/>
                  <a:gd name="T13" fmla="*/ 31 h 91"/>
                  <a:gd name="T14" fmla="*/ 35 w 76"/>
                  <a:gd name="T15" fmla="*/ 17 h 91"/>
                  <a:gd name="T16" fmla="*/ 12 w 76"/>
                  <a:gd name="T17" fmla="*/ 23 h 91"/>
                  <a:gd name="T18" fmla="*/ 5 w 76"/>
                  <a:gd name="T19" fmla="*/ 9 h 91"/>
                  <a:gd name="T20" fmla="*/ 39 w 76"/>
                  <a:gd name="T21" fmla="*/ 0 h 91"/>
                  <a:gd name="T22" fmla="*/ 74 w 76"/>
                  <a:gd name="T23" fmla="*/ 31 h 91"/>
                  <a:gd name="T24" fmla="*/ 74 w 76"/>
                  <a:gd name="T25" fmla="*/ 66 h 91"/>
                  <a:gd name="T26" fmla="*/ 76 w 76"/>
                  <a:gd name="T27" fmla="*/ 90 h 91"/>
                  <a:gd name="T28" fmla="*/ 57 w 76"/>
                  <a:gd name="T29" fmla="*/ 90 h 91"/>
                  <a:gd name="T30" fmla="*/ 51 w 76"/>
                  <a:gd name="T31" fmla="*/ 49 h 91"/>
                  <a:gd name="T32" fmla="*/ 39 w 76"/>
                  <a:gd name="T33" fmla="*/ 49 h 91"/>
                  <a:gd name="T34" fmla="*/ 22 w 76"/>
                  <a:gd name="T35" fmla="*/ 61 h 91"/>
                  <a:gd name="T36" fmla="*/ 36 w 76"/>
                  <a:gd name="T37" fmla="*/ 73 h 91"/>
                  <a:gd name="T38" fmla="*/ 51 w 76"/>
                  <a:gd name="T39" fmla="*/ 68 h 91"/>
                  <a:gd name="T40" fmla="*/ 51 w 76"/>
                  <a:gd name="T41" fmla="*/ 4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91">
                    <a:moveTo>
                      <a:pt x="57" y="90"/>
                    </a:moveTo>
                    <a:cubicBezTo>
                      <a:pt x="53" y="81"/>
                      <a:pt x="53" y="81"/>
                      <a:pt x="53" y="81"/>
                    </a:cubicBezTo>
                    <a:cubicBezTo>
                      <a:pt x="48" y="86"/>
                      <a:pt x="40" y="91"/>
                      <a:pt x="28" y="91"/>
                    </a:cubicBezTo>
                    <a:cubicBezTo>
                      <a:pt x="12" y="91"/>
                      <a:pt x="0" y="80"/>
                      <a:pt x="0" y="63"/>
                    </a:cubicBezTo>
                    <a:cubicBezTo>
                      <a:pt x="0" y="45"/>
                      <a:pt x="14" y="35"/>
                      <a:pt x="36" y="34"/>
                    </a:cubicBezTo>
                    <a:cubicBezTo>
                      <a:pt x="51" y="34"/>
                      <a:pt x="51" y="34"/>
                      <a:pt x="51" y="34"/>
                    </a:cubicBezTo>
                    <a:cubicBezTo>
                      <a:pt x="51" y="33"/>
                      <a:pt x="51" y="32"/>
                      <a:pt x="51" y="31"/>
                    </a:cubicBezTo>
                    <a:cubicBezTo>
                      <a:pt x="51" y="21"/>
                      <a:pt x="44" y="17"/>
                      <a:pt x="35" y="17"/>
                    </a:cubicBezTo>
                    <a:cubicBezTo>
                      <a:pt x="25" y="17"/>
                      <a:pt x="18" y="20"/>
                      <a:pt x="12" y="23"/>
                    </a:cubicBezTo>
                    <a:cubicBezTo>
                      <a:pt x="5" y="9"/>
                      <a:pt x="5" y="9"/>
                      <a:pt x="5" y="9"/>
                    </a:cubicBezTo>
                    <a:cubicBezTo>
                      <a:pt x="17" y="2"/>
                      <a:pt x="28" y="0"/>
                      <a:pt x="39" y="0"/>
                    </a:cubicBezTo>
                    <a:cubicBezTo>
                      <a:pt x="61" y="0"/>
                      <a:pt x="74" y="9"/>
                      <a:pt x="74" y="31"/>
                    </a:cubicBezTo>
                    <a:cubicBezTo>
                      <a:pt x="74" y="66"/>
                      <a:pt x="74" y="66"/>
                      <a:pt x="74" y="66"/>
                    </a:cubicBezTo>
                    <a:cubicBezTo>
                      <a:pt x="74" y="78"/>
                      <a:pt x="75" y="86"/>
                      <a:pt x="76" y="90"/>
                    </a:cubicBezTo>
                    <a:lnTo>
                      <a:pt x="57" y="90"/>
                    </a:lnTo>
                    <a:close/>
                    <a:moveTo>
                      <a:pt x="51" y="49"/>
                    </a:moveTo>
                    <a:cubicBezTo>
                      <a:pt x="39" y="49"/>
                      <a:pt x="39" y="49"/>
                      <a:pt x="39" y="49"/>
                    </a:cubicBezTo>
                    <a:cubicBezTo>
                      <a:pt x="27" y="50"/>
                      <a:pt x="22" y="54"/>
                      <a:pt x="22" y="61"/>
                    </a:cubicBezTo>
                    <a:cubicBezTo>
                      <a:pt x="22" y="68"/>
                      <a:pt x="27" y="73"/>
                      <a:pt x="36" y="73"/>
                    </a:cubicBezTo>
                    <a:cubicBezTo>
                      <a:pt x="44" y="73"/>
                      <a:pt x="49" y="70"/>
                      <a:pt x="51" y="68"/>
                    </a:cubicBezTo>
                    <a:lnTo>
                      <a:pt x="51" y="4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6" name="Freeform 8"/>
              <p:cNvSpPr>
                <a:spLocks noEditPoints="1"/>
              </p:cNvSpPr>
              <p:nvPr userDrawn="1"/>
            </p:nvSpPr>
            <p:spPr bwMode="auto">
              <a:xfrm>
                <a:off x="8342550" y="4892699"/>
                <a:ext cx="62311" cy="96668"/>
              </a:xfrm>
              <a:custGeom>
                <a:avLst/>
                <a:gdLst>
                  <a:gd name="T0" fmla="*/ 47 w 82"/>
                  <a:gd name="T1" fmla="*/ 133 h 133"/>
                  <a:gd name="T2" fmla="*/ 0 w 82"/>
                  <a:gd name="T3" fmla="*/ 88 h 133"/>
                  <a:gd name="T4" fmla="*/ 48 w 82"/>
                  <a:gd name="T5" fmla="*/ 42 h 133"/>
                  <a:gd name="T6" fmla="*/ 59 w 82"/>
                  <a:gd name="T7" fmla="*/ 42 h 133"/>
                  <a:gd name="T8" fmla="*/ 60 w 82"/>
                  <a:gd name="T9" fmla="*/ 0 h 133"/>
                  <a:gd name="T10" fmla="*/ 82 w 82"/>
                  <a:gd name="T11" fmla="*/ 0 h 133"/>
                  <a:gd name="T12" fmla="*/ 81 w 82"/>
                  <a:gd name="T13" fmla="*/ 126 h 133"/>
                  <a:gd name="T14" fmla="*/ 47 w 82"/>
                  <a:gd name="T15" fmla="*/ 133 h 133"/>
                  <a:gd name="T16" fmla="*/ 59 w 82"/>
                  <a:gd name="T17" fmla="*/ 60 h 133"/>
                  <a:gd name="T18" fmla="*/ 49 w 82"/>
                  <a:gd name="T19" fmla="*/ 59 h 133"/>
                  <a:gd name="T20" fmla="*/ 22 w 82"/>
                  <a:gd name="T21" fmla="*/ 87 h 133"/>
                  <a:gd name="T22" fmla="*/ 49 w 82"/>
                  <a:gd name="T23" fmla="*/ 114 h 133"/>
                  <a:gd name="T24" fmla="*/ 59 w 82"/>
                  <a:gd name="T25" fmla="*/ 113 h 133"/>
                  <a:gd name="T26" fmla="*/ 59 w 82"/>
                  <a:gd name="T27" fmla="*/ 6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3">
                    <a:moveTo>
                      <a:pt x="47" y="133"/>
                    </a:moveTo>
                    <a:cubicBezTo>
                      <a:pt x="21" y="133"/>
                      <a:pt x="0" y="117"/>
                      <a:pt x="0" y="88"/>
                    </a:cubicBezTo>
                    <a:cubicBezTo>
                      <a:pt x="0" y="61"/>
                      <a:pt x="20" y="42"/>
                      <a:pt x="48" y="42"/>
                    </a:cubicBezTo>
                    <a:cubicBezTo>
                      <a:pt x="52" y="42"/>
                      <a:pt x="56" y="42"/>
                      <a:pt x="59" y="42"/>
                    </a:cubicBezTo>
                    <a:cubicBezTo>
                      <a:pt x="60" y="0"/>
                      <a:pt x="60" y="0"/>
                      <a:pt x="60" y="0"/>
                    </a:cubicBezTo>
                    <a:cubicBezTo>
                      <a:pt x="82" y="0"/>
                      <a:pt x="82" y="0"/>
                      <a:pt x="82" y="0"/>
                    </a:cubicBezTo>
                    <a:cubicBezTo>
                      <a:pt x="81" y="126"/>
                      <a:pt x="81" y="126"/>
                      <a:pt x="81" y="126"/>
                    </a:cubicBezTo>
                    <a:cubicBezTo>
                      <a:pt x="73" y="130"/>
                      <a:pt x="62" y="133"/>
                      <a:pt x="47" y="133"/>
                    </a:cubicBezTo>
                    <a:close/>
                    <a:moveTo>
                      <a:pt x="59" y="60"/>
                    </a:moveTo>
                    <a:cubicBezTo>
                      <a:pt x="56" y="60"/>
                      <a:pt x="54" y="59"/>
                      <a:pt x="49" y="59"/>
                    </a:cubicBezTo>
                    <a:cubicBezTo>
                      <a:pt x="33" y="59"/>
                      <a:pt x="22" y="70"/>
                      <a:pt x="22" y="87"/>
                    </a:cubicBezTo>
                    <a:cubicBezTo>
                      <a:pt x="22" y="103"/>
                      <a:pt x="32" y="114"/>
                      <a:pt x="49" y="114"/>
                    </a:cubicBezTo>
                    <a:cubicBezTo>
                      <a:pt x="53" y="114"/>
                      <a:pt x="57" y="114"/>
                      <a:pt x="59" y="113"/>
                    </a:cubicBezTo>
                    <a:lnTo>
                      <a:pt x="59" y="60"/>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7" name="Freeform 9"/>
              <p:cNvSpPr>
                <a:spLocks/>
              </p:cNvSpPr>
              <p:nvPr userDrawn="1"/>
            </p:nvSpPr>
            <p:spPr bwMode="auto">
              <a:xfrm>
                <a:off x="8093949"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9" name="Freeform 10"/>
              <p:cNvSpPr>
                <a:spLocks/>
              </p:cNvSpPr>
              <p:nvPr userDrawn="1"/>
            </p:nvSpPr>
            <p:spPr bwMode="auto">
              <a:xfrm>
                <a:off x="8060545"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20" name="Freeform 11"/>
              <p:cNvSpPr>
                <a:spLocks/>
              </p:cNvSpPr>
              <p:nvPr userDrawn="1"/>
            </p:nvSpPr>
            <p:spPr bwMode="auto">
              <a:xfrm>
                <a:off x="8297262" y="4923177"/>
                <a:ext cx="43039" cy="66190"/>
              </a:xfrm>
              <a:custGeom>
                <a:avLst/>
                <a:gdLst>
                  <a:gd name="T0" fmla="*/ 49 w 57"/>
                  <a:gd name="T1" fmla="*/ 22 h 91"/>
                  <a:gd name="T2" fmla="*/ 39 w 57"/>
                  <a:gd name="T3" fmla="*/ 20 h 91"/>
                  <a:gd name="T4" fmla="*/ 22 w 57"/>
                  <a:gd name="T5" fmla="*/ 27 h 91"/>
                  <a:gd name="T6" fmla="*/ 22 w 57"/>
                  <a:gd name="T7" fmla="*/ 74 h 91"/>
                  <a:gd name="T8" fmla="*/ 0 w 57"/>
                  <a:gd name="T9" fmla="*/ 90 h 91"/>
                  <a:gd name="T10" fmla="*/ 0 w 57"/>
                  <a:gd name="T11" fmla="*/ 2 h 91"/>
                  <a:gd name="T12" fmla="*/ 18 w 57"/>
                  <a:gd name="T13" fmla="*/ 2 h 91"/>
                  <a:gd name="T14" fmla="*/ 21 w 57"/>
                  <a:gd name="T15" fmla="*/ 11 h 91"/>
                  <a:gd name="T16" fmla="*/ 45 w 57"/>
                  <a:gd name="T17" fmla="*/ 0 h 91"/>
                  <a:gd name="T18" fmla="*/ 57 w 57"/>
                  <a:gd name="T19" fmla="*/ 4 h 91"/>
                  <a:gd name="T20" fmla="*/ 49 w 57"/>
                  <a:gd name="T21" fmla="*/ 2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1">
                    <a:moveTo>
                      <a:pt x="49" y="22"/>
                    </a:moveTo>
                    <a:cubicBezTo>
                      <a:pt x="45" y="20"/>
                      <a:pt x="41" y="20"/>
                      <a:pt x="39" y="20"/>
                    </a:cubicBezTo>
                    <a:cubicBezTo>
                      <a:pt x="34" y="20"/>
                      <a:pt x="28" y="22"/>
                      <a:pt x="22" y="27"/>
                    </a:cubicBezTo>
                    <a:cubicBezTo>
                      <a:pt x="22" y="27"/>
                      <a:pt x="22" y="57"/>
                      <a:pt x="22" y="74"/>
                    </a:cubicBezTo>
                    <a:cubicBezTo>
                      <a:pt x="22" y="91"/>
                      <a:pt x="0" y="90"/>
                      <a:pt x="0" y="90"/>
                    </a:cubicBezTo>
                    <a:cubicBezTo>
                      <a:pt x="0" y="2"/>
                      <a:pt x="0" y="2"/>
                      <a:pt x="0" y="2"/>
                    </a:cubicBezTo>
                    <a:cubicBezTo>
                      <a:pt x="18" y="2"/>
                      <a:pt x="18" y="2"/>
                      <a:pt x="18"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21" name="Freeform 12"/>
              <p:cNvSpPr>
                <a:spLocks/>
              </p:cNvSpPr>
              <p:nvPr userDrawn="1"/>
            </p:nvSpPr>
            <p:spPr bwMode="auto">
              <a:xfrm>
                <a:off x="7907980" y="4892699"/>
                <a:ext cx="98605" cy="95129"/>
              </a:xfrm>
              <a:custGeom>
                <a:avLst/>
                <a:gdLst>
                  <a:gd name="T0" fmla="*/ 106 w 130"/>
                  <a:gd name="T1" fmla="*/ 131 h 131"/>
                  <a:gd name="T2" fmla="*/ 106 w 130"/>
                  <a:gd name="T3" fmla="*/ 53 h 131"/>
                  <a:gd name="T4" fmla="*/ 107 w 130"/>
                  <a:gd name="T5" fmla="*/ 39 h 131"/>
                  <a:gd name="T6" fmla="*/ 106 w 130"/>
                  <a:gd name="T7" fmla="*/ 39 h 131"/>
                  <a:gd name="T8" fmla="*/ 99 w 130"/>
                  <a:gd name="T9" fmla="*/ 52 h 131"/>
                  <a:gd name="T10" fmla="*/ 72 w 130"/>
                  <a:gd name="T11" fmla="*/ 93 h 131"/>
                  <a:gd name="T12" fmla="*/ 60 w 130"/>
                  <a:gd name="T13" fmla="*/ 93 h 131"/>
                  <a:gd name="T14" fmla="*/ 32 w 130"/>
                  <a:gd name="T15" fmla="*/ 51 h 131"/>
                  <a:gd name="T16" fmla="*/ 24 w 130"/>
                  <a:gd name="T17" fmla="*/ 39 h 131"/>
                  <a:gd name="T18" fmla="*/ 23 w 130"/>
                  <a:gd name="T19" fmla="*/ 39 h 131"/>
                  <a:gd name="T20" fmla="*/ 24 w 130"/>
                  <a:gd name="T21" fmla="*/ 52 h 131"/>
                  <a:gd name="T22" fmla="*/ 24 w 130"/>
                  <a:gd name="T23" fmla="*/ 131 h 131"/>
                  <a:gd name="T24" fmla="*/ 0 w 130"/>
                  <a:gd name="T25" fmla="*/ 131 h 131"/>
                  <a:gd name="T26" fmla="*/ 0 w 130"/>
                  <a:gd name="T27" fmla="*/ 0 h 131"/>
                  <a:gd name="T28" fmla="*/ 22 w 130"/>
                  <a:gd name="T29" fmla="*/ 0 h 131"/>
                  <a:gd name="T30" fmla="*/ 58 w 130"/>
                  <a:gd name="T31" fmla="*/ 52 h 131"/>
                  <a:gd name="T32" fmla="*/ 66 w 130"/>
                  <a:gd name="T33" fmla="*/ 66 h 131"/>
                  <a:gd name="T34" fmla="*/ 67 w 130"/>
                  <a:gd name="T35" fmla="*/ 66 h 131"/>
                  <a:gd name="T36" fmla="*/ 75 w 130"/>
                  <a:gd name="T37" fmla="*/ 52 h 131"/>
                  <a:gd name="T38" fmla="*/ 108 w 130"/>
                  <a:gd name="T39" fmla="*/ 0 h 131"/>
                  <a:gd name="T40" fmla="*/ 130 w 130"/>
                  <a:gd name="T41" fmla="*/ 0 h 131"/>
                  <a:gd name="T42" fmla="*/ 130 w 130"/>
                  <a:gd name="T43" fmla="*/ 131 h 131"/>
                  <a:gd name="T44" fmla="*/ 106 w 130"/>
                  <a:gd name="T45"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0" h="131">
                    <a:moveTo>
                      <a:pt x="106" y="131"/>
                    </a:moveTo>
                    <a:cubicBezTo>
                      <a:pt x="106" y="53"/>
                      <a:pt x="106" y="53"/>
                      <a:pt x="106" y="53"/>
                    </a:cubicBezTo>
                    <a:cubicBezTo>
                      <a:pt x="106" y="48"/>
                      <a:pt x="106" y="44"/>
                      <a:pt x="107" y="39"/>
                    </a:cubicBezTo>
                    <a:cubicBezTo>
                      <a:pt x="106" y="39"/>
                      <a:pt x="106" y="39"/>
                      <a:pt x="106" y="39"/>
                    </a:cubicBezTo>
                    <a:cubicBezTo>
                      <a:pt x="105" y="43"/>
                      <a:pt x="101" y="49"/>
                      <a:pt x="99" y="52"/>
                    </a:cubicBezTo>
                    <a:cubicBezTo>
                      <a:pt x="72" y="93"/>
                      <a:pt x="72" y="93"/>
                      <a:pt x="72" y="93"/>
                    </a:cubicBezTo>
                    <a:cubicBezTo>
                      <a:pt x="60" y="93"/>
                      <a:pt x="60" y="93"/>
                      <a:pt x="60" y="93"/>
                    </a:cubicBezTo>
                    <a:cubicBezTo>
                      <a:pt x="32" y="51"/>
                      <a:pt x="32" y="51"/>
                      <a:pt x="32" y="51"/>
                    </a:cubicBezTo>
                    <a:cubicBezTo>
                      <a:pt x="29" y="48"/>
                      <a:pt x="26" y="44"/>
                      <a:pt x="24" y="39"/>
                    </a:cubicBezTo>
                    <a:cubicBezTo>
                      <a:pt x="23" y="39"/>
                      <a:pt x="23" y="39"/>
                      <a:pt x="23" y="39"/>
                    </a:cubicBezTo>
                    <a:cubicBezTo>
                      <a:pt x="24" y="44"/>
                      <a:pt x="24" y="48"/>
                      <a:pt x="24" y="52"/>
                    </a:cubicBezTo>
                    <a:cubicBezTo>
                      <a:pt x="24" y="131"/>
                      <a:pt x="24" y="131"/>
                      <a:pt x="24" y="131"/>
                    </a:cubicBezTo>
                    <a:cubicBezTo>
                      <a:pt x="0" y="131"/>
                      <a:pt x="0" y="131"/>
                      <a:pt x="0" y="131"/>
                    </a:cubicBezTo>
                    <a:cubicBezTo>
                      <a:pt x="0" y="0"/>
                      <a:pt x="0" y="0"/>
                      <a:pt x="0" y="0"/>
                    </a:cubicBezTo>
                    <a:cubicBezTo>
                      <a:pt x="22" y="0"/>
                      <a:pt x="22" y="0"/>
                      <a:pt x="22" y="0"/>
                    </a:cubicBezTo>
                    <a:cubicBezTo>
                      <a:pt x="58" y="52"/>
                      <a:pt x="58" y="52"/>
                      <a:pt x="58" y="52"/>
                    </a:cubicBezTo>
                    <a:cubicBezTo>
                      <a:pt x="61" y="57"/>
                      <a:pt x="64" y="61"/>
                      <a:pt x="66" y="66"/>
                    </a:cubicBezTo>
                    <a:cubicBezTo>
                      <a:pt x="67" y="66"/>
                      <a:pt x="67" y="66"/>
                      <a:pt x="67" y="66"/>
                    </a:cubicBezTo>
                    <a:cubicBezTo>
                      <a:pt x="69" y="61"/>
                      <a:pt x="71" y="57"/>
                      <a:pt x="75" y="52"/>
                    </a:cubicBezTo>
                    <a:cubicBezTo>
                      <a:pt x="108" y="0"/>
                      <a:pt x="108" y="0"/>
                      <a:pt x="108" y="0"/>
                    </a:cubicBezTo>
                    <a:cubicBezTo>
                      <a:pt x="130" y="0"/>
                      <a:pt x="130" y="0"/>
                      <a:pt x="130" y="0"/>
                    </a:cubicBezTo>
                    <a:cubicBezTo>
                      <a:pt x="130" y="131"/>
                      <a:pt x="130" y="131"/>
                      <a:pt x="130" y="131"/>
                    </a:cubicBezTo>
                    <a:lnTo>
                      <a:pt x="106" y="131"/>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22" name="Freeform 13"/>
              <p:cNvSpPr>
                <a:spLocks/>
              </p:cNvSpPr>
              <p:nvPr userDrawn="1"/>
            </p:nvSpPr>
            <p:spPr bwMode="auto">
              <a:xfrm>
                <a:off x="7665803" y="4864376"/>
                <a:ext cx="100854" cy="148389"/>
              </a:xfrm>
              <a:custGeom>
                <a:avLst/>
                <a:gdLst>
                  <a:gd name="T0" fmla="*/ 133 w 133"/>
                  <a:gd name="T1" fmla="*/ 23 h 204"/>
                  <a:gd name="T2" fmla="*/ 132 w 133"/>
                  <a:gd name="T3" fmla="*/ 22 h 204"/>
                  <a:gd name="T4" fmla="*/ 65 w 133"/>
                  <a:gd name="T5" fmla="*/ 20 h 204"/>
                  <a:gd name="T6" fmla="*/ 52 w 133"/>
                  <a:gd name="T7" fmla="*/ 52 h 204"/>
                  <a:gd name="T8" fmla="*/ 20 w 133"/>
                  <a:gd name="T9" fmla="*/ 65 h 204"/>
                  <a:gd name="T10" fmla="*/ 22 w 133"/>
                  <a:gd name="T11" fmla="*/ 132 h 204"/>
                  <a:gd name="T12" fmla="*/ 95 w 133"/>
                  <a:gd name="T13" fmla="*/ 204 h 204"/>
                  <a:gd name="T14" fmla="*/ 117 w 133"/>
                  <a:gd name="T15" fmla="*/ 182 h 204"/>
                  <a:gd name="T16" fmla="*/ 44 w 133"/>
                  <a:gd name="T17" fmla="*/ 110 h 204"/>
                  <a:gd name="T18" fmla="*/ 42 w 133"/>
                  <a:gd name="T19" fmla="*/ 86 h 204"/>
                  <a:gd name="T20" fmla="*/ 66 w 133"/>
                  <a:gd name="T21" fmla="*/ 88 h 204"/>
                  <a:gd name="T22" fmla="*/ 133 w 133"/>
                  <a:gd name="T23" fmla="*/ 155 h 204"/>
                  <a:gd name="T24" fmla="*/ 133 w 133"/>
                  <a:gd name="T25" fmla="*/ 111 h 204"/>
                  <a:gd name="T26" fmla="*/ 88 w 133"/>
                  <a:gd name="T27" fmla="*/ 66 h 204"/>
                  <a:gd name="T28" fmla="*/ 86 w 133"/>
                  <a:gd name="T29" fmla="*/ 42 h 204"/>
                  <a:gd name="T30" fmla="*/ 110 w 133"/>
                  <a:gd name="T31" fmla="*/ 44 h 204"/>
                  <a:gd name="T32" fmla="*/ 133 w 133"/>
                  <a:gd name="T33" fmla="*/ 66 h 204"/>
                  <a:gd name="T34" fmla="*/ 133 w 133"/>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204">
                    <a:moveTo>
                      <a:pt x="133" y="23"/>
                    </a:moveTo>
                    <a:cubicBezTo>
                      <a:pt x="132" y="22"/>
                      <a:pt x="132" y="22"/>
                      <a:pt x="132" y="22"/>
                    </a:cubicBezTo>
                    <a:cubicBezTo>
                      <a:pt x="110" y="0"/>
                      <a:pt x="82" y="2"/>
                      <a:pt x="65" y="20"/>
                    </a:cubicBezTo>
                    <a:cubicBezTo>
                      <a:pt x="53" y="32"/>
                      <a:pt x="51" y="46"/>
                      <a:pt x="52" y="52"/>
                    </a:cubicBezTo>
                    <a:cubicBezTo>
                      <a:pt x="47" y="51"/>
                      <a:pt x="32" y="52"/>
                      <a:pt x="20" y="65"/>
                    </a:cubicBezTo>
                    <a:cubicBezTo>
                      <a:pt x="3" y="82"/>
                      <a:pt x="0" y="110"/>
                      <a:pt x="22" y="132"/>
                    </a:cubicBezTo>
                    <a:cubicBezTo>
                      <a:pt x="95" y="204"/>
                      <a:pt x="95" y="204"/>
                      <a:pt x="95" y="204"/>
                    </a:cubicBezTo>
                    <a:cubicBezTo>
                      <a:pt x="117" y="182"/>
                      <a:pt x="117" y="182"/>
                      <a:pt x="117" y="182"/>
                    </a:cubicBezTo>
                    <a:cubicBezTo>
                      <a:pt x="44" y="110"/>
                      <a:pt x="44" y="110"/>
                      <a:pt x="44" y="110"/>
                    </a:cubicBezTo>
                    <a:cubicBezTo>
                      <a:pt x="35" y="101"/>
                      <a:pt x="36" y="91"/>
                      <a:pt x="42" y="86"/>
                    </a:cubicBezTo>
                    <a:cubicBezTo>
                      <a:pt x="47" y="80"/>
                      <a:pt x="58" y="79"/>
                      <a:pt x="66" y="88"/>
                    </a:cubicBezTo>
                    <a:cubicBezTo>
                      <a:pt x="133" y="155"/>
                      <a:pt x="133" y="155"/>
                      <a:pt x="133" y="155"/>
                    </a:cubicBezTo>
                    <a:cubicBezTo>
                      <a:pt x="133" y="111"/>
                      <a:pt x="133" y="111"/>
                      <a:pt x="133" y="111"/>
                    </a:cubicBezTo>
                    <a:cubicBezTo>
                      <a:pt x="88" y="66"/>
                      <a:pt x="88" y="66"/>
                      <a:pt x="88" y="66"/>
                    </a:cubicBezTo>
                    <a:cubicBezTo>
                      <a:pt x="80" y="57"/>
                      <a:pt x="80" y="47"/>
                      <a:pt x="86" y="42"/>
                    </a:cubicBezTo>
                    <a:cubicBezTo>
                      <a:pt x="92" y="36"/>
                      <a:pt x="102" y="35"/>
                      <a:pt x="110" y="44"/>
                    </a:cubicBezTo>
                    <a:cubicBezTo>
                      <a:pt x="133" y="66"/>
                      <a:pt x="133" y="66"/>
                      <a:pt x="133" y="66"/>
                    </a:cubicBezTo>
                    <a:lnTo>
                      <a:pt x="133"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23" name="Freeform 14"/>
              <p:cNvSpPr>
                <a:spLocks noEditPoints="1"/>
              </p:cNvSpPr>
              <p:nvPr userDrawn="1"/>
            </p:nvSpPr>
            <p:spPr bwMode="auto">
              <a:xfrm>
                <a:off x="8023287" y="4895470"/>
                <a:ext cx="20556" cy="93282"/>
              </a:xfrm>
              <a:custGeom>
                <a:avLst/>
                <a:gdLst>
                  <a:gd name="T0" fmla="*/ 14 w 27"/>
                  <a:gd name="T1" fmla="*/ 26 h 128"/>
                  <a:gd name="T2" fmla="*/ 0 w 27"/>
                  <a:gd name="T3" fmla="*/ 13 h 128"/>
                  <a:gd name="T4" fmla="*/ 14 w 27"/>
                  <a:gd name="T5" fmla="*/ 0 h 128"/>
                  <a:gd name="T6" fmla="*/ 27 w 27"/>
                  <a:gd name="T7" fmla="*/ 13 h 128"/>
                  <a:gd name="T8" fmla="*/ 14 w 27"/>
                  <a:gd name="T9" fmla="*/ 26 h 128"/>
                  <a:gd name="T10" fmla="*/ 3 w 27"/>
                  <a:gd name="T11" fmla="*/ 128 h 128"/>
                  <a:gd name="T12" fmla="*/ 3 w 27"/>
                  <a:gd name="T13" fmla="*/ 40 h 128"/>
                  <a:gd name="T14" fmla="*/ 25 w 27"/>
                  <a:gd name="T15" fmla="*/ 40 h 128"/>
                  <a:gd name="T16" fmla="*/ 25 w 27"/>
                  <a:gd name="T17" fmla="*/ 112 h 128"/>
                  <a:gd name="T18" fmla="*/ 3 w 27"/>
                  <a:gd name="T1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128">
                    <a:moveTo>
                      <a:pt x="14" y="26"/>
                    </a:moveTo>
                    <a:cubicBezTo>
                      <a:pt x="6" y="26"/>
                      <a:pt x="0" y="20"/>
                      <a:pt x="0" y="13"/>
                    </a:cubicBezTo>
                    <a:cubicBezTo>
                      <a:pt x="0" y="6"/>
                      <a:pt x="6" y="0"/>
                      <a:pt x="14" y="0"/>
                    </a:cubicBezTo>
                    <a:cubicBezTo>
                      <a:pt x="21" y="0"/>
                      <a:pt x="27" y="5"/>
                      <a:pt x="27" y="13"/>
                    </a:cubicBezTo>
                    <a:cubicBezTo>
                      <a:pt x="27" y="20"/>
                      <a:pt x="21" y="26"/>
                      <a:pt x="14" y="26"/>
                    </a:cubicBezTo>
                    <a:close/>
                    <a:moveTo>
                      <a:pt x="3" y="128"/>
                    </a:moveTo>
                    <a:cubicBezTo>
                      <a:pt x="3" y="40"/>
                      <a:pt x="3" y="40"/>
                      <a:pt x="3" y="40"/>
                    </a:cubicBezTo>
                    <a:cubicBezTo>
                      <a:pt x="25" y="40"/>
                      <a:pt x="25" y="40"/>
                      <a:pt x="25" y="40"/>
                    </a:cubicBezTo>
                    <a:cubicBezTo>
                      <a:pt x="25" y="40"/>
                      <a:pt x="25" y="95"/>
                      <a:pt x="25" y="112"/>
                    </a:cubicBezTo>
                    <a:cubicBezTo>
                      <a:pt x="25" y="128"/>
                      <a:pt x="3" y="128"/>
                      <a:pt x="3" y="1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24" name="Freeform 15"/>
              <p:cNvSpPr>
                <a:spLocks/>
              </p:cNvSpPr>
              <p:nvPr userDrawn="1"/>
            </p:nvSpPr>
            <p:spPr bwMode="auto">
              <a:xfrm>
                <a:off x="8615239" y="4924717"/>
                <a:ext cx="103744" cy="66806"/>
              </a:xfrm>
              <a:custGeom>
                <a:avLst/>
                <a:gdLst>
                  <a:gd name="T0" fmla="*/ 111 w 137"/>
                  <a:gd name="T1" fmla="*/ 72 h 92"/>
                  <a:gd name="T2" fmla="*/ 88 w 137"/>
                  <a:gd name="T3" fmla="*/ 88 h 92"/>
                  <a:gd name="T4" fmla="*/ 68 w 137"/>
                  <a:gd name="T5" fmla="*/ 28 h 92"/>
                  <a:gd name="T6" fmla="*/ 68 w 137"/>
                  <a:gd name="T7" fmla="*/ 28 h 92"/>
                  <a:gd name="T8" fmla="*/ 53 w 137"/>
                  <a:gd name="T9" fmla="*/ 72 h 92"/>
                  <a:gd name="T10" fmla="*/ 31 w 137"/>
                  <a:gd name="T11" fmla="*/ 88 h 92"/>
                  <a:gd name="T12" fmla="*/ 0 w 137"/>
                  <a:gd name="T13" fmla="*/ 0 h 92"/>
                  <a:gd name="T14" fmla="*/ 22 w 137"/>
                  <a:gd name="T15" fmla="*/ 0 h 92"/>
                  <a:gd name="T16" fmla="*/ 41 w 137"/>
                  <a:gd name="T17" fmla="*/ 60 h 92"/>
                  <a:gd name="T18" fmla="*/ 41 w 137"/>
                  <a:gd name="T19" fmla="*/ 60 h 92"/>
                  <a:gd name="T20" fmla="*/ 60 w 137"/>
                  <a:gd name="T21" fmla="*/ 0 h 92"/>
                  <a:gd name="T22" fmla="*/ 77 w 137"/>
                  <a:gd name="T23" fmla="*/ 0 h 92"/>
                  <a:gd name="T24" fmla="*/ 97 w 137"/>
                  <a:gd name="T25" fmla="*/ 60 h 92"/>
                  <a:gd name="T26" fmla="*/ 97 w 137"/>
                  <a:gd name="T27" fmla="*/ 60 h 92"/>
                  <a:gd name="T28" fmla="*/ 115 w 137"/>
                  <a:gd name="T29" fmla="*/ 0 h 92"/>
                  <a:gd name="T30" fmla="*/ 137 w 137"/>
                  <a:gd name="T31" fmla="*/ 0 h 92"/>
                  <a:gd name="T32" fmla="*/ 111 w 137"/>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 h="92">
                    <a:moveTo>
                      <a:pt x="111" y="72"/>
                    </a:moveTo>
                    <a:cubicBezTo>
                      <a:pt x="104" y="92"/>
                      <a:pt x="88" y="88"/>
                      <a:pt x="88" y="88"/>
                    </a:cubicBezTo>
                    <a:cubicBezTo>
                      <a:pt x="68" y="28"/>
                      <a:pt x="68" y="28"/>
                      <a:pt x="68" y="28"/>
                    </a:cubicBezTo>
                    <a:cubicBezTo>
                      <a:pt x="68" y="28"/>
                      <a:pt x="68" y="28"/>
                      <a:pt x="68" y="28"/>
                    </a:cubicBezTo>
                    <a:cubicBezTo>
                      <a:pt x="68" y="28"/>
                      <a:pt x="59"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7" y="60"/>
                      <a:pt x="97" y="60"/>
                      <a:pt x="97" y="60"/>
                    </a:cubicBezTo>
                    <a:cubicBezTo>
                      <a:pt x="97" y="60"/>
                      <a:pt x="97" y="60"/>
                      <a:pt x="97" y="60"/>
                    </a:cubicBezTo>
                    <a:cubicBezTo>
                      <a:pt x="115" y="0"/>
                      <a:pt x="115" y="0"/>
                      <a:pt x="115" y="0"/>
                    </a:cubicBezTo>
                    <a:cubicBezTo>
                      <a:pt x="137" y="0"/>
                      <a:pt x="137" y="0"/>
                      <a:pt x="137" y="0"/>
                    </a:cubicBezTo>
                    <a:cubicBezTo>
                      <a:pt x="137"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25" name="Freeform 16"/>
              <p:cNvSpPr>
                <a:spLocks noEditPoints="1"/>
              </p:cNvSpPr>
              <p:nvPr userDrawn="1"/>
            </p:nvSpPr>
            <p:spPr bwMode="auto">
              <a:xfrm>
                <a:off x="8423168" y="4892699"/>
                <a:ext cx="65844" cy="95129"/>
              </a:xfrm>
              <a:custGeom>
                <a:avLst/>
                <a:gdLst>
                  <a:gd name="T0" fmla="*/ 1 w 87"/>
                  <a:gd name="T1" fmla="*/ 0 h 131"/>
                  <a:gd name="T2" fmla="*/ 0 w 87"/>
                  <a:gd name="T3" fmla="*/ 131 h 131"/>
                  <a:gd name="T4" fmla="*/ 41 w 87"/>
                  <a:gd name="T5" fmla="*/ 131 h 131"/>
                  <a:gd name="T6" fmla="*/ 87 w 87"/>
                  <a:gd name="T7" fmla="*/ 92 h 131"/>
                  <a:gd name="T8" fmla="*/ 65 w 87"/>
                  <a:gd name="T9" fmla="*/ 61 h 131"/>
                  <a:gd name="T10" fmla="*/ 62 w 87"/>
                  <a:gd name="T11" fmla="*/ 60 h 131"/>
                  <a:gd name="T12" fmla="*/ 64 w 87"/>
                  <a:gd name="T13" fmla="*/ 59 h 131"/>
                  <a:gd name="T14" fmla="*/ 79 w 87"/>
                  <a:gd name="T15" fmla="*/ 32 h 131"/>
                  <a:gd name="T16" fmla="*/ 42 w 87"/>
                  <a:gd name="T17" fmla="*/ 0 h 131"/>
                  <a:gd name="T18" fmla="*/ 1 w 87"/>
                  <a:gd name="T19" fmla="*/ 0 h 131"/>
                  <a:gd name="T20" fmla="*/ 23 w 87"/>
                  <a:gd name="T21" fmla="*/ 17 h 131"/>
                  <a:gd name="T22" fmla="*/ 36 w 87"/>
                  <a:gd name="T23" fmla="*/ 17 h 131"/>
                  <a:gd name="T24" fmla="*/ 56 w 87"/>
                  <a:gd name="T25" fmla="*/ 35 h 131"/>
                  <a:gd name="T26" fmla="*/ 38 w 87"/>
                  <a:gd name="T27" fmla="*/ 55 h 131"/>
                  <a:gd name="T28" fmla="*/ 22 w 87"/>
                  <a:gd name="T29" fmla="*/ 55 h 131"/>
                  <a:gd name="T30" fmla="*/ 23 w 87"/>
                  <a:gd name="T31" fmla="*/ 17 h 131"/>
                  <a:gd name="T32" fmla="*/ 22 w 87"/>
                  <a:gd name="T33" fmla="*/ 74 h 131"/>
                  <a:gd name="T34" fmla="*/ 40 w 87"/>
                  <a:gd name="T35" fmla="*/ 74 h 131"/>
                  <a:gd name="T36" fmla="*/ 64 w 87"/>
                  <a:gd name="T37" fmla="*/ 92 h 131"/>
                  <a:gd name="T38" fmla="*/ 39 w 87"/>
                  <a:gd name="T39" fmla="*/ 113 h 131"/>
                  <a:gd name="T40" fmla="*/ 22 w 87"/>
                  <a:gd name="T41" fmla="*/ 113 h 131"/>
                  <a:gd name="T42" fmla="*/ 22 w 87"/>
                  <a:gd name="T43" fmla="*/ 7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131">
                    <a:moveTo>
                      <a:pt x="1" y="0"/>
                    </a:moveTo>
                    <a:cubicBezTo>
                      <a:pt x="1" y="3"/>
                      <a:pt x="0" y="129"/>
                      <a:pt x="0" y="131"/>
                    </a:cubicBezTo>
                    <a:cubicBezTo>
                      <a:pt x="2" y="131"/>
                      <a:pt x="41" y="131"/>
                      <a:pt x="41" y="131"/>
                    </a:cubicBezTo>
                    <a:cubicBezTo>
                      <a:pt x="73" y="131"/>
                      <a:pt x="87" y="111"/>
                      <a:pt x="87" y="92"/>
                    </a:cubicBezTo>
                    <a:cubicBezTo>
                      <a:pt x="87" y="77"/>
                      <a:pt x="79" y="65"/>
                      <a:pt x="65" y="61"/>
                    </a:cubicBezTo>
                    <a:cubicBezTo>
                      <a:pt x="62" y="60"/>
                      <a:pt x="62" y="60"/>
                      <a:pt x="62" y="60"/>
                    </a:cubicBezTo>
                    <a:cubicBezTo>
                      <a:pt x="64" y="59"/>
                      <a:pt x="64" y="59"/>
                      <a:pt x="64" y="59"/>
                    </a:cubicBezTo>
                    <a:cubicBezTo>
                      <a:pt x="74" y="54"/>
                      <a:pt x="79" y="44"/>
                      <a:pt x="79" y="32"/>
                    </a:cubicBezTo>
                    <a:cubicBezTo>
                      <a:pt x="79" y="17"/>
                      <a:pt x="68" y="0"/>
                      <a:pt x="42" y="0"/>
                    </a:cubicBezTo>
                    <a:cubicBezTo>
                      <a:pt x="42" y="0"/>
                      <a:pt x="3" y="0"/>
                      <a:pt x="1" y="0"/>
                    </a:cubicBezTo>
                    <a:close/>
                    <a:moveTo>
                      <a:pt x="23" y="17"/>
                    </a:moveTo>
                    <a:cubicBezTo>
                      <a:pt x="36" y="17"/>
                      <a:pt x="36" y="17"/>
                      <a:pt x="36" y="17"/>
                    </a:cubicBezTo>
                    <a:cubicBezTo>
                      <a:pt x="49" y="17"/>
                      <a:pt x="56" y="24"/>
                      <a:pt x="56" y="35"/>
                    </a:cubicBezTo>
                    <a:cubicBezTo>
                      <a:pt x="56" y="47"/>
                      <a:pt x="47" y="55"/>
                      <a:pt x="38" y="55"/>
                    </a:cubicBezTo>
                    <a:cubicBezTo>
                      <a:pt x="22" y="55"/>
                      <a:pt x="22" y="55"/>
                      <a:pt x="22" y="55"/>
                    </a:cubicBezTo>
                    <a:lnTo>
                      <a:pt x="23" y="17"/>
                    </a:lnTo>
                    <a:close/>
                    <a:moveTo>
                      <a:pt x="22" y="74"/>
                    </a:moveTo>
                    <a:cubicBezTo>
                      <a:pt x="40" y="74"/>
                      <a:pt x="40" y="74"/>
                      <a:pt x="40" y="74"/>
                    </a:cubicBezTo>
                    <a:cubicBezTo>
                      <a:pt x="55" y="74"/>
                      <a:pt x="64" y="81"/>
                      <a:pt x="64" y="92"/>
                    </a:cubicBezTo>
                    <a:cubicBezTo>
                      <a:pt x="64" y="105"/>
                      <a:pt x="55" y="113"/>
                      <a:pt x="39" y="113"/>
                    </a:cubicBezTo>
                    <a:cubicBezTo>
                      <a:pt x="22" y="113"/>
                      <a:pt x="22" y="113"/>
                      <a:pt x="22" y="113"/>
                    </a:cubicBezTo>
                    <a:lnTo>
                      <a:pt x="22" y="74"/>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26" name="Freeform 17"/>
              <p:cNvSpPr>
                <a:spLocks noEditPoints="1"/>
              </p:cNvSpPr>
              <p:nvPr userDrawn="1"/>
            </p:nvSpPr>
            <p:spPr bwMode="auto">
              <a:xfrm>
                <a:off x="8546184" y="4923177"/>
                <a:ext cx="66486" cy="66190"/>
              </a:xfrm>
              <a:custGeom>
                <a:avLst/>
                <a:gdLst>
                  <a:gd name="T0" fmla="*/ 75 w 88"/>
                  <a:gd name="T1" fmla="*/ 78 h 91"/>
                  <a:gd name="T2" fmla="*/ 44 w 88"/>
                  <a:gd name="T3" fmla="*/ 91 h 91"/>
                  <a:gd name="T4" fmla="*/ 14 w 88"/>
                  <a:gd name="T5" fmla="*/ 80 h 91"/>
                  <a:gd name="T6" fmla="*/ 0 w 88"/>
                  <a:gd name="T7" fmla="*/ 46 h 91"/>
                  <a:gd name="T8" fmla="*/ 13 w 88"/>
                  <a:gd name="T9" fmla="*/ 12 h 91"/>
                  <a:gd name="T10" fmla="*/ 44 w 88"/>
                  <a:gd name="T11" fmla="*/ 0 h 91"/>
                  <a:gd name="T12" fmla="*/ 76 w 88"/>
                  <a:gd name="T13" fmla="*/ 12 h 91"/>
                  <a:gd name="T14" fmla="*/ 88 w 88"/>
                  <a:gd name="T15" fmla="*/ 45 h 91"/>
                  <a:gd name="T16" fmla="*/ 75 w 88"/>
                  <a:gd name="T17" fmla="*/ 78 h 91"/>
                  <a:gd name="T18" fmla="*/ 44 w 88"/>
                  <a:gd name="T19" fmla="*/ 17 h 91"/>
                  <a:gd name="T20" fmla="*/ 23 w 88"/>
                  <a:gd name="T21" fmla="*/ 45 h 91"/>
                  <a:gd name="T22" fmla="*/ 44 w 88"/>
                  <a:gd name="T23" fmla="*/ 73 h 91"/>
                  <a:gd name="T24" fmla="*/ 65 w 88"/>
                  <a:gd name="T25" fmla="*/ 45 h 91"/>
                  <a:gd name="T26" fmla="*/ 44 w 88"/>
                  <a:gd name="T27"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91">
                    <a:moveTo>
                      <a:pt x="75" y="78"/>
                    </a:moveTo>
                    <a:cubicBezTo>
                      <a:pt x="68" y="86"/>
                      <a:pt x="57" y="91"/>
                      <a:pt x="44" y="91"/>
                    </a:cubicBezTo>
                    <a:cubicBezTo>
                      <a:pt x="32" y="91"/>
                      <a:pt x="21" y="87"/>
                      <a:pt x="14" y="80"/>
                    </a:cubicBezTo>
                    <a:cubicBezTo>
                      <a:pt x="5" y="72"/>
                      <a:pt x="0" y="60"/>
                      <a:pt x="0" y="46"/>
                    </a:cubicBezTo>
                    <a:cubicBezTo>
                      <a:pt x="0" y="32"/>
                      <a:pt x="5" y="20"/>
                      <a:pt x="13" y="12"/>
                    </a:cubicBezTo>
                    <a:cubicBezTo>
                      <a:pt x="21" y="4"/>
                      <a:pt x="31" y="0"/>
                      <a:pt x="44" y="0"/>
                    </a:cubicBezTo>
                    <a:cubicBezTo>
                      <a:pt x="57" y="0"/>
                      <a:pt x="68" y="4"/>
                      <a:pt x="76" y="12"/>
                    </a:cubicBezTo>
                    <a:cubicBezTo>
                      <a:pt x="84" y="20"/>
                      <a:pt x="88" y="32"/>
                      <a:pt x="88" y="45"/>
                    </a:cubicBezTo>
                    <a:cubicBezTo>
                      <a:pt x="88" y="58"/>
                      <a:pt x="83" y="70"/>
                      <a:pt x="75" y="78"/>
                    </a:cubicBezTo>
                    <a:close/>
                    <a:moveTo>
                      <a:pt x="44" y="17"/>
                    </a:moveTo>
                    <a:cubicBezTo>
                      <a:pt x="30" y="17"/>
                      <a:pt x="23" y="29"/>
                      <a:pt x="23" y="45"/>
                    </a:cubicBezTo>
                    <a:cubicBezTo>
                      <a:pt x="23" y="62"/>
                      <a:pt x="31" y="73"/>
                      <a:pt x="44" y="73"/>
                    </a:cubicBezTo>
                    <a:cubicBezTo>
                      <a:pt x="58" y="73"/>
                      <a:pt x="65" y="61"/>
                      <a:pt x="65" y="45"/>
                    </a:cubicBezTo>
                    <a:cubicBezTo>
                      <a:pt x="65" y="28"/>
                      <a:pt x="57" y="17"/>
                      <a:pt x="44" y="1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27" name="Freeform 18"/>
              <p:cNvSpPr>
                <a:spLocks/>
              </p:cNvSpPr>
              <p:nvPr userDrawn="1"/>
            </p:nvSpPr>
            <p:spPr bwMode="auto">
              <a:xfrm>
                <a:off x="8728298" y="4923177"/>
                <a:ext cx="60705" cy="65574"/>
              </a:xfrm>
              <a:custGeom>
                <a:avLst/>
                <a:gdLst>
                  <a:gd name="T0" fmla="*/ 58 w 80"/>
                  <a:gd name="T1" fmla="*/ 90 h 90"/>
                  <a:gd name="T2" fmla="*/ 58 w 80"/>
                  <a:gd name="T3" fmla="*/ 38 h 90"/>
                  <a:gd name="T4" fmla="*/ 45 w 80"/>
                  <a:gd name="T5" fmla="*/ 19 h 90"/>
                  <a:gd name="T6" fmla="*/ 23 w 80"/>
                  <a:gd name="T7" fmla="*/ 28 h 90"/>
                  <a:gd name="T8" fmla="*/ 23 w 80"/>
                  <a:gd name="T9" fmla="*/ 74 h 90"/>
                  <a:gd name="T10" fmla="*/ 0 w 80"/>
                  <a:gd name="T11" fmla="*/ 90 h 90"/>
                  <a:gd name="T12" fmla="*/ 0 w 80"/>
                  <a:gd name="T13" fmla="*/ 2 h 90"/>
                  <a:gd name="T14" fmla="*/ 19 w 80"/>
                  <a:gd name="T15" fmla="*/ 2 h 90"/>
                  <a:gd name="T16" fmla="*/ 22 w 80"/>
                  <a:gd name="T17" fmla="*/ 11 h 90"/>
                  <a:gd name="T18" fmla="*/ 52 w 80"/>
                  <a:gd name="T19" fmla="*/ 0 h 90"/>
                  <a:gd name="T20" fmla="*/ 80 w 80"/>
                  <a:gd name="T21" fmla="*/ 31 h 90"/>
                  <a:gd name="T22" fmla="*/ 80 w 80"/>
                  <a:gd name="T23" fmla="*/ 74 h 90"/>
                  <a:gd name="T24" fmla="*/ 58 w 80"/>
                  <a:gd name="T2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90">
                    <a:moveTo>
                      <a:pt x="58" y="90"/>
                    </a:moveTo>
                    <a:cubicBezTo>
                      <a:pt x="58" y="38"/>
                      <a:pt x="58" y="38"/>
                      <a:pt x="58" y="38"/>
                    </a:cubicBezTo>
                    <a:cubicBezTo>
                      <a:pt x="58" y="29"/>
                      <a:pt x="56" y="19"/>
                      <a:pt x="45" y="19"/>
                    </a:cubicBezTo>
                    <a:cubicBezTo>
                      <a:pt x="37" y="19"/>
                      <a:pt x="29" y="23"/>
                      <a:pt x="23" y="28"/>
                    </a:cubicBezTo>
                    <a:cubicBezTo>
                      <a:pt x="23" y="28"/>
                      <a:pt x="23" y="57"/>
                      <a:pt x="23" y="74"/>
                    </a:cubicBezTo>
                    <a:cubicBezTo>
                      <a:pt x="23" y="90"/>
                      <a:pt x="0" y="90"/>
                      <a:pt x="0" y="90"/>
                    </a:cubicBezTo>
                    <a:cubicBezTo>
                      <a:pt x="0" y="2"/>
                      <a:pt x="0" y="2"/>
                      <a:pt x="0" y="2"/>
                    </a:cubicBezTo>
                    <a:cubicBezTo>
                      <a:pt x="19" y="2"/>
                      <a:pt x="19" y="2"/>
                      <a:pt x="19" y="2"/>
                    </a:cubicBezTo>
                    <a:cubicBezTo>
                      <a:pt x="22" y="11"/>
                      <a:pt x="22" y="11"/>
                      <a:pt x="22" y="11"/>
                    </a:cubicBezTo>
                    <a:cubicBezTo>
                      <a:pt x="31" y="4"/>
                      <a:pt x="40" y="0"/>
                      <a:pt x="52" y="0"/>
                    </a:cubicBezTo>
                    <a:cubicBezTo>
                      <a:pt x="65" y="0"/>
                      <a:pt x="80" y="8"/>
                      <a:pt x="80" y="31"/>
                    </a:cubicBezTo>
                    <a:cubicBezTo>
                      <a:pt x="80" y="31"/>
                      <a:pt x="80" y="57"/>
                      <a:pt x="80" y="74"/>
                    </a:cubicBezTo>
                    <a:cubicBezTo>
                      <a:pt x="80" y="90"/>
                      <a:pt x="58" y="90"/>
                      <a:pt x="58" y="9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28" name="Freeform 19"/>
              <p:cNvSpPr>
                <a:spLocks/>
              </p:cNvSpPr>
              <p:nvPr userDrawn="1"/>
            </p:nvSpPr>
            <p:spPr bwMode="auto">
              <a:xfrm>
                <a:off x="8501217" y="4923177"/>
                <a:ext cx="43361" cy="65574"/>
              </a:xfrm>
              <a:custGeom>
                <a:avLst/>
                <a:gdLst>
                  <a:gd name="T0" fmla="*/ 49 w 57"/>
                  <a:gd name="T1" fmla="*/ 22 h 90"/>
                  <a:gd name="T2" fmla="*/ 39 w 57"/>
                  <a:gd name="T3" fmla="*/ 20 h 90"/>
                  <a:gd name="T4" fmla="*/ 22 w 57"/>
                  <a:gd name="T5" fmla="*/ 27 h 90"/>
                  <a:gd name="T6" fmla="*/ 22 w 57"/>
                  <a:gd name="T7" fmla="*/ 74 h 90"/>
                  <a:gd name="T8" fmla="*/ 0 w 57"/>
                  <a:gd name="T9" fmla="*/ 90 h 90"/>
                  <a:gd name="T10" fmla="*/ 0 w 57"/>
                  <a:gd name="T11" fmla="*/ 2 h 90"/>
                  <a:gd name="T12" fmla="*/ 19 w 57"/>
                  <a:gd name="T13" fmla="*/ 2 h 90"/>
                  <a:gd name="T14" fmla="*/ 21 w 57"/>
                  <a:gd name="T15" fmla="*/ 11 h 90"/>
                  <a:gd name="T16" fmla="*/ 45 w 57"/>
                  <a:gd name="T17" fmla="*/ 0 h 90"/>
                  <a:gd name="T18" fmla="*/ 57 w 57"/>
                  <a:gd name="T19" fmla="*/ 4 h 90"/>
                  <a:gd name="T20" fmla="*/ 49 w 57"/>
                  <a:gd name="T21" fmla="*/ 2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0">
                    <a:moveTo>
                      <a:pt x="49" y="22"/>
                    </a:moveTo>
                    <a:cubicBezTo>
                      <a:pt x="46" y="20"/>
                      <a:pt x="42" y="20"/>
                      <a:pt x="39" y="20"/>
                    </a:cubicBezTo>
                    <a:cubicBezTo>
                      <a:pt x="34" y="20"/>
                      <a:pt x="28" y="22"/>
                      <a:pt x="22" y="27"/>
                    </a:cubicBezTo>
                    <a:cubicBezTo>
                      <a:pt x="22" y="27"/>
                      <a:pt x="22" y="57"/>
                      <a:pt x="22" y="74"/>
                    </a:cubicBezTo>
                    <a:cubicBezTo>
                      <a:pt x="22" y="90"/>
                      <a:pt x="0" y="90"/>
                      <a:pt x="0" y="90"/>
                    </a:cubicBezTo>
                    <a:cubicBezTo>
                      <a:pt x="0" y="2"/>
                      <a:pt x="0" y="2"/>
                      <a:pt x="0" y="2"/>
                    </a:cubicBezTo>
                    <a:cubicBezTo>
                      <a:pt x="19" y="2"/>
                      <a:pt x="19" y="2"/>
                      <a:pt x="19"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29" name="Freeform 20"/>
              <p:cNvSpPr>
                <a:spLocks/>
              </p:cNvSpPr>
              <p:nvPr userDrawn="1"/>
            </p:nvSpPr>
            <p:spPr bwMode="auto">
              <a:xfrm>
                <a:off x="7766657" y="4864376"/>
                <a:ext cx="100211" cy="148389"/>
              </a:xfrm>
              <a:custGeom>
                <a:avLst/>
                <a:gdLst>
                  <a:gd name="T0" fmla="*/ 0 w 132"/>
                  <a:gd name="T1" fmla="*/ 23 h 204"/>
                  <a:gd name="T2" fmla="*/ 1 w 132"/>
                  <a:gd name="T3" fmla="*/ 22 h 204"/>
                  <a:gd name="T4" fmla="*/ 67 w 132"/>
                  <a:gd name="T5" fmla="*/ 20 h 204"/>
                  <a:gd name="T6" fmla="*/ 80 w 132"/>
                  <a:gd name="T7" fmla="*/ 52 h 204"/>
                  <a:gd name="T8" fmla="*/ 113 w 132"/>
                  <a:gd name="T9" fmla="*/ 65 h 204"/>
                  <a:gd name="T10" fmla="*/ 111 w 132"/>
                  <a:gd name="T11" fmla="*/ 132 h 204"/>
                  <a:gd name="T12" fmla="*/ 38 w 132"/>
                  <a:gd name="T13" fmla="*/ 204 h 204"/>
                  <a:gd name="T14" fmla="*/ 16 w 132"/>
                  <a:gd name="T15" fmla="*/ 182 h 204"/>
                  <a:gd name="T16" fmla="*/ 88 w 132"/>
                  <a:gd name="T17" fmla="*/ 110 h 204"/>
                  <a:gd name="T18" fmla="*/ 91 w 132"/>
                  <a:gd name="T19" fmla="*/ 86 h 204"/>
                  <a:gd name="T20" fmla="*/ 67 w 132"/>
                  <a:gd name="T21" fmla="*/ 88 h 204"/>
                  <a:gd name="T22" fmla="*/ 0 w 132"/>
                  <a:gd name="T23" fmla="*/ 155 h 204"/>
                  <a:gd name="T24" fmla="*/ 0 w 132"/>
                  <a:gd name="T25" fmla="*/ 111 h 204"/>
                  <a:gd name="T26" fmla="*/ 45 w 132"/>
                  <a:gd name="T27" fmla="*/ 66 h 204"/>
                  <a:gd name="T28" fmla="*/ 46 w 132"/>
                  <a:gd name="T29" fmla="*/ 42 h 204"/>
                  <a:gd name="T30" fmla="*/ 22 w 132"/>
                  <a:gd name="T31" fmla="*/ 44 h 204"/>
                  <a:gd name="T32" fmla="*/ 0 w 132"/>
                  <a:gd name="T33" fmla="*/ 66 h 204"/>
                  <a:gd name="T34" fmla="*/ 0 w 132"/>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204">
                    <a:moveTo>
                      <a:pt x="0" y="23"/>
                    </a:moveTo>
                    <a:cubicBezTo>
                      <a:pt x="1" y="22"/>
                      <a:pt x="1" y="22"/>
                      <a:pt x="1" y="22"/>
                    </a:cubicBezTo>
                    <a:cubicBezTo>
                      <a:pt x="23" y="0"/>
                      <a:pt x="50" y="2"/>
                      <a:pt x="67" y="20"/>
                    </a:cubicBezTo>
                    <a:cubicBezTo>
                      <a:pt x="80" y="32"/>
                      <a:pt x="81" y="46"/>
                      <a:pt x="80" y="52"/>
                    </a:cubicBezTo>
                    <a:cubicBezTo>
                      <a:pt x="86" y="51"/>
                      <a:pt x="100" y="52"/>
                      <a:pt x="113" y="65"/>
                    </a:cubicBezTo>
                    <a:cubicBezTo>
                      <a:pt x="130" y="82"/>
                      <a:pt x="132" y="110"/>
                      <a:pt x="111" y="132"/>
                    </a:cubicBezTo>
                    <a:cubicBezTo>
                      <a:pt x="38" y="204"/>
                      <a:pt x="38" y="204"/>
                      <a:pt x="38" y="204"/>
                    </a:cubicBezTo>
                    <a:cubicBezTo>
                      <a:pt x="16" y="182"/>
                      <a:pt x="16" y="182"/>
                      <a:pt x="16" y="182"/>
                    </a:cubicBezTo>
                    <a:cubicBezTo>
                      <a:pt x="88" y="110"/>
                      <a:pt x="88" y="110"/>
                      <a:pt x="88" y="110"/>
                    </a:cubicBezTo>
                    <a:cubicBezTo>
                      <a:pt x="97" y="101"/>
                      <a:pt x="96" y="91"/>
                      <a:pt x="91" y="86"/>
                    </a:cubicBezTo>
                    <a:cubicBezTo>
                      <a:pt x="85" y="80"/>
                      <a:pt x="75" y="79"/>
                      <a:pt x="67" y="88"/>
                    </a:cubicBezTo>
                    <a:cubicBezTo>
                      <a:pt x="0" y="155"/>
                      <a:pt x="0" y="155"/>
                      <a:pt x="0" y="155"/>
                    </a:cubicBezTo>
                    <a:cubicBezTo>
                      <a:pt x="0" y="111"/>
                      <a:pt x="0" y="111"/>
                      <a:pt x="0" y="111"/>
                    </a:cubicBezTo>
                    <a:cubicBezTo>
                      <a:pt x="45" y="66"/>
                      <a:pt x="45" y="66"/>
                      <a:pt x="45" y="66"/>
                    </a:cubicBezTo>
                    <a:cubicBezTo>
                      <a:pt x="53" y="57"/>
                      <a:pt x="52" y="47"/>
                      <a:pt x="46" y="42"/>
                    </a:cubicBezTo>
                    <a:cubicBezTo>
                      <a:pt x="41" y="36"/>
                      <a:pt x="31" y="35"/>
                      <a:pt x="22" y="44"/>
                    </a:cubicBezTo>
                    <a:cubicBezTo>
                      <a:pt x="0" y="66"/>
                      <a:pt x="0" y="66"/>
                      <a:pt x="0" y="66"/>
                    </a:cubicBezTo>
                    <a:lnTo>
                      <a:pt x="0"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grpSp>
      <p:sp>
        <p:nvSpPr>
          <p:cNvPr id="98"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solidFill>
                  <a:schemeClr val="tx2">
                    <a:lumMod val="75000"/>
                  </a:schemeClr>
                </a:solidFill>
                <a:latin typeface="+mn-lt"/>
              </a:rPr>
              <a:t>Private and Confidental</a:t>
            </a:r>
            <a:endParaRPr lang="pt-BR" sz="500" dirty="0">
              <a:solidFill>
                <a:schemeClr val="tx2">
                  <a:lumMod val="75000"/>
                </a:schemeClr>
              </a:solidFill>
              <a:latin typeface="+mn-lt"/>
            </a:endParaRPr>
          </a:p>
        </p:txBody>
      </p:sp>
    </p:spTree>
    <p:extLst>
      <p:ext uri="{BB962C8B-B14F-4D97-AF65-F5344CB8AC3E}">
        <p14:creationId xmlns:p14="http://schemas.microsoft.com/office/powerpoint/2010/main" val="1920980790"/>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_A_MB_Slate3">
    <p:bg>
      <p:bgPr>
        <a:solidFill>
          <a:schemeClr val="bg1"/>
        </a:solidFill>
        <a:effectLst/>
      </p:bgPr>
    </p:bg>
    <p:spTree>
      <p:nvGrpSpPr>
        <p:cNvPr id="1" name=""/>
        <p:cNvGrpSpPr/>
        <p:nvPr/>
      </p:nvGrpSpPr>
      <p:grpSpPr>
        <a:xfrm>
          <a:off x="0" y="0"/>
          <a:ext cx="0" cy="0"/>
          <a:chOff x="0" y="0"/>
          <a:chExt cx="0" cy="0"/>
        </a:xfrm>
      </p:grpSpPr>
      <p:sp>
        <p:nvSpPr>
          <p:cNvPr id="31" name="Rectangle 30"/>
          <p:cNvSpPr/>
          <p:nvPr userDrawn="1"/>
        </p:nvSpPr>
        <p:spPr>
          <a:xfrm>
            <a:off x="0" y="0"/>
            <a:ext cx="9144000" cy="5148263"/>
          </a:xfrm>
          <a:prstGeom prst="rect">
            <a:avLst/>
          </a:prstGeom>
          <a:solidFill>
            <a:srgbClr val="4B4E53"/>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en-GB" sz="1050" smtClean="0">
              <a:solidFill>
                <a:schemeClr val="bg1"/>
              </a:solidFill>
              <a:latin typeface="Arial" panose="020B0604020202020204" pitchFamily="34" charset="0"/>
              <a:cs typeface="Arial" panose="020B0604020202020204" pitchFamily="34" charset="0"/>
            </a:endParaRPr>
          </a:p>
        </p:txBody>
      </p:sp>
      <p:pic>
        <p:nvPicPr>
          <p:cNvPr id="33" name="Picture 32" descr="cookie_white.png"/>
          <p:cNvPicPr>
            <a:picLocks noChangeAspect="1"/>
          </p:cNvPicPr>
          <p:nvPr userDrawn="1"/>
        </p:nvPicPr>
        <p:blipFill rotWithShape="1">
          <a:blip r:embed="rId2" cstate="screen">
            <a:alphaModFix amt="16000"/>
            <a:extLst>
              <a:ext uri="{28A0092B-C50C-407E-A947-70E740481C1C}">
                <a14:useLocalDpi xmlns:a14="http://schemas.microsoft.com/office/drawing/2010/main"/>
              </a:ext>
            </a:extLst>
          </a:blip>
          <a:srcRect/>
          <a:stretch/>
        </p:blipFill>
        <p:spPr>
          <a:xfrm flipH="1">
            <a:off x="5149029" y="2289839"/>
            <a:ext cx="4020091" cy="2880000"/>
          </a:xfrm>
          <a:prstGeom prst="rect">
            <a:avLst/>
          </a:prstGeom>
        </p:spPr>
      </p:pic>
      <p:cxnSp>
        <p:nvCxnSpPr>
          <p:cNvPr id="32" name="Straight Connector 31"/>
          <p:cNvCxnSpPr/>
          <p:nvPr userDrawn="1"/>
        </p:nvCxnSpPr>
        <p:spPr>
          <a:xfrm>
            <a:off x="343365" y="470176"/>
            <a:ext cx="8460000" cy="0"/>
          </a:xfrm>
          <a:prstGeom prst="line">
            <a:avLst/>
          </a:prstGeom>
          <a:ln w="6350" cmpd="sng">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343365" y="4801146"/>
            <a:ext cx="8460000" cy="0"/>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sp>
        <p:nvSpPr>
          <p:cNvPr id="67"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rgbClr val="FFFFFF"/>
                </a:solidFill>
                <a:latin typeface="+mn-lt"/>
              </a:defRPr>
            </a:lvl1pPr>
          </a:lstStyle>
          <a:p>
            <a:fld id="{19AB4E72-7858-48F1-A40D-12FF09E4BFB8}" type="slidenum">
              <a:rPr lang="en-GB" smtClean="0"/>
              <a:pPr/>
              <a:t>‹Nº›</a:t>
            </a:fld>
            <a:endParaRPr lang="en-GB"/>
          </a:p>
        </p:txBody>
      </p:sp>
      <p:sp>
        <p:nvSpPr>
          <p:cNvPr id="36" name="Title 1"/>
          <p:cNvSpPr>
            <a:spLocks noGrp="1"/>
          </p:cNvSpPr>
          <p:nvPr>
            <p:ph type="ctrTitle" hasCustomPrompt="1"/>
          </p:nvPr>
        </p:nvSpPr>
        <p:spPr>
          <a:xfrm>
            <a:off x="343365" y="2867487"/>
            <a:ext cx="8460000" cy="443198"/>
          </a:xfrm>
          <a:prstGeom prst="rect">
            <a:avLst/>
          </a:prstGeom>
        </p:spPr>
        <p:txBody>
          <a:bodyPr lIns="0" tIns="0" rIns="0" bIns="0" anchor="b"/>
          <a:lstStyle>
            <a:lvl1pPr>
              <a:lnSpc>
                <a:spcPct val="90000"/>
              </a:lnSpc>
              <a:defRPr sz="3200" b="0">
                <a:solidFill>
                  <a:schemeClr val="bg1"/>
                </a:solidFill>
              </a:defRPr>
            </a:lvl1pPr>
          </a:lstStyle>
          <a:p>
            <a:r>
              <a:rPr lang="en-US" dirty="0" smtClean="0"/>
              <a:t>Click to edit Master title Style</a:t>
            </a:r>
            <a:endParaRPr lang="en-US" dirty="0"/>
          </a:p>
        </p:txBody>
      </p:sp>
      <p:sp>
        <p:nvSpPr>
          <p:cNvPr id="37" name="Subtitle 2"/>
          <p:cNvSpPr>
            <a:spLocks noGrp="1"/>
          </p:cNvSpPr>
          <p:nvPr>
            <p:ph type="subTitle" idx="1" hasCustomPrompt="1"/>
          </p:nvPr>
        </p:nvSpPr>
        <p:spPr>
          <a:xfrm>
            <a:off x="343364" y="3474100"/>
            <a:ext cx="8460000" cy="202165"/>
          </a:xfrm>
          <a:prstGeom prst="rect">
            <a:avLst/>
          </a:prstGeom>
        </p:spPr>
        <p:txBody>
          <a:bodyPr lIns="0" tIns="0" rIns="0" bIns="0">
            <a:noAutofit/>
          </a:bodyPr>
          <a:lstStyle>
            <a:lvl1pPr marL="0" indent="0" algn="l">
              <a:buNone/>
              <a:defRPr sz="1400">
                <a:solidFill>
                  <a:schemeClr val="tx2"/>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cxnSp>
        <p:nvCxnSpPr>
          <p:cNvPr id="38" name="Straight Connector 37"/>
          <p:cNvCxnSpPr/>
          <p:nvPr userDrawn="1"/>
        </p:nvCxnSpPr>
        <p:spPr>
          <a:xfrm>
            <a:off x="346086" y="3395058"/>
            <a:ext cx="8460000" cy="0"/>
          </a:xfrm>
          <a:prstGeom prst="line">
            <a:avLst/>
          </a:prstGeom>
          <a:ln w="12700" cmpd="sng">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16" name="Group 115"/>
          <p:cNvGrpSpPr/>
          <p:nvPr userDrawn="1"/>
        </p:nvGrpSpPr>
        <p:grpSpPr>
          <a:xfrm>
            <a:off x="4756265" y="4843403"/>
            <a:ext cx="1123200" cy="262117"/>
            <a:chOff x="7686782" y="4354553"/>
            <a:chExt cx="1123200" cy="262117"/>
          </a:xfrm>
          <a:solidFill>
            <a:schemeClr val="bg1"/>
          </a:solidFill>
        </p:grpSpPr>
        <p:sp>
          <p:nvSpPr>
            <p:cNvPr id="117" name="Freeform 116"/>
            <p:cNvSpPr>
              <a:spLocks/>
            </p:cNvSpPr>
            <p:nvPr/>
          </p:nvSpPr>
          <p:spPr bwMode="auto">
            <a:xfrm>
              <a:off x="8637817" y="4415076"/>
              <a:ext cx="103629" cy="66531"/>
            </a:xfrm>
            <a:custGeom>
              <a:avLst/>
              <a:gdLst>
                <a:gd name="T0" fmla="*/ 50 w 62"/>
                <a:gd name="T1" fmla="*/ 33 h 42"/>
                <a:gd name="T2" fmla="*/ 39 w 62"/>
                <a:gd name="T3" fmla="*/ 40 h 42"/>
                <a:gd name="T4" fmla="*/ 31 w 62"/>
                <a:gd name="T5" fmla="*/ 13 h 42"/>
                <a:gd name="T6" fmla="*/ 30 w 62"/>
                <a:gd name="T7" fmla="*/ 13 h 42"/>
                <a:gd name="T8" fmla="*/ 24 w 62"/>
                <a:gd name="T9" fmla="*/ 33 h 42"/>
                <a:gd name="T10" fmla="*/ 14 w 62"/>
                <a:gd name="T11" fmla="*/ 40 h 42"/>
                <a:gd name="T12" fmla="*/ 0 w 62"/>
                <a:gd name="T13" fmla="*/ 0 h 42"/>
                <a:gd name="T14" fmla="*/ 10 w 62"/>
                <a:gd name="T15" fmla="*/ 0 h 42"/>
                <a:gd name="T16" fmla="*/ 18 w 62"/>
                <a:gd name="T17" fmla="*/ 27 h 42"/>
                <a:gd name="T18" fmla="*/ 18 w 62"/>
                <a:gd name="T19" fmla="*/ 27 h 42"/>
                <a:gd name="T20" fmla="*/ 27 w 62"/>
                <a:gd name="T21" fmla="*/ 0 h 42"/>
                <a:gd name="T22" fmla="*/ 35 w 62"/>
                <a:gd name="T23" fmla="*/ 0 h 42"/>
                <a:gd name="T24" fmla="*/ 43 w 62"/>
                <a:gd name="T25" fmla="*/ 27 h 42"/>
                <a:gd name="T26" fmla="*/ 44 w 62"/>
                <a:gd name="T27" fmla="*/ 27 h 42"/>
                <a:gd name="T28" fmla="*/ 52 w 62"/>
                <a:gd name="T29" fmla="*/ 0 h 42"/>
                <a:gd name="T30" fmla="*/ 62 w 62"/>
                <a:gd name="T31" fmla="*/ 0 h 42"/>
                <a:gd name="T32" fmla="*/ 50 w 62"/>
                <a:gd name="T33" fmla="*/ 3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 h="42">
                  <a:moveTo>
                    <a:pt x="50" y="33"/>
                  </a:moveTo>
                  <a:cubicBezTo>
                    <a:pt x="47" y="42"/>
                    <a:pt x="39" y="40"/>
                    <a:pt x="39" y="40"/>
                  </a:cubicBezTo>
                  <a:cubicBezTo>
                    <a:pt x="31" y="13"/>
                    <a:pt x="31" y="13"/>
                    <a:pt x="31" y="13"/>
                  </a:cubicBezTo>
                  <a:cubicBezTo>
                    <a:pt x="30" y="13"/>
                    <a:pt x="30" y="13"/>
                    <a:pt x="30" y="13"/>
                  </a:cubicBezTo>
                  <a:cubicBezTo>
                    <a:pt x="30" y="13"/>
                    <a:pt x="26" y="26"/>
                    <a:pt x="24" y="33"/>
                  </a:cubicBezTo>
                  <a:cubicBezTo>
                    <a:pt x="21" y="42"/>
                    <a:pt x="14" y="40"/>
                    <a:pt x="14" y="40"/>
                  </a:cubicBezTo>
                  <a:cubicBezTo>
                    <a:pt x="0" y="0"/>
                    <a:pt x="0" y="0"/>
                    <a:pt x="0" y="0"/>
                  </a:cubicBezTo>
                  <a:cubicBezTo>
                    <a:pt x="10" y="0"/>
                    <a:pt x="10" y="0"/>
                    <a:pt x="10" y="0"/>
                  </a:cubicBezTo>
                  <a:cubicBezTo>
                    <a:pt x="18" y="27"/>
                    <a:pt x="18" y="27"/>
                    <a:pt x="18" y="27"/>
                  </a:cubicBezTo>
                  <a:cubicBezTo>
                    <a:pt x="18" y="27"/>
                    <a:pt x="18" y="27"/>
                    <a:pt x="18" y="27"/>
                  </a:cubicBezTo>
                  <a:cubicBezTo>
                    <a:pt x="27" y="0"/>
                    <a:pt x="27" y="0"/>
                    <a:pt x="27" y="0"/>
                  </a:cubicBezTo>
                  <a:cubicBezTo>
                    <a:pt x="35" y="0"/>
                    <a:pt x="35" y="0"/>
                    <a:pt x="35" y="0"/>
                  </a:cubicBezTo>
                  <a:cubicBezTo>
                    <a:pt x="43" y="27"/>
                    <a:pt x="43" y="27"/>
                    <a:pt x="43" y="27"/>
                  </a:cubicBezTo>
                  <a:cubicBezTo>
                    <a:pt x="44" y="27"/>
                    <a:pt x="44" y="27"/>
                    <a:pt x="44" y="27"/>
                  </a:cubicBezTo>
                  <a:cubicBezTo>
                    <a:pt x="52" y="0"/>
                    <a:pt x="52" y="0"/>
                    <a:pt x="52" y="0"/>
                  </a:cubicBezTo>
                  <a:cubicBezTo>
                    <a:pt x="62" y="0"/>
                    <a:pt x="62" y="0"/>
                    <a:pt x="62" y="0"/>
                  </a:cubicBezTo>
                  <a:cubicBezTo>
                    <a:pt x="62" y="0"/>
                    <a:pt x="52" y="26"/>
                    <a:pt x="5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 name="Freeform 117"/>
            <p:cNvSpPr>
              <a:spLocks noEditPoints="1"/>
            </p:cNvSpPr>
            <p:nvPr/>
          </p:nvSpPr>
          <p:spPr bwMode="auto">
            <a:xfrm>
              <a:off x="8445631" y="4383257"/>
              <a:ext cx="65239" cy="93677"/>
            </a:xfrm>
            <a:custGeom>
              <a:avLst/>
              <a:gdLst>
                <a:gd name="T0" fmla="*/ 0 w 39"/>
                <a:gd name="T1" fmla="*/ 0 h 59"/>
                <a:gd name="T2" fmla="*/ 0 w 39"/>
                <a:gd name="T3" fmla="*/ 59 h 59"/>
                <a:gd name="T4" fmla="*/ 18 w 39"/>
                <a:gd name="T5" fmla="*/ 59 h 59"/>
                <a:gd name="T6" fmla="*/ 39 w 39"/>
                <a:gd name="T7" fmla="*/ 42 h 59"/>
                <a:gd name="T8" fmla="*/ 29 w 39"/>
                <a:gd name="T9" fmla="*/ 28 h 59"/>
                <a:gd name="T10" fmla="*/ 28 w 39"/>
                <a:gd name="T11" fmla="*/ 27 h 59"/>
                <a:gd name="T12" fmla="*/ 29 w 39"/>
                <a:gd name="T13" fmla="*/ 27 h 59"/>
                <a:gd name="T14" fmla="*/ 35 w 39"/>
                <a:gd name="T15" fmla="*/ 15 h 59"/>
                <a:gd name="T16" fmla="*/ 19 w 39"/>
                <a:gd name="T17" fmla="*/ 0 h 59"/>
                <a:gd name="T18" fmla="*/ 0 w 39"/>
                <a:gd name="T19" fmla="*/ 0 h 59"/>
                <a:gd name="T20" fmla="*/ 10 w 39"/>
                <a:gd name="T21" fmla="*/ 8 h 59"/>
                <a:gd name="T22" fmla="*/ 16 w 39"/>
                <a:gd name="T23" fmla="*/ 8 h 59"/>
                <a:gd name="T24" fmla="*/ 25 w 39"/>
                <a:gd name="T25" fmla="*/ 16 h 59"/>
                <a:gd name="T26" fmla="*/ 17 w 39"/>
                <a:gd name="T27" fmla="*/ 25 h 59"/>
                <a:gd name="T28" fmla="*/ 10 w 39"/>
                <a:gd name="T29" fmla="*/ 25 h 59"/>
                <a:gd name="T30" fmla="*/ 10 w 39"/>
                <a:gd name="T31" fmla="*/ 8 h 59"/>
                <a:gd name="T32" fmla="*/ 10 w 39"/>
                <a:gd name="T33" fmla="*/ 33 h 59"/>
                <a:gd name="T34" fmla="*/ 18 w 39"/>
                <a:gd name="T35" fmla="*/ 33 h 59"/>
                <a:gd name="T36" fmla="*/ 29 w 39"/>
                <a:gd name="T37" fmla="*/ 42 h 59"/>
                <a:gd name="T38" fmla="*/ 17 w 39"/>
                <a:gd name="T39" fmla="*/ 51 h 59"/>
                <a:gd name="T40" fmla="*/ 10 w 39"/>
                <a:gd name="T41" fmla="*/ 51 h 59"/>
                <a:gd name="T42" fmla="*/ 10 w 39"/>
                <a:gd name="T43"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9">
                  <a:moveTo>
                    <a:pt x="0" y="0"/>
                  </a:moveTo>
                  <a:cubicBezTo>
                    <a:pt x="0" y="1"/>
                    <a:pt x="0" y="59"/>
                    <a:pt x="0" y="59"/>
                  </a:cubicBezTo>
                  <a:cubicBezTo>
                    <a:pt x="1" y="59"/>
                    <a:pt x="18" y="59"/>
                    <a:pt x="18" y="59"/>
                  </a:cubicBezTo>
                  <a:cubicBezTo>
                    <a:pt x="33" y="59"/>
                    <a:pt x="39" y="51"/>
                    <a:pt x="39" y="42"/>
                  </a:cubicBezTo>
                  <a:cubicBezTo>
                    <a:pt x="39" y="35"/>
                    <a:pt x="36" y="29"/>
                    <a:pt x="29" y="28"/>
                  </a:cubicBezTo>
                  <a:cubicBezTo>
                    <a:pt x="28" y="27"/>
                    <a:pt x="28" y="27"/>
                    <a:pt x="28" y="27"/>
                  </a:cubicBezTo>
                  <a:cubicBezTo>
                    <a:pt x="29" y="27"/>
                    <a:pt x="29" y="27"/>
                    <a:pt x="29" y="27"/>
                  </a:cubicBezTo>
                  <a:cubicBezTo>
                    <a:pt x="33" y="24"/>
                    <a:pt x="35" y="20"/>
                    <a:pt x="35" y="15"/>
                  </a:cubicBezTo>
                  <a:cubicBezTo>
                    <a:pt x="35" y="8"/>
                    <a:pt x="30" y="0"/>
                    <a:pt x="19" y="0"/>
                  </a:cubicBezTo>
                  <a:cubicBezTo>
                    <a:pt x="19" y="0"/>
                    <a:pt x="1" y="0"/>
                    <a:pt x="0" y="0"/>
                  </a:cubicBezTo>
                  <a:close/>
                  <a:moveTo>
                    <a:pt x="10" y="8"/>
                  </a:moveTo>
                  <a:cubicBezTo>
                    <a:pt x="16" y="8"/>
                    <a:pt x="16" y="8"/>
                    <a:pt x="16" y="8"/>
                  </a:cubicBezTo>
                  <a:cubicBezTo>
                    <a:pt x="22" y="8"/>
                    <a:pt x="25" y="11"/>
                    <a:pt x="25" y="16"/>
                  </a:cubicBezTo>
                  <a:cubicBezTo>
                    <a:pt x="25" y="21"/>
                    <a:pt x="21" y="25"/>
                    <a:pt x="17" y="25"/>
                  </a:cubicBezTo>
                  <a:cubicBezTo>
                    <a:pt x="10" y="25"/>
                    <a:pt x="10" y="25"/>
                    <a:pt x="10" y="25"/>
                  </a:cubicBezTo>
                  <a:lnTo>
                    <a:pt x="10" y="8"/>
                  </a:lnTo>
                  <a:close/>
                  <a:moveTo>
                    <a:pt x="10" y="33"/>
                  </a:moveTo>
                  <a:cubicBezTo>
                    <a:pt x="18" y="33"/>
                    <a:pt x="18" y="33"/>
                    <a:pt x="18" y="33"/>
                  </a:cubicBezTo>
                  <a:cubicBezTo>
                    <a:pt x="25" y="33"/>
                    <a:pt x="29" y="37"/>
                    <a:pt x="29" y="42"/>
                  </a:cubicBezTo>
                  <a:cubicBezTo>
                    <a:pt x="29" y="48"/>
                    <a:pt x="25" y="51"/>
                    <a:pt x="17" y="51"/>
                  </a:cubicBezTo>
                  <a:cubicBezTo>
                    <a:pt x="10" y="51"/>
                    <a:pt x="10" y="51"/>
                    <a:pt x="10" y="51"/>
                  </a:cubicBezTo>
                  <a:lnTo>
                    <a:pt x="1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 name="Freeform 118"/>
            <p:cNvSpPr>
              <a:spLocks noEditPoints="1"/>
            </p:cNvSpPr>
            <p:nvPr/>
          </p:nvSpPr>
          <p:spPr bwMode="auto">
            <a:xfrm>
              <a:off x="8567631" y="4413518"/>
              <a:ext cx="66888" cy="64973"/>
            </a:xfrm>
            <a:custGeom>
              <a:avLst/>
              <a:gdLst>
                <a:gd name="T0" fmla="*/ 34 w 40"/>
                <a:gd name="T1" fmla="*/ 36 h 41"/>
                <a:gd name="T2" fmla="*/ 20 w 40"/>
                <a:gd name="T3" fmla="*/ 41 h 41"/>
                <a:gd name="T4" fmla="*/ 7 w 40"/>
                <a:gd name="T5" fmla="*/ 36 h 41"/>
                <a:gd name="T6" fmla="*/ 0 w 40"/>
                <a:gd name="T7" fmla="*/ 21 h 41"/>
                <a:gd name="T8" fmla="*/ 6 w 40"/>
                <a:gd name="T9" fmla="*/ 6 h 41"/>
                <a:gd name="T10" fmla="*/ 20 w 40"/>
                <a:gd name="T11" fmla="*/ 0 h 41"/>
                <a:gd name="T12" fmla="*/ 35 w 40"/>
                <a:gd name="T13" fmla="*/ 6 h 41"/>
                <a:gd name="T14" fmla="*/ 40 w 40"/>
                <a:gd name="T15" fmla="*/ 20 h 41"/>
                <a:gd name="T16" fmla="*/ 34 w 40"/>
                <a:gd name="T17" fmla="*/ 36 h 41"/>
                <a:gd name="T18" fmla="*/ 20 w 40"/>
                <a:gd name="T19" fmla="*/ 8 h 41"/>
                <a:gd name="T20" fmla="*/ 11 w 40"/>
                <a:gd name="T21" fmla="*/ 21 h 41"/>
                <a:gd name="T22" fmla="*/ 20 w 40"/>
                <a:gd name="T23" fmla="*/ 33 h 41"/>
                <a:gd name="T24" fmla="*/ 30 w 40"/>
                <a:gd name="T25" fmla="*/ 21 h 41"/>
                <a:gd name="T26" fmla="*/ 20 w 40"/>
                <a:gd name="T27" fmla="*/ 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4" y="36"/>
                  </a:moveTo>
                  <a:cubicBezTo>
                    <a:pt x="31" y="39"/>
                    <a:pt x="26" y="41"/>
                    <a:pt x="20" y="41"/>
                  </a:cubicBezTo>
                  <a:cubicBezTo>
                    <a:pt x="15" y="41"/>
                    <a:pt x="10" y="39"/>
                    <a:pt x="7" y="36"/>
                  </a:cubicBezTo>
                  <a:cubicBezTo>
                    <a:pt x="3" y="33"/>
                    <a:pt x="0" y="27"/>
                    <a:pt x="0" y="21"/>
                  </a:cubicBezTo>
                  <a:cubicBezTo>
                    <a:pt x="0" y="15"/>
                    <a:pt x="2" y="9"/>
                    <a:pt x="6" y="6"/>
                  </a:cubicBezTo>
                  <a:cubicBezTo>
                    <a:pt x="10" y="2"/>
                    <a:pt x="14" y="0"/>
                    <a:pt x="20" y="0"/>
                  </a:cubicBezTo>
                  <a:cubicBezTo>
                    <a:pt x="26" y="0"/>
                    <a:pt x="31" y="2"/>
                    <a:pt x="35" y="6"/>
                  </a:cubicBezTo>
                  <a:cubicBezTo>
                    <a:pt x="38" y="9"/>
                    <a:pt x="40" y="14"/>
                    <a:pt x="40" y="20"/>
                  </a:cubicBezTo>
                  <a:cubicBezTo>
                    <a:pt x="40" y="26"/>
                    <a:pt x="38" y="32"/>
                    <a:pt x="34" y="36"/>
                  </a:cubicBezTo>
                  <a:close/>
                  <a:moveTo>
                    <a:pt x="20" y="8"/>
                  </a:moveTo>
                  <a:cubicBezTo>
                    <a:pt x="14" y="8"/>
                    <a:pt x="11" y="13"/>
                    <a:pt x="11" y="21"/>
                  </a:cubicBezTo>
                  <a:cubicBezTo>
                    <a:pt x="11" y="28"/>
                    <a:pt x="14" y="33"/>
                    <a:pt x="20" y="33"/>
                  </a:cubicBezTo>
                  <a:cubicBezTo>
                    <a:pt x="27" y="33"/>
                    <a:pt x="30" y="28"/>
                    <a:pt x="30" y="21"/>
                  </a:cubicBezTo>
                  <a:cubicBezTo>
                    <a:pt x="30" y="13"/>
                    <a:pt x="26" y="8"/>
                    <a:pt x="2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 name="Freeform 119"/>
            <p:cNvSpPr>
              <a:spLocks/>
            </p:cNvSpPr>
            <p:nvPr/>
          </p:nvSpPr>
          <p:spPr bwMode="auto">
            <a:xfrm>
              <a:off x="8751573" y="4413518"/>
              <a:ext cx="58409" cy="64973"/>
            </a:xfrm>
            <a:custGeom>
              <a:avLst/>
              <a:gdLst>
                <a:gd name="T0" fmla="*/ 25 w 35"/>
                <a:gd name="T1" fmla="*/ 41 h 41"/>
                <a:gd name="T2" fmla="*/ 25 w 35"/>
                <a:gd name="T3" fmla="*/ 17 h 41"/>
                <a:gd name="T4" fmla="*/ 20 w 35"/>
                <a:gd name="T5" fmla="*/ 9 h 41"/>
                <a:gd name="T6" fmla="*/ 10 w 35"/>
                <a:gd name="T7" fmla="*/ 13 h 41"/>
                <a:gd name="T8" fmla="*/ 10 w 35"/>
                <a:gd name="T9" fmla="*/ 34 h 41"/>
                <a:gd name="T10" fmla="*/ 0 w 35"/>
                <a:gd name="T11" fmla="*/ 41 h 41"/>
                <a:gd name="T12" fmla="*/ 0 w 35"/>
                <a:gd name="T13" fmla="*/ 1 h 41"/>
                <a:gd name="T14" fmla="*/ 8 w 35"/>
                <a:gd name="T15" fmla="*/ 1 h 41"/>
                <a:gd name="T16" fmla="*/ 9 w 35"/>
                <a:gd name="T17" fmla="*/ 5 h 41"/>
                <a:gd name="T18" fmla="*/ 23 w 35"/>
                <a:gd name="T19" fmla="*/ 0 h 41"/>
                <a:gd name="T20" fmla="*/ 35 w 35"/>
                <a:gd name="T21" fmla="*/ 14 h 41"/>
                <a:gd name="T22" fmla="*/ 35 w 35"/>
                <a:gd name="T23" fmla="*/ 34 h 41"/>
                <a:gd name="T24" fmla="*/ 25 w 35"/>
                <a:gd name="T25"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41">
                  <a:moveTo>
                    <a:pt x="25" y="41"/>
                  </a:moveTo>
                  <a:cubicBezTo>
                    <a:pt x="25" y="17"/>
                    <a:pt x="25" y="17"/>
                    <a:pt x="25" y="17"/>
                  </a:cubicBezTo>
                  <a:cubicBezTo>
                    <a:pt x="25" y="13"/>
                    <a:pt x="25" y="9"/>
                    <a:pt x="20" y="9"/>
                  </a:cubicBezTo>
                  <a:cubicBezTo>
                    <a:pt x="16" y="9"/>
                    <a:pt x="13" y="10"/>
                    <a:pt x="10" y="13"/>
                  </a:cubicBezTo>
                  <a:cubicBezTo>
                    <a:pt x="10" y="13"/>
                    <a:pt x="10" y="26"/>
                    <a:pt x="10" y="34"/>
                  </a:cubicBezTo>
                  <a:cubicBezTo>
                    <a:pt x="10" y="41"/>
                    <a:pt x="0" y="41"/>
                    <a:pt x="0" y="41"/>
                  </a:cubicBezTo>
                  <a:cubicBezTo>
                    <a:pt x="0" y="1"/>
                    <a:pt x="0" y="1"/>
                    <a:pt x="0" y="1"/>
                  </a:cubicBezTo>
                  <a:cubicBezTo>
                    <a:pt x="8" y="1"/>
                    <a:pt x="8" y="1"/>
                    <a:pt x="8" y="1"/>
                  </a:cubicBezTo>
                  <a:cubicBezTo>
                    <a:pt x="9" y="5"/>
                    <a:pt x="9" y="5"/>
                    <a:pt x="9" y="5"/>
                  </a:cubicBezTo>
                  <a:cubicBezTo>
                    <a:pt x="13" y="2"/>
                    <a:pt x="18" y="0"/>
                    <a:pt x="23" y="0"/>
                  </a:cubicBezTo>
                  <a:cubicBezTo>
                    <a:pt x="29" y="0"/>
                    <a:pt x="35" y="3"/>
                    <a:pt x="35" y="14"/>
                  </a:cubicBezTo>
                  <a:cubicBezTo>
                    <a:pt x="35" y="14"/>
                    <a:pt x="35" y="26"/>
                    <a:pt x="35" y="34"/>
                  </a:cubicBezTo>
                  <a:cubicBezTo>
                    <a:pt x="35" y="41"/>
                    <a:pt x="25" y="41"/>
                    <a:pt x="2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 name="Freeform 120"/>
            <p:cNvSpPr>
              <a:spLocks/>
            </p:cNvSpPr>
            <p:nvPr/>
          </p:nvSpPr>
          <p:spPr bwMode="auto">
            <a:xfrm>
              <a:off x="8522411" y="4413518"/>
              <a:ext cx="43571" cy="64973"/>
            </a:xfrm>
            <a:custGeom>
              <a:avLst/>
              <a:gdLst>
                <a:gd name="T0" fmla="*/ 23 w 26"/>
                <a:gd name="T1" fmla="*/ 10 h 41"/>
                <a:gd name="T2" fmla="*/ 18 w 26"/>
                <a:gd name="T3" fmla="*/ 9 h 41"/>
                <a:gd name="T4" fmla="*/ 11 w 26"/>
                <a:gd name="T5" fmla="*/ 12 h 41"/>
                <a:gd name="T6" fmla="*/ 11 w 26"/>
                <a:gd name="T7" fmla="*/ 34 h 41"/>
                <a:gd name="T8" fmla="*/ 0 w 26"/>
                <a:gd name="T9" fmla="*/ 41 h 41"/>
                <a:gd name="T10" fmla="*/ 0 w 26"/>
                <a:gd name="T11" fmla="*/ 1 h 41"/>
                <a:gd name="T12" fmla="*/ 9 w 26"/>
                <a:gd name="T13" fmla="*/ 1 h 41"/>
                <a:gd name="T14" fmla="*/ 10 w 26"/>
                <a:gd name="T15" fmla="*/ 5 h 41"/>
                <a:gd name="T16" fmla="*/ 21 w 26"/>
                <a:gd name="T17" fmla="*/ 0 h 41"/>
                <a:gd name="T18" fmla="*/ 26 w 26"/>
                <a:gd name="T19" fmla="*/ 2 h 41"/>
                <a:gd name="T20" fmla="*/ 23 w 26"/>
                <a:gd name="T21" fmla="*/ 1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41">
                  <a:moveTo>
                    <a:pt x="23" y="10"/>
                  </a:moveTo>
                  <a:cubicBezTo>
                    <a:pt x="21" y="9"/>
                    <a:pt x="19" y="9"/>
                    <a:pt x="18" y="9"/>
                  </a:cubicBezTo>
                  <a:cubicBezTo>
                    <a:pt x="16" y="9"/>
                    <a:pt x="13" y="10"/>
                    <a:pt x="11" y="12"/>
                  </a:cubicBezTo>
                  <a:cubicBezTo>
                    <a:pt x="11" y="12"/>
                    <a:pt x="11" y="26"/>
                    <a:pt x="11" y="34"/>
                  </a:cubicBezTo>
                  <a:cubicBezTo>
                    <a:pt x="11" y="41"/>
                    <a:pt x="0" y="41"/>
                    <a:pt x="0" y="41"/>
                  </a:cubicBezTo>
                  <a:cubicBezTo>
                    <a:pt x="0" y="1"/>
                    <a:pt x="0" y="1"/>
                    <a:pt x="0" y="1"/>
                  </a:cubicBezTo>
                  <a:cubicBezTo>
                    <a:pt x="9" y="1"/>
                    <a:pt x="9" y="1"/>
                    <a:pt x="9" y="1"/>
                  </a:cubicBezTo>
                  <a:cubicBezTo>
                    <a:pt x="10" y="5"/>
                    <a:pt x="10" y="5"/>
                    <a:pt x="10" y="5"/>
                  </a:cubicBezTo>
                  <a:cubicBezTo>
                    <a:pt x="14" y="2"/>
                    <a:pt x="17" y="0"/>
                    <a:pt x="21" y="0"/>
                  </a:cubicBezTo>
                  <a:cubicBezTo>
                    <a:pt x="23" y="0"/>
                    <a:pt x="25" y="1"/>
                    <a:pt x="26" y="2"/>
                  </a:cubicBezTo>
                  <a:lnTo>
                    <a:pt x="23"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 name="Freeform 121"/>
            <p:cNvSpPr>
              <a:spLocks/>
            </p:cNvSpPr>
            <p:nvPr/>
          </p:nvSpPr>
          <p:spPr bwMode="auto">
            <a:xfrm>
              <a:off x="7787114" y="4354553"/>
              <a:ext cx="101745" cy="147747"/>
            </a:xfrm>
            <a:custGeom>
              <a:avLst/>
              <a:gdLst>
                <a:gd name="T0" fmla="*/ 0 w 61"/>
                <a:gd name="T1" fmla="*/ 11 h 93"/>
                <a:gd name="T2" fmla="*/ 1 w 61"/>
                <a:gd name="T3" fmla="*/ 10 h 93"/>
                <a:gd name="T4" fmla="*/ 31 w 61"/>
                <a:gd name="T5" fmla="*/ 9 h 93"/>
                <a:gd name="T6" fmla="*/ 37 w 61"/>
                <a:gd name="T7" fmla="*/ 24 h 93"/>
                <a:gd name="T8" fmla="*/ 52 w 61"/>
                <a:gd name="T9" fmla="*/ 30 h 93"/>
                <a:gd name="T10" fmla="*/ 51 w 61"/>
                <a:gd name="T11" fmla="*/ 60 h 93"/>
                <a:gd name="T12" fmla="*/ 18 w 61"/>
                <a:gd name="T13" fmla="*/ 93 h 93"/>
                <a:gd name="T14" fmla="*/ 8 w 61"/>
                <a:gd name="T15" fmla="*/ 83 h 93"/>
                <a:gd name="T16" fmla="*/ 41 w 61"/>
                <a:gd name="T17" fmla="*/ 50 h 93"/>
                <a:gd name="T18" fmla="*/ 42 w 61"/>
                <a:gd name="T19" fmla="*/ 39 h 93"/>
                <a:gd name="T20" fmla="*/ 31 w 61"/>
                <a:gd name="T21" fmla="*/ 40 h 93"/>
                <a:gd name="T22" fmla="*/ 0 w 61"/>
                <a:gd name="T23" fmla="*/ 70 h 93"/>
                <a:gd name="T24" fmla="*/ 0 w 61"/>
                <a:gd name="T25" fmla="*/ 50 h 93"/>
                <a:gd name="T26" fmla="*/ 21 w 61"/>
                <a:gd name="T27" fmla="*/ 30 h 93"/>
                <a:gd name="T28" fmla="*/ 22 w 61"/>
                <a:gd name="T29" fmla="*/ 19 h 93"/>
                <a:gd name="T30" fmla="*/ 11 w 61"/>
                <a:gd name="T31" fmla="*/ 20 h 93"/>
                <a:gd name="T32" fmla="*/ 0 w 61"/>
                <a:gd name="T33" fmla="*/ 30 h 93"/>
                <a:gd name="T34" fmla="*/ 0 w 61"/>
                <a:gd name="T35" fmla="*/ 1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 h="93">
                  <a:moveTo>
                    <a:pt x="0" y="11"/>
                  </a:moveTo>
                  <a:cubicBezTo>
                    <a:pt x="1" y="10"/>
                    <a:pt x="1" y="10"/>
                    <a:pt x="1" y="10"/>
                  </a:cubicBezTo>
                  <a:cubicBezTo>
                    <a:pt x="11" y="0"/>
                    <a:pt x="23" y="1"/>
                    <a:pt x="31" y="9"/>
                  </a:cubicBezTo>
                  <a:cubicBezTo>
                    <a:pt x="37" y="15"/>
                    <a:pt x="37" y="21"/>
                    <a:pt x="37" y="24"/>
                  </a:cubicBezTo>
                  <a:cubicBezTo>
                    <a:pt x="40" y="24"/>
                    <a:pt x="46" y="24"/>
                    <a:pt x="52" y="30"/>
                  </a:cubicBezTo>
                  <a:cubicBezTo>
                    <a:pt x="60" y="38"/>
                    <a:pt x="61" y="50"/>
                    <a:pt x="51" y="60"/>
                  </a:cubicBezTo>
                  <a:cubicBezTo>
                    <a:pt x="18" y="93"/>
                    <a:pt x="18" y="93"/>
                    <a:pt x="18" y="93"/>
                  </a:cubicBezTo>
                  <a:cubicBezTo>
                    <a:pt x="8" y="83"/>
                    <a:pt x="8" y="83"/>
                    <a:pt x="8" y="83"/>
                  </a:cubicBezTo>
                  <a:cubicBezTo>
                    <a:pt x="41" y="50"/>
                    <a:pt x="41" y="50"/>
                    <a:pt x="41" y="50"/>
                  </a:cubicBezTo>
                  <a:cubicBezTo>
                    <a:pt x="45" y="46"/>
                    <a:pt x="44" y="42"/>
                    <a:pt x="42" y="39"/>
                  </a:cubicBezTo>
                  <a:cubicBezTo>
                    <a:pt x="39" y="37"/>
                    <a:pt x="35" y="36"/>
                    <a:pt x="31" y="40"/>
                  </a:cubicBezTo>
                  <a:cubicBezTo>
                    <a:pt x="0" y="70"/>
                    <a:pt x="0" y="70"/>
                    <a:pt x="0" y="70"/>
                  </a:cubicBezTo>
                  <a:cubicBezTo>
                    <a:pt x="0" y="50"/>
                    <a:pt x="0" y="50"/>
                    <a:pt x="0" y="50"/>
                  </a:cubicBezTo>
                  <a:cubicBezTo>
                    <a:pt x="21" y="30"/>
                    <a:pt x="21" y="30"/>
                    <a:pt x="21" y="30"/>
                  </a:cubicBezTo>
                  <a:cubicBezTo>
                    <a:pt x="25" y="26"/>
                    <a:pt x="24" y="22"/>
                    <a:pt x="22" y="19"/>
                  </a:cubicBezTo>
                  <a:cubicBezTo>
                    <a:pt x="19" y="17"/>
                    <a:pt x="15" y="16"/>
                    <a:pt x="11" y="20"/>
                  </a:cubicBezTo>
                  <a:cubicBezTo>
                    <a:pt x="0" y="30"/>
                    <a:pt x="0" y="30"/>
                    <a:pt x="0" y="30"/>
                  </a:cubicBezTo>
                  <a:lnTo>
                    <a:pt x="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 name="Freeform 122"/>
            <p:cNvSpPr>
              <a:spLocks/>
            </p:cNvSpPr>
            <p:nvPr/>
          </p:nvSpPr>
          <p:spPr bwMode="auto">
            <a:xfrm>
              <a:off x="7686782" y="4354553"/>
              <a:ext cx="100332" cy="147747"/>
            </a:xfrm>
            <a:custGeom>
              <a:avLst/>
              <a:gdLst>
                <a:gd name="T0" fmla="*/ 60 w 60"/>
                <a:gd name="T1" fmla="*/ 11 h 93"/>
                <a:gd name="T2" fmla="*/ 60 w 60"/>
                <a:gd name="T3" fmla="*/ 10 h 93"/>
                <a:gd name="T4" fmla="*/ 30 w 60"/>
                <a:gd name="T5" fmla="*/ 9 h 93"/>
                <a:gd name="T6" fmla="*/ 24 w 60"/>
                <a:gd name="T7" fmla="*/ 24 h 93"/>
                <a:gd name="T8" fmla="*/ 9 w 60"/>
                <a:gd name="T9" fmla="*/ 30 h 93"/>
                <a:gd name="T10" fmla="*/ 10 w 60"/>
                <a:gd name="T11" fmla="*/ 60 h 93"/>
                <a:gd name="T12" fmla="*/ 43 w 60"/>
                <a:gd name="T13" fmla="*/ 93 h 93"/>
                <a:gd name="T14" fmla="*/ 53 w 60"/>
                <a:gd name="T15" fmla="*/ 83 h 93"/>
                <a:gd name="T16" fmla="*/ 20 w 60"/>
                <a:gd name="T17" fmla="*/ 50 h 93"/>
                <a:gd name="T18" fmla="*/ 19 w 60"/>
                <a:gd name="T19" fmla="*/ 39 h 93"/>
                <a:gd name="T20" fmla="*/ 30 w 60"/>
                <a:gd name="T21" fmla="*/ 40 h 93"/>
                <a:gd name="T22" fmla="*/ 60 w 60"/>
                <a:gd name="T23" fmla="*/ 70 h 93"/>
                <a:gd name="T24" fmla="*/ 60 w 60"/>
                <a:gd name="T25" fmla="*/ 50 h 93"/>
                <a:gd name="T26" fmla="*/ 40 w 60"/>
                <a:gd name="T27" fmla="*/ 30 h 93"/>
                <a:gd name="T28" fmla="*/ 39 w 60"/>
                <a:gd name="T29" fmla="*/ 19 h 93"/>
                <a:gd name="T30" fmla="*/ 50 w 60"/>
                <a:gd name="T31" fmla="*/ 20 h 93"/>
                <a:gd name="T32" fmla="*/ 60 w 60"/>
                <a:gd name="T33" fmla="*/ 30 h 93"/>
                <a:gd name="T34" fmla="*/ 60 w 60"/>
                <a:gd name="T35" fmla="*/ 1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93">
                  <a:moveTo>
                    <a:pt x="60" y="11"/>
                  </a:moveTo>
                  <a:cubicBezTo>
                    <a:pt x="60" y="10"/>
                    <a:pt x="60" y="10"/>
                    <a:pt x="60" y="10"/>
                  </a:cubicBezTo>
                  <a:cubicBezTo>
                    <a:pt x="50" y="0"/>
                    <a:pt x="37" y="1"/>
                    <a:pt x="30" y="9"/>
                  </a:cubicBezTo>
                  <a:cubicBezTo>
                    <a:pt x="24" y="15"/>
                    <a:pt x="23" y="21"/>
                    <a:pt x="24" y="24"/>
                  </a:cubicBezTo>
                  <a:cubicBezTo>
                    <a:pt x="21" y="24"/>
                    <a:pt x="15" y="24"/>
                    <a:pt x="9" y="30"/>
                  </a:cubicBezTo>
                  <a:cubicBezTo>
                    <a:pt x="1" y="38"/>
                    <a:pt x="0" y="50"/>
                    <a:pt x="10" y="60"/>
                  </a:cubicBezTo>
                  <a:cubicBezTo>
                    <a:pt x="43" y="93"/>
                    <a:pt x="43" y="93"/>
                    <a:pt x="43" y="93"/>
                  </a:cubicBezTo>
                  <a:cubicBezTo>
                    <a:pt x="53" y="83"/>
                    <a:pt x="53" y="83"/>
                    <a:pt x="53" y="83"/>
                  </a:cubicBezTo>
                  <a:cubicBezTo>
                    <a:pt x="20" y="50"/>
                    <a:pt x="20" y="50"/>
                    <a:pt x="20" y="50"/>
                  </a:cubicBezTo>
                  <a:cubicBezTo>
                    <a:pt x="16" y="46"/>
                    <a:pt x="17" y="42"/>
                    <a:pt x="19" y="39"/>
                  </a:cubicBezTo>
                  <a:cubicBezTo>
                    <a:pt x="22" y="37"/>
                    <a:pt x="26" y="36"/>
                    <a:pt x="30" y="40"/>
                  </a:cubicBezTo>
                  <a:cubicBezTo>
                    <a:pt x="60" y="70"/>
                    <a:pt x="60" y="70"/>
                    <a:pt x="60" y="70"/>
                  </a:cubicBezTo>
                  <a:cubicBezTo>
                    <a:pt x="60" y="50"/>
                    <a:pt x="60" y="50"/>
                    <a:pt x="60" y="50"/>
                  </a:cubicBezTo>
                  <a:cubicBezTo>
                    <a:pt x="40" y="30"/>
                    <a:pt x="40" y="30"/>
                    <a:pt x="40" y="30"/>
                  </a:cubicBezTo>
                  <a:cubicBezTo>
                    <a:pt x="36" y="26"/>
                    <a:pt x="37" y="22"/>
                    <a:pt x="39" y="19"/>
                  </a:cubicBezTo>
                  <a:cubicBezTo>
                    <a:pt x="42" y="17"/>
                    <a:pt x="46" y="16"/>
                    <a:pt x="50" y="20"/>
                  </a:cubicBezTo>
                  <a:cubicBezTo>
                    <a:pt x="60" y="30"/>
                    <a:pt x="60" y="30"/>
                    <a:pt x="60" y="30"/>
                  </a:cubicBezTo>
                  <a:lnTo>
                    <a:pt x="60" y="11"/>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24" name="Freeform 123"/>
            <p:cNvSpPr>
              <a:spLocks/>
            </p:cNvSpPr>
            <p:nvPr/>
          </p:nvSpPr>
          <p:spPr bwMode="auto">
            <a:xfrm>
              <a:off x="8141337" y="4415076"/>
              <a:ext cx="103629" cy="66531"/>
            </a:xfrm>
            <a:custGeom>
              <a:avLst/>
              <a:gdLst>
                <a:gd name="T0" fmla="*/ 50 w 62"/>
                <a:gd name="T1" fmla="*/ 33 h 42"/>
                <a:gd name="T2" fmla="*/ 40 w 62"/>
                <a:gd name="T3" fmla="*/ 40 h 42"/>
                <a:gd name="T4" fmla="*/ 31 w 62"/>
                <a:gd name="T5" fmla="*/ 13 h 42"/>
                <a:gd name="T6" fmla="*/ 30 w 62"/>
                <a:gd name="T7" fmla="*/ 13 h 42"/>
                <a:gd name="T8" fmla="*/ 24 w 62"/>
                <a:gd name="T9" fmla="*/ 33 h 42"/>
                <a:gd name="T10" fmla="*/ 14 w 62"/>
                <a:gd name="T11" fmla="*/ 40 h 42"/>
                <a:gd name="T12" fmla="*/ 0 w 62"/>
                <a:gd name="T13" fmla="*/ 0 h 42"/>
                <a:gd name="T14" fmla="*/ 10 w 62"/>
                <a:gd name="T15" fmla="*/ 0 h 42"/>
                <a:gd name="T16" fmla="*/ 18 w 62"/>
                <a:gd name="T17" fmla="*/ 27 h 42"/>
                <a:gd name="T18" fmla="*/ 18 w 62"/>
                <a:gd name="T19" fmla="*/ 27 h 42"/>
                <a:gd name="T20" fmla="*/ 27 w 62"/>
                <a:gd name="T21" fmla="*/ 0 h 42"/>
                <a:gd name="T22" fmla="*/ 35 w 62"/>
                <a:gd name="T23" fmla="*/ 0 h 42"/>
                <a:gd name="T24" fmla="*/ 44 w 62"/>
                <a:gd name="T25" fmla="*/ 27 h 42"/>
                <a:gd name="T26" fmla="*/ 44 w 62"/>
                <a:gd name="T27" fmla="*/ 27 h 42"/>
                <a:gd name="T28" fmla="*/ 52 w 62"/>
                <a:gd name="T29" fmla="*/ 0 h 42"/>
                <a:gd name="T30" fmla="*/ 62 w 62"/>
                <a:gd name="T31" fmla="*/ 0 h 42"/>
                <a:gd name="T32" fmla="*/ 50 w 62"/>
                <a:gd name="T33" fmla="*/ 3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 h="42">
                  <a:moveTo>
                    <a:pt x="50" y="33"/>
                  </a:moveTo>
                  <a:cubicBezTo>
                    <a:pt x="47" y="42"/>
                    <a:pt x="40" y="40"/>
                    <a:pt x="40" y="40"/>
                  </a:cubicBezTo>
                  <a:cubicBezTo>
                    <a:pt x="31" y="13"/>
                    <a:pt x="31" y="13"/>
                    <a:pt x="31" y="13"/>
                  </a:cubicBezTo>
                  <a:cubicBezTo>
                    <a:pt x="30" y="13"/>
                    <a:pt x="30" y="13"/>
                    <a:pt x="30" y="13"/>
                  </a:cubicBezTo>
                  <a:cubicBezTo>
                    <a:pt x="30" y="13"/>
                    <a:pt x="26" y="26"/>
                    <a:pt x="24" y="33"/>
                  </a:cubicBezTo>
                  <a:cubicBezTo>
                    <a:pt x="21" y="42"/>
                    <a:pt x="14" y="40"/>
                    <a:pt x="14" y="40"/>
                  </a:cubicBezTo>
                  <a:cubicBezTo>
                    <a:pt x="0" y="0"/>
                    <a:pt x="0" y="0"/>
                    <a:pt x="0" y="0"/>
                  </a:cubicBezTo>
                  <a:cubicBezTo>
                    <a:pt x="10" y="0"/>
                    <a:pt x="10" y="0"/>
                    <a:pt x="10" y="0"/>
                  </a:cubicBezTo>
                  <a:cubicBezTo>
                    <a:pt x="18" y="27"/>
                    <a:pt x="18" y="27"/>
                    <a:pt x="18" y="27"/>
                  </a:cubicBezTo>
                  <a:cubicBezTo>
                    <a:pt x="18" y="27"/>
                    <a:pt x="18" y="27"/>
                    <a:pt x="18" y="27"/>
                  </a:cubicBezTo>
                  <a:cubicBezTo>
                    <a:pt x="27" y="0"/>
                    <a:pt x="27" y="0"/>
                    <a:pt x="27" y="0"/>
                  </a:cubicBezTo>
                  <a:cubicBezTo>
                    <a:pt x="35" y="0"/>
                    <a:pt x="35" y="0"/>
                    <a:pt x="35" y="0"/>
                  </a:cubicBezTo>
                  <a:cubicBezTo>
                    <a:pt x="44" y="27"/>
                    <a:pt x="44" y="27"/>
                    <a:pt x="44" y="27"/>
                  </a:cubicBezTo>
                  <a:cubicBezTo>
                    <a:pt x="44" y="27"/>
                    <a:pt x="44" y="27"/>
                    <a:pt x="44" y="27"/>
                  </a:cubicBezTo>
                  <a:cubicBezTo>
                    <a:pt x="52" y="0"/>
                    <a:pt x="52" y="0"/>
                    <a:pt x="52" y="0"/>
                  </a:cubicBezTo>
                  <a:cubicBezTo>
                    <a:pt x="62" y="0"/>
                    <a:pt x="62" y="0"/>
                    <a:pt x="62" y="0"/>
                  </a:cubicBezTo>
                  <a:cubicBezTo>
                    <a:pt x="62" y="0"/>
                    <a:pt x="53" y="26"/>
                    <a:pt x="50" y="33"/>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25" name="Freeform 124"/>
            <p:cNvSpPr>
              <a:spLocks noEditPoints="1"/>
            </p:cNvSpPr>
            <p:nvPr/>
          </p:nvSpPr>
          <p:spPr bwMode="auto">
            <a:xfrm>
              <a:off x="8246615" y="4413518"/>
              <a:ext cx="58645" cy="64973"/>
            </a:xfrm>
            <a:custGeom>
              <a:avLst/>
              <a:gdLst>
                <a:gd name="T0" fmla="*/ 27 w 35"/>
                <a:gd name="T1" fmla="*/ 41 h 41"/>
                <a:gd name="T2" fmla="*/ 25 w 35"/>
                <a:gd name="T3" fmla="*/ 37 h 41"/>
                <a:gd name="T4" fmla="*/ 13 w 35"/>
                <a:gd name="T5" fmla="*/ 41 h 41"/>
                <a:gd name="T6" fmla="*/ 0 w 35"/>
                <a:gd name="T7" fmla="*/ 29 h 41"/>
                <a:gd name="T8" fmla="*/ 17 w 35"/>
                <a:gd name="T9" fmla="*/ 16 h 41"/>
                <a:gd name="T10" fmla="*/ 24 w 35"/>
                <a:gd name="T11" fmla="*/ 15 h 41"/>
                <a:gd name="T12" fmla="*/ 24 w 35"/>
                <a:gd name="T13" fmla="*/ 14 h 41"/>
                <a:gd name="T14" fmla="*/ 16 w 35"/>
                <a:gd name="T15" fmla="*/ 8 h 41"/>
                <a:gd name="T16" fmla="*/ 6 w 35"/>
                <a:gd name="T17" fmla="*/ 11 h 41"/>
                <a:gd name="T18" fmla="*/ 3 w 35"/>
                <a:gd name="T19" fmla="*/ 4 h 41"/>
                <a:gd name="T20" fmla="*/ 18 w 35"/>
                <a:gd name="T21" fmla="*/ 0 h 41"/>
                <a:gd name="T22" fmla="*/ 34 w 35"/>
                <a:gd name="T23" fmla="*/ 14 h 41"/>
                <a:gd name="T24" fmla="*/ 34 w 35"/>
                <a:gd name="T25" fmla="*/ 30 h 41"/>
                <a:gd name="T26" fmla="*/ 35 w 35"/>
                <a:gd name="T27" fmla="*/ 41 h 41"/>
                <a:gd name="T28" fmla="*/ 27 w 35"/>
                <a:gd name="T29" fmla="*/ 41 h 41"/>
                <a:gd name="T30" fmla="*/ 24 w 35"/>
                <a:gd name="T31" fmla="*/ 22 h 41"/>
                <a:gd name="T32" fmla="*/ 18 w 35"/>
                <a:gd name="T33" fmla="*/ 22 h 41"/>
                <a:gd name="T34" fmla="*/ 10 w 35"/>
                <a:gd name="T35" fmla="*/ 28 h 41"/>
                <a:gd name="T36" fmla="*/ 17 w 35"/>
                <a:gd name="T37" fmla="*/ 33 h 41"/>
                <a:gd name="T38" fmla="*/ 24 w 35"/>
                <a:gd name="T39" fmla="*/ 31 h 41"/>
                <a:gd name="T40" fmla="*/ 24 w 35"/>
                <a:gd name="T41" fmla="*/ 2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 h="41">
                  <a:moveTo>
                    <a:pt x="27" y="41"/>
                  </a:moveTo>
                  <a:cubicBezTo>
                    <a:pt x="25" y="37"/>
                    <a:pt x="25" y="37"/>
                    <a:pt x="25" y="37"/>
                  </a:cubicBezTo>
                  <a:cubicBezTo>
                    <a:pt x="22" y="39"/>
                    <a:pt x="18" y="41"/>
                    <a:pt x="13" y="41"/>
                  </a:cubicBezTo>
                  <a:cubicBezTo>
                    <a:pt x="6" y="41"/>
                    <a:pt x="0" y="36"/>
                    <a:pt x="0" y="29"/>
                  </a:cubicBezTo>
                  <a:cubicBezTo>
                    <a:pt x="0" y="20"/>
                    <a:pt x="7" y="16"/>
                    <a:pt x="17" y="16"/>
                  </a:cubicBezTo>
                  <a:cubicBezTo>
                    <a:pt x="24" y="15"/>
                    <a:pt x="24" y="15"/>
                    <a:pt x="24" y="15"/>
                  </a:cubicBezTo>
                  <a:cubicBezTo>
                    <a:pt x="24" y="15"/>
                    <a:pt x="24" y="15"/>
                    <a:pt x="24" y="14"/>
                  </a:cubicBezTo>
                  <a:cubicBezTo>
                    <a:pt x="24" y="10"/>
                    <a:pt x="21" y="8"/>
                    <a:pt x="16" y="8"/>
                  </a:cubicBezTo>
                  <a:cubicBezTo>
                    <a:pt x="12" y="8"/>
                    <a:pt x="9" y="9"/>
                    <a:pt x="6" y="11"/>
                  </a:cubicBezTo>
                  <a:cubicBezTo>
                    <a:pt x="3" y="4"/>
                    <a:pt x="3" y="4"/>
                    <a:pt x="3" y="4"/>
                  </a:cubicBezTo>
                  <a:cubicBezTo>
                    <a:pt x="8" y="1"/>
                    <a:pt x="13" y="0"/>
                    <a:pt x="18" y="0"/>
                  </a:cubicBezTo>
                  <a:cubicBezTo>
                    <a:pt x="28" y="0"/>
                    <a:pt x="34" y="4"/>
                    <a:pt x="34" y="14"/>
                  </a:cubicBezTo>
                  <a:cubicBezTo>
                    <a:pt x="34" y="30"/>
                    <a:pt x="34" y="30"/>
                    <a:pt x="34" y="30"/>
                  </a:cubicBezTo>
                  <a:cubicBezTo>
                    <a:pt x="34" y="36"/>
                    <a:pt x="34" y="39"/>
                    <a:pt x="35" y="41"/>
                  </a:cubicBezTo>
                  <a:lnTo>
                    <a:pt x="27" y="41"/>
                  </a:lnTo>
                  <a:close/>
                  <a:moveTo>
                    <a:pt x="24" y="22"/>
                  </a:moveTo>
                  <a:cubicBezTo>
                    <a:pt x="18" y="22"/>
                    <a:pt x="18" y="22"/>
                    <a:pt x="18" y="22"/>
                  </a:cubicBezTo>
                  <a:cubicBezTo>
                    <a:pt x="13" y="23"/>
                    <a:pt x="10" y="24"/>
                    <a:pt x="10" y="28"/>
                  </a:cubicBezTo>
                  <a:cubicBezTo>
                    <a:pt x="10" y="31"/>
                    <a:pt x="13" y="33"/>
                    <a:pt x="17" y="33"/>
                  </a:cubicBezTo>
                  <a:cubicBezTo>
                    <a:pt x="20" y="33"/>
                    <a:pt x="23" y="32"/>
                    <a:pt x="24" y="31"/>
                  </a:cubicBezTo>
                  <a:lnTo>
                    <a:pt x="24" y="22"/>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26" name="Freeform 125"/>
            <p:cNvSpPr>
              <a:spLocks noEditPoints="1"/>
            </p:cNvSpPr>
            <p:nvPr/>
          </p:nvSpPr>
          <p:spPr bwMode="auto">
            <a:xfrm>
              <a:off x="8363669" y="4383257"/>
              <a:ext cx="63591" cy="95234"/>
            </a:xfrm>
            <a:custGeom>
              <a:avLst/>
              <a:gdLst>
                <a:gd name="T0" fmla="*/ 22 w 38"/>
                <a:gd name="T1" fmla="*/ 60 h 60"/>
                <a:gd name="T2" fmla="*/ 0 w 38"/>
                <a:gd name="T3" fmla="*/ 40 h 60"/>
                <a:gd name="T4" fmla="*/ 22 w 38"/>
                <a:gd name="T5" fmla="*/ 19 h 60"/>
                <a:gd name="T6" fmla="*/ 27 w 38"/>
                <a:gd name="T7" fmla="*/ 19 h 60"/>
                <a:gd name="T8" fmla="*/ 28 w 38"/>
                <a:gd name="T9" fmla="*/ 0 h 60"/>
                <a:gd name="T10" fmla="*/ 38 w 38"/>
                <a:gd name="T11" fmla="*/ 0 h 60"/>
                <a:gd name="T12" fmla="*/ 37 w 38"/>
                <a:gd name="T13" fmla="*/ 57 h 60"/>
                <a:gd name="T14" fmla="*/ 22 w 38"/>
                <a:gd name="T15" fmla="*/ 60 h 60"/>
                <a:gd name="T16" fmla="*/ 27 w 38"/>
                <a:gd name="T17" fmla="*/ 27 h 60"/>
                <a:gd name="T18" fmla="*/ 23 w 38"/>
                <a:gd name="T19" fmla="*/ 27 h 60"/>
                <a:gd name="T20" fmla="*/ 10 w 38"/>
                <a:gd name="T21" fmla="*/ 39 h 60"/>
                <a:gd name="T22" fmla="*/ 23 w 38"/>
                <a:gd name="T23" fmla="*/ 52 h 60"/>
                <a:gd name="T24" fmla="*/ 27 w 38"/>
                <a:gd name="T25" fmla="*/ 51 h 60"/>
                <a:gd name="T26" fmla="*/ 27 w 38"/>
                <a:gd name="T27" fmla="*/ 2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60">
                  <a:moveTo>
                    <a:pt x="22" y="60"/>
                  </a:moveTo>
                  <a:cubicBezTo>
                    <a:pt x="10" y="60"/>
                    <a:pt x="0" y="53"/>
                    <a:pt x="0" y="40"/>
                  </a:cubicBezTo>
                  <a:cubicBezTo>
                    <a:pt x="0" y="28"/>
                    <a:pt x="9" y="19"/>
                    <a:pt x="22" y="19"/>
                  </a:cubicBezTo>
                  <a:cubicBezTo>
                    <a:pt x="24" y="19"/>
                    <a:pt x="26" y="19"/>
                    <a:pt x="27" y="19"/>
                  </a:cubicBezTo>
                  <a:cubicBezTo>
                    <a:pt x="28" y="0"/>
                    <a:pt x="28" y="0"/>
                    <a:pt x="28" y="0"/>
                  </a:cubicBezTo>
                  <a:cubicBezTo>
                    <a:pt x="38" y="0"/>
                    <a:pt x="38" y="0"/>
                    <a:pt x="38" y="0"/>
                  </a:cubicBezTo>
                  <a:cubicBezTo>
                    <a:pt x="37" y="57"/>
                    <a:pt x="37" y="57"/>
                    <a:pt x="37" y="57"/>
                  </a:cubicBezTo>
                  <a:cubicBezTo>
                    <a:pt x="34" y="59"/>
                    <a:pt x="29" y="60"/>
                    <a:pt x="22" y="60"/>
                  </a:cubicBezTo>
                  <a:close/>
                  <a:moveTo>
                    <a:pt x="27" y="27"/>
                  </a:moveTo>
                  <a:cubicBezTo>
                    <a:pt x="26" y="27"/>
                    <a:pt x="25" y="27"/>
                    <a:pt x="23" y="27"/>
                  </a:cubicBezTo>
                  <a:cubicBezTo>
                    <a:pt x="16" y="27"/>
                    <a:pt x="10" y="32"/>
                    <a:pt x="10" y="39"/>
                  </a:cubicBezTo>
                  <a:cubicBezTo>
                    <a:pt x="10" y="47"/>
                    <a:pt x="15" y="52"/>
                    <a:pt x="23" y="52"/>
                  </a:cubicBezTo>
                  <a:cubicBezTo>
                    <a:pt x="24" y="52"/>
                    <a:pt x="26" y="52"/>
                    <a:pt x="27" y="51"/>
                  </a:cubicBezTo>
                  <a:lnTo>
                    <a:pt x="27" y="2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27" name="Freeform 126"/>
            <p:cNvSpPr>
              <a:spLocks/>
            </p:cNvSpPr>
            <p:nvPr/>
          </p:nvSpPr>
          <p:spPr bwMode="auto">
            <a:xfrm>
              <a:off x="8114724" y="4383257"/>
              <a:ext cx="16722" cy="95234"/>
            </a:xfrm>
            <a:custGeom>
              <a:avLst/>
              <a:gdLst>
                <a:gd name="T0" fmla="*/ 10 w 10"/>
                <a:gd name="T1" fmla="*/ 53 h 60"/>
                <a:gd name="T2" fmla="*/ 0 w 10"/>
                <a:gd name="T3" fmla="*/ 60 h 60"/>
                <a:gd name="T4" fmla="*/ 0 w 10"/>
                <a:gd name="T5" fmla="*/ 0 h 60"/>
                <a:gd name="T6" fmla="*/ 10 w 10"/>
                <a:gd name="T7" fmla="*/ 0 h 60"/>
                <a:gd name="T8" fmla="*/ 10 w 10"/>
                <a:gd name="T9" fmla="*/ 53 h 60"/>
              </a:gdLst>
              <a:ahLst/>
              <a:cxnLst>
                <a:cxn ang="0">
                  <a:pos x="T0" y="T1"/>
                </a:cxn>
                <a:cxn ang="0">
                  <a:pos x="T2" y="T3"/>
                </a:cxn>
                <a:cxn ang="0">
                  <a:pos x="T4" y="T5"/>
                </a:cxn>
                <a:cxn ang="0">
                  <a:pos x="T6" y="T7"/>
                </a:cxn>
                <a:cxn ang="0">
                  <a:pos x="T8" y="T9"/>
                </a:cxn>
              </a:cxnLst>
              <a:rect l="0" t="0" r="r" b="b"/>
              <a:pathLst>
                <a:path w="10" h="60">
                  <a:moveTo>
                    <a:pt x="10" y="53"/>
                  </a:moveTo>
                  <a:cubicBezTo>
                    <a:pt x="10" y="60"/>
                    <a:pt x="0" y="60"/>
                    <a:pt x="0" y="60"/>
                  </a:cubicBezTo>
                  <a:cubicBezTo>
                    <a:pt x="0" y="0"/>
                    <a:pt x="0" y="0"/>
                    <a:pt x="0" y="0"/>
                  </a:cubicBezTo>
                  <a:cubicBezTo>
                    <a:pt x="10" y="0"/>
                    <a:pt x="10" y="0"/>
                    <a:pt x="10" y="0"/>
                  </a:cubicBezTo>
                  <a:cubicBezTo>
                    <a:pt x="10" y="0"/>
                    <a:pt x="10" y="45"/>
                    <a:pt x="10" y="53"/>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28" name="Freeform 127"/>
            <p:cNvSpPr>
              <a:spLocks/>
            </p:cNvSpPr>
            <p:nvPr/>
          </p:nvSpPr>
          <p:spPr bwMode="auto">
            <a:xfrm>
              <a:off x="8081279" y="4383257"/>
              <a:ext cx="16722" cy="95234"/>
            </a:xfrm>
            <a:custGeom>
              <a:avLst/>
              <a:gdLst>
                <a:gd name="T0" fmla="*/ 10 w 10"/>
                <a:gd name="T1" fmla="*/ 53 h 60"/>
                <a:gd name="T2" fmla="*/ 0 w 10"/>
                <a:gd name="T3" fmla="*/ 60 h 60"/>
                <a:gd name="T4" fmla="*/ 0 w 10"/>
                <a:gd name="T5" fmla="*/ 0 h 60"/>
                <a:gd name="T6" fmla="*/ 10 w 10"/>
                <a:gd name="T7" fmla="*/ 0 h 60"/>
                <a:gd name="T8" fmla="*/ 10 w 10"/>
                <a:gd name="T9" fmla="*/ 53 h 60"/>
              </a:gdLst>
              <a:ahLst/>
              <a:cxnLst>
                <a:cxn ang="0">
                  <a:pos x="T0" y="T1"/>
                </a:cxn>
                <a:cxn ang="0">
                  <a:pos x="T2" y="T3"/>
                </a:cxn>
                <a:cxn ang="0">
                  <a:pos x="T4" y="T5"/>
                </a:cxn>
                <a:cxn ang="0">
                  <a:pos x="T6" y="T7"/>
                </a:cxn>
                <a:cxn ang="0">
                  <a:pos x="T8" y="T9"/>
                </a:cxn>
              </a:cxnLst>
              <a:rect l="0" t="0" r="r" b="b"/>
              <a:pathLst>
                <a:path w="10" h="60">
                  <a:moveTo>
                    <a:pt x="10" y="53"/>
                  </a:moveTo>
                  <a:cubicBezTo>
                    <a:pt x="10" y="60"/>
                    <a:pt x="0" y="60"/>
                    <a:pt x="0" y="60"/>
                  </a:cubicBezTo>
                  <a:cubicBezTo>
                    <a:pt x="0" y="0"/>
                    <a:pt x="0" y="0"/>
                    <a:pt x="0" y="0"/>
                  </a:cubicBezTo>
                  <a:cubicBezTo>
                    <a:pt x="10" y="0"/>
                    <a:pt x="10" y="0"/>
                    <a:pt x="10" y="0"/>
                  </a:cubicBezTo>
                  <a:cubicBezTo>
                    <a:pt x="10" y="0"/>
                    <a:pt x="10" y="45"/>
                    <a:pt x="10" y="53"/>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29" name="Freeform 128"/>
            <p:cNvSpPr>
              <a:spLocks/>
            </p:cNvSpPr>
            <p:nvPr/>
          </p:nvSpPr>
          <p:spPr bwMode="auto">
            <a:xfrm>
              <a:off x="8318450" y="4413518"/>
              <a:ext cx="43571" cy="64973"/>
            </a:xfrm>
            <a:custGeom>
              <a:avLst/>
              <a:gdLst>
                <a:gd name="T0" fmla="*/ 22 w 26"/>
                <a:gd name="T1" fmla="*/ 10 h 41"/>
                <a:gd name="T2" fmla="*/ 18 w 26"/>
                <a:gd name="T3" fmla="*/ 9 h 41"/>
                <a:gd name="T4" fmla="*/ 10 w 26"/>
                <a:gd name="T5" fmla="*/ 12 h 41"/>
                <a:gd name="T6" fmla="*/ 10 w 26"/>
                <a:gd name="T7" fmla="*/ 34 h 41"/>
                <a:gd name="T8" fmla="*/ 0 w 26"/>
                <a:gd name="T9" fmla="*/ 41 h 41"/>
                <a:gd name="T10" fmla="*/ 0 w 26"/>
                <a:gd name="T11" fmla="*/ 1 h 41"/>
                <a:gd name="T12" fmla="*/ 9 w 26"/>
                <a:gd name="T13" fmla="*/ 1 h 41"/>
                <a:gd name="T14" fmla="*/ 10 w 26"/>
                <a:gd name="T15" fmla="*/ 5 h 41"/>
                <a:gd name="T16" fmla="*/ 21 w 26"/>
                <a:gd name="T17" fmla="*/ 0 h 41"/>
                <a:gd name="T18" fmla="*/ 26 w 26"/>
                <a:gd name="T19" fmla="*/ 2 h 41"/>
                <a:gd name="T20" fmla="*/ 22 w 26"/>
                <a:gd name="T21" fmla="*/ 1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41">
                  <a:moveTo>
                    <a:pt x="22" y="10"/>
                  </a:moveTo>
                  <a:cubicBezTo>
                    <a:pt x="21" y="9"/>
                    <a:pt x="19" y="9"/>
                    <a:pt x="18" y="9"/>
                  </a:cubicBezTo>
                  <a:cubicBezTo>
                    <a:pt x="15" y="9"/>
                    <a:pt x="13" y="10"/>
                    <a:pt x="10" y="12"/>
                  </a:cubicBezTo>
                  <a:cubicBezTo>
                    <a:pt x="10" y="12"/>
                    <a:pt x="10" y="26"/>
                    <a:pt x="10" y="34"/>
                  </a:cubicBezTo>
                  <a:cubicBezTo>
                    <a:pt x="10" y="41"/>
                    <a:pt x="0" y="41"/>
                    <a:pt x="0" y="41"/>
                  </a:cubicBezTo>
                  <a:cubicBezTo>
                    <a:pt x="0" y="1"/>
                    <a:pt x="0" y="1"/>
                    <a:pt x="0" y="1"/>
                  </a:cubicBezTo>
                  <a:cubicBezTo>
                    <a:pt x="9" y="1"/>
                    <a:pt x="9" y="1"/>
                    <a:pt x="9" y="1"/>
                  </a:cubicBezTo>
                  <a:cubicBezTo>
                    <a:pt x="10" y="5"/>
                    <a:pt x="10" y="5"/>
                    <a:pt x="10" y="5"/>
                  </a:cubicBezTo>
                  <a:cubicBezTo>
                    <a:pt x="14" y="2"/>
                    <a:pt x="17" y="0"/>
                    <a:pt x="21" y="0"/>
                  </a:cubicBezTo>
                  <a:cubicBezTo>
                    <a:pt x="23" y="0"/>
                    <a:pt x="25" y="1"/>
                    <a:pt x="26" y="2"/>
                  </a:cubicBezTo>
                  <a:lnTo>
                    <a:pt x="22" y="1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30" name="Freeform 129"/>
            <p:cNvSpPr>
              <a:spLocks/>
            </p:cNvSpPr>
            <p:nvPr/>
          </p:nvSpPr>
          <p:spPr bwMode="auto">
            <a:xfrm>
              <a:off x="7929133" y="4383257"/>
              <a:ext cx="98684" cy="93677"/>
            </a:xfrm>
            <a:custGeom>
              <a:avLst/>
              <a:gdLst>
                <a:gd name="T0" fmla="*/ 48 w 59"/>
                <a:gd name="T1" fmla="*/ 59 h 59"/>
                <a:gd name="T2" fmla="*/ 48 w 59"/>
                <a:gd name="T3" fmla="*/ 24 h 59"/>
                <a:gd name="T4" fmla="*/ 49 w 59"/>
                <a:gd name="T5" fmla="*/ 18 h 59"/>
                <a:gd name="T6" fmla="*/ 48 w 59"/>
                <a:gd name="T7" fmla="*/ 18 h 59"/>
                <a:gd name="T8" fmla="*/ 45 w 59"/>
                <a:gd name="T9" fmla="*/ 24 h 59"/>
                <a:gd name="T10" fmla="*/ 33 w 59"/>
                <a:gd name="T11" fmla="*/ 42 h 59"/>
                <a:gd name="T12" fmla="*/ 28 w 59"/>
                <a:gd name="T13" fmla="*/ 42 h 59"/>
                <a:gd name="T14" fmla="*/ 14 w 59"/>
                <a:gd name="T15" fmla="*/ 23 h 59"/>
                <a:gd name="T16" fmla="*/ 11 w 59"/>
                <a:gd name="T17" fmla="*/ 18 h 59"/>
                <a:gd name="T18" fmla="*/ 11 w 59"/>
                <a:gd name="T19" fmla="*/ 18 h 59"/>
                <a:gd name="T20" fmla="*/ 11 w 59"/>
                <a:gd name="T21" fmla="*/ 24 h 59"/>
                <a:gd name="T22" fmla="*/ 11 w 59"/>
                <a:gd name="T23" fmla="*/ 59 h 59"/>
                <a:gd name="T24" fmla="*/ 0 w 59"/>
                <a:gd name="T25" fmla="*/ 59 h 59"/>
                <a:gd name="T26" fmla="*/ 0 w 59"/>
                <a:gd name="T27" fmla="*/ 0 h 59"/>
                <a:gd name="T28" fmla="*/ 10 w 59"/>
                <a:gd name="T29" fmla="*/ 0 h 59"/>
                <a:gd name="T30" fmla="*/ 26 w 59"/>
                <a:gd name="T31" fmla="*/ 24 h 59"/>
                <a:gd name="T32" fmla="*/ 30 w 59"/>
                <a:gd name="T33" fmla="*/ 30 h 59"/>
                <a:gd name="T34" fmla="*/ 30 w 59"/>
                <a:gd name="T35" fmla="*/ 30 h 59"/>
                <a:gd name="T36" fmla="*/ 34 w 59"/>
                <a:gd name="T37" fmla="*/ 24 h 59"/>
                <a:gd name="T38" fmla="*/ 49 w 59"/>
                <a:gd name="T39" fmla="*/ 0 h 59"/>
                <a:gd name="T40" fmla="*/ 59 w 59"/>
                <a:gd name="T41" fmla="*/ 0 h 59"/>
                <a:gd name="T42" fmla="*/ 59 w 59"/>
                <a:gd name="T43" fmla="*/ 59 h 59"/>
                <a:gd name="T44" fmla="*/ 48 w 59"/>
                <a:gd name="T4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9" h="59">
                  <a:moveTo>
                    <a:pt x="48" y="59"/>
                  </a:moveTo>
                  <a:cubicBezTo>
                    <a:pt x="48" y="24"/>
                    <a:pt x="48" y="24"/>
                    <a:pt x="48" y="24"/>
                  </a:cubicBezTo>
                  <a:cubicBezTo>
                    <a:pt x="48" y="22"/>
                    <a:pt x="48" y="20"/>
                    <a:pt x="49" y="18"/>
                  </a:cubicBezTo>
                  <a:cubicBezTo>
                    <a:pt x="48" y="18"/>
                    <a:pt x="48" y="18"/>
                    <a:pt x="48" y="18"/>
                  </a:cubicBezTo>
                  <a:cubicBezTo>
                    <a:pt x="48" y="19"/>
                    <a:pt x="46" y="22"/>
                    <a:pt x="45" y="24"/>
                  </a:cubicBezTo>
                  <a:cubicBezTo>
                    <a:pt x="33" y="42"/>
                    <a:pt x="33" y="42"/>
                    <a:pt x="33" y="42"/>
                  </a:cubicBezTo>
                  <a:cubicBezTo>
                    <a:pt x="28" y="42"/>
                    <a:pt x="28" y="42"/>
                    <a:pt x="28" y="42"/>
                  </a:cubicBezTo>
                  <a:cubicBezTo>
                    <a:pt x="14" y="23"/>
                    <a:pt x="14" y="23"/>
                    <a:pt x="14" y="23"/>
                  </a:cubicBezTo>
                  <a:cubicBezTo>
                    <a:pt x="13" y="22"/>
                    <a:pt x="12" y="20"/>
                    <a:pt x="11" y="18"/>
                  </a:cubicBezTo>
                  <a:cubicBezTo>
                    <a:pt x="11" y="18"/>
                    <a:pt x="11" y="18"/>
                    <a:pt x="11" y="18"/>
                  </a:cubicBezTo>
                  <a:cubicBezTo>
                    <a:pt x="11" y="20"/>
                    <a:pt x="11" y="22"/>
                    <a:pt x="11" y="24"/>
                  </a:cubicBezTo>
                  <a:cubicBezTo>
                    <a:pt x="11" y="59"/>
                    <a:pt x="11" y="59"/>
                    <a:pt x="11" y="59"/>
                  </a:cubicBezTo>
                  <a:cubicBezTo>
                    <a:pt x="0" y="59"/>
                    <a:pt x="0" y="59"/>
                    <a:pt x="0" y="59"/>
                  </a:cubicBezTo>
                  <a:cubicBezTo>
                    <a:pt x="0" y="0"/>
                    <a:pt x="0" y="0"/>
                    <a:pt x="0" y="0"/>
                  </a:cubicBezTo>
                  <a:cubicBezTo>
                    <a:pt x="10" y="0"/>
                    <a:pt x="10" y="0"/>
                    <a:pt x="10" y="0"/>
                  </a:cubicBezTo>
                  <a:cubicBezTo>
                    <a:pt x="26" y="24"/>
                    <a:pt x="26" y="24"/>
                    <a:pt x="26" y="24"/>
                  </a:cubicBezTo>
                  <a:cubicBezTo>
                    <a:pt x="28" y="26"/>
                    <a:pt x="29" y="28"/>
                    <a:pt x="30" y="30"/>
                  </a:cubicBezTo>
                  <a:cubicBezTo>
                    <a:pt x="30" y="30"/>
                    <a:pt x="30" y="30"/>
                    <a:pt x="30" y="30"/>
                  </a:cubicBezTo>
                  <a:cubicBezTo>
                    <a:pt x="31" y="28"/>
                    <a:pt x="32" y="26"/>
                    <a:pt x="34" y="24"/>
                  </a:cubicBezTo>
                  <a:cubicBezTo>
                    <a:pt x="49" y="0"/>
                    <a:pt x="49" y="0"/>
                    <a:pt x="49" y="0"/>
                  </a:cubicBezTo>
                  <a:cubicBezTo>
                    <a:pt x="59" y="0"/>
                    <a:pt x="59" y="0"/>
                    <a:pt x="59" y="0"/>
                  </a:cubicBezTo>
                  <a:cubicBezTo>
                    <a:pt x="59" y="59"/>
                    <a:pt x="59" y="59"/>
                    <a:pt x="59" y="59"/>
                  </a:cubicBezTo>
                  <a:lnTo>
                    <a:pt x="48" y="5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31" name="Freeform 130"/>
            <p:cNvSpPr>
              <a:spLocks noEditPoints="1"/>
            </p:cNvSpPr>
            <p:nvPr/>
          </p:nvSpPr>
          <p:spPr bwMode="auto">
            <a:xfrm>
              <a:off x="8044539" y="4386372"/>
              <a:ext cx="21668" cy="92119"/>
            </a:xfrm>
            <a:custGeom>
              <a:avLst/>
              <a:gdLst>
                <a:gd name="T0" fmla="*/ 6 w 13"/>
                <a:gd name="T1" fmla="*/ 12 h 58"/>
                <a:gd name="T2" fmla="*/ 0 w 13"/>
                <a:gd name="T3" fmla="*/ 6 h 58"/>
                <a:gd name="T4" fmla="*/ 6 w 13"/>
                <a:gd name="T5" fmla="*/ 0 h 58"/>
                <a:gd name="T6" fmla="*/ 13 w 13"/>
                <a:gd name="T7" fmla="*/ 6 h 58"/>
                <a:gd name="T8" fmla="*/ 6 w 13"/>
                <a:gd name="T9" fmla="*/ 12 h 58"/>
                <a:gd name="T10" fmla="*/ 1 w 13"/>
                <a:gd name="T11" fmla="*/ 58 h 58"/>
                <a:gd name="T12" fmla="*/ 1 w 13"/>
                <a:gd name="T13" fmla="*/ 18 h 58"/>
                <a:gd name="T14" fmla="*/ 11 w 13"/>
                <a:gd name="T15" fmla="*/ 18 h 58"/>
                <a:gd name="T16" fmla="*/ 11 w 13"/>
                <a:gd name="T17" fmla="*/ 51 h 58"/>
                <a:gd name="T18" fmla="*/ 1 w 13"/>
                <a:gd name="T19"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58">
                  <a:moveTo>
                    <a:pt x="6" y="12"/>
                  </a:moveTo>
                  <a:cubicBezTo>
                    <a:pt x="3" y="12"/>
                    <a:pt x="0" y="9"/>
                    <a:pt x="0" y="6"/>
                  </a:cubicBezTo>
                  <a:cubicBezTo>
                    <a:pt x="0" y="2"/>
                    <a:pt x="3" y="0"/>
                    <a:pt x="6" y="0"/>
                  </a:cubicBezTo>
                  <a:cubicBezTo>
                    <a:pt x="10" y="0"/>
                    <a:pt x="13" y="2"/>
                    <a:pt x="13" y="6"/>
                  </a:cubicBezTo>
                  <a:cubicBezTo>
                    <a:pt x="13" y="9"/>
                    <a:pt x="10" y="12"/>
                    <a:pt x="6" y="12"/>
                  </a:cubicBezTo>
                  <a:close/>
                  <a:moveTo>
                    <a:pt x="1" y="58"/>
                  </a:moveTo>
                  <a:cubicBezTo>
                    <a:pt x="1" y="18"/>
                    <a:pt x="1" y="18"/>
                    <a:pt x="1" y="18"/>
                  </a:cubicBezTo>
                  <a:cubicBezTo>
                    <a:pt x="11" y="18"/>
                    <a:pt x="11" y="18"/>
                    <a:pt x="11" y="18"/>
                  </a:cubicBezTo>
                  <a:cubicBezTo>
                    <a:pt x="11" y="18"/>
                    <a:pt x="11" y="43"/>
                    <a:pt x="11" y="51"/>
                  </a:cubicBezTo>
                  <a:cubicBezTo>
                    <a:pt x="11" y="58"/>
                    <a:pt x="1" y="58"/>
                    <a:pt x="1" y="58"/>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32" name="Freeform 131"/>
            <p:cNvSpPr>
              <a:spLocks/>
            </p:cNvSpPr>
            <p:nvPr/>
          </p:nvSpPr>
          <p:spPr bwMode="auto">
            <a:xfrm>
              <a:off x="8224947" y="4510310"/>
              <a:ext cx="13425" cy="79436"/>
            </a:xfrm>
            <a:custGeom>
              <a:avLst/>
              <a:gdLst>
                <a:gd name="T0" fmla="*/ 8 w 8"/>
                <a:gd name="T1" fmla="*/ 44 h 50"/>
                <a:gd name="T2" fmla="*/ 0 w 8"/>
                <a:gd name="T3" fmla="*/ 50 h 50"/>
                <a:gd name="T4" fmla="*/ 0 w 8"/>
                <a:gd name="T5" fmla="*/ 0 h 50"/>
                <a:gd name="T6" fmla="*/ 8 w 8"/>
                <a:gd name="T7" fmla="*/ 0 h 50"/>
                <a:gd name="T8" fmla="*/ 8 w 8"/>
                <a:gd name="T9" fmla="*/ 44 h 50"/>
              </a:gdLst>
              <a:ahLst/>
              <a:cxnLst>
                <a:cxn ang="0">
                  <a:pos x="T0" y="T1"/>
                </a:cxn>
                <a:cxn ang="0">
                  <a:pos x="T2" y="T3"/>
                </a:cxn>
                <a:cxn ang="0">
                  <a:pos x="T4" y="T5"/>
                </a:cxn>
                <a:cxn ang="0">
                  <a:pos x="T6" y="T7"/>
                </a:cxn>
                <a:cxn ang="0">
                  <a:pos x="T8" y="T9"/>
                </a:cxn>
              </a:cxnLst>
              <a:rect l="0" t="0" r="r" b="b"/>
              <a:pathLst>
                <a:path w="8" h="50">
                  <a:moveTo>
                    <a:pt x="8" y="44"/>
                  </a:moveTo>
                  <a:cubicBezTo>
                    <a:pt x="8" y="50"/>
                    <a:pt x="0" y="50"/>
                    <a:pt x="0" y="50"/>
                  </a:cubicBezTo>
                  <a:cubicBezTo>
                    <a:pt x="0" y="0"/>
                    <a:pt x="0" y="0"/>
                    <a:pt x="0" y="0"/>
                  </a:cubicBezTo>
                  <a:cubicBezTo>
                    <a:pt x="8" y="0"/>
                    <a:pt x="8" y="0"/>
                    <a:pt x="8" y="0"/>
                  </a:cubicBezTo>
                  <a:cubicBezTo>
                    <a:pt x="8" y="0"/>
                    <a:pt x="8" y="37"/>
                    <a:pt x="8"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 name="Freeform 132"/>
            <p:cNvSpPr>
              <a:spLocks noEditPoints="1"/>
            </p:cNvSpPr>
            <p:nvPr/>
          </p:nvSpPr>
          <p:spPr bwMode="auto">
            <a:xfrm>
              <a:off x="8007562" y="4513425"/>
              <a:ext cx="18371" cy="76321"/>
            </a:xfrm>
            <a:custGeom>
              <a:avLst/>
              <a:gdLst>
                <a:gd name="T0" fmla="*/ 5 w 11"/>
                <a:gd name="T1" fmla="*/ 10 h 48"/>
                <a:gd name="T2" fmla="*/ 0 w 11"/>
                <a:gd name="T3" fmla="*/ 5 h 48"/>
                <a:gd name="T4" fmla="*/ 5 w 11"/>
                <a:gd name="T5" fmla="*/ 0 h 48"/>
                <a:gd name="T6" fmla="*/ 11 w 11"/>
                <a:gd name="T7" fmla="*/ 5 h 48"/>
                <a:gd name="T8" fmla="*/ 5 w 11"/>
                <a:gd name="T9" fmla="*/ 10 h 48"/>
                <a:gd name="T10" fmla="*/ 1 w 11"/>
                <a:gd name="T11" fmla="*/ 48 h 48"/>
                <a:gd name="T12" fmla="*/ 1 w 11"/>
                <a:gd name="T13" fmla="*/ 15 h 48"/>
                <a:gd name="T14" fmla="*/ 10 w 11"/>
                <a:gd name="T15" fmla="*/ 15 h 48"/>
                <a:gd name="T16" fmla="*/ 10 w 11"/>
                <a:gd name="T17" fmla="*/ 42 h 48"/>
                <a:gd name="T18" fmla="*/ 1 w 11"/>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48">
                  <a:moveTo>
                    <a:pt x="5" y="10"/>
                  </a:moveTo>
                  <a:cubicBezTo>
                    <a:pt x="3" y="10"/>
                    <a:pt x="0" y="7"/>
                    <a:pt x="0" y="5"/>
                  </a:cubicBezTo>
                  <a:cubicBezTo>
                    <a:pt x="0" y="2"/>
                    <a:pt x="3" y="0"/>
                    <a:pt x="5" y="0"/>
                  </a:cubicBezTo>
                  <a:cubicBezTo>
                    <a:pt x="8" y="0"/>
                    <a:pt x="11" y="2"/>
                    <a:pt x="11" y="5"/>
                  </a:cubicBezTo>
                  <a:cubicBezTo>
                    <a:pt x="11" y="7"/>
                    <a:pt x="8" y="10"/>
                    <a:pt x="5" y="10"/>
                  </a:cubicBezTo>
                  <a:close/>
                  <a:moveTo>
                    <a:pt x="1" y="48"/>
                  </a:moveTo>
                  <a:cubicBezTo>
                    <a:pt x="1" y="15"/>
                    <a:pt x="1" y="15"/>
                    <a:pt x="1" y="15"/>
                  </a:cubicBezTo>
                  <a:cubicBezTo>
                    <a:pt x="10" y="15"/>
                    <a:pt x="10" y="15"/>
                    <a:pt x="10" y="15"/>
                  </a:cubicBezTo>
                  <a:cubicBezTo>
                    <a:pt x="10" y="15"/>
                    <a:pt x="10" y="36"/>
                    <a:pt x="10" y="42"/>
                  </a:cubicBezTo>
                  <a:cubicBezTo>
                    <a:pt x="10" y="48"/>
                    <a:pt x="1" y="48"/>
                    <a:pt x="1"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 name="Freeform 133"/>
            <p:cNvSpPr>
              <a:spLocks noEditPoints="1"/>
            </p:cNvSpPr>
            <p:nvPr/>
          </p:nvSpPr>
          <p:spPr bwMode="auto">
            <a:xfrm>
              <a:off x="8094469" y="4513425"/>
              <a:ext cx="16722" cy="76321"/>
            </a:xfrm>
            <a:custGeom>
              <a:avLst/>
              <a:gdLst>
                <a:gd name="T0" fmla="*/ 5 w 10"/>
                <a:gd name="T1" fmla="*/ 10 h 48"/>
                <a:gd name="T2" fmla="*/ 0 w 10"/>
                <a:gd name="T3" fmla="*/ 5 h 48"/>
                <a:gd name="T4" fmla="*/ 5 w 10"/>
                <a:gd name="T5" fmla="*/ 0 h 48"/>
                <a:gd name="T6" fmla="*/ 10 w 10"/>
                <a:gd name="T7" fmla="*/ 5 h 48"/>
                <a:gd name="T8" fmla="*/ 5 w 10"/>
                <a:gd name="T9" fmla="*/ 10 h 48"/>
                <a:gd name="T10" fmla="*/ 1 w 10"/>
                <a:gd name="T11" fmla="*/ 48 h 48"/>
                <a:gd name="T12" fmla="*/ 1 w 10"/>
                <a:gd name="T13" fmla="*/ 15 h 48"/>
                <a:gd name="T14" fmla="*/ 9 w 10"/>
                <a:gd name="T15" fmla="*/ 15 h 48"/>
                <a:gd name="T16" fmla="*/ 9 w 10"/>
                <a:gd name="T17" fmla="*/ 42 h 48"/>
                <a:gd name="T18" fmla="*/ 1 w 10"/>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48">
                  <a:moveTo>
                    <a:pt x="5" y="10"/>
                  </a:moveTo>
                  <a:cubicBezTo>
                    <a:pt x="2" y="10"/>
                    <a:pt x="0" y="8"/>
                    <a:pt x="0" y="5"/>
                  </a:cubicBezTo>
                  <a:cubicBezTo>
                    <a:pt x="0" y="2"/>
                    <a:pt x="2" y="0"/>
                    <a:pt x="5" y="0"/>
                  </a:cubicBezTo>
                  <a:cubicBezTo>
                    <a:pt x="8" y="0"/>
                    <a:pt x="10" y="2"/>
                    <a:pt x="10" y="5"/>
                  </a:cubicBezTo>
                  <a:cubicBezTo>
                    <a:pt x="10" y="8"/>
                    <a:pt x="8" y="10"/>
                    <a:pt x="5" y="10"/>
                  </a:cubicBezTo>
                  <a:close/>
                  <a:moveTo>
                    <a:pt x="1" y="48"/>
                  </a:moveTo>
                  <a:cubicBezTo>
                    <a:pt x="1" y="15"/>
                    <a:pt x="1" y="15"/>
                    <a:pt x="1" y="15"/>
                  </a:cubicBezTo>
                  <a:cubicBezTo>
                    <a:pt x="9" y="15"/>
                    <a:pt x="9" y="15"/>
                    <a:pt x="9" y="15"/>
                  </a:cubicBezTo>
                  <a:cubicBezTo>
                    <a:pt x="9" y="15"/>
                    <a:pt x="9" y="36"/>
                    <a:pt x="9" y="42"/>
                  </a:cubicBezTo>
                  <a:cubicBezTo>
                    <a:pt x="9" y="48"/>
                    <a:pt x="1" y="48"/>
                    <a:pt x="1"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 name="Freeform 134"/>
            <p:cNvSpPr>
              <a:spLocks noEditPoints="1"/>
            </p:cNvSpPr>
            <p:nvPr/>
          </p:nvSpPr>
          <p:spPr bwMode="auto">
            <a:xfrm>
              <a:off x="7929133" y="4510310"/>
              <a:ext cx="70185" cy="77879"/>
            </a:xfrm>
            <a:custGeom>
              <a:avLst/>
              <a:gdLst>
                <a:gd name="T0" fmla="*/ 0 w 42"/>
                <a:gd name="T1" fmla="*/ 0 h 49"/>
                <a:gd name="T2" fmla="*/ 15 w 42"/>
                <a:gd name="T3" fmla="*/ 0 h 49"/>
                <a:gd name="T4" fmla="*/ 42 w 42"/>
                <a:gd name="T5" fmla="*/ 25 h 49"/>
                <a:gd name="T6" fmla="*/ 14 w 42"/>
                <a:gd name="T7" fmla="*/ 49 h 49"/>
                <a:gd name="T8" fmla="*/ 0 w 42"/>
                <a:gd name="T9" fmla="*/ 49 h 49"/>
                <a:gd name="T10" fmla="*/ 0 w 42"/>
                <a:gd name="T11" fmla="*/ 0 h 49"/>
                <a:gd name="T12" fmla="*/ 14 w 42"/>
                <a:gd name="T13" fmla="*/ 42 h 49"/>
                <a:gd name="T14" fmla="*/ 32 w 42"/>
                <a:gd name="T15" fmla="*/ 25 h 49"/>
                <a:gd name="T16" fmla="*/ 14 w 42"/>
                <a:gd name="T17" fmla="*/ 8 h 49"/>
                <a:gd name="T18" fmla="*/ 8 w 42"/>
                <a:gd name="T19" fmla="*/ 8 h 49"/>
                <a:gd name="T20" fmla="*/ 8 w 42"/>
                <a:gd name="T21" fmla="*/ 42 h 49"/>
                <a:gd name="T22" fmla="*/ 14 w 42"/>
                <a:gd name="T23" fmla="*/ 4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49">
                  <a:moveTo>
                    <a:pt x="0" y="0"/>
                  </a:moveTo>
                  <a:cubicBezTo>
                    <a:pt x="15" y="0"/>
                    <a:pt x="15" y="0"/>
                    <a:pt x="15" y="0"/>
                  </a:cubicBezTo>
                  <a:cubicBezTo>
                    <a:pt x="32" y="0"/>
                    <a:pt x="42" y="10"/>
                    <a:pt x="42" y="25"/>
                  </a:cubicBezTo>
                  <a:cubicBezTo>
                    <a:pt x="42" y="40"/>
                    <a:pt x="31" y="49"/>
                    <a:pt x="14" y="49"/>
                  </a:cubicBezTo>
                  <a:cubicBezTo>
                    <a:pt x="0" y="49"/>
                    <a:pt x="0" y="49"/>
                    <a:pt x="0" y="49"/>
                  </a:cubicBezTo>
                  <a:lnTo>
                    <a:pt x="0" y="0"/>
                  </a:lnTo>
                  <a:close/>
                  <a:moveTo>
                    <a:pt x="14" y="42"/>
                  </a:moveTo>
                  <a:cubicBezTo>
                    <a:pt x="27" y="42"/>
                    <a:pt x="32" y="34"/>
                    <a:pt x="32" y="25"/>
                  </a:cubicBezTo>
                  <a:cubicBezTo>
                    <a:pt x="32" y="15"/>
                    <a:pt x="26" y="8"/>
                    <a:pt x="14" y="8"/>
                  </a:cubicBezTo>
                  <a:cubicBezTo>
                    <a:pt x="8" y="8"/>
                    <a:pt x="8" y="8"/>
                    <a:pt x="8" y="8"/>
                  </a:cubicBezTo>
                  <a:cubicBezTo>
                    <a:pt x="8" y="42"/>
                    <a:pt x="8" y="42"/>
                    <a:pt x="8" y="42"/>
                  </a:cubicBezTo>
                  <a:lnTo>
                    <a:pt x="1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 name="Freeform 135"/>
            <p:cNvSpPr>
              <a:spLocks noEditPoints="1"/>
            </p:cNvSpPr>
            <p:nvPr/>
          </p:nvSpPr>
          <p:spPr bwMode="auto">
            <a:xfrm>
              <a:off x="8031114" y="4529223"/>
              <a:ext cx="58409" cy="87447"/>
            </a:xfrm>
            <a:custGeom>
              <a:avLst/>
              <a:gdLst>
                <a:gd name="T0" fmla="*/ 0 w 35"/>
                <a:gd name="T1" fmla="*/ 45 h 55"/>
                <a:gd name="T2" fmla="*/ 6 w 35"/>
                <a:gd name="T3" fmla="*/ 37 h 55"/>
                <a:gd name="T4" fmla="*/ 4 w 35"/>
                <a:gd name="T5" fmla="*/ 32 h 55"/>
                <a:gd name="T6" fmla="*/ 8 w 35"/>
                <a:gd name="T7" fmla="*/ 26 h 55"/>
                <a:gd name="T8" fmla="*/ 2 w 35"/>
                <a:gd name="T9" fmla="*/ 15 h 55"/>
                <a:gd name="T10" fmla="*/ 16 w 35"/>
                <a:gd name="T11" fmla="*/ 2 h 55"/>
                <a:gd name="T12" fmla="*/ 23 w 35"/>
                <a:gd name="T13" fmla="*/ 3 h 55"/>
                <a:gd name="T14" fmla="*/ 24 w 35"/>
                <a:gd name="T15" fmla="*/ 3 h 55"/>
                <a:gd name="T16" fmla="*/ 33 w 35"/>
                <a:gd name="T17" fmla="*/ 0 h 55"/>
                <a:gd name="T18" fmla="*/ 35 w 35"/>
                <a:gd name="T19" fmla="*/ 0 h 55"/>
                <a:gd name="T20" fmla="*/ 33 w 35"/>
                <a:gd name="T21" fmla="*/ 7 h 55"/>
                <a:gd name="T22" fmla="*/ 31 w 35"/>
                <a:gd name="T23" fmla="*/ 6 h 55"/>
                <a:gd name="T24" fmla="*/ 28 w 35"/>
                <a:gd name="T25" fmla="*/ 7 h 55"/>
                <a:gd name="T26" fmla="*/ 31 w 35"/>
                <a:gd name="T27" fmla="*/ 15 h 55"/>
                <a:gd name="T28" fmla="*/ 17 w 35"/>
                <a:gd name="T29" fmla="*/ 28 h 55"/>
                <a:gd name="T30" fmla="*/ 12 w 35"/>
                <a:gd name="T31" fmla="*/ 28 h 55"/>
                <a:gd name="T32" fmla="*/ 12 w 35"/>
                <a:gd name="T33" fmla="*/ 30 h 55"/>
                <a:gd name="T34" fmla="*/ 35 w 35"/>
                <a:gd name="T35" fmla="*/ 44 h 55"/>
                <a:gd name="T36" fmla="*/ 16 w 35"/>
                <a:gd name="T37" fmla="*/ 55 h 55"/>
                <a:gd name="T38" fmla="*/ 0 w 35"/>
                <a:gd name="T39" fmla="*/ 45 h 55"/>
                <a:gd name="T40" fmla="*/ 26 w 35"/>
                <a:gd name="T41" fmla="*/ 45 h 55"/>
                <a:gd name="T42" fmla="*/ 10 w 35"/>
                <a:gd name="T43" fmla="*/ 39 h 55"/>
                <a:gd name="T44" fmla="*/ 8 w 35"/>
                <a:gd name="T45" fmla="*/ 44 h 55"/>
                <a:gd name="T46" fmla="*/ 17 w 35"/>
                <a:gd name="T47" fmla="*/ 49 h 55"/>
                <a:gd name="T48" fmla="*/ 26 w 35"/>
                <a:gd name="T49" fmla="*/ 45 h 55"/>
                <a:gd name="T50" fmla="*/ 23 w 35"/>
                <a:gd name="T51" fmla="*/ 15 h 55"/>
                <a:gd name="T52" fmla="*/ 17 w 35"/>
                <a:gd name="T53" fmla="*/ 9 h 55"/>
                <a:gd name="T54" fmla="*/ 10 w 35"/>
                <a:gd name="T55" fmla="*/ 15 h 55"/>
                <a:gd name="T56" fmla="*/ 17 w 35"/>
                <a:gd name="T57" fmla="*/ 22 h 55"/>
                <a:gd name="T58" fmla="*/ 23 w 35"/>
                <a:gd name="T59" fmla="*/ 1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 h="55">
                  <a:moveTo>
                    <a:pt x="0" y="45"/>
                  </a:moveTo>
                  <a:cubicBezTo>
                    <a:pt x="0" y="41"/>
                    <a:pt x="2" y="38"/>
                    <a:pt x="6" y="37"/>
                  </a:cubicBezTo>
                  <a:cubicBezTo>
                    <a:pt x="5" y="36"/>
                    <a:pt x="4" y="34"/>
                    <a:pt x="4" y="32"/>
                  </a:cubicBezTo>
                  <a:cubicBezTo>
                    <a:pt x="4" y="30"/>
                    <a:pt x="5" y="28"/>
                    <a:pt x="8" y="26"/>
                  </a:cubicBezTo>
                  <a:cubicBezTo>
                    <a:pt x="4" y="24"/>
                    <a:pt x="2" y="19"/>
                    <a:pt x="2" y="15"/>
                  </a:cubicBezTo>
                  <a:cubicBezTo>
                    <a:pt x="2" y="8"/>
                    <a:pt x="7" y="2"/>
                    <a:pt x="16" y="2"/>
                  </a:cubicBezTo>
                  <a:cubicBezTo>
                    <a:pt x="20" y="2"/>
                    <a:pt x="22" y="3"/>
                    <a:pt x="23" y="3"/>
                  </a:cubicBezTo>
                  <a:cubicBezTo>
                    <a:pt x="24" y="4"/>
                    <a:pt x="24" y="3"/>
                    <a:pt x="24" y="3"/>
                  </a:cubicBezTo>
                  <a:cubicBezTo>
                    <a:pt x="26" y="1"/>
                    <a:pt x="28" y="0"/>
                    <a:pt x="33" y="0"/>
                  </a:cubicBezTo>
                  <a:cubicBezTo>
                    <a:pt x="34" y="0"/>
                    <a:pt x="35" y="0"/>
                    <a:pt x="35" y="0"/>
                  </a:cubicBezTo>
                  <a:cubicBezTo>
                    <a:pt x="33" y="7"/>
                    <a:pt x="33" y="7"/>
                    <a:pt x="33" y="7"/>
                  </a:cubicBezTo>
                  <a:cubicBezTo>
                    <a:pt x="33" y="7"/>
                    <a:pt x="32" y="6"/>
                    <a:pt x="31" y="6"/>
                  </a:cubicBezTo>
                  <a:cubicBezTo>
                    <a:pt x="30" y="6"/>
                    <a:pt x="29" y="7"/>
                    <a:pt x="28" y="7"/>
                  </a:cubicBezTo>
                  <a:cubicBezTo>
                    <a:pt x="30" y="9"/>
                    <a:pt x="31" y="12"/>
                    <a:pt x="31" y="15"/>
                  </a:cubicBezTo>
                  <a:cubicBezTo>
                    <a:pt x="31" y="23"/>
                    <a:pt x="25" y="28"/>
                    <a:pt x="17" y="28"/>
                  </a:cubicBezTo>
                  <a:cubicBezTo>
                    <a:pt x="15" y="28"/>
                    <a:pt x="14" y="28"/>
                    <a:pt x="12" y="28"/>
                  </a:cubicBezTo>
                  <a:cubicBezTo>
                    <a:pt x="12" y="29"/>
                    <a:pt x="12" y="30"/>
                    <a:pt x="12" y="30"/>
                  </a:cubicBezTo>
                  <a:cubicBezTo>
                    <a:pt x="12" y="37"/>
                    <a:pt x="35" y="31"/>
                    <a:pt x="35" y="44"/>
                  </a:cubicBezTo>
                  <a:cubicBezTo>
                    <a:pt x="35" y="50"/>
                    <a:pt x="28" y="55"/>
                    <a:pt x="16" y="55"/>
                  </a:cubicBezTo>
                  <a:cubicBezTo>
                    <a:pt x="6" y="55"/>
                    <a:pt x="0" y="51"/>
                    <a:pt x="0" y="45"/>
                  </a:cubicBezTo>
                  <a:close/>
                  <a:moveTo>
                    <a:pt x="26" y="45"/>
                  </a:moveTo>
                  <a:cubicBezTo>
                    <a:pt x="26" y="40"/>
                    <a:pt x="15" y="41"/>
                    <a:pt x="10" y="39"/>
                  </a:cubicBezTo>
                  <a:cubicBezTo>
                    <a:pt x="9" y="40"/>
                    <a:pt x="8" y="41"/>
                    <a:pt x="8" y="44"/>
                  </a:cubicBezTo>
                  <a:cubicBezTo>
                    <a:pt x="8" y="47"/>
                    <a:pt x="11" y="49"/>
                    <a:pt x="17" y="49"/>
                  </a:cubicBezTo>
                  <a:cubicBezTo>
                    <a:pt x="23" y="49"/>
                    <a:pt x="26" y="47"/>
                    <a:pt x="26" y="45"/>
                  </a:cubicBezTo>
                  <a:close/>
                  <a:moveTo>
                    <a:pt x="23" y="15"/>
                  </a:moveTo>
                  <a:cubicBezTo>
                    <a:pt x="23" y="12"/>
                    <a:pt x="20" y="9"/>
                    <a:pt x="17" y="9"/>
                  </a:cubicBezTo>
                  <a:cubicBezTo>
                    <a:pt x="13" y="9"/>
                    <a:pt x="10" y="11"/>
                    <a:pt x="10" y="15"/>
                  </a:cubicBezTo>
                  <a:cubicBezTo>
                    <a:pt x="10" y="19"/>
                    <a:pt x="13" y="22"/>
                    <a:pt x="17" y="22"/>
                  </a:cubicBezTo>
                  <a:cubicBezTo>
                    <a:pt x="20" y="22"/>
                    <a:pt x="23" y="19"/>
                    <a:pt x="23"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 name="Freeform 136"/>
            <p:cNvSpPr>
              <a:spLocks/>
            </p:cNvSpPr>
            <p:nvPr/>
          </p:nvSpPr>
          <p:spPr bwMode="auto">
            <a:xfrm>
              <a:off x="8116372" y="4516540"/>
              <a:ext cx="44984" cy="74763"/>
            </a:xfrm>
            <a:custGeom>
              <a:avLst/>
              <a:gdLst>
                <a:gd name="T0" fmla="*/ 7 w 27"/>
                <a:gd name="T1" fmla="*/ 37 h 47"/>
                <a:gd name="T2" fmla="*/ 7 w 27"/>
                <a:gd name="T3" fmla="*/ 18 h 47"/>
                <a:gd name="T4" fmla="*/ 0 w 27"/>
                <a:gd name="T5" fmla="*/ 18 h 47"/>
                <a:gd name="T6" fmla="*/ 0 w 27"/>
                <a:gd name="T7" fmla="*/ 11 h 47"/>
                <a:gd name="T8" fmla="*/ 7 w 27"/>
                <a:gd name="T9" fmla="*/ 11 h 47"/>
                <a:gd name="T10" fmla="*/ 7 w 27"/>
                <a:gd name="T11" fmla="*/ 3 h 47"/>
                <a:gd name="T12" fmla="*/ 15 w 27"/>
                <a:gd name="T13" fmla="*/ 0 h 47"/>
                <a:gd name="T14" fmla="*/ 15 w 27"/>
                <a:gd name="T15" fmla="*/ 11 h 47"/>
                <a:gd name="T16" fmla="*/ 26 w 27"/>
                <a:gd name="T17" fmla="*/ 11 h 47"/>
                <a:gd name="T18" fmla="*/ 24 w 27"/>
                <a:gd name="T19" fmla="*/ 18 h 47"/>
                <a:gd name="T20" fmla="*/ 15 w 27"/>
                <a:gd name="T21" fmla="*/ 18 h 47"/>
                <a:gd name="T22" fmla="*/ 15 w 27"/>
                <a:gd name="T23" fmla="*/ 35 h 47"/>
                <a:gd name="T24" fmla="*/ 19 w 27"/>
                <a:gd name="T25" fmla="*/ 40 h 47"/>
                <a:gd name="T26" fmla="*/ 24 w 27"/>
                <a:gd name="T27" fmla="*/ 38 h 47"/>
                <a:gd name="T28" fmla="*/ 27 w 27"/>
                <a:gd name="T29" fmla="*/ 44 h 47"/>
                <a:gd name="T30" fmla="*/ 17 w 27"/>
                <a:gd name="T31" fmla="*/ 47 h 47"/>
                <a:gd name="T32" fmla="*/ 7 w 27"/>
                <a:gd name="T33" fmla="*/ 3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 h="47">
                  <a:moveTo>
                    <a:pt x="7" y="37"/>
                  </a:moveTo>
                  <a:cubicBezTo>
                    <a:pt x="7" y="18"/>
                    <a:pt x="7" y="18"/>
                    <a:pt x="7" y="18"/>
                  </a:cubicBezTo>
                  <a:cubicBezTo>
                    <a:pt x="0" y="18"/>
                    <a:pt x="0" y="18"/>
                    <a:pt x="0" y="18"/>
                  </a:cubicBezTo>
                  <a:cubicBezTo>
                    <a:pt x="0" y="11"/>
                    <a:pt x="0" y="11"/>
                    <a:pt x="0" y="11"/>
                  </a:cubicBezTo>
                  <a:cubicBezTo>
                    <a:pt x="7" y="11"/>
                    <a:pt x="7" y="11"/>
                    <a:pt x="7" y="11"/>
                  </a:cubicBezTo>
                  <a:cubicBezTo>
                    <a:pt x="7" y="3"/>
                    <a:pt x="7" y="3"/>
                    <a:pt x="7" y="3"/>
                  </a:cubicBezTo>
                  <a:cubicBezTo>
                    <a:pt x="15" y="0"/>
                    <a:pt x="15" y="0"/>
                    <a:pt x="15" y="0"/>
                  </a:cubicBezTo>
                  <a:cubicBezTo>
                    <a:pt x="15" y="11"/>
                    <a:pt x="15" y="11"/>
                    <a:pt x="15" y="11"/>
                  </a:cubicBezTo>
                  <a:cubicBezTo>
                    <a:pt x="26" y="11"/>
                    <a:pt x="26" y="11"/>
                    <a:pt x="26" y="11"/>
                  </a:cubicBezTo>
                  <a:cubicBezTo>
                    <a:pt x="24" y="18"/>
                    <a:pt x="24" y="18"/>
                    <a:pt x="24" y="18"/>
                  </a:cubicBezTo>
                  <a:cubicBezTo>
                    <a:pt x="15" y="18"/>
                    <a:pt x="15" y="18"/>
                    <a:pt x="15" y="18"/>
                  </a:cubicBezTo>
                  <a:cubicBezTo>
                    <a:pt x="15" y="35"/>
                    <a:pt x="15" y="35"/>
                    <a:pt x="15" y="35"/>
                  </a:cubicBezTo>
                  <a:cubicBezTo>
                    <a:pt x="15" y="38"/>
                    <a:pt x="17" y="40"/>
                    <a:pt x="19" y="40"/>
                  </a:cubicBezTo>
                  <a:cubicBezTo>
                    <a:pt x="21" y="40"/>
                    <a:pt x="23" y="39"/>
                    <a:pt x="24" y="38"/>
                  </a:cubicBezTo>
                  <a:cubicBezTo>
                    <a:pt x="27" y="44"/>
                    <a:pt x="27" y="44"/>
                    <a:pt x="27" y="44"/>
                  </a:cubicBezTo>
                  <a:cubicBezTo>
                    <a:pt x="24" y="46"/>
                    <a:pt x="20" y="47"/>
                    <a:pt x="17" y="47"/>
                  </a:cubicBezTo>
                  <a:cubicBezTo>
                    <a:pt x="10" y="47"/>
                    <a:pt x="7" y="43"/>
                    <a:pt x="7"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 name="Freeform 137"/>
            <p:cNvSpPr>
              <a:spLocks noEditPoints="1"/>
            </p:cNvSpPr>
            <p:nvPr/>
          </p:nvSpPr>
          <p:spPr bwMode="auto">
            <a:xfrm>
              <a:off x="8163005" y="4532562"/>
              <a:ext cx="51814" cy="58743"/>
            </a:xfrm>
            <a:custGeom>
              <a:avLst/>
              <a:gdLst>
                <a:gd name="T0" fmla="*/ 22 w 31"/>
                <a:gd name="T1" fmla="*/ 33 h 37"/>
                <a:gd name="T2" fmla="*/ 12 w 31"/>
                <a:gd name="T3" fmla="*/ 37 h 37"/>
                <a:gd name="T4" fmla="*/ 0 w 31"/>
                <a:gd name="T5" fmla="*/ 26 h 37"/>
                <a:gd name="T6" fmla="*/ 6 w 31"/>
                <a:gd name="T7" fmla="*/ 16 h 37"/>
                <a:gd name="T8" fmla="*/ 15 w 31"/>
                <a:gd name="T9" fmla="*/ 14 h 37"/>
                <a:gd name="T10" fmla="*/ 21 w 31"/>
                <a:gd name="T11" fmla="*/ 14 h 37"/>
                <a:gd name="T12" fmla="*/ 21 w 31"/>
                <a:gd name="T13" fmla="*/ 13 h 37"/>
                <a:gd name="T14" fmla="*/ 15 w 31"/>
                <a:gd name="T15" fmla="*/ 7 h 37"/>
                <a:gd name="T16" fmla="*/ 5 w 31"/>
                <a:gd name="T17" fmla="*/ 9 h 37"/>
                <a:gd name="T18" fmla="*/ 3 w 31"/>
                <a:gd name="T19" fmla="*/ 4 h 37"/>
                <a:gd name="T20" fmla="*/ 16 w 31"/>
                <a:gd name="T21" fmla="*/ 0 h 37"/>
                <a:gd name="T22" fmla="*/ 30 w 31"/>
                <a:gd name="T23" fmla="*/ 13 h 37"/>
                <a:gd name="T24" fmla="*/ 30 w 31"/>
                <a:gd name="T25" fmla="*/ 27 h 37"/>
                <a:gd name="T26" fmla="*/ 31 w 31"/>
                <a:gd name="T27" fmla="*/ 36 h 37"/>
                <a:gd name="T28" fmla="*/ 24 w 31"/>
                <a:gd name="T29" fmla="*/ 36 h 37"/>
                <a:gd name="T30" fmla="*/ 22 w 31"/>
                <a:gd name="T31" fmla="*/ 33 h 37"/>
                <a:gd name="T32" fmla="*/ 17 w 31"/>
                <a:gd name="T33" fmla="*/ 20 h 37"/>
                <a:gd name="T34" fmla="*/ 12 w 31"/>
                <a:gd name="T35" fmla="*/ 21 h 37"/>
                <a:gd name="T36" fmla="*/ 9 w 31"/>
                <a:gd name="T37" fmla="*/ 25 h 37"/>
                <a:gd name="T38" fmla="*/ 15 w 31"/>
                <a:gd name="T39" fmla="*/ 30 h 37"/>
                <a:gd name="T40" fmla="*/ 21 w 31"/>
                <a:gd name="T41" fmla="*/ 27 h 37"/>
                <a:gd name="T42" fmla="*/ 21 w 31"/>
                <a:gd name="T43" fmla="*/ 20 h 37"/>
                <a:gd name="T44" fmla="*/ 17 w 31"/>
                <a:gd name="T45"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7">
                  <a:moveTo>
                    <a:pt x="22" y="33"/>
                  </a:moveTo>
                  <a:cubicBezTo>
                    <a:pt x="20" y="35"/>
                    <a:pt x="16" y="37"/>
                    <a:pt x="12" y="37"/>
                  </a:cubicBezTo>
                  <a:cubicBezTo>
                    <a:pt x="5" y="37"/>
                    <a:pt x="0" y="32"/>
                    <a:pt x="0" y="26"/>
                  </a:cubicBezTo>
                  <a:cubicBezTo>
                    <a:pt x="0" y="21"/>
                    <a:pt x="3" y="18"/>
                    <a:pt x="6" y="16"/>
                  </a:cubicBezTo>
                  <a:cubicBezTo>
                    <a:pt x="9" y="15"/>
                    <a:pt x="12" y="14"/>
                    <a:pt x="15" y="14"/>
                  </a:cubicBezTo>
                  <a:cubicBezTo>
                    <a:pt x="21" y="14"/>
                    <a:pt x="21" y="14"/>
                    <a:pt x="21" y="14"/>
                  </a:cubicBezTo>
                  <a:cubicBezTo>
                    <a:pt x="21" y="13"/>
                    <a:pt x="21" y="13"/>
                    <a:pt x="21" y="13"/>
                  </a:cubicBezTo>
                  <a:cubicBezTo>
                    <a:pt x="21" y="9"/>
                    <a:pt x="19" y="7"/>
                    <a:pt x="15" y="7"/>
                  </a:cubicBezTo>
                  <a:cubicBezTo>
                    <a:pt x="11" y="7"/>
                    <a:pt x="8" y="8"/>
                    <a:pt x="5" y="9"/>
                  </a:cubicBezTo>
                  <a:cubicBezTo>
                    <a:pt x="3" y="4"/>
                    <a:pt x="3" y="4"/>
                    <a:pt x="3" y="4"/>
                  </a:cubicBezTo>
                  <a:cubicBezTo>
                    <a:pt x="7" y="1"/>
                    <a:pt x="11" y="0"/>
                    <a:pt x="16" y="0"/>
                  </a:cubicBezTo>
                  <a:cubicBezTo>
                    <a:pt x="26" y="0"/>
                    <a:pt x="30" y="4"/>
                    <a:pt x="30" y="13"/>
                  </a:cubicBezTo>
                  <a:cubicBezTo>
                    <a:pt x="30" y="27"/>
                    <a:pt x="30" y="27"/>
                    <a:pt x="30" y="27"/>
                  </a:cubicBezTo>
                  <a:cubicBezTo>
                    <a:pt x="30" y="31"/>
                    <a:pt x="30" y="34"/>
                    <a:pt x="31" y="36"/>
                  </a:cubicBezTo>
                  <a:cubicBezTo>
                    <a:pt x="24" y="36"/>
                    <a:pt x="24" y="36"/>
                    <a:pt x="24" y="36"/>
                  </a:cubicBezTo>
                  <a:lnTo>
                    <a:pt x="22" y="33"/>
                  </a:lnTo>
                  <a:close/>
                  <a:moveTo>
                    <a:pt x="17" y="20"/>
                  </a:moveTo>
                  <a:cubicBezTo>
                    <a:pt x="14" y="20"/>
                    <a:pt x="13" y="20"/>
                    <a:pt x="12" y="21"/>
                  </a:cubicBezTo>
                  <a:cubicBezTo>
                    <a:pt x="10" y="22"/>
                    <a:pt x="9" y="23"/>
                    <a:pt x="9" y="25"/>
                  </a:cubicBezTo>
                  <a:cubicBezTo>
                    <a:pt x="9" y="28"/>
                    <a:pt x="11" y="30"/>
                    <a:pt x="15" y="30"/>
                  </a:cubicBezTo>
                  <a:cubicBezTo>
                    <a:pt x="18" y="30"/>
                    <a:pt x="20" y="28"/>
                    <a:pt x="21" y="27"/>
                  </a:cubicBezTo>
                  <a:cubicBezTo>
                    <a:pt x="21" y="20"/>
                    <a:pt x="21" y="20"/>
                    <a:pt x="21" y="20"/>
                  </a:cubicBezTo>
                  <a:lnTo>
                    <a:pt x="17"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39" name="Text Placeholder 2"/>
          <p:cNvSpPr>
            <a:spLocks noGrp="1"/>
          </p:cNvSpPr>
          <p:nvPr>
            <p:ph type="body" sz="quarter" idx="25" hasCustomPrompt="1"/>
          </p:nvPr>
        </p:nvSpPr>
        <p:spPr>
          <a:xfrm>
            <a:off x="3342796" y="4807465"/>
            <a:ext cx="1160462" cy="341313"/>
          </a:xfrm>
          <a:prstGeom prst="rect">
            <a:avLst/>
          </a:prstGeom>
        </p:spPr>
        <p:txBody>
          <a:bodyPr anchor="ctr"/>
          <a:lstStyle>
            <a:lvl1pPr marL="0" indent="0" algn="ctr">
              <a:buNone/>
              <a:defRPr sz="800">
                <a:solidFill>
                  <a:schemeClr val="bg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grpSp>
        <p:nvGrpSpPr>
          <p:cNvPr id="140" name="Group 139"/>
          <p:cNvGrpSpPr/>
          <p:nvPr userDrawn="1"/>
        </p:nvGrpSpPr>
        <p:grpSpPr>
          <a:xfrm>
            <a:off x="7686461" y="4906654"/>
            <a:ext cx="1124815" cy="151147"/>
            <a:chOff x="7686461" y="4581466"/>
            <a:chExt cx="1124815" cy="151147"/>
          </a:xfrm>
          <a:solidFill>
            <a:schemeClr val="bg1"/>
          </a:solidFill>
        </p:grpSpPr>
        <p:sp>
          <p:nvSpPr>
            <p:cNvPr id="141"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42"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43"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44"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45"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46"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47"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48"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49"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50"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51"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52"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53"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54"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55"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grpSp>
      <p:grpSp>
        <p:nvGrpSpPr>
          <p:cNvPr id="86" name="Group 85"/>
          <p:cNvGrpSpPr/>
          <p:nvPr userDrawn="1"/>
        </p:nvGrpSpPr>
        <p:grpSpPr>
          <a:xfrm>
            <a:off x="6223980" y="4846685"/>
            <a:ext cx="1123200" cy="262528"/>
            <a:chOff x="7673274" y="4343117"/>
            <a:chExt cx="1123200" cy="262528"/>
          </a:xfrm>
          <a:solidFill>
            <a:schemeClr val="bg1"/>
          </a:solidFill>
        </p:grpSpPr>
        <p:grpSp>
          <p:nvGrpSpPr>
            <p:cNvPr id="87" name="Group 86"/>
            <p:cNvGrpSpPr/>
            <p:nvPr userDrawn="1"/>
          </p:nvGrpSpPr>
          <p:grpSpPr>
            <a:xfrm>
              <a:off x="7909937" y="4494135"/>
              <a:ext cx="438357" cy="111510"/>
              <a:chOff x="7909937" y="4491754"/>
              <a:chExt cx="438357" cy="111510"/>
            </a:xfrm>
            <a:grpFill/>
          </p:grpSpPr>
          <p:sp>
            <p:nvSpPr>
              <p:cNvPr id="104" name="Freeform 21"/>
              <p:cNvSpPr>
                <a:spLocks noEditPoints="1"/>
              </p:cNvSpPr>
              <p:nvPr/>
            </p:nvSpPr>
            <p:spPr bwMode="auto">
              <a:xfrm>
                <a:off x="7909937" y="4496945"/>
                <a:ext cx="72264" cy="78286"/>
              </a:xfrm>
              <a:custGeom>
                <a:avLst/>
                <a:gdLst>
                  <a:gd name="T0" fmla="*/ 290 w 696"/>
                  <a:gd name="T1" fmla="*/ 0 h 754"/>
                  <a:gd name="T2" fmla="*/ 394 w 696"/>
                  <a:gd name="T3" fmla="*/ 0 h 754"/>
                  <a:gd name="T4" fmla="*/ 696 w 696"/>
                  <a:gd name="T5" fmla="*/ 754 h 754"/>
                  <a:gd name="T6" fmla="*/ 550 w 696"/>
                  <a:gd name="T7" fmla="*/ 754 h 754"/>
                  <a:gd name="T8" fmla="*/ 478 w 696"/>
                  <a:gd name="T9" fmla="*/ 566 h 754"/>
                  <a:gd name="T10" fmla="*/ 210 w 696"/>
                  <a:gd name="T11" fmla="*/ 566 h 754"/>
                  <a:gd name="T12" fmla="*/ 140 w 696"/>
                  <a:gd name="T13" fmla="*/ 754 h 754"/>
                  <a:gd name="T14" fmla="*/ 0 w 696"/>
                  <a:gd name="T15" fmla="*/ 754 h 754"/>
                  <a:gd name="T16" fmla="*/ 290 w 696"/>
                  <a:gd name="T17" fmla="*/ 0 h 754"/>
                  <a:gd name="T18" fmla="*/ 436 w 696"/>
                  <a:gd name="T19" fmla="*/ 456 h 754"/>
                  <a:gd name="T20" fmla="*/ 384 w 696"/>
                  <a:gd name="T21" fmla="*/ 306 h 754"/>
                  <a:gd name="T22" fmla="*/ 384 w 696"/>
                  <a:gd name="T23" fmla="*/ 306 h 754"/>
                  <a:gd name="T24" fmla="*/ 360 w 696"/>
                  <a:gd name="T25" fmla="*/ 236 h 754"/>
                  <a:gd name="T26" fmla="*/ 346 w 696"/>
                  <a:gd name="T27" fmla="*/ 190 h 754"/>
                  <a:gd name="T28" fmla="*/ 344 w 696"/>
                  <a:gd name="T29" fmla="*/ 190 h 754"/>
                  <a:gd name="T30" fmla="*/ 344 w 696"/>
                  <a:gd name="T31" fmla="*/ 190 h 754"/>
                  <a:gd name="T32" fmla="*/ 328 w 696"/>
                  <a:gd name="T33" fmla="*/ 236 h 754"/>
                  <a:gd name="T34" fmla="*/ 304 w 696"/>
                  <a:gd name="T35" fmla="*/ 306 h 754"/>
                  <a:gd name="T36" fmla="*/ 250 w 696"/>
                  <a:gd name="T37" fmla="*/ 456 h 754"/>
                  <a:gd name="T38" fmla="*/ 436 w 696"/>
                  <a:gd name="T39" fmla="*/ 456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6" h="754">
                    <a:moveTo>
                      <a:pt x="290" y="0"/>
                    </a:moveTo>
                    <a:lnTo>
                      <a:pt x="394" y="0"/>
                    </a:lnTo>
                    <a:lnTo>
                      <a:pt x="696" y="754"/>
                    </a:lnTo>
                    <a:lnTo>
                      <a:pt x="550" y="754"/>
                    </a:lnTo>
                    <a:lnTo>
                      <a:pt x="478" y="566"/>
                    </a:lnTo>
                    <a:lnTo>
                      <a:pt x="210" y="566"/>
                    </a:lnTo>
                    <a:lnTo>
                      <a:pt x="140" y="754"/>
                    </a:lnTo>
                    <a:lnTo>
                      <a:pt x="0" y="754"/>
                    </a:lnTo>
                    <a:lnTo>
                      <a:pt x="290" y="0"/>
                    </a:lnTo>
                    <a:close/>
                    <a:moveTo>
                      <a:pt x="436" y="456"/>
                    </a:moveTo>
                    <a:lnTo>
                      <a:pt x="384" y="306"/>
                    </a:lnTo>
                    <a:lnTo>
                      <a:pt x="384" y="306"/>
                    </a:lnTo>
                    <a:lnTo>
                      <a:pt x="360" y="236"/>
                    </a:lnTo>
                    <a:lnTo>
                      <a:pt x="346" y="190"/>
                    </a:lnTo>
                    <a:lnTo>
                      <a:pt x="344" y="190"/>
                    </a:lnTo>
                    <a:lnTo>
                      <a:pt x="344" y="190"/>
                    </a:lnTo>
                    <a:lnTo>
                      <a:pt x="328" y="236"/>
                    </a:lnTo>
                    <a:lnTo>
                      <a:pt x="304" y="306"/>
                    </a:lnTo>
                    <a:lnTo>
                      <a:pt x="250" y="456"/>
                    </a:lnTo>
                    <a:lnTo>
                      <a:pt x="436" y="4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5" name="Freeform 22"/>
              <p:cNvSpPr>
                <a:spLocks noEditPoints="1"/>
              </p:cNvSpPr>
              <p:nvPr/>
            </p:nvSpPr>
            <p:spPr bwMode="auto">
              <a:xfrm>
                <a:off x="8047404" y="4517918"/>
                <a:ext cx="48591" cy="58558"/>
              </a:xfrm>
              <a:custGeom>
                <a:avLst/>
                <a:gdLst>
                  <a:gd name="T0" fmla="*/ 334 w 468"/>
                  <a:gd name="T1" fmla="*/ 502 h 564"/>
                  <a:gd name="T2" fmla="*/ 302 w 468"/>
                  <a:gd name="T3" fmla="*/ 526 h 564"/>
                  <a:gd name="T4" fmla="*/ 266 w 468"/>
                  <a:gd name="T5" fmla="*/ 546 h 564"/>
                  <a:gd name="T6" fmla="*/ 226 w 468"/>
                  <a:gd name="T7" fmla="*/ 560 h 564"/>
                  <a:gd name="T8" fmla="*/ 178 w 468"/>
                  <a:gd name="T9" fmla="*/ 564 h 564"/>
                  <a:gd name="T10" fmla="*/ 160 w 468"/>
                  <a:gd name="T11" fmla="*/ 564 h 564"/>
                  <a:gd name="T12" fmla="*/ 124 w 468"/>
                  <a:gd name="T13" fmla="*/ 558 h 564"/>
                  <a:gd name="T14" fmla="*/ 92 w 468"/>
                  <a:gd name="T15" fmla="*/ 546 h 564"/>
                  <a:gd name="T16" fmla="*/ 62 w 468"/>
                  <a:gd name="T17" fmla="*/ 528 h 564"/>
                  <a:gd name="T18" fmla="*/ 38 w 468"/>
                  <a:gd name="T19" fmla="*/ 506 h 564"/>
                  <a:gd name="T20" fmla="*/ 20 w 468"/>
                  <a:gd name="T21" fmla="*/ 478 h 564"/>
                  <a:gd name="T22" fmla="*/ 6 w 468"/>
                  <a:gd name="T23" fmla="*/ 446 h 564"/>
                  <a:gd name="T24" fmla="*/ 0 w 468"/>
                  <a:gd name="T25" fmla="*/ 412 h 564"/>
                  <a:gd name="T26" fmla="*/ 0 w 468"/>
                  <a:gd name="T27" fmla="*/ 392 h 564"/>
                  <a:gd name="T28" fmla="*/ 6 w 468"/>
                  <a:gd name="T29" fmla="*/ 342 h 564"/>
                  <a:gd name="T30" fmla="*/ 24 w 468"/>
                  <a:gd name="T31" fmla="*/ 302 h 564"/>
                  <a:gd name="T32" fmla="*/ 52 w 468"/>
                  <a:gd name="T33" fmla="*/ 270 h 564"/>
                  <a:gd name="T34" fmla="*/ 90 w 468"/>
                  <a:gd name="T35" fmla="*/ 246 h 564"/>
                  <a:gd name="T36" fmla="*/ 120 w 468"/>
                  <a:gd name="T37" fmla="*/ 232 h 564"/>
                  <a:gd name="T38" fmla="*/ 190 w 468"/>
                  <a:gd name="T39" fmla="*/ 218 h 564"/>
                  <a:gd name="T40" fmla="*/ 322 w 468"/>
                  <a:gd name="T41" fmla="*/ 210 h 564"/>
                  <a:gd name="T42" fmla="*/ 322 w 468"/>
                  <a:gd name="T43" fmla="*/ 194 h 564"/>
                  <a:gd name="T44" fmla="*/ 314 w 468"/>
                  <a:gd name="T45" fmla="*/ 154 h 564"/>
                  <a:gd name="T46" fmla="*/ 294 w 468"/>
                  <a:gd name="T47" fmla="*/ 126 h 564"/>
                  <a:gd name="T48" fmla="*/ 260 w 468"/>
                  <a:gd name="T49" fmla="*/ 108 h 564"/>
                  <a:gd name="T50" fmla="*/ 218 w 468"/>
                  <a:gd name="T51" fmla="*/ 104 h 564"/>
                  <a:gd name="T52" fmla="*/ 198 w 468"/>
                  <a:gd name="T53" fmla="*/ 104 h 564"/>
                  <a:gd name="T54" fmla="*/ 160 w 468"/>
                  <a:gd name="T55" fmla="*/ 110 h 564"/>
                  <a:gd name="T56" fmla="*/ 108 w 468"/>
                  <a:gd name="T57" fmla="*/ 126 h 564"/>
                  <a:gd name="T58" fmla="*/ 32 w 468"/>
                  <a:gd name="T59" fmla="*/ 54 h 564"/>
                  <a:gd name="T60" fmla="*/ 56 w 468"/>
                  <a:gd name="T61" fmla="*/ 42 h 564"/>
                  <a:gd name="T62" fmla="*/ 106 w 468"/>
                  <a:gd name="T63" fmla="*/ 22 h 564"/>
                  <a:gd name="T64" fmla="*/ 158 w 468"/>
                  <a:gd name="T65" fmla="*/ 8 h 564"/>
                  <a:gd name="T66" fmla="*/ 212 w 468"/>
                  <a:gd name="T67" fmla="*/ 0 h 564"/>
                  <a:gd name="T68" fmla="*/ 240 w 468"/>
                  <a:gd name="T69" fmla="*/ 0 h 564"/>
                  <a:gd name="T70" fmla="*/ 292 w 468"/>
                  <a:gd name="T71" fmla="*/ 4 h 564"/>
                  <a:gd name="T72" fmla="*/ 336 w 468"/>
                  <a:gd name="T73" fmla="*/ 12 h 564"/>
                  <a:gd name="T74" fmla="*/ 372 w 468"/>
                  <a:gd name="T75" fmla="*/ 28 h 564"/>
                  <a:gd name="T76" fmla="*/ 404 w 468"/>
                  <a:gd name="T77" fmla="*/ 50 h 564"/>
                  <a:gd name="T78" fmla="*/ 426 w 468"/>
                  <a:gd name="T79" fmla="*/ 76 h 564"/>
                  <a:gd name="T80" fmla="*/ 444 w 468"/>
                  <a:gd name="T81" fmla="*/ 110 h 564"/>
                  <a:gd name="T82" fmla="*/ 454 w 468"/>
                  <a:gd name="T83" fmla="*/ 150 h 564"/>
                  <a:gd name="T84" fmla="*/ 458 w 468"/>
                  <a:gd name="T85" fmla="*/ 196 h 564"/>
                  <a:gd name="T86" fmla="*/ 458 w 468"/>
                  <a:gd name="T87" fmla="*/ 414 h 564"/>
                  <a:gd name="T88" fmla="*/ 460 w 468"/>
                  <a:gd name="T89" fmla="*/ 496 h 564"/>
                  <a:gd name="T90" fmla="*/ 468 w 468"/>
                  <a:gd name="T91" fmla="*/ 552 h 564"/>
                  <a:gd name="T92" fmla="*/ 334 w 468"/>
                  <a:gd name="T93" fmla="*/ 502 h 564"/>
                  <a:gd name="T94" fmla="*/ 248 w 468"/>
                  <a:gd name="T95" fmla="*/ 304 h 564"/>
                  <a:gd name="T96" fmla="*/ 204 w 468"/>
                  <a:gd name="T97" fmla="*/ 310 h 564"/>
                  <a:gd name="T98" fmla="*/ 170 w 468"/>
                  <a:gd name="T99" fmla="*/ 322 h 564"/>
                  <a:gd name="T100" fmla="*/ 162 w 468"/>
                  <a:gd name="T101" fmla="*/ 326 h 564"/>
                  <a:gd name="T102" fmla="*/ 150 w 468"/>
                  <a:gd name="T103" fmla="*/ 340 h 564"/>
                  <a:gd name="T104" fmla="*/ 142 w 468"/>
                  <a:gd name="T105" fmla="*/ 354 h 564"/>
                  <a:gd name="T106" fmla="*/ 138 w 468"/>
                  <a:gd name="T107" fmla="*/ 382 h 564"/>
                  <a:gd name="T108" fmla="*/ 138 w 468"/>
                  <a:gd name="T109" fmla="*/ 400 h 564"/>
                  <a:gd name="T110" fmla="*/ 150 w 468"/>
                  <a:gd name="T111" fmla="*/ 426 h 564"/>
                  <a:gd name="T112" fmla="*/ 170 w 468"/>
                  <a:gd name="T113" fmla="*/ 446 h 564"/>
                  <a:gd name="T114" fmla="*/ 200 w 468"/>
                  <a:gd name="T115" fmla="*/ 456 h 564"/>
                  <a:gd name="T116" fmla="*/ 216 w 468"/>
                  <a:gd name="T117" fmla="*/ 456 h 564"/>
                  <a:gd name="T118" fmla="*/ 252 w 468"/>
                  <a:gd name="T119" fmla="*/ 452 h 564"/>
                  <a:gd name="T120" fmla="*/ 282 w 468"/>
                  <a:gd name="T121" fmla="*/ 442 h 564"/>
                  <a:gd name="T122" fmla="*/ 322 w 468"/>
                  <a:gd name="T123" fmla="*/ 418 h 564"/>
                  <a:gd name="T124" fmla="*/ 248 w 468"/>
                  <a:gd name="T125" fmla="*/ 30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8" h="564">
                    <a:moveTo>
                      <a:pt x="334" y="502"/>
                    </a:moveTo>
                    <a:lnTo>
                      <a:pt x="334" y="502"/>
                    </a:lnTo>
                    <a:lnTo>
                      <a:pt x="318" y="514"/>
                    </a:lnTo>
                    <a:lnTo>
                      <a:pt x="302" y="526"/>
                    </a:lnTo>
                    <a:lnTo>
                      <a:pt x="284" y="536"/>
                    </a:lnTo>
                    <a:lnTo>
                      <a:pt x="266" y="546"/>
                    </a:lnTo>
                    <a:lnTo>
                      <a:pt x="246" y="554"/>
                    </a:lnTo>
                    <a:lnTo>
                      <a:pt x="226" y="560"/>
                    </a:lnTo>
                    <a:lnTo>
                      <a:pt x="202" y="562"/>
                    </a:lnTo>
                    <a:lnTo>
                      <a:pt x="178" y="564"/>
                    </a:lnTo>
                    <a:lnTo>
                      <a:pt x="178" y="564"/>
                    </a:lnTo>
                    <a:lnTo>
                      <a:pt x="160" y="564"/>
                    </a:lnTo>
                    <a:lnTo>
                      <a:pt x="140" y="560"/>
                    </a:lnTo>
                    <a:lnTo>
                      <a:pt x="124" y="558"/>
                    </a:lnTo>
                    <a:lnTo>
                      <a:pt x="106" y="552"/>
                    </a:lnTo>
                    <a:lnTo>
                      <a:pt x="92" y="546"/>
                    </a:lnTo>
                    <a:lnTo>
                      <a:pt x="76" y="538"/>
                    </a:lnTo>
                    <a:lnTo>
                      <a:pt x="62" y="528"/>
                    </a:lnTo>
                    <a:lnTo>
                      <a:pt x="50" y="516"/>
                    </a:lnTo>
                    <a:lnTo>
                      <a:pt x="38" y="506"/>
                    </a:lnTo>
                    <a:lnTo>
                      <a:pt x="28" y="492"/>
                    </a:lnTo>
                    <a:lnTo>
                      <a:pt x="20" y="478"/>
                    </a:lnTo>
                    <a:lnTo>
                      <a:pt x="12" y="462"/>
                    </a:lnTo>
                    <a:lnTo>
                      <a:pt x="6" y="446"/>
                    </a:lnTo>
                    <a:lnTo>
                      <a:pt x="2" y="430"/>
                    </a:lnTo>
                    <a:lnTo>
                      <a:pt x="0" y="412"/>
                    </a:lnTo>
                    <a:lnTo>
                      <a:pt x="0" y="392"/>
                    </a:lnTo>
                    <a:lnTo>
                      <a:pt x="0" y="392"/>
                    </a:lnTo>
                    <a:lnTo>
                      <a:pt x="0" y="366"/>
                    </a:lnTo>
                    <a:lnTo>
                      <a:pt x="6" y="342"/>
                    </a:lnTo>
                    <a:lnTo>
                      <a:pt x="14" y="320"/>
                    </a:lnTo>
                    <a:lnTo>
                      <a:pt x="24" y="302"/>
                    </a:lnTo>
                    <a:lnTo>
                      <a:pt x="36" y="284"/>
                    </a:lnTo>
                    <a:lnTo>
                      <a:pt x="52" y="270"/>
                    </a:lnTo>
                    <a:lnTo>
                      <a:pt x="70" y="256"/>
                    </a:lnTo>
                    <a:lnTo>
                      <a:pt x="90" y="246"/>
                    </a:lnTo>
                    <a:lnTo>
                      <a:pt x="90" y="246"/>
                    </a:lnTo>
                    <a:lnTo>
                      <a:pt x="120" y="232"/>
                    </a:lnTo>
                    <a:lnTo>
                      <a:pt x="154" y="224"/>
                    </a:lnTo>
                    <a:lnTo>
                      <a:pt x="190" y="218"/>
                    </a:lnTo>
                    <a:lnTo>
                      <a:pt x="230" y="214"/>
                    </a:lnTo>
                    <a:lnTo>
                      <a:pt x="322" y="210"/>
                    </a:lnTo>
                    <a:lnTo>
                      <a:pt x="322" y="194"/>
                    </a:lnTo>
                    <a:lnTo>
                      <a:pt x="322" y="194"/>
                    </a:lnTo>
                    <a:lnTo>
                      <a:pt x="320" y="172"/>
                    </a:lnTo>
                    <a:lnTo>
                      <a:pt x="314" y="154"/>
                    </a:lnTo>
                    <a:lnTo>
                      <a:pt x="306" y="138"/>
                    </a:lnTo>
                    <a:lnTo>
                      <a:pt x="294" y="126"/>
                    </a:lnTo>
                    <a:lnTo>
                      <a:pt x="278" y="116"/>
                    </a:lnTo>
                    <a:lnTo>
                      <a:pt x="260" y="108"/>
                    </a:lnTo>
                    <a:lnTo>
                      <a:pt x="240" y="106"/>
                    </a:lnTo>
                    <a:lnTo>
                      <a:pt x="218" y="104"/>
                    </a:lnTo>
                    <a:lnTo>
                      <a:pt x="218" y="104"/>
                    </a:lnTo>
                    <a:lnTo>
                      <a:pt x="198" y="104"/>
                    </a:lnTo>
                    <a:lnTo>
                      <a:pt x="178" y="106"/>
                    </a:lnTo>
                    <a:lnTo>
                      <a:pt x="160" y="110"/>
                    </a:lnTo>
                    <a:lnTo>
                      <a:pt x="142" y="114"/>
                    </a:lnTo>
                    <a:lnTo>
                      <a:pt x="108" y="126"/>
                    </a:lnTo>
                    <a:lnTo>
                      <a:pt x="76" y="142"/>
                    </a:lnTo>
                    <a:lnTo>
                      <a:pt x="32" y="54"/>
                    </a:lnTo>
                    <a:lnTo>
                      <a:pt x="32" y="54"/>
                    </a:lnTo>
                    <a:lnTo>
                      <a:pt x="56" y="42"/>
                    </a:lnTo>
                    <a:lnTo>
                      <a:pt x="82" y="30"/>
                    </a:lnTo>
                    <a:lnTo>
                      <a:pt x="106" y="22"/>
                    </a:lnTo>
                    <a:lnTo>
                      <a:pt x="132" y="14"/>
                    </a:lnTo>
                    <a:lnTo>
                      <a:pt x="158" y="8"/>
                    </a:lnTo>
                    <a:lnTo>
                      <a:pt x="186" y="4"/>
                    </a:lnTo>
                    <a:lnTo>
                      <a:pt x="212" y="0"/>
                    </a:lnTo>
                    <a:lnTo>
                      <a:pt x="240" y="0"/>
                    </a:lnTo>
                    <a:lnTo>
                      <a:pt x="240" y="0"/>
                    </a:lnTo>
                    <a:lnTo>
                      <a:pt x="268" y="0"/>
                    </a:lnTo>
                    <a:lnTo>
                      <a:pt x="292" y="4"/>
                    </a:lnTo>
                    <a:lnTo>
                      <a:pt x="314" y="6"/>
                    </a:lnTo>
                    <a:lnTo>
                      <a:pt x="336" y="12"/>
                    </a:lnTo>
                    <a:lnTo>
                      <a:pt x="356" y="20"/>
                    </a:lnTo>
                    <a:lnTo>
                      <a:pt x="372" y="28"/>
                    </a:lnTo>
                    <a:lnTo>
                      <a:pt x="388" y="38"/>
                    </a:lnTo>
                    <a:lnTo>
                      <a:pt x="404" y="50"/>
                    </a:lnTo>
                    <a:lnTo>
                      <a:pt x="416" y="62"/>
                    </a:lnTo>
                    <a:lnTo>
                      <a:pt x="426" y="76"/>
                    </a:lnTo>
                    <a:lnTo>
                      <a:pt x="436" y="94"/>
                    </a:lnTo>
                    <a:lnTo>
                      <a:pt x="444" y="110"/>
                    </a:lnTo>
                    <a:lnTo>
                      <a:pt x="450" y="130"/>
                    </a:lnTo>
                    <a:lnTo>
                      <a:pt x="454" y="150"/>
                    </a:lnTo>
                    <a:lnTo>
                      <a:pt x="456" y="172"/>
                    </a:lnTo>
                    <a:lnTo>
                      <a:pt x="458" y="196"/>
                    </a:lnTo>
                    <a:lnTo>
                      <a:pt x="458" y="414"/>
                    </a:lnTo>
                    <a:lnTo>
                      <a:pt x="458" y="414"/>
                    </a:lnTo>
                    <a:lnTo>
                      <a:pt x="458" y="458"/>
                    </a:lnTo>
                    <a:lnTo>
                      <a:pt x="460" y="496"/>
                    </a:lnTo>
                    <a:lnTo>
                      <a:pt x="462" y="528"/>
                    </a:lnTo>
                    <a:lnTo>
                      <a:pt x="468" y="552"/>
                    </a:lnTo>
                    <a:lnTo>
                      <a:pt x="354" y="552"/>
                    </a:lnTo>
                    <a:lnTo>
                      <a:pt x="334" y="502"/>
                    </a:lnTo>
                    <a:close/>
                    <a:moveTo>
                      <a:pt x="248" y="304"/>
                    </a:moveTo>
                    <a:lnTo>
                      <a:pt x="248" y="304"/>
                    </a:lnTo>
                    <a:lnTo>
                      <a:pt x="224" y="306"/>
                    </a:lnTo>
                    <a:lnTo>
                      <a:pt x="204" y="310"/>
                    </a:lnTo>
                    <a:lnTo>
                      <a:pt x="186" y="314"/>
                    </a:lnTo>
                    <a:lnTo>
                      <a:pt x="170" y="322"/>
                    </a:lnTo>
                    <a:lnTo>
                      <a:pt x="170" y="322"/>
                    </a:lnTo>
                    <a:lnTo>
                      <a:pt x="162" y="326"/>
                    </a:lnTo>
                    <a:lnTo>
                      <a:pt x="156" y="332"/>
                    </a:lnTo>
                    <a:lnTo>
                      <a:pt x="150" y="340"/>
                    </a:lnTo>
                    <a:lnTo>
                      <a:pt x="146" y="346"/>
                    </a:lnTo>
                    <a:lnTo>
                      <a:pt x="142" y="354"/>
                    </a:lnTo>
                    <a:lnTo>
                      <a:pt x="140" y="364"/>
                    </a:lnTo>
                    <a:lnTo>
                      <a:pt x="138" y="382"/>
                    </a:lnTo>
                    <a:lnTo>
                      <a:pt x="138" y="382"/>
                    </a:lnTo>
                    <a:lnTo>
                      <a:pt x="138" y="400"/>
                    </a:lnTo>
                    <a:lnTo>
                      <a:pt x="142" y="414"/>
                    </a:lnTo>
                    <a:lnTo>
                      <a:pt x="150" y="426"/>
                    </a:lnTo>
                    <a:lnTo>
                      <a:pt x="158" y="438"/>
                    </a:lnTo>
                    <a:lnTo>
                      <a:pt x="170" y="446"/>
                    </a:lnTo>
                    <a:lnTo>
                      <a:pt x="184" y="452"/>
                    </a:lnTo>
                    <a:lnTo>
                      <a:pt x="200" y="456"/>
                    </a:lnTo>
                    <a:lnTo>
                      <a:pt x="216" y="456"/>
                    </a:lnTo>
                    <a:lnTo>
                      <a:pt x="216" y="456"/>
                    </a:lnTo>
                    <a:lnTo>
                      <a:pt x="234" y="456"/>
                    </a:lnTo>
                    <a:lnTo>
                      <a:pt x="252" y="452"/>
                    </a:lnTo>
                    <a:lnTo>
                      <a:pt x="268" y="448"/>
                    </a:lnTo>
                    <a:lnTo>
                      <a:pt x="282" y="442"/>
                    </a:lnTo>
                    <a:lnTo>
                      <a:pt x="304" y="430"/>
                    </a:lnTo>
                    <a:lnTo>
                      <a:pt x="322" y="418"/>
                    </a:lnTo>
                    <a:lnTo>
                      <a:pt x="322" y="302"/>
                    </a:lnTo>
                    <a:lnTo>
                      <a:pt x="248" y="3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6" name="Freeform 23"/>
              <p:cNvSpPr>
                <a:spLocks/>
              </p:cNvSpPr>
              <p:nvPr/>
            </p:nvSpPr>
            <p:spPr bwMode="auto">
              <a:xfrm>
                <a:off x="8121536" y="4519372"/>
                <a:ext cx="62089" cy="83892"/>
              </a:xfrm>
              <a:custGeom>
                <a:avLst/>
                <a:gdLst>
                  <a:gd name="T0" fmla="*/ 34 w 598"/>
                  <a:gd name="T1" fmla="*/ 678 h 808"/>
                  <a:gd name="T2" fmla="*/ 34 w 598"/>
                  <a:gd name="T3" fmla="*/ 678 h 808"/>
                  <a:gd name="T4" fmla="*/ 54 w 598"/>
                  <a:gd name="T5" fmla="*/ 688 h 808"/>
                  <a:gd name="T6" fmla="*/ 74 w 598"/>
                  <a:gd name="T7" fmla="*/ 694 h 808"/>
                  <a:gd name="T8" fmla="*/ 94 w 598"/>
                  <a:gd name="T9" fmla="*/ 698 h 808"/>
                  <a:gd name="T10" fmla="*/ 116 w 598"/>
                  <a:gd name="T11" fmla="*/ 700 h 808"/>
                  <a:gd name="T12" fmla="*/ 116 w 598"/>
                  <a:gd name="T13" fmla="*/ 700 h 808"/>
                  <a:gd name="T14" fmla="*/ 138 w 598"/>
                  <a:gd name="T15" fmla="*/ 698 h 808"/>
                  <a:gd name="T16" fmla="*/ 158 w 598"/>
                  <a:gd name="T17" fmla="*/ 692 h 808"/>
                  <a:gd name="T18" fmla="*/ 168 w 598"/>
                  <a:gd name="T19" fmla="*/ 686 h 808"/>
                  <a:gd name="T20" fmla="*/ 178 w 598"/>
                  <a:gd name="T21" fmla="*/ 680 h 808"/>
                  <a:gd name="T22" fmla="*/ 188 w 598"/>
                  <a:gd name="T23" fmla="*/ 672 h 808"/>
                  <a:gd name="T24" fmla="*/ 198 w 598"/>
                  <a:gd name="T25" fmla="*/ 664 h 808"/>
                  <a:gd name="T26" fmla="*/ 216 w 598"/>
                  <a:gd name="T27" fmla="*/ 642 h 808"/>
                  <a:gd name="T28" fmla="*/ 234 w 598"/>
                  <a:gd name="T29" fmla="*/ 612 h 808"/>
                  <a:gd name="T30" fmla="*/ 250 w 598"/>
                  <a:gd name="T31" fmla="*/ 578 h 808"/>
                  <a:gd name="T32" fmla="*/ 266 w 598"/>
                  <a:gd name="T33" fmla="*/ 536 h 808"/>
                  <a:gd name="T34" fmla="*/ 24 w 598"/>
                  <a:gd name="T35" fmla="*/ 0 h 808"/>
                  <a:gd name="T36" fmla="*/ 164 w 598"/>
                  <a:gd name="T37" fmla="*/ 0 h 808"/>
                  <a:gd name="T38" fmla="*/ 328 w 598"/>
                  <a:gd name="T39" fmla="*/ 382 h 808"/>
                  <a:gd name="T40" fmla="*/ 330 w 598"/>
                  <a:gd name="T41" fmla="*/ 382 h 808"/>
                  <a:gd name="T42" fmla="*/ 460 w 598"/>
                  <a:gd name="T43" fmla="*/ 0 h 808"/>
                  <a:gd name="T44" fmla="*/ 598 w 598"/>
                  <a:gd name="T45" fmla="*/ 0 h 808"/>
                  <a:gd name="T46" fmla="*/ 392 w 598"/>
                  <a:gd name="T47" fmla="*/ 556 h 808"/>
                  <a:gd name="T48" fmla="*/ 392 w 598"/>
                  <a:gd name="T49" fmla="*/ 556 h 808"/>
                  <a:gd name="T50" fmla="*/ 376 w 598"/>
                  <a:gd name="T51" fmla="*/ 596 h 808"/>
                  <a:gd name="T52" fmla="*/ 360 w 598"/>
                  <a:gd name="T53" fmla="*/ 632 h 808"/>
                  <a:gd name="T54" fmla="*/ 344 w 598"/>
                  <a:gd name="T55" fmla="*/ 662 h 808"/>
                  <a:gd name="T56" fmla="*/ 326 w 598"/>
                  <a:gd name="T57" fmla="*/ 690 h 808"/>
                  <a:gd name="T58" fmla="*/ 308 w 598"/>
                  <a:gd name="T59" fmla="*/ 714 h 808"/>
                  <a:gd name="T60" fmla="*/ 292 w 598"/>
                  <a:gd name="T61" fmla="*/ 734 h 808"/>
                  <a:gd name="T62" fmla="*/ 274 w 598"/>
                  <a:gd name="T63" fmla="*/ 752 h 808"/>
                  <a:gd name="T64" fmla="*/ 256 w 598"/>
                  <a:gd name="T65" fmla="*/ 766 h 808"/>
                  <a:gd name="T66" fmla="*/ 238 w 598"/>
                  <a:gd name="T67" fmla="*/ 778 h 808"/>
                  <a:gd name="T68" fmla="*/ 220 w 598"/>
                  <a:gd name="T69" fmla="*/ 788 h 808"/>
                  <a:gd name="T70" fmla="*/ 200 w 598"/>
                  <a:gd name="T71" fmla="*/ 796 h 808"/>
                  <a:gd name="T72" fmla="*/ 182 w 598"/>
                  <a:gd name="T73" fmla="*/ 800 h 808"/>
                  <a:gd name="T74" fmla="*/ 164 w 598"/>
                  <a:gd name="T75" fmla="*/ 804 h 808"/>
                  <a:gd name="T76" fmla="*/ 146 w 598"/>
                  <a:gd name="T77" fmla="*/ 808 h 808"/>
                  <a:gd name="T78" fmla="*/ 108 w 598"/>
                  <a:gd name="T79" fmla="*/ 808 h 808"/>
                  <a:gd name="T80" fmla="*/ 108 w 598"/>
                  <a:gd name="T81" fmla="*/ 808 h 808"/>
                  <a:gd name="T82" fmla="*/ 78 w 598"/>
                  <a:gd name="T83" fmla="*/ 808 h 808"/>
                  <a:gd name="T84" fmla="*/ 52 w 598"/>
                  <a:gd name="T85" fmla="*/ 802 h 808"/>
                  <a:gd name="T86" fmla="*/ 26 w 598"/>
                  <a:gd name="T87" fmla="*/ 794 h 808"/>
                  <a:gd name="T88" fmla="*/ 0 w 598"/>
                  <a:gd name="T89" fmla="*/ 784 h 808"/>
                  <a:gd name="T90" fmla="*/ 34 w 598"/>
                  <a:gd name="T91" fmla="*/ 678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98" h="808">
                    <a:moveTo>
                      <a:pt x="34" y="678"/>
                    </a:moveTo>
                    <a:lnTo>
                      <a:pt x="34" y="678"/>
                    </a:lnTo>
                    <a:lnTo>
                      <a:pt x="54" y="688"/>
                    </a:lnTo>
                    <a:lnTo>
                      <a:pt x="74" y="694"/>
                    </a:lnTo>
                    <a:lnTo>
                      <a:pt x="94" y="698"/>
                    </a:lnTo>
                    <a:lnTo>
                      <a:pt x="116" y="700"/>
                    </a:lnTo>
                    <a:lnTo>
                      <a:pt x="116" y="700"/>
                    </a:lnTo>
                    <a:lnTo>
                      <a:pt x="138" y="698"/>
                    </a:lnTo>
                    <a:lnTo>
                      <a:pt x="158" y="692"/>
                    </a:lnTo>
                    <a:lnTo>
                      <a:pt x="168" y="686"/>
                    </a:lnTo>
                    <a:lnTo>
                      <a:pt x="178" y="680"/>
                    </a:lnTo>
                    <a:lnTo>
                      <a:pt x="188" y="672"/>
                    </a:lnTo>
                    <a:lnTo>
                      <a:pt x="198" y="664"/>
                    </a:lnTo>
                    <a:lnTo>
                      <a:pt x="216" y="642"/>
                    </a:lnTo>
                    <a:lnTo>
                      <a:pt x="234" y="612"/>
                    </a:lnTo>
                    <a:lnTo>
                      <a:pt x="250" y="578"/>
                    </a:lnTo>
                    <a:lnTo>
                      <a:pt x="266" y="536"/>
                    </a:lnTo>
                    <a:lnTo>
                      <a:pt x="24" y="0"/>
                    </a:lnTo>
                    <a:lnTo>
                      <a:pt x="164" y="0"/>
                    </a:lnTo>
                    <a:lnTo>
                      <a:pt x="328" y="382"/>
                    </a:lnTo>
                    <a:lnTo>
                      <a:pt x="330" y="382"/>
                    </a:lnTo>
                    <a:lnTo>
                      <a:pt x="460" y="0"/>
                    </a:lnTo>
                    <a:lnTo>
                      <a:pt x="598" y="0"/>
                    </a:lnTo>
                    <a:lnTo>
                      <a:pt x="392" y="556"/>
                    </a:lnTo>
                    <a:lnTo>
                      <a:pt x="392" y="556"/>
                    </a:lnTo>
                    <a:lnTo>
                      <a:pt x="376" y="596"/>
                    </a:lnTo>
                    <a:lnTo>
                      <a:pt x="360" y="632"/>
                    </a:lnTo>
                    <a:lnTo>
                      <a:pt x="344" y="662"/>
                    </a:lnTo>
                    <a:lnTo>
                      <a:pt x="326" y="690"/>
                    </a:lnTo>
                    <a:lnTo>
                      <a:pt x="308" y="714"/>
                    </a:lnTo>
                    <a:lnTo>
                      <a:pt x="292" y="734"/>
                    </a:lnTo>
                    <a:lnTo>
                      <a:pt x="274" y="752"/>
                    </a:lnTo>
                    <a:lnTo>
                      <a:pt x="256" y="766"/>
                    </a:lnTo>
                    <a:lnTo>
                      <a:pt x="238" y="778"/>
                    </a:lnTo>
                    <a:lnTo>
                      <a:pt x="220" y="788"/>
                    </a:lnTo>
                    <a:lnTo>
                      <a:pt x="200" y="796"/>
                    </a:lnTo>
                    <a:lnTo>
                      <a:pt x="182" y="800"/>
                    </a:lnTo>
                    <a:lnTo>
                      <a:pt x="164" y="804"/>
                    </a:lnTo>
                    <a:lnTo>
                      <a:pt x="146" y="808"/>
                    </a:lnTo>
                    <a:lnTo>
                      <a:pt x="108" y="808"/>
                    </a:lnTo>
                    <a:lnTo>
                      <a:pt x="108" y="808"/>
                    </a:lnTo>
                    <a:lnTo>
                      <a:pt x="78" y="808"/>
                    </a:lnTo>
                    <a:lnTo>
                      <a:pt x="52" y="802"/>
                    </a:lnTo>
                    <a:lnTo>
                      <a:pt x="26" y="794"/>
                    </a:lnTo>
                    <a:lnTo>
                      <a:pt x="0" y="784"/>
                    </a:lnTo>
                    <a:lnTo>
                      <a:pt x="34" y="6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7" name="Freeform 24"/>
              <p:cNvSpPr>
                <a:spLocks/>
              </p:cNvSpPr>
              <p:nvPr/>
            </p:nvSpPr>
            <p:spPr bwMode="auto">
              <a:xfrm>
                <a:off x="8179056" y="4502136"/>
                <a:ext cx="45269" cy="74340"/>
              </a:xfrm>
              <a:custGeom>
                <a:avLst/>
                <a:gdLst>
                  <a:gd name="T0" fmla="*/ 124 w 436"/>
                  <a:gd name="T1" fmla="*/ 572 h 716"/>
                  <a:gd name="T2" fmla="*/ 124 w 436"/>
                  <a:gd name="T3" fmla="*/ 272 h 716"/>
                  <a:gd name="T4" fmla="*/ 0 w 436"/>
                  <a:gd name="T5" fmla="*/ 272 h 716"/>
                  <a:gd name="T6" fmla="*/ 28 w 436"/>
                  <a:gd name="T7" fmla="*/ 166 h 716"/>
                  <a:gd name="T8" fmla="*/ 124 w 436"/>
                  <a:gd name="T9" fmla="*/ 166 h 716"/>
                  <a:gd name="T10" fmla="*/ 124 w 436"/>
                  <a:gd name="T11" fmla="*/ 40 h 716"/>
                  <a:gd name="T12" fmla="*/ 260 w 436"/>
                  <a:gd name="T13" fmla="*/ 0 h 716"/>
                  <a:gd name="T14" fmla="*/ 260 w 436"/>
                  <a:gd name="T15" fmla="*/ 166 h 716"/>
                  <a:gd name="T16" fmla="*/ 424 w 436"/>
                  <a:gd name="T17" fmla="*/ 166 h 716"/>
                  <a:gd name="T18" fmla="*/ 390 w 436"/>
                  <a:gd name="T19" fmla="*/ 272 h 716"/>
                  <a:gd name="T20" fmla="*/ 260 w 436"/>
                  <a:gd name="T21" fmla="*/ 272 h 716"/>
                  <a:gd name="T22" fmla="*/ 260 w 436"/>
                  <a:gd name="T23" fmla="*/ 538 h 716"/>
                  <a:gd name="T24" fmla="*/ 260 w 436"/>
                  <a:gd name="T25" fmla="*/ 538 h 716"/>
                  <a:gd name="T26" fmla="*/ 262 w 436"/>
                  <a:gd name="T27" fmla="*/ 556 h 716"/>
                  <a:gd name="T28" fmla="*/ 264 w 436"/>
                  <a:gd name="T29" fmla="*/ 570 h 716"/>
                  <a:gd name="T30" fmla="*/ 268 w 436"/>
                  <a:gd name="T31" fmla="*/ 582 h 716"/>
                  <a:gd name="T32" fmla="*/ 274 w 436"/>
                  <a:gd name="T33" fmla="*/ 592 h 716"/>
                  <a:gd name="T34" fmla="*/ 280 w 436"/>
                  <a:gd name="T35" fmla="*/ 598 h 716"/>
                  <a:gd name="T36" fmla="*/ 290 w 436"/>
                  <a:gd name="T37" fmla="*/ 604 h 716"/>
                  <a:gd name="T38" fmla="*/ 300 w 436"/>
                  <a:gd name="T39" fmla="*/ 606 h 716"/>
                  <a:gd name="T40" fmla="*/ 312 w 436"/>
                  <a:gd name="T41" fmla="*/ 606 h 716"/>
                  <a:gd name="T42" fmla="*/ 312 w 436"/>
                  <a:gd name="T43" fmla="*/ 606 h 716"/>
                  <a:gd name="T44" fmla="*/ 336 w 436"/>
                  <a:gd name="T45" fmla="*/ 604 h 716"/>
                  <a:gd name="T46" fmla="*/ 358 w 436"/>
                  <a:gd name="T47" fmla="*/ 598 h 716"/>
                  <a:gd name="T48" fmla="*/ 378 w 436"/>
                  <a:gd name="T49" fmla="*/ 590 h 716"/>
                  <a:gd name="T50" fmla="*/ 394 w 436"/>
                  <a:gd name="T51" fmla="*/ 580 h 716"/>
                  <a:gd name="T52" fmla="*/ 436 w 436"/>
                  <a:gd name="T53" fmla="*/ 674 h 716"/>
                  <a:gd name="T54" fmla="*/ 436 w 436"/>
                  <a:gd name="T55" fmla="*/ 674 h 716"/>
                  <a:gd name="T56" fmla="*/ 420 w 436"/>
                  <a:gd name="T57" fmla="*/ 684 h 716"/>
                  <a:gd name="T58" fmla="*/ 402 w 436"/>
                  <a:gd name="T59" fmla="*/ 692 h 716"/>
                  <a:gd name="T60" fmla="*/ 384 w 436"/>
                  <a:gd name="T61" fmla="*/ 698 h 716"/>
                  <a:gd name="T62" fmla="*/ 362 w 436"/>
                  <a:gd name="T63" fmla="*/ 704 h 716"/>
                  <a:gd name="T64" fmla="*/ 342 w 436"/>
                  <a:gd name="T65" fmla="*/ 710 h 716"/>
                  <a:gd name="T66" fmla="*/ 320 w 436"/>
                  <a:gd name="T67" fmla="*/ 714 h 716"/>
                  <a:gd name="T68" fmla="*/ 300 w 436"/>
                  <a:gd name="T69" fmla="*/ 716 h 716"/>
                  <a:gd name="T70" fmla="*/ 278 w 436"/>
                  <a:gd name="T71" fmla="*/ 716 h 716"/>
                  <a:gd name="T72" fmla="*/ 278 w 436"/>
                  <a:gd name="T73" fmla="*/ 716 h 716"/>
                  <a:gd name="T74" fmla="*/ 260 w 436"/>
                  <a:gd name="T75" fmla="*/ 716 h 716"/>
                  <a:gd name="T76" fmla="*/ 244 w 436"/>
                  <a:gd name="T77" fmla="*/ 714 h 716"/>
                  <a:gd name="T78" fmla="*/ 228 w 436"/>
                  <a:gd name="T79" fmla="*/ 710 h 716"/>
                  <a:gd name="T80" fmla="*/ 214 w 436"/>
                  <a:gd name="T81" fmla="*/ 706 h 716"/>
                  <a:gd name="T82" fmla="*/ 200 w 436"/>
                  <a:gd name="T83" fmla="*/ 700 h 716"/>
                  <a:gd name="T84" fmla="*/ 188 w 436"/>
                  <a:gd name="T85" fmla="*/ 694 h 716"/>
                  <a:gd name="T86" fmla="*/ 176 w 436"/>
                  <a:gd name="T87" fmla="*/ 686 h 716"/>
                  <a:gd name="T88" fmla="*/ 166 w 436"/>
                  <a:gd name="T89" fmla="*/ 678 h 716"/>
                  <a:gd name="T90" fmla="*/ 156 w 436"/>
                  <a:gd name="T91" fmla="*/ 668 h 716"/>
                  <a:gd name="T92" fmla="*/ 148 w 436"/>
                  <a:gd name="T93" fmla="*/ 656 h 716"/>
                  <a:gd name="T94" fmla="*/ 142 w 436"/>
                  <a:gd name="T95" fmla="*/ 644 h 716"/>
                  <a:gd name="T96" fmla="*/ 136 w 436"/>
                  <a:gd name="T97" fmla="*/ 632 h 716"/>
                  <a:gd name="T98" fmla="*/ 130 w 436"/>
                  <a:gd name="T99" fmla="*/ 618 h 716"/>
                  <a:gd name="T100" fmla="*/ 128 w 436"/>
                  <a:gd name="T101" fmla="*/ 604 h 716"/>
                  <a:gd name="T102" fmla="*/ 126 w 436"/>
                  <a:gd name="T103" fmla="*/ 588 h 716"/>
                  <a:gd name="T104" fmla="*/ 124 w 436"/>
                  <a:gd name="T105" fmla="*/ 572 h 716"/>
                  <a:gd name="T106" fmla="*/ 124 w 436"/>
                  <a:gd name="T107" fmla="*/ 57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6" h="716">
                    <a:moveTo>
                      <a:pt x="124" y="572"/>
                    </a:moveTo>
                    <a:lnTo>
                      <a:pt x="124" y="272"/>
                    </a:lnTo>
                    <a:lnTo>
                      <a:pt x="0" y="272"/>
                    </a:lnTo>
                    <a:lnTo>
                      <a:pt x="28" y="166"/>
                    </a:lnTo>
                    <a:lnTo>
                      <a:pt x="124" y="166"/>
                    </a:lnTo>
                    <a:lnTo>
                      <a:pt x="124" y="40"/>
                    </a:lnTo>
                    <a:lnTo>
                      <a:pt x="260" y="0"/>
                    </a:lnTo>
                    <a:lnTo>
                      <a:pt x="260" y="166"/>
                    </a:lnTo>
                    <a:lnTo>
                      <a:pt x="424" y="166"/>
                    </a:lnTo>
                    <a:lnTo>
                      <a:pt x="390" y="272"/>
                    </a:lnTo>
                    <a:lnTo>
                      <a:pt x="260" y="272"/>
                    </a:lnTo>
                    <a:lnTo>
                      <a:pt x="260" y="538"/>
                    </a:lnTo>
                    <a:lnTo>
                      <a:pt x="260" y="538"/>
                    </a:lnTo>
                    <a:lnTo>
                      <a:pt x="262" y="556"/>
                    </a:lnTo>
                    <a:lnTo>
                      <a:pt x="264" y="570"/>
                    </a:lnTo>
                    <a:lnTo>
                      <a:pt x="268" y="582"/>
                    </a:lnTo>
                    <a:lnTo>
                      <a:pt x="274" y="592"/>
                    </a:lnTo>
                    <a:lnTo>
                      <a:pt x="280" y="598"/>
                    </a:lnTo>
                    <a:lnTo>
                      <a:pt x="290" y="604"/>
                    </a:lnTo>
                    <a:lnTo>
                      <a:pt x="300" y="606"/>
                    </a:lnTo>
                    <a:lnTo>
                      <a:pt x="312" y="606"/>
                    </a:lnTo>
                    <a:lnTo>
                      <a:pt x="312" y="606"/>
                    </a:lnTo>
                    <a:lnTo>
                      <a:pt x="336" y="604"/>
                    </a:lnTo>
                    <a:lnTo>
                      <a:pt x="358" y="598"/>
                    </a:lnTo>
                    <a:lnTo>
                      <a:pt x="378" y="590"/>
                    </a:lnTo>
                    <a:lnTo>
                      <a:pt x="394" y="580"/>
                    </a:lnTo>
                    <a:lnTo>
                      <a:pt x="436" y="674"/>
                    </a:lnTo>
                    <a:lnTo>
                      <a:pt x="436" y="674"/>
                    </a:lnTo>
                    <a:lnTo>
                      <a:pt x="420" y="684"/>
                    </a:lnTo>
                    <a:lnTo>
                      <a:pt x="402" y="692"/>
                    </a:lnTo>
                    <a:lnTo>
                      <a:pt x="384" y="698"/>
                    </a:lnTo>
                    <a:lnTo>
                      <a:pt x="362" y="704"/>
                    </a:lnTo>
                    <a:lnTo>
                      <a:pt x="342" y="710"/>
                    </a:lnTo>
                    <a:lnTo>
                      <a:pt x="320" y="714"/>
                    </a:lnTo>
                    <a:lnTo>
                      <a:pt x="300" y="716"/>
                    </a:lnTo>
                    <a:lnTo>
                      <a:pt x="278" y="716"/>
                    </a:lnTo>
                    <a:lnTo>
                      <a:pt x="278" y="716"/>
                    </a:lnTo>
                    <a:lnTo>
                      <a:pt x="260" y="716"/>
                    </a:lnTo>
                    <a:lnTo>
                      <a:pt x="244" y="714"/>
                    </a:lnTo>
                    <a:lnTo>
                      <a:pt x="228" y="710"/>
                    </a:lnTo>
                    <a:lnTo>
                      <a:pt x="214" y="706"/>
                    </a:lnTo>
                    <a:lnTo>
                      <a:pt x="200" y="700"/>
                    </a:lnTo>
                    <a:lnTo>
                      <a:pt x="188" y="694"/>
                    </a:lnTo>
                    <a:lnTo>
                      <a:pt x="176" y="686"/>
                    </a:lnTo>
                    <a:lnTo>
                      <a:pt x="166" y="678"/>
                    </a:lnTo>
                    <a:lnTo>
                      <a:pt x="156" y="668"/>
                    </a:lnTo>
                    <a:lnTo>
                      <a:pt x="148" y="656"/>
                    </a:lnTo>
                    <a:lnTo>
                      <a:pt x="142" y="644"/>
                    </a:lnTo>
                    <a:lnTo>
                      <a:pt x="136" y="632"/>
                    </a:lnTo>
                    <a:lnTo>
                      <a:pt x="130" y="618"/>
                    </a:lnTo>
                    <a:lnTo>
                      <a:pt x="128" y="604"/>
                    </a:lnTo>
                    <a:lnTo>
                      <a:pt x="126" y="588"/>
                    </a:lnTo>
                    <a:lnTo>
                      <a:pt x="124" y="572"/>
                    </a:lnTo>
                    <a:lnTo>
                      <a:pt x="124" y="5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 name="Freeform 25"/>
              <p:cNvSpPr>
                <a:spLocks/>
              </p:cNvSpPr>
              <p:nvPr/>
            </p:nvSpPr>
            <p:spPr bwMode="auto">
              <a:xfrm>
                <a:off x="8254227" y="4517918"/>
                <a:ext cx="47345" cy="58558"/>
              </a:xfrm>
              <a:custGeom>
                <a:avLst/>
                <a:gdLst>
                  <a:gd name="T0" fmla="*/ 0 w 456"/>
                  <a:gd name="T1" fmla="*/ 288 h 564"/>
                  <a:gd name="T2" fmla="*/ 4 w 456"/>
                  <a:gd name="T3" fmla="*/ 226 h 564"/>
                  <a:gd name="T4" fmla="*/ 22 w 456"/>
                  <a:gd name="T5" fmla="*/ 172 h 564"/>
                  <a:gd name="T6" fmla="*/ 48 w 456"/>
                  <a:gd name="T7" fmla="*/ 122 h 564"/>
                  <a:gd name="T8" fmla="*/ 82 w 456"/>
                  <a:gd name="T9" fmla="*/ 80 h 564"/>
                  <a:gd name="T10" fmla="*/ 124 w 456"/>
                  <a:gd name="T11" fmla="*/ 46 h 564"/>
                  <a:gd name="T12" fmla="*/ 172 w 456"/>
                  <a:gd name="T13" fmla="*/ 22 h 564"/>
                  <a:gd name="T14" fmla="*/ 226 w 456"/>
                  <a:gd name="T15" fmla="*/ 6 h 564"/>
                  <a:gd name="T16" fmla="*/ 284 w 456"/>
                  <a:gd name="T17" fmla="*/ 0 h 564"/>
                  <a:gd name="T18" fmla="*/ 308 w 456"/>
                  <a:gd name="T19" fmla="*/ 0 h 564"/>
                  <a:gd name="T20" fmla="*/ 352 w 456"/>
                  <a:gd name="T21" fmla="*/ 6 h 564"/>
                  <a:gd name="T22" fmla="*/ 388 w 456"/>
                  <a:gd name="T23" fmla="*/ 16 h 564"/>
                  <a:gd name="T24" fmla="*/ 428 w 456"/>
                  <a:gd name="T25" fmla="*/ 36 h 564"/>
                  <a:gd name="T26" fmla="*/ 428 w 456"/>
                  <a:gd name="T27" fmla="*/ 152 h 564"/>
                  <a:gd name="T28" fmla="*/ 400 w 456"/>
                  <a:gd name="T29" fmla="*/ 134 h 564"/>
                  <a:gd name="T30" fmla="*/ 368 w 456"/>
                  <a:gd name="T31" fmla="*/ 120 h 564"/>
                  <a:gd name="T32" fmla="*/ 336 w 456"/>
                  <a:gd name="T33" fmla="*/ 112 h 564"/>
                  <a:gd name="T34" fmla="*/ 298 w 456"/>
                  <a:gd name="T35" fmla="*/ 110 h 564"/>
                  <a:gd name="T36" fmla="*/ 280 w 456"/>
                  <a:gd name="T37" fmla="*/ 110 h 564"/>
                  <a:gd name="T38" fmla="*/ 246 w 456"/>
                  <a:gd name="T39" fmla="*/ 118 h 564"/>
                  <a:gd name="T40" fmla="*/ 216 w 456"/>
                  <a:gd name="T41" fmla="*/ 130 h 564"/>
                  <a:gd name="T42" fmla="*/ 192 w 456"/>
                  <a:gd name="T43" fmla="*/ 148 h 564"/>
                  <a:gd name="T44" fmla="*/ 170 w 456"/>
                  <a:gd name="T45" fmla="*/ 172 h 564"/>
                  <a:gd name="T46" fmla="*/ 156 w 456"/>
                  <a:gd name="T47" fmla="*/ 200 h 564"/>
                  <a:gd name="T48" fmla="*/ 144 w 456"/>
                  <a:gd name="T49" fmla="*/ 230 h 564"/>
                  <a:gd name="T50" fmla="*/ 140 w 456"/>
                  <a:gd name="T51" fmla="*/ 266 h 564"/>
                  <a:gd name="T52" fmla="*/ 138 w 456"/>
                  <a:gd name="T53" fmla="*/ 284 h 564"/>
                  <a:gd name="T54" fmla="*/ 142 w 456"/>
                  <a:gd name="T55" fmla="*/ 322 h 564"/>
                  <a:gd name="T56" fmla="*/ 150 w 456"/>
                  <a:gd name="T57" fmla="*/ 358 h 564"/>
                  <a:gd name="T58" fmla="*/ 162 w 456"/>
                  <a:gd name="T59" fmla="*/ 386 h 564"/>
                  <a:gd name="T60" fmla="*/ 180 w 456"/>
                  <a:gd name="T61" fmla="*/ 410 h 564"/>
                  <a:gd name="T62" fmla="*/ 202 w 456"/>
                  <a:gd name="T63" fmla="*/ 430 h 564"/>
                  <a:gd name="T64" fmla="*/ 228 w 456"/>
                  <a:gd name="T65" fmla="*/ 444 h 564"/>
                  <a:gd name="T66" fmla="*/ 258 w 456"/>
                  <a:gd name="T67" fmla="*/ 452 h 564"/>
                  <a:gd name="T68" fmla="*/ 292 w 456"/>
                  <a:gd name="T69" fmla="*/ 454 h 564"/>
                  <a:gd name="T70" fmla="*/ 310 w 456"/>
                  <a:gd name="T71" fmla="*/ 454 h 564"/>
                  <a:gd name="T72" fmla="*/ 342 w 456"/>
                  <a:gd name="T73" fmla="*/ 448 h 564"/>
                  <a:gd name="T74" fmla="*/ 388 w 456"/>
                  <a:gd name="T75" fmla="*/ 432 h 564"/>
                  <a:gd name="T76" fmla="*/ 456 w 456"/>
                  <a:gd name="T77" fmla="*/ 512 h 564"/>
                  <a:gd name="T78" fmla="*/ 438 w 456"/>
                  <a:gd name="T79" fmla="*/ 522 h 564"/>
                  <a:gd name="T80" fmla="*/ 398 w 456"/>
                  <a:gd name="T81" fmla="*/ 542 h 564"/>
                  <a:gd name="T82" fmla="*/ 352 w 456"/>
                  <a:gd name="T83" fmla="*/ 556 h 564"/>
                  <a:gd name="T84" fmla="*/ 300 w 456"/>
                  <a:gd name="T85" fmla="*/ 564 h 564"/>
                  <a:gd name="T86" fmla="*/ 272 w 456"/>
                  <a:gd name="T87" fmla="*/ 564 h 564"/>
                  <a:gd name="T88" fmla="*/ 210 w 456"/>
                  <a:gd name="T89" fmla="*/ 558 h 564"/>
                  <a:gd name="T90" fmla="*/ 156 w 456"/>
                  <a:gd name="T91" fmla="*/ 542 h 564"/>
                  <a:gd name="T92" fmla="*/ 108 w 456"/>
                  <a:gd name="T93" fmla="*/ 518 h 564"/>
                  <a:gd name="T94" fmla="*/ 70 w 456"/>
                  <a:gd name="T95" fmla="*/ 484 h 564"/>
                  <a:gd name="T96" fmla="*/ 40 w 456"/>
                  <a:gd name="T97" fmla="*/ 444 h 564"/>
                  <a:gd name="T98" fmla="*/ 18 w 456"/>
                  <a:gd name="T99" fmla="*/ 396 h 564"/>
                  <a:gd name="T100" fmla="*/ 4 w 456"/>
                  <a:gd name="T101" fmla="*/ 344 h 564"/>
                  <a:gd name="T102" fmla="*/ 0 w 456"/>
                  <a:gd name="T103" fmla="*/ 288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56" h="564">
                    <a:moveTo>
                      <a:pt x="0" y="288"/>
                    </a:moveTo>
                    <a:lnTo>
                      <a:pt x="0" y="288"/>
                    </a:lnTo>
                    <a:lnTo>
                      <a:pt x="0" y="256"/>
                    </a:lnTo>
                    <a:lnTo>
                      <a:pt x="4" y="226"/>
                    </a:lnTo>
                    <a:lnTo>
                      <a:pt x="12" y="198"/>
                    </a:lnTo>
                    <a:lnTo>
                      <a:pt x="22" y="172"/>
                    </a:lnTo>
                    <a:lnTo>
                      <a:pt x="32" y="146"/>
                    </a:lnTo>
                    <a:lnTo>
                      <a:pt x="48" y="122"/>
                    </a:lnTo>
                    <a:lnTo>
                      <a:pt x="64" y="100"/>
                    </a:lnTo>
                    <a:lnTo>
                      <a:pt x="82" y="80"/>
                    </a:lnTo>
                    <a:lnTo>
                      <a:pt x="102" y="62"/>
                    </a:lnTo>
                    <a:lnTo>
                      <a:pt x="124" y="46"/>
                    </a:lnTo>
                    <a:lnTo>
                      <a:pt x="146" y="32"/>
                    </a:lnTo>
                    <a:lnTo>
                      <a:pt x="172" y="22"/>
                    </a:lnTo>
                    <a:lnTo>
                      <a:pt x="198" y="12"/>
                    </a:lnTo>
                    <a:lnTo>
                      <a:pt x="226" y="6"/>
                    </a:lnTo>
                    <a:lnTo>
                      <a:pt x="254" y="2"/>
                    </a:lnTo>
                    <a:lnTo>
                      <a:pt x="284" y="0"/>
                    </a:lnTo>
                    <a:lnTo>
                      <a:pt x="284" y="0"/>
                    </a:lnTo>
                    <a:lnTo>
                      <a:pt x="308" y="0"/>
                    </a:lnTo>
                    <a:lnTo>
                      <a:pt x="332" y="4"/>
                    </a:lnTo>
                    <a:lnTo>
                      <a:pt x="352" y="6"/>
                    </a:lnTo>
                    <a:lnTo>
                      <a:pt x="372" y="12"/>
                    </a:lnTo>
                    <a:lnTo>
                      <a:pt x="388" y="16"/>
                    </a:lnTo>
                    <a:lnTo>
                      <a:pt x="404" y="24"/>
                    </a:lnTo>
                    <a:lnTo>
                      <a:pt x="428" y="36"/>
                    </a:lnTo>
                    <a:lnTo>
                      <a:pt x="428" y="152"/>
                    </a:lnTo>
                    <a:lnTo>
                      <a:pt x="428" y="152"/>
                    </a:lnTo>
                    <a:lnTo>
                      <a:pt x="414" y="142"/>
                    </a:lnTo>
                    <a:lnTo>
                      <a:pt x="400" y="134"/>
                    </a:lnTo>
                    <a:lnTo>
                      <a:pt x="384" y="126"/>
                    </a:lnTo>
                    <a:lnTo>
                      <a:pt x="368" y="120"/>
                    </a:lnTo>
                    <a:lnTo>
                      <a:pt x="352" y="116"/>
                    </a:lnTo>
                    <a:lnTo>
                      <a:pt x="336" y="112"/>
                    </a:lnTo>
                    <a:lnTo>
                      <a:pt x="316" y="110"/>
                    </a:lnTo>
                    <a:lnTo>
                      <a:pt x="298" y="110"/>
                    </a:lnTo>
                    <a:lnTo>
                      <a:pt x="298" y="110"/>
                    </a:lnTo>
                    <a:lnTo>
                      <a:pt x="280" y="110"/>
                    </a:lnTo>
                    <a:lnTo>
                      <a:pt x="262" y="112"/>
                    </a:lnTo>
                    <a:lnTo>
                      <a:pt x="246" y="118"/>
                    </a:lnTo>
                    <a:lnTo>
                      <a:pt x="230" y="122"/>
                    </a:lnTo>
                    <a:lnTo>
                      <a:pt x="216" y="130"/>
                    </a:lnTo>
                    <a:lnTo>
                      <a:pt x="204" y="138"/>
                    </a:lnTo>
                    <a:lnTo>
                      <a:pt x="192" y="148"/>
                    </a:lnTo>
                    <a:lnTo>
                      <a:pt x="180" y="160"/>
                    </a:lnTo>
                    <a:lnTo>
                      <a:pt x="170" y="172"/>
                    </a:lnTo>
                    <a:lnTo>
                      <a:pt x="162" y="186"/>
                    </a:lnTo>
                    <a:lnTo>
                      <a:pt x="156" y="200"/>
                    </a:lnTo>
                    <a:lnTo>
                      <a:pt x="150" y="214"/>
                    </a:lnTo>
                    <a:lnTo>
                      <a:pt x="144" y="230"/>
                    </a:lnTo>
                    <a:lnTo>
                      <a:pt x="142" y="248"/>
                    </a:lnTo>
                    <a:lnTo>
                      <a:pt x="140" y="266"/>
                    </a:lnTo>
                    <a:lnTo>
                      <a:pt x="138" y="284"/>
                    </a:lnTo>
                    <a:lnTo>
                      <a:pt x="138" y="284"/>
                    </a:lnTo>
                    <a:lnTo>
                      <a:pt x="140" y="304"/>
                    </a:lnTo>
                    <a:lnTo>
                      <a:pt x="142" y="322"/>
                    </a:lnTo>
                    <a:lnTo>
                      <a:pt x="144" y="340"/>
                    </a:lnTo>
                    <a:lnTo>
                      <a:pt x="150" y="358"/>
                    </a:lnTo>
                    <a:lnTo>
                      <a:pt x="156" y="372"/>
                    </a:lnTo>
                    <a:lnTo>
                      <a:pt x="162" y="386"/>
                    </a:lnTo>
                    <a:lnTo>
                      <a:pt x="170" y="400"/>
                    </a:lnTo>
                    <a:lnTo>
                      <a:pt x="180" y="410"/>
                    </a:lnTo>
                    <a:lnTo>
                      <a:pt x="190" y="420"/>
                    </a:lnTo>
                    <a:lnTo>
                      <a:pt x="202" y="430"/>
                    </a:lnTo>
                    <a:lnTo>
                      <a:pt x="214" y="438"/>
                    </a:lnTo>
                    <a:lnTo>
                      <a:pt x="228" y="444"/>
                    </a:lnTo>
                    <a:lnTo>
                      <a:pt x="242" y="448"/>
                    </a:lnTo>
                    <a:lnTo>
                      <a:pt x="258" y="452"/>
                    </a:lnTo>
                    <a:lnTo>
                      <a:pt x="274" y="454"/>
                    </a:lnTo>
                    <a:lnTo>
                      <a:pt x="292" y="454"/>
                    </a:lnTo>
                    <a:lnTo>
                      <a:pt x="292" y="454"/>
                    </a:lnTo>
                    <a:lnTo>
                      <a:pt x="310" y="454"/>
                    </a:lnTo>
                    <a:lnTo>
                      <a:pt x="326" y="452"/>
                    </a:lnTo>
                    <a:lnTo>
                      <a:pt x="342" y="448"/>
                    </a:lnTo>
                    <a:lnTo>
                      <a:pt x="358" y="444"/>
                    </a:lnTo>
                    <a:lnTo>
                      <a:pt x="388" y="432"/>
                    </a:lnTo>
                    <a:lnTo>
                      <a:pt x="416" y="418"/>
                    </a:lnTo>
                    <a:lnTo>
                      <a:pt x="456" y="512"/>
                    </a:lnTo>
                    <a:lnTo>
                      <a:pt x="456" y="512"/>
                    </a:lnTo>
                    <a:lnTo>
                      <a:pt x="438" y="522"/>
                    </a:lnTo>
                    <a:lnTo>
                      <a:pt x="420" y="532"/>
                    </a:lnTo>
                    <a:lnTo>
                      <a:pt x="398" y="542"/>
                    </a:lnTo>
                    <a:lnTo>
                      <a:pt x="376" y="550"/>
                    </a:lnTo>
                    <a:lnTo>
                      <a:pt x="352" y="556"/>
                    </a:lnTo>
                    <a:lnTo>
                      <a:pt x="326" y="560"/>
                    </a:lnTo>
                    <a:lnTo>
                      <a:pt x="300" y="564"/>
                    </a:lnTo>
                    <a:lnTo>
                      <a:pt x="272" y="564"/>
                    </a:lnTo>
                    <a:lnTo>
                      <a:pt x="272" y="564"/>
                    </a:lnTo>
                    <a:lnTo>
                      <a:pt x="240" y="562"/>
                    </a:lnTo>
                    <a:lnTo>
                      <a:pt x="210" y="558"/>
                    </a:lnTo>
                    <a:lnTo>
                      <a:pt x="182" y="552"/>
                    </a:lnTo>
                    <a:lnTo>
                      <a:pt x="156" y="542"/>
                    </a:lnTo>
                    <a:lnTo>
                      <a:pt x="130" y="532"/>
                    </a:lnTo>
                    <a:lnTo>
                      <a:pt x="108" y="518"/>
                    </a:lnTo>
                    <a:lnTo>
                      <a:pt x="88" y="502"/>
                    </a:lnTo>
                    <a:lnTo>
                      <a:pt x="70" y="484"/>
                    </a:lnTo>
                    <a:lnTo>
                      <a:pt x="54" y="464"/>
                    </a:lnTo>
                    <a:lnTo>
                      <a:pt x="40" y="444"/>
                    </a:lnTo>
                    <a:lnTo>
                      <a:pt x="28" y="420"/>
                    </a:lnTo>
                    <a:lnTo>
                      <a:pt x="18" y="396"/>
                    </a:lnTo>
                    <a:lnTo>
                      <a:pt x="10" y="370"/>
                    </a:lnTo>
                    <a:lnTo>
                      <a:pt x="4" y="344"/>
                    </a:lnTo>
                    <a:lnTo>
                      <a:pt x="0" y="316"/>
                    </a:lnTo>
                    <a:lnTo>
                      <a:pt x="0" y="288"/>
                    </a:lnTo>
                    <a:lnTo>
                      <a:pt x="0"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 name="Freeform 26"/>
              <p:cNvSpPr>
                <a:spLocks/>
              </p:cNvSpPr>
              <p:nvPr/>
            </p:nvSpPr>
            <p:spPr bwMode="auto">
              <a:xfrm>
                <a:off x="8304894" y="4517918"/>
                <a:ext cx="43400" cy="58558"/>
              </a:xfrm>
              <a:custGeom>
                <a:avLst/>
                <a:gdLst>
                  <a:gd name="T0" fmla="*/ 58 w 418"/>
                  <a:gd name="T1" fmla="*/ 422 h 564"/>
                  <a:gd name="T2" fmla="*/ 112 w 418"/>
                  <a:gd name="T3" fmla="*/ 444 h 564"/>
                  <a:gd name="T4" fmla="*/ 170 w 418"/>
                  <a:gd name="T5" fmla="*/ 456 h 564"/>
                  <a:gd name="T6" fmla="*/ 210 w 418"/>
                  <a:gd name="T7" fmla="*/ 456 h 564"/>
                  <a:gd name="T8" fmla="*/ 258 w 418"/>
                  <a:gd name="T9" fmla="*/ 444 h 564"/>
                  <a:gd name="T10" fmla="*/ 282 w 418"/>
                  <a:gd name="T11" fmla="*/ 414 h 564"/>
                  <a:gd name="T12" fmla="*/ 284 w 418"/>
                  <a:gd name="T13" fmla="*/ 392 h 564"/>
                  <a:gd name="T14" fmla="*/ 274 w 418"/>
                  <a:gd name="T15" fmla="*/ 372 h 564"/>
                  <a:gd name="T16" fmla="*/ 226 w 418"/>
                  <a:gd name="T17" fmla="*/ 340 h 564"/>
                  <a:gd name="T18" fmla="*/ 134 w 418"/>
                  <a:gd name="T19" fmla="*/ 304 h 564"/>
                  <a:gd name="T20" fmla="*/ 72 w 418"/>
                  <a:gd name="T21" fmla="*/ 264 h 564"/>
                  <a:gd name="T22" fmla="*/ 48 w 418"/>
                  <a:gd name="T23" fmla="*/ 232 h 564"/>
                  <a:gd name="T24" fmla="*/ 34 w 418"/>
                  <a:gd name="T25" fmla="*/ 194 h 564"/>
                  <a:gd name="T26" fmla="*/ 32 w 418"/>
                  <a:gd name="T27" fmla="*/ 162 h 564"/>
                  <a:gd name="T28" fmla="*/ 40 w 418"/>
                  <a:gd name="T29" fmla="*/ 112 h 564"/>
                  <a:gd name="T30" fmla="*/ 62 w 418"/>
                  <a:gd name="T31" fmla="*/ 70 h 564"/>
                  <a:gd name="T32" fmla="*/ 100 w 418"/>
                  <a:gd name="T33" fmla="*/ 36 h 564"/>
                  <a:gd name="T34" fmla="*/ 150 w 418"/>
                  <a:gd name="T35" fmla="*/ 12 h 564"/>
                  <a:gd name="T36" fmla="*/ 212 w 418"/>
                  <a:gd name="T37" fmla="*/ 0 h 564"/>
                  <a:gd name="T38" fmla="*/ 280 w 418"/>
                  <a:gd name="T39" fmla="*/ 2 h 564"/>
                  <a:gd name="T40" fmla="*/ 394 w 418"/>
                  <a:gd name="T41" fmla="*/ 26 h 564"/>
                  <a:gd name="T42" fmla="*/ 358 w 418"/>
                  <a:gd name="T43" fmla="*/ 128 h 564"/>
                  <a:gd name="T44" fmla="*/ 262 w 418"/>
                  <a:gd name="T45" fmla="*/ 108 h 564"/>
                  <a:gd name="T46" fmla="*/ 224 w 418"/>
                  <a:gd name="T47" fmla="*/ 108 h 564"/>
                  <a:gd name="T48" fmla="*/ 186 w 418"/>
                  <a:gd name="T49" fmla="*/ 118 h 564"/>
                  <a:gd name="T50" fmla="*/ 166 w 418"/>
                  <a:gd name="T51" fmla="*/ 144 h 564"/>
                  <a:gd name="T52" fmla="*/ 166 w 418"/>
                  <a:gd name="T53" fmla="*/ 164 h 564"/>
                  <a:gd name="T54" fmla="*/ 176 w 418"/>
                  <a:gd name="T55" fmla="*/ 184 h 564"/>
                  <a:gd name="T56" fmla="*/ 224 w 418"/>
                  <a:gd name="T57" fmla="*/ 212 h 564"/>
                  <a:gd name="T58" fmla="*/ 314 w 418"/>
                  <a:gd name="T59" fmla="*/ 248 h 564"/>
                  <a:gd name="T60" fmla="*/ 378 w 418"/>
                  <a:gd name="T61" fmla="*/ 292 h 564"/>
                  <a:gd name="T62" fmla="*/ 402 w 418"/>
                  <a:gd name="T63" fmla="*/ 324 h 564"/>
                  <a:gd name="T64" fmla="*/ 414 w 418"/>
                  <a:gd name="T65" fmla="*/ 364 h 564"/>
                  <a:gd name="T66" fmla="*/ 418 w 418"/>
                  <a:gd name="T67" fmla="*/ 396 h 564"/>
                  <a:gd name="T68" fmla="*/ 408 w 418"/>
                  <a:gd name="T69" fmla="*/ 456 h 564"/>
                  <a:gd name="T70" fmla="*/ 380 w 418"/>
                  <a:gd name="T71" fmla="*/ 502 h 564"/>
                  <a:gd name="T72" fmla="*/ 336 w 418"/>
                  <a:gd name="T73" fmla="*/ 534 h 564"/>
                  <a:gd name="T74" fmla="*/ 282 w 418"/>
                  <a:gd name="T75" fmla="*/ 554 h 564"/>
                  <a:gd name="T76" fmla="*/ 220 w 418"/>
                  <a:gd name="T77" fmla="*/ 564 h 564"/>
                  <a:gd name="T78" fmla="*/ 168 w 418"/>
                  <a:gd name="T79" fmla="*/ 562 h 564"/>
                  <a:gd name="T80" fmla="*/ 84 w 418"/>
                  <a:gd name="T81" fmla="*/ 548 h 564"/>
                  <a:gd name="T82" fmla="*/ 18 w 418"/>
                  <a:gd name="T83" fmla="*/ 522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8" h="564">
                    <a:moveTo>
                      <a:pt x="42" y="412"/>
                    </a:moveTo>
                    <a:lnTo>
                      <a:pt x="42" y="412"/>
                    </a:lnTo>
                    <a:lnTo>
                      <a:pt x="58" y="422"/>
                    </a:lnTo>
                    <a:lnTo>
                      <a:pt x="76" y="430"/>
                    </a:lnTo>
                    <a:lnTo>
                      <a:pt x="94" y="438"/>
                    </a:lnTo>
                    <a:lnTo>
                      <a:pt x="112" y="444"/>
                    </a:lnTo>
                    <a:lnTo>
                      <a:pt x="130" y="450"/>
                    </a:lnTo>
                    <a:lnTo>
                      <a:pt x="150" y="454"/>
                    </a:lnTo>
                    <a:lnTo>
                      <a:pt x="170" y="456"/>
                    </a:lnTo>
                    <a:lnTo>
                      <a:pt x="190" y="456"/>
                    </a:lnTo>
                    <a:lnTo>
                      <a:pt x="190" y="456"/>
                    </a:lnTo>
                    <a:lnTo>
                      <a:pt x="210" y="456"/>
                    </a:lnTo>
                    <a:lnTo>
                      <a:pt x="228" y="454"/>
                    </a:lnTo>
                    <a:lnTo>
                      <a:pt x="244" y="450"/>
                    </a:lnTo>
                    <a:lnTo>
                      <a:pt x="258" y="444"/>
                    </a:lnTo>
                    <a:lnTo>
                      <a:pt x="268" y="436"/>
                    </a:lnTo>
                    <a:lnTo>
                      <a:pt x="278" y="426"/>
                    </a:lnTo>
                    <a:lnTo>
                      <a:pt x="282" y="414"/>
                    </a:lnTo>
                    <a:lnTo>
                      <a:pt x="284" y="400"/>
                    </a:lnTo>
                    <a:lnTo>
                      <a:pt x="284" y="400"/>
                    </a:lnTo>
                    <a:lnTo>
                      <a:pt x="284" y="392"/>
                    </a:lnTo>
                    <a:lnTo>
                      <a:pt x="282" y="384"/>
                    </a:lnTo>
                    <a:lnTo>
                      <a:pt x="278" y="378"/>
                    </a:lnTo>
                    <a:lnTo>
                      <a:pt x="274" y="372"/>
                    </a:lnTo>
                    <a:lnTo>
                      <a:pt x="262" y="360"/>
                    </a:lnTo>
                    <a:lnTo>
                      <a:pt x="244" y="350"/>
                    </a:lnTo>
                    <a:lnTo>
                      <a:pt x="226" y="340"/>
                    </a:lnTo>
                    <a:lnTo>
                      <a:pt x="204" y="332"/>
                    </a:lnTo>
                    <a:lnTo>
                      <a:pt x="158" y="314"/>
                    </a:lnTo>
                    <a:lnTo>
                      <a:pt x="134" y="304"/>
                    </a:lnTo>
                    <a:lnTo>
                      <a:pt x="112" y="294"/>
                    </a:lnTo>
                    <a:lnTo>
                      <a:pt x="90" y="280"/>
                    </a:lnTo>
                    <a:lnTo>
                      <a:pt x="72" y="264"/>
                    </a:lnTo>
                    <a:lnTo>
                      <a:pt x="62" y="254"/>
                    </a:lnTo>
                    <a:lnTo>
                      <a:pt x="54" y="244"/>
                    </a:lnTo>
                    <a:lnTo>
                      <a:pt x="48" y="232"/>
                    </a:lnTo>
                    <a:lnTo>
                      <a:pt x="42" y="222"/>
                    </a:lnTo>
                    <a:lnTo>
                      <a:pt x="38" y="208"/>
                    </a:lnTo>
                    <a:lnTo>
                      <a:pt x="34" y="194"/>
                    </a:lnTo>
                    <a:lnTo>
                      <a:pt x="32" y="180"/>
                    </a:lnTo>
                    <a:lnTo>
                      <a:pt x="32" y="162"/>
                    </a:lnTo>
                    <a:lnTo>
                      <a:pt x="32" y="162"/>
                    </a:lnTo>
                    <a:lnTo>
                      <a:pt x="32" y="146"/>
                    </a:lnTo>
                    <a:lnTo>
                      <a:pt x="36" y="128"/>
                    </a:lnTo>
                    <a:lnTo>
                      <a:pt x="40" y="112"/>
                    </a:lnTo>
                    <a:lnTo>
                      <a:pt x="46" y="98"/>
                    </a:lnTo>
                    <a:lnTo>
                      <a:pt x="54" y="82"/>
                    </a:lnTo>
                    <a:lnTo>
                      <a:pt x="62" y="70"/>
                    </a:lnTo>
                    <a:lnTo>
                      <a:pt x="74" y="56"/>
                    </a:lnTo>
                    <a:lnTo>
                      <a:pt x="86" y="46"/>
                    </a:lnTo>
                    <a:lnTo>
                      <a:pt x="100" y="36"/>
                    </a:lnTo>
                    <a:lnTo>
                      <a:pt x="116" y="26"/>
                    </a:lnTo>
                    <a:lnTo>
                      <a:pt x="132" y="18"/>
                    </a:lnTo>
                    <a:lnTo>
                      <a:pt x="150" y="12"/>
                    </a:lnTo>
                    <a:lnTo>
                      <a:pt x="170" y="6"/>
                    </a:lnTo>
                    <a:lnTo>
                      <a:pt x="190" y="4"/>
                    </a:lnTo>
                    <a:lnTo>
                      <a:pt x="212" y="0"/>
                    </a:lnTo>
                    <a:lnTo>
                      <a:pt x="236" y="0"/>
                    </a:lnTo>
                    <a:lnTo>
                      <a:pt x="236" y="0"/>
                    </a:lnTo>
                    <a:lnTo>
                      <a:pt x="280" y="2"/>
                    </a:lnTo>
                    <a:lnTo>
                      <a:pt x="320" y="8"/>
                    </a:lnTo>
                    <a:lnTo>
                      <a:pt x="358" y="16"/>
                    </a:lnTo>
                    <a:lnTo>
                      <a:pt x="394" y="26"/>
                    </a:lnTo>
                    <a:lnTo>
                      <a:pt x="394" y="142"/>
                    </a:lnTo>
                    <a:lnTo>
                      <a:pt x="394" y="142"/>
                    </a:lnTo>
                    <a:lnTo>
                      <a:pt x="358" y="128"/>
                    </a:lnTo>
                    <a:lnTo>
                      <a:pt x="322" y="116"/>
                    </a:lnTo>
                    <a:lnTo>
                      <a:pt x="282" y="110"/>
                    </a:lnTo>
                    <a:lnTo>
                      <a:pt x="262" y="108"/>
                    </a:lnTo>
                    <a:lnTo>
                      <a:pt x="242" y="108"/>
                    </a:lnTo>
                    <a:lnTo>
                      <a:pt x="242" y="108"/>
                    </a:lnTo>
                    <a:lnTo>
                      <a:pt x="224" y="108"/>
                    </a:lnTo>
                    <a:lnTo>
                      <a:pt x="210" y="110"/>
                    </a:lnTo>
                    <a:lnTo>
                      <a:pt x="198" y="114"/>
                    </a:lnTo>
                    <a:lnTo>
                      <a:pt x="186" y="118"/>
                    </a:lnTo>
                    <a:lnTo>
                      <a:pt x="176" y="126"/>
                    </a:lnTo>
                    <a:lnTo>
                      <a:pt x="170" y="134"/>
                    </a:lnTo>
                    <a:lnTo>
                      <a:pt x="166" y="144"/>
                    </a:lnTo>
                    <a:lnTo>
                      <a:pt x="164" y="156"/>
                    </a:lnTo>
                    <a:lnTo>
                      <a:pt x="164" y="156"/>
                    </a:lnTo>
                    <a:lnTo>
                      <a:pt x="166" y="164"/>
                    </a:lnTo>
                    <a:lnTo>
                      <a:pt x="168" y="170"/>
                    </a:lnTo>
                    <a:lnTo>
                      <a:pt x="172" y="178"/>
                    </a:lnTo>
                    <a:lnTo>
                      <a:pt x="176" y="184"/>
                    </a:lnTo>
                    <a:lnTo>
                      <a:pt x="188" y="194"/>
                    </a:lnTo>
                    <a:lnTo>
                      <a:pt x="204" y="204"/>
                    </a:lnTo>
                    <a:lnTo>
                      <a:pt x="224" y="212"/>
                    </a:lnTo>
                    <a:lnTo>
                      <a:pt x="244" y="220"/>
                    </a:lnTo>
                    <a:lnTo>
                      <a:pt x="292" y="238"/>
                    </a:lnTo>
                    <a:lnTo>
                      <a:pt x="314" y="248"/>
                    </a:lnTo>
                    <a:lnTo>
                      <a:pt x="338" y="260"/>
                    </a:lnTo>
                    <a:lnTo>
                      <a:pt x="360" y="274"/>
                    </a:lnTo>
                    <a:lnTo>
                      <a:pt x="378" y="292"/>
                    </a:lnTo>
                    <a:lnTo>
                      <a:pt x="386" y="302"/>
                    </a:lnTo>
                    <a:lnTo>
                      <a:pt x="394" y="312"/>
                    </a:lnTo>
                    <a:lnTo>
                      <a:pt x="402" y="324"/>
                    </a:lnTo>
                    <a:lnTo>
                      <a:pt x="406" y="336"/>
                    </a:lnTo>
                    <a:lnTo>
                      <a:pt x="412" y="350"/>
                    </a:lnTo>
                    <a:lnTo>
                      <a:pt x="414" y="364"/>
                    </a:lnTo>
                    <a:lnTo>
                      <a:pt x="418" y="380"/>
                    </a:lnTo>
                    <a:lnTo>
                      <a:pt x="418" y="396"/>
                    </a:lnTo>
                    <a:lnTo>
                      <a:pt x="418" y="396"/>
                    </a:lnTo>
                    <a:lnTo>
                      <a:pt x="416" y="418"/>
                    </a:lnTo>
                    <a:lnTo>
                      <a:pt x="414" y="438"/>
                    </a:lnTo>
                    <a:lnTo>
                      <a:pt x="408" y="456"/>
                    </a:lnTo>
                    <a:lnTo>
                      <a:pt x="400" y="472"/>
                    </a:lnTo>
                    <a:lnTo>
                      <a:pt x="390" y="488"/>
                    </a:lnTo>
                    <a:lnTo>
                      <a:pt x="380" y="502"/>
                    </a:lnTo>
                    <a:lnTo>
                      <a:pt x="366" y="514"/>
                    </a:lnTo>
                    <a:lnTo>
                      <a:pt x="352" y="524"/>
                    </a:lnTo>
                    <a:lnTo>
                      <a:pt x="336" y="534"/>
                    </a:lnTo>
                    <a:lnTo>
                      <a:pt x="320" y="542"/>
                    </a:lnTo>
                    <a:lnTo>
                      <a:pt x="302" y="550"/>
                    </a:lnTo>
                    <a:lnTo>
                      <a:pt x="282" y="554"/>
                    </a:lnTo>
                    <a:lnTo>
                      <a:pt x="262" y="558"/>
                    </a:lnTo>
                    <a:lnTo>
                      <a:pt x="242" y="562"/>
                    </a:lnTo>
                    <a:lnTo>
                      <a:pt x="220" y="564"/>
                    </a:lnTo>
                    <a:lnTo>
                      <a:pt x="200" y="564"/>
                    </a:lnTo>
                    <a:lnTo>
                      <a:pt x="200" y="564"/>
                    </a:lnTo>
                    <a:lnTo>
                      <a:pt x="168" y="562"/>
                    </a:lnTo>
                    <a:lnTo>
                      <a:pt x="138" y="560"/>
                    </a:lnTo>
                    <a:lnTo>
                      <a:pt x="110" y="554"/>
                    </a:lnTo>
                    <a:lnTo>
                      <a:pt x="84" y="548"/>
                    </a:lnTo>
                    <a:lnTo>
                      <a:pt x="60" y="540"/>
                    </a:lnTo>
                    <a:lnTo>
                      <a:pt x="38" y="532"/>
                    </a:lnTo>
                    <a:lnTo>
                      <a:pt x="18" y="522"/>
                    </a:lnTo>
                    <a:lnTo>
                      <a:pt x="0" y="512"/>
                    </a:lnTo>
                    <a:lnTo>
                      <a:pt x="42" y="4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 name="Freeform 27"/>
              <p:cNvSpPr>
                <a:spLocks noEditPoints="1"/>
              </p:cNvSpPr>
              <p:nvPr/>
            </p:nvSpPr>
            <p:spPr bwMode="auto">
              <a:xfrm>
                <a:off x="8230347" y="4493623"/>
                <a:ext cx="17443" cy="81608"/>
              </a:xfrm>
              <a:custGeom>
                <a:avLst/>
                <a:gdLst>
                  <a:gd name="T0" fmla="*/ 84 w 168"/>
                  <a:gd name="T1" fmla="*/ 162 h 786"/>
                  <a:gd name="T2" fmla="*/ 84 w 168"/>
                  <a:gd name="T3" fmla="*/ 162 h 786"/>
                  <a:gd name="T4" fmla="*/ 68 w 168"/>
                  <a:gd name="T5" fmla="*/ 160 h 786"/>
                  <a:gd name="T6" fmla="*/ 52 w 168"/>
                  <a:gd name="T7" fmla="*/ 156 h 786"/>
                  <a:gd name="T8" fmla="*/ 38 w 168"/>
                  <a:gd name="T9" fmla="*/ 148 h 786"/>
                  <a:gd name="T10" fmla="*/ 26 w 168"/>
                  <a:gd name="T11" fmla="*/ 138 h 786"/>
                  <a:gd name="T12" fmla="*/ 14 w 168"/>
                  <a:gd name="T13" fmla="*/ 126 h 786"/>
                  <a:gd name="T14" fmla="*/ 8 w 168"/>
                  <a:gd name="T15" fmla="*/ 112 h 786"/>
                  <a:gd name="T16" fmla="*/ 2 w 168"/>
                  <a:gd name="T17" fmla="*/ 98 h 786"/>
                  <a:gd name="T18" fmla="*/ 0 w 168"/>
                  <a:gd name="T19" fmla="*/ 80 h 786"/>
                  <a:gd name="T20" fmla="*/ 0 w 168"/>
                  <a:gd name="T21" fmla="*/ 80 h 786"/>
                  <a:gd name="T22" fmla="*/ 2 w 168"/>
                  <a:gd name="T23" fmla="*/ 64 h 786"/>
                  <a:gd name="T24" fmla="*/ 8 w 168"/>
                  <a:gd name="T25" fmla="*/ 50 h 786"/>
                  <a:gd name="T26" fmla="*/ 14 w 168"/>
                  <a:gd name="T27" fmla="*/ 36 h 786"/>
                  <a:gd name="T28" fmla="*/ 26 w 168"/>
                  <a:gd name="T29" fmla="*/ 24 h 786"/>
                  <a:gd name="T30" fmla="*/ 38 w 168"/>
                  <a:gd name="T31" fmla="*/ 14 h 786"/>
                  <a:gd name="T32" fmla="*/ 52 w 168"/>
                  <a:gd name="T33" fmla="*/ 6 h 786"/>
                  <a:gd name="T34" fmla="*/ 68 w 168"/>
                  <a:gd name="T35" fmla="*/ 2 h 786"/>
                  <a:gd name="T36" fmla="*/ 84 w 168"/>
                  <a:gd name="T37" fmla="*/ 0 h 786"/>
                  <a:gd name="T38" fmla="*/ 84 w 168"/>
                  <a:gd name="T39" fmla="*/ 0 h 786"/>
                  <a:gd name="T40" fmla="*/ 102 w 168"/>
                  <a:gd name="T41" fmla="*/ 2 h 786"/>
                  <a:gd name="T42" fmla="*/ 118 w 168"/>
                  <a:gd name="T43" fmla="*/ 6 h 786"/>
                  <a:gd name="T44" fmla="*/ 132 w 168"/>
                  <a:gd name="T45" fmla="*/ 14 h 786"/>
                  <a:gd name="T46" fmla="*/ 144 w 168"/>
                  <a:gd name="T47" fmla="*/ 24 h 786"/>
                  <a:gd name="T48" fmla="*/ 154 w 168"/>
                  <a:gd name="T49" fmla="*/ 36 h 786"/>
                  <a:gd name="T50" fmla="*/ 162 w 168"/>
                  <a:gd name="T51" fmla="*/ 48 h 786"/>
                  <a:gd name="T52" fmla="*/ 166 w 168"/>
                  <a:gd name="T53" fmla="*/ 64 h 786"/>
                  <a:gd name="T54" fmla="*/ 168 w 168"/>
                  <a:gd name="T55" fmla="*/ 80 h 786"/>
                  <a:gd name="T56" fmla="*/ 168 w 168"/>
                  <a:gd name="T57" fmla="*/ 80 h 786"/>
                  <a:gd name="T58" fmla="*/ 166 w 168"/>
                  <a:gd name="T59" fmla="*/ 96 h 786"/>
                  <a:gd name="T60" fmla="*/ 162 w 168"/>
                  <a:gd name="T61" fmla="*/ 112 h 786"/>
                  <a:gd name="T62" fmla="*/ 154 w 168"/>
                  <a:gd name="T63" fmla="*/ 126 h 786"/>
                  <a:gd name="T64" fmla="*/ 144 w 168"/>
                  <a:gd name="T65" fmla="*/ 138 h 786"/>
                  <a:gd name="T66" fmla="*/ 132 w 168"/>
                  <a:gd name="T67" fmla="*/ 148 h 786"/>
                  <a:gd name="T68" fmla="*/ 118 w 168"/>
                  <a:gd name="T69" fmla="*/ 156 h 786"/>
                  <a:gd name="T70" fmla="*/ 102 w 168"/>
                  <a:gd name="T71" fmla="*/ 160 h 786"/>
                  <a:gd name="T72" fmla="*/ 84 w 168"/>
                  <a:gd name="T73" fmla="*/ 162 h 786"/>
                  <a:gd name="T74" fmla="*/ 84 w 168"/>
                  <a:gd name="T75" fmla="*/ 162 h 786"/>
                  <a:gd name="T76" fmla="*/ 16 w 168"/>
                  <a:gd name="T77" fmla="*/ 786 h 786"/>
                  <a:gd name="T78" fmla="*/ 16 w 168"/>
                  <a:gd name="T79" fmla="*/ 244 h 786"/>
                  <a:gd name="T80" fmla="*/ 152 w 168"/>
                  <a:gd name="T81" fmla="*/ 244 h 786"/>
                  <a:gd name="T82" fmla="*/ 152 w 168"/>
                  <a:gd name="T83" fmla="*/ 244 h 786"/>
                  <a:gd name="T84" fmla="*/ 152 w 168"/>
                  <a:gd name="T85" fmla="*/ 686 h 786"/>
                  <a:gd name="T86" fmla="*/ 152 w 168"/>
                  <a:gd name="T87" fmla="*/ 686 h 786"/>
                  <a:gd name="T88" fmla="*/ 150 w 168"/>
                  <a:gd name="T89" fmla="*/ 704 h 786"/>
                  <a:gd name="T90" fmla="*/ 146 w 168"/>
                  <a:gd name="T91" fmla="*/ 720 h 786"/>
                  <a:gd name="T92" fmla="*/ 138 w 168"/>
                  <a:gd name="T93" fmla="*/ 732 h 786"/>
                  <a:gd name="T94" fmla="*/ 130 w 168"/>
                  <a:gd name="T95" fmla="*/ 744 h 786"/>
                  <a:gd name="T96" fmla="*/ 120 w 168"/>
                  <a:gd name="T97" fmla="*/ 754 h 786"/>
                  <a:gd name="T98" fmla="*/ 108 w 168"/>
                  <a:gd name="T99" fmla="*/ 762 h 786"/>
                  <a:gd name="T100" fmla="*/ 96 w 168"/>
                  <a:gd name="T101" fmla="*/ 768 h 786"/>
                  <a:gd name="T102" fmla="*/ 84 w 168"/>
                  <a:gd name="T103" fmla="*/ 774 h 786"/>
                  <a:gd name="T104" fmla="*/ 60 w 168"/>
                  <a:gd name="T105" fmla="*/ 782 h 786"/>
                  <a:gd name="T106" fmla="*/ 38 w 168"/>
                  <a:gd name="T107" fmla="*/ 784 h 786"/>
                  <a:gd name="T108" fmla="*/ 16 w 168"/>
                  <a:gd name="T109" fmla="*/ 786 h 786"/>
                  <a:gd name="T110" fmla="*/ 16 w 168"/>
                  <a:gd name="T111" fmla="*/ 786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8" h="786">
                    <a:moveTo>
                      <a:pt x="84" y="162"/>
                    </a:moveTo>
                    <a:lnTo>
                      <a:pt x="84" y="162"/>
                    </a:lnTo>
                    <a:lnTo>
                      <a:pt x="68" y="160"/>
                    </a:lnTo>
                    <a:lnTo>
                      <a:pt x="52" y="156"/>
                    </a:lnTo>
                    <a:lnTo>
                      <a:pt x="38" y="148"/>
                    </a:lnTo>
                    <a:lnTo>
                      <a:pt x="26" y="138"/>
                    </a:lnTo>
                    <a:lnTo>
                      <a:pt x="14" y="126"/>
                    </a:lnTo>
                    <a:lnTo>
                      <a:pt x="8" y="112"/>
                    </a:lnTo>
                    <a:lnTo>
                      <a:pt x="2" y="98"/>
                    </a:lnTo>
                    <a:lnTo>
                      <a:pt x="0" y="80"/>
                    </a:lnTo>
                    <a:lnTo>
                      <a:pt x="0" y="80"/>
                    </a:lnTo>
                    <a:lnTo>
                      <a:pt x="2" y="64"/>
                    </a:lnTo>
                    <a:lnTo>
                      <a:pt x="8" y="50"/>
                    </a:lnTo>
                    <a:lnTo>
                      <a:pt x="14" y="36"/>
                    </a:lnTo>
                    <a:lnTo>
                      <a:pt x="26" y="24"/>
                    </a:lnTo>
                    <a:lnTo>
                      <a:pt x="38" y="14"/>
                    </a:lnTo>
                    <a:lnTo>
                      <a:pt x="52" y="6"/>
                    </a:lnTo>
                    <a:lnTo>
                      <a:pt x="68" y="2"/>
                    </a:lnTo>
                    <a:lnTo>
                      <a:pt x="84" y="0"/>
                    </a:lnTo>
                    <a:lnTo>
                      <a:pt x="84" y="0"/>
                    </a:lnTo>
                    <a:lnTo>
                      <a:pt x="102" y="2"/>
                    </a:lnTo>
                    <a:lnTo>
                      <a:pt x="118" y="6"/>
                    </a:lnTo>
                    <a:lnTo>
                      <a:pt x="132" y="14"/>
                    </a:lnTo>
                    <a:lnTo>
                      <a:pt x="144" y="24"/>
                    </a:lnTo>
                    <a:lnTo>
                      <a:pt x="154" y="36"/>
                    </a:lnTo>
                    <a:lnTo>
                      <a:pt x="162" y="48"/>
                    </a:lnTo>
                    <a:lnTo>
                      <a:pt x="166" y="64"/>
                    </a:lnTo>
                    <a:lnTo>
                      <a:pt x="168" y="80"/>
                    </a:lnTo>
                    <a:lnTo>
                      <a:pt x="168" y="80"/>
                    </a:lnTo>
                    <a:lnTo>
                      <a:pt x="166" y="96"/>
                    </a:lnTo>
                    <a:lnTo>
                      <a:pt x="162" y="112"/>
                    </a:lnTo>
                    <a:lnTo>
                      <a:pt x="154" y="126"/>
                    </a:lnTo>
                    <a:lnTo>
                      <a:pt x="144" y="138"/>
                    </a:lnTo>
                    <a:lnTo>
                      <a:pt x="132" y="148"/>
                    </a:lnTo>
                    <a:lnTo>
                      <a:pt x="118" y="156"/>
                    </a:lnTo>
                    <a:lnTo>
                      <a:pt x="102" y="160"/>
                    </a:lnTo>
                    <a:lnTo>
                      <a:pt x="84" y="162"/>
                    </a:lnTo>
                    <a:lnTo>
                      <a:pt x="84" y="162"/>
                    </a:lnTo>
                    <a:close/>
                    <a:moveTo>
                      <a:pt x="16" y="786"/>
                    </a:moveTo>
                    <a:lnTo>
                      <a:pt x="16" y="244"/>
                    </a:lnTo>
                    <a:lnTo>
                      <a:pt x="152" y="244"/>
                    </a:lnTo>
                    <a:lnTo>
                      <a:pt x="152" y="244"/>
                    </a:lnTo>
                    <a:lnTo>
                      <a:pt x="152" y="686"/>
                    </a:lnTo>
                    <a:lnTo>
                      <a:pt x="152" y="686"/>
                    </a:lnTo>
                    <a:lnTo>
                      <a:pt x="150" y="704"/>
                    </a:lnTo>
                    <a:lnTo>
                      <a:pt x="146" y="720"/>
                    </a:lnTo>
                    <a:lnTo>
                      <a:pt x="138" y="732"/>
                    </a:lnTo>
                    <a:lnTo>
                      <a:pt x="130" y="744"/>
                    </a:lnTo>
                    <a:lnTo>
                      <a:pt x="120" y="754"/>
                    </a:lnTo>
                    <a:lnTo>
                      <a:pt x="108" y="762"/>
                    </a:lnTo>
                    <a:lnTo>
                      <a:pt x="96" y="768"/>
                    </a:lnTo>
                    <a:lnTo>
                      <a:pt x="84" y="774"/>
                    </a:lnTo>
                    <a:lnTo>
                      <a:pt x="60" y="782"/>
                    </a:lnTo>
                    <a:lnTo>
                      <a:pt x="38" y="784"/>
                    </a:lnTo>
                    <a:lnTo>
                      <a:pt x="16" y="786"/>
                    </a:lnTo>
                    <a:lnTo>
                      <a:pt x="16" y="7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1" name="Freeform 28"/>
              <p:cNvSpPr>
                <a:spLocks/>
              </p:cNvSpPr>
              <p:nvPr/>
            </p:nvSpPr>
            <p:spPr bwMode="auto">
              <a:xfrm>
                <a:off x="7989468" y="4518126"/>
                <a:ext cx="49837" cy="57313"/>
              </a:xfrm>
              <a:custGeom>
                <a:avLst/>
                <a:gdLst>
                  <a:gd name="T0" fmla="*/ 346 w 480"/>
                  <a:gd name="T1" fmla="*/ 230 h 552"/>
                  <a:gd name="T2" fmla="*/ 344 w 480"/>
                  <a:gd name="T3" fmla="*/ 210 h 552"/>
                  <a:gd name="T4" fmla="*/ 338 w 480"/>
                  <a:gd name="T5" fmla="*/ 170 h 552"/>
                  <a:gd name="T6" fmla="*/ 322 w 480"/>
                  <a:gd name="T7" fmla="*/ 138 h 552"/>
                  <a:gd name="T8" fmla="*/ 308 w 480"/>
                  <a:gd name="T9" fmla="*/ 126 h 552"/>
                  <a:gd name="T10" fmla="*/ 290 w 480"/>
                  <a:gd name="T11" fmla="*/ 118 h 552"/>
                  <a:gd name="T12" fmla="*/ 268 w 480"/>
                  <a:gd name="T13" fmla="*/ 116 h 552"/>
                  <a:gd name="T14" fmla="*/ 250 w 480"/>
                  <a:gd name="T15" fmla="*/ 116 h 552"/>
                  <a:gd name="T16" fmla="*/ 216 w 480"/>
                  <a:gd name="T17" fmla="*/ 126 h 552"/>
                  <a:gd name="T18" fmla="*/ 182 w 480"/>
                  <a:gd name="T19" fmla="*/ 140 h 552"/>
                  <a:gd name="T20" fmla="*/ 134 w 480"/>
                  <a:gd name="T21" fmla="*/ 172 h 552"/>
                  <a:gd name="T22" fmla="*/ 134 w 480"/>
                  <a:gd name="T23" fmla="*/ 452 h 552"/>
                  <a:gd name="T24" fmla="*/ 132 w 480"/>
                  <a:gd name="T25" fmla="*/ 470 h 552"/>
                  <a:gd name="T26" fmla="*/ 120 w 480"/>
                  <a:gd name="T27" fmla="*/ 498 h 552"/>
                  <a:gd name="T28" fmla="*/ 102 w 480"/>
                  <a:gd name="T29" fmla="*/ 518 h 552"/>
                  <a:gd name="T30" fmla="*/ 78 w 480"/>
                  <a:gd name="T31" fmla="*/ 534 h 552"/>
                  <a:gd name="T32" fmla="*/ 42 w 480"/>
                  <a:gd name="T33" fmla="*/ 546 h 552"/>
                  <a:gd name="T34" fmla="*/ 0 w 480"/>
                  <a:gd name="T35" fmla="*/ 552 h 552"/>
                  <a:gd name="T36" fmla="*/ 114 w 480"/>
                  <a:gd name="T37" fmla="*/ 14 h 552"/>
                  <a:gd name="T38" fmla="*/ 128 w 480"/>
                  <a:gd name="T39" fmla="*/ 70 h 552"/>
                  <a:gd name="T40" fmla="*/ 170 w 480"/>
                  <a:gd name="T41" fmla="*/ 42 h 552"/>
                  <a:gd name="T42" fmla="*/ 214 w 480"/>
                  <a:gd name="T43" fmla="*/ 20 h 552"/>
                  <a:gd name="T44" fmla="*/ 262 w 480"/>
                  <a:gd name="T45" fmla="*/ 6 h 552"/>
                  <a:gd name="T46" fmla="*/ 314 w 480"/>
                  <a:gd name="T47" fmla="*/ 0 h 552"/>
                  <a:gd name="T48" fmla="*/ 328 w 480"/>
                  <a:gd name="T49" fmla="*/ 2 h 552"/>
                  <a:gd name="T50" fmla="*/ 358 w 480"/>
                  <a:gd name="T51" fmla="*/ 6 h 552"/>
                  <a:gd name="T52" fmla="*/ 388 w 480"/>
                  <a:gd name="T53" fmla="*/ 16 h 552"/>
                  <a:gd name="T54" fmla="*/ 414 w 480"/>
                  <a:gd name="T55" fmla="*/ 32 h 552"/>
                  <a:gd name="T56" fmla="*/ 438 w 480"/>
                  <a:gd name="T57" fmla="*/ 54 h 552"/>
                  <a:gd name="T58" fmla="*/ 458 w 480"/>
                  <a:gd name="T59" fmla="*/ 84 h 552"/>
                  <a:gd name="T60" fmla="*/ 472 w 480"/>
                  <a:gd name="T61" fmla="*/ 120 h 552"/>
                  <a:gd name="T62" fmla="*/ 478 w 480"/>
                  <a:gd name="T63" fmla="*/ 166 h 552"/>
                  <a:gd name="T64" fmla="*/ 480 w 480"/>
                  <a:gd name="T65" fmla="*/ 190 h 552"/>
                  <a:gd name="T66" fmla="*/ 480 w 480"/>
                  <a:gd name="T67" fmla="*/ 452 h 552"/>
                  <a:gd name="T68" fmla="*/ 474 w 480"/>
                  <a:gd name="T69" fmla="*/ 484 h 552"/>
                  <a:gd name="T70" fmla="*/ 458 w 480"/>
                  <a:gd name="T71" fmla="*/ 510 h 552"/>
                  <a:gd name="T72" fmla="*/ 438 w 480"/>
                  <a:gd name="T73" fmla="*/ 528 h 552"/>
                  <a:gd name="T74" fmla="*/ 412 w 480"/>
                  <a:gd name="T75" fmla="*/ 540 h 552"/>
                  <a:gd name="T76" fmla="*/ 366 w 480"/>
                  <a:gd name="T77" fmla="*/ 550 h 552"/>
                  <a:gd name="T78" fmla="*/ 346 w 480"/>
                  <a:gd name="T79" fmla="*/ 552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80" h="552">
                    <a:moveTo>
                      <a:pt x="346" y="552"/>
                    </a:moveTo>
                    <a:lnTo>
                      <a:pt x="346" y="230"/>
                    </a:lnTo>
                    <a:lnTo>
                      <a:pt x="346" y="230"/>
                    </a:lnTo>
                    <a:lnTo>
                      <a:pt x="344" y="210"/>
                    </a:lnTo>
                    <a:lnTo>
                      <a:pt x="342" y="190"/>
                    </a:lnTo>
                    <a:lnTo>
                      <a:pt x="338" y="170"/>
                    </a:lnTo>
                    <a:lnTo>
                      <a:pt x="332" y="152"/>
                    </a:lnTo>
                    <a:lnTo>
                      <a:pt x="322" y="138"/>
                    </a:lnTo>
                    <a:lnTo>
                      <a:pt x="316" y="132"/>
                    </a:lnTo>
                    <a:lnTo>
                      <a:pt x="308" y="126"/>
                    </a:lnTo>
                    <a:lnTo>
                      <a:pt x="300" y="122"/>
                    </a:lnTo>
                    <a:lnTo>
                      <a:pt x="290" y="118"/>
                    </a:lnTo>
                    <a:lnTo>
                      <a:pt x="280" y="116"/>
                    </a:lnTo>
                    <a:lnTo>
                      <a:pt x="268" y="116"/>
                    </a:lnTo>
                    <a:lnTo>
                      <a:pt x="268" y="116"/>
                    </a:lnTo>
                    <a:lnTo>
                      <a:pt x="250" y="116"/>
                    </a:lnTo>
                    <a:lnTo>
                      <a:pt x="232" y="120"/>
                    </a:lnTo>
                    <a:lnTo>
                      <a:pt x="216" y="126"/>
                    </a:lnTo>
                    <a:lnTo>
                      <a:pt x="198" y="132"/>
                    </a:lnTo>
                    <a:lnTo>
                      <a:pt x="182" y="140"/>
                    </a:lnTo>
                    <a:lnTo>
                      <a:pt x="166" y="150"/>
                    </a:lnTo>
                    <a:lnTo>
                      <a:pt x="134" y="172"/>
                    </a:lnTo>
                    <a:lnTo>
                      <a:pt x="134" y="172"/>
                    </a:lnTo>
                    <a:lnTo>
                      <a:pt x="134" y="452"/>
                    </a:lnTo>
                    <a:lnTo>
                      <a:pt x="134" y="452"/>
                    </a:lnTo>
                    <a:lnTo>
                      <a:pt x="132" y="470"/>
                    </a:lnTo>
                    <a:lnTo>
                      <a:pt x="128" y="484"/>
                    </a:lnTo>
                    <a:lnTo>
                      <a:pt x="120" y="498"/>
                    </a:lnTo>
                    <a:lnTo>
                      <a:pt x="112" y="510"/>
                    </a:lnTo>
                    <a:lnTo>
                      <a:pt x="102" y="518"/>
                    </a:lnTo>
                    <a:lnTo>
                      <a:pt x="90" y="528"/>
                    </a:lnTo>
                    <a:lnTo>
                      <a:pt x="78" y="534"/>
                    </a:lnTo>
                    <a:lnTo>
                      <a:pt x="66" y="540"/>
                    </a:lnTo>
                    <a:lnTo>
                      <a:pt x="42" y="546"/>
                    </a:lnTo>
                    <a:lnTo>
                      <a:pt x="20" y="550"/>
                    </a:lnTo>
                    <a:lnTo>
                      <a:pt x="0" y="552"/>
                    </a:lnTo>
                    <a:lnTo>
                      <a:pt x="0" y="14"/>
                    </a:lnTo>
                    <a:lnTo>
                      <a:pt x="114" y="14"/>
                    </a:lnTo>
                    <a:lnTo>
                      <a:pt x="128" y="70"/>
                    </a:lnTo>
                    <a:lnTo>
                      <a:pt x="128" y="70"/>
                    </a:lnTo>
                    <a:lnTo>
                      <a:pt x="150" y="54"/>
                    </a:lnTo>
                    <a:lnTo>
                      <a:pt x="170" y="42"/>
                    </a:lnTo>
                    <a:lnTo>
                      <a:pt x="192" y="30"/>
                    </a:lnTo>
                    <a:lnTo>
                      <a:pt x="214" y="20"/>
                    </a:lnTo>
                    <a:lnTo>
                      <a:pt x="238" y="12"/>
                    </a:lnTo>
                    <a:lnTo>
                      <a:pt x="262" y="6"/>
                    </a:lnTo>
                    <a:lnTo>
                      <a:pt x="286" y="2"/>
                    </a:lnTo>
                    <a:lnTo>
                      <a:pt x="314" y="0"/>
                    </a:lnTo>
                    <a:lnTo>
                      <a:pt x="314" y="0"/>
                    </a:lnTo>
                    <a:lnTo>
                      <a:pt x="328" y="2"/>
                    </a:lnTo>
                    <a:lnTo>
                      <a:pt x="344" y="2"/>
                    </a:lnTo>
                    <a:lnTo>
                      <a:pt x="358" y="6"/>
                    </a:lnTo>
                    <a:lnTo>
                      <a:pt x="374" y="10"/>
                    </a:lnTo>
                    <a:lnTo>
                      <a:pt x="388" y="16"/>
                    </a:lnTo>
                    <a:lnTo>
                      <a:pt x="402" y="24"/>
                    </a:lnTo>
                    <a:lnTo>
                      <a:pt x="414" y="32"/>
                    </a:lnTo>
                    <a:lnTo>
                      <a:pt x="426" y="42"/>
                    </a:lnTo>
                    <a:lnTo>
                      <a:pt x="438" y="54"/>
                    </a:lnTo>
                    <a:lnTo>
                      <a:pt x="448" y="68"/>
                    </a:lnTo>
                    <a:lnTo>
                      <a:pt x="458" y="84"/>
                    </a:lnTo>
                    <a:lnTo>
                      <a:pt x="464" y="102"/>
                    </a:lnTo>
                    <a:lnTo>
                      <a:pt x="472" y="120"/>
                    </a:lnTo>
                    <a:lnTo>
                      <a:pt x="476" y="142"/>
                    </a:lnTo>
                    <a:lnTo>
                      <a:pt x="478" y="166"/>
                    </a:lnTo>
                    <a:lnTo>
                      <a:pt x="480" y="190"/>
                    </a:lnTo>
                    <a:lnTo>
                      <a:pt x="480" y="190"/>
                    </a:lnTo>
                    <a:lnTo>
                      <a:pt x="480" y="452"/>
                    </a:lnTo>
                    <a:lnTo>
                      <a:pt x="480" y="452"/>
                    </a:lnTo>
                    <a:lnTo>
                      <a:pt x="478" y="470"/>
                    </a:lnTo>
                    <a:lnTo>
                      <a:pt x="474" y="484"/>
                    </a:lnTo>
                    <a:lnTo>
                      <a:pt x="468" y="498"/>
                    </a:lnTo>
                    <a:lnTo>
                      <a:pt x="458" y="510"/>
                    </a:lnTo>
                    <a:lnTo>
                      <a:pt x="448" y="520"/>
                    </a:lnTo>
                    <a:lnTo>
                      <a:pt x="438" y="528"/>
                    </a:lnTo>
                    <a:lnTo>
                      <a:pt x="424" y="534"/>
                    </a:lnTo>
                    <a:lnTo>
                      <a:pt x="412" y="540"/>
                    </a:lnTo>
                    <a:lnTo>
                      <a:pt x="388" y="546"/>
                    </a:lnTo>
                    <a:lnTo>
                      <a:pt x="366" y="550"/>
                    </a:lnTo>
                    <a:lnTo>
                      <a:pt x="346" y="552"/>
                    </a:lnTo>
                    <a:lnTo>
                      <a:pt x="346" y="5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 name="Freeform 29"/>
              <p:cNvSpPr>
                <a:spLocks/>
              </p:cNvSpPr>
              <p:nvPr/>
            </p:nvSpPr>
            <p:spPr bwMode="auto">
              <a:xfrm>
                <a:off x="8106170" y="4491754"/>
                <a:ext cx="14120" cy="83477"/>
              </a:xfrm>
              <a:custGeom>
                <a:avLst/>
                <a:gdLst>
                  <a:gd name="T0" fmla="*/ 136 w 136"/>
                  <a:gd name="T1" fmla="*/ 704 h 804"/>
                  <a:gd name="T2" fmla="*/ 136 w 136"/>
                  <a:gd name="T3" fmla="*/ 704 h 804"/>
                  <a:gd name="T4" fmla="*/ 134 w 136"/>
                  <a:gd name="T5" fmla="*/ 722 h 804"/>
                  <a:gd name="T6" fmla="*/ 130 w 136"/>
                  <a:gd name="T7" fmla="*/ 738 h 804"/>
                  <a:gd name="T8" fmla="*/ 122 w 136"/>
                  <a:gd name="T9" fmla="*/ 750 h 804"/>
                  <a:gd name="T10" fmla="*/ 114 w 136"/>
                  <a:gd name="T11" fmla="*/ 762 h 804"/>
                  <a:gd name="T12" fmla="*/ 104 w 136"/>
                  <a:gd name="T13" fmla="*/ 772 h 804"/>
                  <a:gd name="T14" fmla="*/ 92 w 136"/>
                  <a:gd name="T15" fmla="*/ 780 h 804"/>
                  <a:gd name="T16" fmla="*/ 80 w 136"/>
                  <a:gd name="T17" fmla="*/ 786 h 804"/>
                  <a:gd name="T18" fmla="*/ 68 w 136"/>
                  <a:gd name="T19" fmla="*/ 792 h 804"/>
                  <a:gd name="T20" fmla="*/ 44 w 136"/>
                  <a:gd name="T21" fmla="*/ 800 h 804"/>
                  <a:gd name="T22" fmla="*/ 22 w 136"/>
                  <a:gd name="T23" fmla="*/ 802 h 804"/>
                  <a:gd name="T24" fmla="*/ 0 w 136"/>
                  <a:gd name="T25" fmla="*/ 804 h 804"/>
                  <a:gd name="T26" fmla="*/ 0 w 136"/>
                  <a:gd name="T27" fmla="*/ 0 h 804"/>
                  <a:gd name="T28" fmla="*/ 136 w 136"/>
                  <a:gd name="T29" fmla="*/ 0 h 804"/>
                  <a:gd name="T30" fmla="*/ 136 w 136"/>
                  <a:gd name="T31" fmla="*/ 0 h 804"/>
                  <a:gd name="T32" fmla="*/ 136 w 136"/>
                  <a:gd name="T33" fmla="*/ 704 h 804"/>
                  <a:gd name="T34" fmla="*/ 136 w 136"/>
                  <a:gd name="T35" fmla="*/ 70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04">
                    <a:moveTo>
                      <a:pt x="136" y="704"/>
                    </a:moveTo>
                    <a:lnTo>
                      <a:pt x="136" y="704"/>
                    </a:lnTo>
                    <a:lnTo>
                      <a:pt x="134" y="722"/>
                    </a:lnTo>
                    <a:lnTo>
                      <a:pt x="130" y="738"/>
                    </a:lnTo>
                    <a:lnTo>
                      <a:pt x="122" y="750"/>
                    </a:lnTo>
                    <a:lnTo>
                      <a:pt x="114" y="762"/>
                    </a:lnTo>
                    <a:lnTo>
                      <a:pt x="104" y="772"/>
                    </a:lnTo>
                    <a:lnTo>
                      <a:pt x="92" y="780"/>
                    </a:lnTo>
                    <a:lnTo>
                      <a:pt x="80" y="786"/>
                    </a:lnTo>
                    <a:lnTo>
                      <a:pt x="68" y="792"/>
                    </a:lnTo>
                    <a:lnTo>
                      <a:pt x="44" y="800"/>
                    </a:lnTo>
                    <a:lnTo>
                      <a:pt x="22" y="802"/>
                    </a:lnTo>
                    <a:lnTo>
                      <a:pt x="0" y="804"/>
                    </a:lnTo>
                    <a:lnTo>
                      <a:pt x="0" y="0"/>
                    </a:lnTo>
                    <a:lnTo>
                      <a:pt x="136" y="0"/>
                    </a:lnTo>
                    <a:lnTo>
                      <a:pt x="136" y="0"/>
                    </a:lnTo>
                    <a:lnTo>
                      <a:pt x="136" y="704"/>
                    </a:lnTo>
                    <a:lnTo>
                      <a:pt x="136" y="7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8" name="Group 87"/>
            <p:cNvGrpSpPr/>
            <p:nvPr userDrawn="1"/>
          </p:nvGrpSpPr>
          <p:grpSpPr>
            <a:xfrm>
              <a:off x="7673274" y="4343117"/>
              <a:ext cx="1123200" cy="148389"/>
              <a:chOff x="7665803" y="4864376"/>
              <a:chExt cx="1123200" cy="148389"/>
            </a:xfrm>
            <a:grpFill/>
          </p:grpSpPr>
          <p:sp>
            <p:nvSpPr>
              <p:cNvPr id="89" name="Freeform 6"/>
              <p:cNvSpPr>
                <a:spLocks/>
              </p:cNvSpPr>
              <p:nvPr userDrawn="1"/>
            </p:nvSpPr>
            <p:spPr bwMode="auto">
              <a:xfrm>
                <a:off x="8119644" y="4924717"/>
                <a:ext cx="103102" cy="66806"/>
              </a:xfrm>
              <a:custGeom>
                <a:avLst/>
                <a:gdLst>
                  <a:gd name="T0" fmla="*/ 111 w 136"/>
                  <a:gd name="T1" fmla="*/ 72 h 92"/>
                  <a:gd name="T2" fmla="*/ 87 w 136"/>
                  <a:gd name="T3" fmla="*/ 88 h 92"/>
                  <a:gd name="T4" fmla="*/ 68 w 136"/>
                  <a:gd name="T5" fmla="*/ 28 h 92"/>
                  <a:gd name="T6" fmla="*/ 67 w 136"/>
                  <a:gd name="T7" fmla="*/ 28 h 92"/>
                  <a:gd name="T8" fmla="*/ 53 w 136"/>
                  <a:gd name="T9" fmla="*/ 72 h 92"/>
                  <a:gd name="T10" fmla="*/ 31 w 136"/>
                  <a:gd name="T11" fmla="*/ 88 h 92"/>
                  <a:gd name="T12" fmla="*/ 0 w 136"/>
                  <a:gd name="T13" fmla="*/ 0 h 92"/>
                  <a:gd name="T14" fmla="*/ 22 w 136"/>
                  <a:gd name="T15" fmla="*/ 0 h 92"/>
                  <a:gd name="T16" fmla="*/ 41 w 136"/>
                  <a:gd name="T17" fmla="*/ 60 h 92"/>
                  <a:gd name="T18" fmla="*/ 41 w 136"/>
                  <a:gd name="T19" fmla="*/ 60 h 92"/>
                  <a:gd name="T20" fmla="*/ 60 w 136"/>
                  <a:gd name="T21" fmla="*/ 0 h 92"/>
                  <a:gd name="T22" fmla="*/ 77 w 136"/>
                  <a:gd name="T23" fmla="*/ 0 h 92"/>
                  <a:gd name="T24" fmla="*/ 96 w 136"/>
                  <a:gd name="T25" fmla="*/ 60 h 92"/>
                  <a:gd name="T26" fmla="*/ 97 w 136"/>
                  <a:gd name="T27" fmla="*/ 60 h 92"/>
                  <a:gd name="T28" fmla="*/ 115 w 136"/>
                  <a:gd name="T29" fmla="*/ 0 h 92"/>
                  <a:gd name="T30" fmla="*/ 136 w 136"/>
                  <a:gd name="T31" fmla="*/ 0 h 92"/>
                  <a:gd name="T32" fmla="*/ 111 w 136"/>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 h="92">
                    <a:moveTo>
                      <a:pt x="111" y="72"/>
                    </a:moveTo>
                    <a:cubicBezTo>
                      <a:pt x="103" y="92"/>
                      <a:pt x="87" y="88"/>
                      <a:pt x="87" y="88"/>
                    </a:cubicBezTo>
                    <a:cubicBezTo>
                      <a:pt x="68" y="28"/>
                      <a:pt x="68" y="28"/>
                      <a:pt x="68" y="28"/>
                    </a:cubicBezTo>
                    <a:cubicBezTo>
                      <a:pt x="67" y="28"/>
                      <a:pt x="67" y="28"/>
                      <a:pt x="67" y="28"/>
                    </a:cubicBezTo>
                    <a:cubicBezTo>
                      <a:pt x="67" y="28"/>
                      <a:pt x="58"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6" y="60"/>
                      <a:pt x="96" y="60"/>
                      <a:pt x="96" y="60"/>
                    </a:cubicBezTo>
                    <a:cubicBezTo>
                      <a:pt x="97" y="60"/>
                      <a:pt x="97" y="60"/>
                      <a:pt x="97" y="60"/>
                    </a:cubicBezTo>
                    <a:cubicBezTo>
                      <a:pt x="115" y="0"/>
                      <a:pt x="115" y="0"/>
                      <a:pt x="115" y="0"/>
                    </a:cubicBezTo>
                    <a:cubicBezTo>
                      <a:pt x="136" y="0"/>
                      <a:pt x="136" y="0"/>
                      <a:pt x="136" y="0"/>
                    </a:cubicBezTo>
                    <a:cubicBezTo>
                      <a:pt x="136"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0" name="Freeform 7"/>
              <p:cNvSpPr>
                <a:spLocks noEditPoints="1"/>
              </p:cNvSpPr>
              <p:nvPr userDrawn="1"/>
            </p:nvSpPr>
            <p:spPr bwMode="auto">
              <a:xfrm>
                <a:off x="8225958" y="4923177"/>
                <a:ext cx="57493" cy="66190"/>
              </a:xfrm>
              <a:custGeom>
                <a:avLst/>
                <a:gdLst>
                  <a:gd name="T0" fmla="*/ 57 w 76"/>
                  <a:gd name="T1" fmla="*/ 90 h 91"/>
                  <a:gd name="T2" fmla="*/ 53 w 76"/>
                  <a:gd name="T3" fmla="*/ 81 h 91"/>
                  <a:gd name="T4" fmla="*/ 28 w 76"/>
                  <a:gd name="T5" fmla="*/ 91 h 91"/>
                  <a:gd name="T6" fmla="*/ 0 w 76"/>
                  <a:gd name="T7" fmla="*/ 63 h 91"/>
                  <a:gd name="T8" fmla="*/ 36 w 76"/>
                  <a:gd name="T9" fmla="*/ 34 h 91"/>
                  <a:gd name="T10" fmla="*/ 51 w 76"/>
                  <a:gd name="T11" fmla="*/ 34 h 91"/>
                  <a:gd name="T12" fmla="*/ 51 w 76"/>
                  <a:gd name="T13" fmla="*/ 31 h 91"/>
                  <a:gd name="T14" fmla="*/ 35 w 76"/>
                  <a:gd name="T15" fmla="*/ 17 h 91"/>
                  <a:gd name="T16" fmla="*/ 12 w 76"/>
                  <a:gd name="T17" fmla="*/ 23 h 91"/>
                  <a:gd name="T18" fmla="*/ 5 w 76"/>
                  <a:gd name="T19" fmla="*/ 9 h 91"/>
                  <a:gd name="T20" fmla="*/ 39 w 76"/>
                  <a:gd name="T21" fmla="*/ 0 h 91"/>
                  <a:gd name="T22" fmla="*/ 74 w 76"/>
                  <a:gd name="T23" fmla="*/ 31 h 91"/>
                  <a:gd name="T24" fmla="*/ 74 w 76"/>
                  <a:gd name="T25" fmla="*/ 66 h 91"/>
                  <a:gd name="T26" fmla="*/ 76 w 76"/>
                  <a:gd name="T27" fmla="*/ 90 h 91"/>
                  <a:gd name="T28" fmla="*/ 57 w 76"/>
                  <a:gd name="T29" fmla="*/ 90 h 91"/>
                  <a:gd name="T30" fmla="*/ 51 w 76"/>
                  <a:gd name="T31" fmla="*/ 49 h 91"/>
                  <a:gd name="T32" fmla="*/ 39 w 76"/>
                  <a:gd name="T33" fmla="*/ 49 h 91"/>
                  <a:gd name="T34" fmla="*/ 22 w 76"/>
                  <a:gd name="T35" fmla="*/ 61 h 91"/>
                  <a:gd name="T36" fmla="*/ 36 w 76"/>
                  <a:gd name="T37" fmla="*/ 73 h 91"/>
                  <a:gd name="T38" fmla="*/ 51 w 76"/>
                  <a:gd name="T39" fmla="*/ 68 h 91"/>
                  <a:gd name="T40" fmla="*/ 51 w 76"/>
                  <a:gd name="T41" fmla="*/ 4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91">
                    <a:moveTo>
                      <a:pt x="57" y="90"/>
                    </a:moveTo>
                    <a:cubicBezTo>
                      <a:pt x="53" y="81"/>
                      <a:pt x="53" y="81"/>
                      <a:pt x="53" y="81"/>
                    </a:cubicBezTo>
                    <a:cubicBezTo>
                      <a:pt x="48" y="86"/>
                      <a:pt x="40" y="91"/>
                      <a:pt x="28" y="91"/>
                    </a:cubicBezTo>
                    <a:cubicBezTo>
                      <a:pt x="12" y="91"/>
                      <a:pt x="0" y="80"/>
                      <a:pt x="0" y="63"/>
                    </a:cubicBezTo>
                    <a:cubicBezTo>
                      <a:pt x="0" y="45"/>
                      <a:pt x="14" y="35"/>
                      <a:pt x="36" y="34"/>
                    </a:cubicBezTo>
                    <a:cubicBezTo>
                      <a:pt x="51" y="34"/>
                      <a:pt x="51" y="34"/>
                      <a:pt x="51" y="34"/>
                    </a:cubicBezTo>
                    <a:cubicBezTo>
                      <a:pt x="51" y="33"/>
                      <a:pt x="51" y="32"/>
                      <a:pt x="51" y="31"/>
                    </a:cubicBezTo>
                    <a:cubicBezTo>
                      <a:pt x="51" y="21"/>
                      <a:pt x="44" y="17"/>
                      <a:pt x="35" y="17"/>
                    </a:cubicBezTo>
                    <a:cubicBezTo>
                      <a:pt x="25" y="17"/>
                      <a:pt x="18" y="20"/>
                      <a:pt x="12" y="23"/>
                    </a:cubicBezTo>
                    <a:cubicBezTo>
                      <a:pt x="5" y="9"/>
                      <a:pt x="5" y="9"/>
                      <a:pt x="5" y="9"/>
                    </a:cubicBezTo>
                    <a:cubicBezTo>
                      <a:pt x="17" y="2"/>
                      <a:pt x="28" y="0"/>
                      <a:pt x="39" y="0"/>
                    </a:cubicBezTo>
                    <a:cubicBezTo>
                      <a:pt x="61" y="0"/>
                      <a:pt x="74" y="9"/>
                      <a:pt x="74" y="31"/>
                    </a:cubicBezTo>
                    <a:cubicBezTo>
                      <a:pt x="74" y="66"/>
                      <a:pt x="74" y="66"/>
                      <a:pt x="74" y="66"/>
                    </a:cubicBezTo>
                    <a:cubicBezTo>
                      <a:pt x="74" y="78"/>
                      <a:pt x="75" y="86"/>
                      <a:pt x="76" y="90"/>
                    </a:cubicBezTo>
                    <a:lnTo>
                      <a:pt x="57" y="90"/>
                    </a:lnTo>
                    <a:close/>
                    <a:moveTo>
                      <a:pt x="51" y="49"/>
                    </a:moveTo>
                    <a:cubicBezTo>
                      <a:pt x="39" y="49"/>
                      <a:pt x="39" y="49"/>
                      <a:pt x="39" y="49"/>
                    </a:cubicBezTo>
                    <a:cubicBezTo>
                      <a:pt x="27" y="50"/>
                      <a:pt x="22" y="54"/>
                      <a:pt x="22" y="61"/>
                    </a:cubicBezTo>
                    <a:cubicBezTo>
                      <a:pt x="22" y="68"/>
                      <a:pt x="27" y="73"/>
                      <a:pt x="36" y="73"/>
                    </a:cubicBezTo>
                    <a:cubicBezTo>
                      <a:pt x="44" y="73"/>
                      <a:pt x="49" y="70"/>
                      <a:pt x="51" y="68"/>
                    </a:cubicBezTo>
                    <a:lnTo>
                      <a:pt x="51" y="4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1" name="Freeform 8"/>
              <p:cNvSpPr>
                <a:spLocks noEditPoints="1"/>
              </p:cNvSpPr>
              <p:nvPr userDrawn="1"/>
            </p:nvSpPr>
            <p:spPr bwMode="auto">
              <a:xfrm>
                <a:off x="8342550" y="4892699"/>
                <a:ext cx="62311" cy="96668"/>
              </a:xfrm>
              <a:custGeom>
                <a:avLst/>
                <a:gdLst>
                  <a:gd name="T0" fmla="*/ 47 w 82"/>
                  <a:gd name="T1" fmla="*/ 133 h 133"/>
                  <a:gd name="T2" fmla="*/ 0 w 82"/>
                  <a:gd name="T3" fmla="*/ 88 h 133"/>
                  <a:gd name="T4" fmla="*/ 48 w 82"/>
                  <a:gd name="T5" fmla="*/ 42 h 133"/>
                  <a:gd name="T6" fmla="*/ 59 w 82"/>
                  <a:gd name="T7" fmla="*/ 42 h 133"/>
                  <a:gd name="T8" fmla="*/ 60 w 82"/>
                  <a:gd name="T9" fmla="*/ 0 h 133"/>
                  <a:gd name="T10" fmla="*/ 82 w 82"/>
                  <a:gd name="T11" fmla="*/ 0 h 133"/>
                  <a:gd name="T12" fmla="*/ 81 w 82"/>
                  <a:gd name="T13" fmla="*/ 126 h 133"/>
                  <a:gd name="T14" fmla="*/ 47 w 82"/>
                  <a:gd name="T15" fmla="*/ 133 h 133"/>
                  <a:gd name="T16" fmla="*/ 59 w 82"/>
                  <a:gd name="T17" fmla="*/ 60 h 133"/>
                  <a:gd name="T18" fmla="*/ 49 w 82"/>
                  <a:gd name="T19" fmla="*/ 59 h 133"/>
                  <a:gd name="T20" fmla="*/ 22 w 82"/>
                  <a:gd name="T21" fmla="*/ 87 h 133"/>
                  <a:gd name="T22" fmla="*/ 49 w 82"/>
                  <a:gd name="T23" fmla="*/ 114 h 133"/>
                  <a:gd name="T24" fmla="*/ 59 w 82"/>
                  <a:gd name="T25" fmla="*/ 113 h 133"/>
                  <a:gd name="T26" fmla="*/ 59 w 82"/>
                  <a:gd name="T27" fmla="*/ 6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3">
                    <a:moveTo>
                      <a:pt x="47" y="133"/>
                    </a:moveTo>
                    <a:cubicBezTo>
                      <a:pt x="21" y="133"/>
                      <a:pt x="0" y="117"/>
                      <a:pt x="0" y="88"/>
                    </a:cubicBezTo>
                    <a:cubicBezTo>
                      <a:pt x="0" y="61"/>
                      <a:pt x="20" y="42"/>
                      <a:pt x="48" y="42"/>
                    </a:cubicBezTo>
                    <a:cubicBezTo>
                      <a:pt x="52" y="42"/>
                      <a:pt x="56" y="42"/>
                      <a:pt x="59" y="42"/>
                    </a:cubicBezTo>
                    <a:cubicBezTo>
                      <a:pt x="60" y="0"/>
                      <a:pt x="60" y="0"/>
                      <a:pt x="60" y="0"/>
                    </a:cubicBezTo>
                    <a:cubicBezTo>
                      <a:pt x="82" y="0"/>
                      <a:pt x="82" y="0"/>
                      <a:pt x="82" y="0"/>
                    </a:cubicBezTo>
                    <a:cubicBezTo>
                      <a:pt x="81" y="126"/>
                      <a:pt x="81" y="126"/>
                      <a:pt x="81" y="126"/>
                    </a:cubicBezTo>
                    <a:cubicBezTo>
                      <a:pt x="73" y="130"/>
                      <a:pt x="62" y="133"/>
                      <a:pt x="47" y="133"/>
                    </a:cubicBezTo>
                    <a:close/>
                    <a:moveTo>
                      <a:pt x="59" y="60"/>
                    </a:moveTo>
                    <a:cubicBezTo>
                      <a:pt x="56" y="60"/>
                      <a:pt x="54" y="59"/>
                      <a:pt x="49" y="59"/>
                    </a:cubicBezTo>
                    <a:cubicBezTo>
                      <a:pt x="33" y="59"/>
                      <a:pt x="22" y="70"/>
                      <a:pt x="22" y="87"/>
                    </a:cubicBezTo>
                    <a:cubicBezTo>
                      <a:pt x="22" y="103"/>
                      <a:pt x="32" y="114"/>
                      <a:pt x="49" y="114"/>
                    </a:cubicBezTo>
                    <a:cubicBezTo>
                      <a:pt x="53" y="114"/>
                      <a:pt x="57" y="114"/>
                      <a:pt x="59" y="113"/>
                    </a:cubicBezTo>
                    <a:lnTo>
                      <a:pt x="59" y="60"/>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2" name="Freeform 9"/>
              <p:cNvSpPr>
                <a:spLocks/>
              </p:cNvSpPr>
              <p:nvPr userDrawn="1"/>
            </p:nvSpPr>
            <p:spPr bwMode="auto">
              <a:xfrm>
                <a:off x="8093949"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3" name="Freeform 10"/>
              <p:cNvSpPr>
                <a:spLocks/>
              </p:cNvSpPr>
              <p:nvPr userDrawn="1"/>
            </p:nvSpPr>
            <p:spPr bwMode="auto">
              <a:xfrm>
                <a:off x="8060545"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4" name="Freeform 11"/>
              <p:cNvSpPr>
                <a:spLocks/>
              </p:cNvSpPr>
              <p:nvPr userDrawn="1"/>
            </p:nvSpPr>
            <p:spPr bwMode="auto">
              <a:xfrm>
                <a:off x="8297262" y="4923177"/>
                <a:ext cx="43039" cy="66190"/>
              </a:xfrm>
              <a:custGeom>
                <a:avLst/>
                <a:gdLst>
                  <a:gd name="T0" fmla="*/ 49 w 57"/>
                  <a:gd name="T1" fmla="*/ 22 h 91"/>
                  <a:gd name="T2" fmla="*/ 39 w 57"/>
                  <a:gd name="T3" fmla="*/ 20 h 91"/>
                  <a:gd name="T4" fmla="*/ 22 w 57"/>
                  <a:gd name="T5" fmla="*/ 27 h 91"/>
                  <a:gd name="T6" fmla="*/ 22 w 57"/>
                  <a:gd name="T7" fmla="*/ 74 h 91"/>
                  <a:gd name="T8" fmla="*/ 0 w 57"/>
                  <a:gd name="T9" fmla="*/ 90 h 91"/>
                  <a:gd name="T10" fmla="*/ 0 w 57"/>
                  <a:gd name="T11" fmla="*/ 2 h 91"/>
                  <a:gd name="T12" fmla="*/ 18 w 57"/>
                  <a:gd name="T13" fmla="*/ 2 h 91"/>
                  <a:gd name="T14" fmla="*/ 21 w 57"/>
                  <a:gd name="T15" fmla="*/ 11 h 91"/>
                  <a:gd name="T16" fmla="*/ 45 w 57"/>
                  <a:gd name="T17" fmla="*/ 0 h 91"/>
                  <a:gd name="T18" fmla="*/ 57 w 57"/>
                  <a:gd name="T19" fmla="*/ 4 h 91"/>
                  <a:gd name="T20" fmla="*/ 49 w 57"/>
                  <a:gd name="T21" fmla="*/ 2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1">
                    <a:moveTo>
                      <a:pt x="49" y="22"/>
                    </a:moveTo>
                    <a:cubicBezTo>
                      <a:pt x="45" y="20"/>
                      <a:pt x="41" y="20"/>
                      <a:pt x="39" y="20"/>
                    </a:cubicBezTo>
                    <a:cubicBezTo>
                      <a:pt x="34" y="20"/>
                      <a:pt x="28" y="22"/>
                      <a:pt x="22" y="27"/>
                    </a:cubicBezTo>
                    <a:cubicBezTo>
                      <a:pt x="22" y="27"/>
                      <a:pt x="22" y="57"/>
                      <a:pt x="22" y="74"/>
                    </a:cubicBezTo>
                    <a:cubicBezTo>
                      <a:pt x="22" y="91"/>
                      <a:pt x="0" y="90"/>
                      <a:pt x="0" y="90"/>
                    </a:cubicBezTo>
                    <a:cubicBezTo>
                      <a:pt x="0" y="2"/>
                      <a:pt x="0" y="2"/>
                      <a:pt x="0" y="2"/>
                    </a:cubicBezTo>
                    <a:cubicBezTo>
                      <a:pt x="18" y="2"/>
                      <a:pt x="18" y="2"/>
                      <a:pt x="18"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5" name="Freeform 12"/>
              <p:cNvSpPr>
                <a:spLocks/>
              </p:cNvSpPr>
              <p:nvPr userDrawn="1"/>
            </p:nvSpPr>
            <p:spPr bwMode="auto">
              <a:xfrm>
                <a:off x="7907980" y="4892699"/>
                <a:ext cx="98605" cy="95129"/>
              </a:xfrm>
              <a:custGeom>
                <a:avLst/>
                <a:gdLst>
                  <a:gd name="T0" fmla="*/ 106 w 130"/>
                  <a:gd name="T1" fmla="*/ 131 h 131"/>
                  <a:gd name="T2" fmla="*/ 106 w 130"/>
                  <a:gd name="T3" fmla="*/ 53 h 131"/>
                  <a:gd name="T4" fmla="*/ 107 w 130"/>
                  <a:gd name="T5" fmla="*/ 39 h 131"/>
                  <a:gd name="T6" fmla="*/ 106 w 130"/>
                  <a:gd name="T7" fmla="*/ 39 h 131"/>
                  <a:gd name="T8" fmla="*/ 99 w 130"/>
                  <a:gd name="T9" fmla="*/ 52 h 131"/>
                  <a:gd name="T10" fmla="*/ 72 w 130"/>
                  <a:gd name="T11" fmla="*/ 93 h 131"/>
                  <a:gd name="T12" fmla="*/ 60 w 130"/>
                  <a:gd name="T13" fmla="*/ 93 h 131"/>
                  <a:gd name="T14" fmla="*/ 32 w 130"/>
                  <a:gd name="T15" fmla="*/ 51 h 131"/>
                  <a:gd name="T16" fmla="*/ 24 w 130"/>
                  <a:gd name="T17" fmla="*/ 39 h 131"/>
                  <a:gd name="T18" fmla="*/ 23 w 130"/>
                  <a:gd name="T19" fmla="*/ 39 h 131"/>
                  <a:gd name="T20" fmla="*/ 24 w 130"/>
                  <a:gd name="T21" fmla="*/ 52 h 131"/>
                  <a:gd name="T22" fmla="*/ 24 w 130"/>
                  <a:gd name="T23" fmla="*/ 131 h 131"/>
                  <a:gd name="T24" fmla="*/ 0 w 130"/>
                  <a:gd name="T25" fmla="*/ 131 h 131"/>
                  <a:gd name="T26" fmla="*/ 0 w 130"/>
                  <a:gd name="T27" fmla="*/ 0 h 131"/>
                  <a:gd name="T28" fmla="*/ 22 w 130"/>
                  <a:gd name="T29" fmla="*/ 0 h 131"/>
                  <a:gd name="T30" fmla="*/ 58 w 130"/>
                  <a:gd name="T31" fmla="*/ 52 h 131"/>
                  <a:gd name="T32" fmla="*/ 66 w 130"/>
                  <a:gd name="T33" fmla="*/ 66 h 131"/>
                  <a:gd name="T34" fmla="*/ 67 w 130"/>
                  <a:gd name="T35" fmla="*/ 66 h 131"/>
                  <a:gd name="T36" fmla="*/ 75 w 130"/>
                  <a:gd name="T37" fmla="*/ 52 h 131"/>
                  <a:gd name="T38" fmla="*/ 108 w 130"/>
                  <a:gd name="T39" fmla="*/ 0 h 131"/>
                  <a:gd name="T40" fmla="*/ 130 w 130"/>
                  <a:gd name="T41" fmla="*/ 0 h 131"/>
                  <a:gd name="T42" fmla="*/ 130 w 130"/>
                  <a:gd name="T43" fmla="*/ 131 h 131"/>
                  <a:gd name="T44" fmla="*/ 106 w 130"/>
                  <a:gd name="T45"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0" h="131">
                    <a:moveTo>
                      <a:pt x="106" y="131"/>
                    </a:moveTo>
                    <a:cubicBezTo>
                      <a:pt x="106" y="53"/>
                      <a:pt x="106" y="53"/>
                      <a:pt x="106" y="53"/>
                    </a:cubicBezTo>
                    <a:cubicBezTo>
                      <a:pt x="106" y="48"/>
                      <a:pt x="106" y="44"/>
                      <a:pt x="107" y="39"/>
                    </a:cubicBezTo>
                    <a:cubicBezTo>
                      <a:pt x="106" y="39"/>
                      <a:pt x="106" y="39"/>
                      <a:pt x="106" y="39"/>
                    </a:cubicBezTo>
                    <a:cubicBezTo>
                      <a:pt x="105" y="43"/>
                      <a:pt x="101" y="49"/>
                      <a:pt x="99" y="52"/>
                    </a:cubicBezTo>
                    <a:cubicBezTo>
                      <a:pt x="72" y="93"/>
                      <a:pt x="72" y="93"/>
                      <a:pt x="72" y="93"/>
                    </a:cubicBezTo>
                    <a:cubicBezTo>
                      <a:pt x="60" y="93"/>
                      <a:pt x="60" y="93"/>
                      <a:pt x="60" y="93"/>
                    </a:cubicBezTo>
                    <a:cubicBezTo>
                      <a:pt x="32" y="51"/>
                      <a:pt x="32" y="51"/>
                      <a:pt x="32" y="51"/>
                    </a:cubicBezTo>
                    <a:cubicBezTo>
                      <a:pt x="29" y="48"/>
                      <a:pt x="26" y="44"/>
                      <a:pt x="24" y="39"/>
                    </a:cubicBezTo>
                    <a:cubicBezTo>
                      <a:pt x="23" y="39"/>
                      <a:pt x="23" y="39"/>
                      <a:pt x="23" y="39"/>
                    </a:cubicBezTo>
                    <a:cubicBezTo>
                      <a:pt x="24" y="44"/>
                      <a:pt x="24" y="48"/>
                      <a:pt x="24" y="52"/>
                    </a:cubicBezTo>
                    <a:cubicBezTo>
                      <a:pt x="24" y="131"/>
                      <a:pt x="24" y="131"/>
                      <a:pt x="24" y="131"/>
                    </a:cubicBezTo>
                    <a:cubicBezTo>
                      <a:pt x="0" y="131"/>
                      <a:pt x="0" y="131"/>
                      <a:pt x="0" y="131"/>
                    </a:cubicBezTo>
                    <a:cubicBezTo>
                      <a:pt x="0" y="0"/>
                      <a:pt x="0" y="0"/>
                      <a:pt x="0" y="0"/>
                    </a:cubicBezTo>
                    <a:cubicBezTo>
                      <a:pt x="22" y="0"/>
                      <a:pt x="22" y="0"/>
                      <a:pt x="22" y="0"/>
                    </a:cubicBezTo>
                    <a:cubicBezTo>
                      <a:pt x="58" y="52"/>
                      <a:pt x="58" y="52"/>
                      <a:pt x="58" y="52"/>
                    </a:cubicBezTo>
                    <a:cubicBezTo>
                      <a:pt x="61" y="57"/>
                      <a:pt x="64" y="61"/>
                      <a:pt x="66" y="66"/>
                    </a:cubicBezTo>
                    <a:cubicBezTo>
                      <a:pt x="67" y="66"/>
                      <a:pt x="67" y="66"/>
                      <a:pt x="67" y="66"/>
                    </a:cubicBezTo>
                    <a:cubicBezTo>
                      <a:pt x="69" y="61"/>
                      <a:pt x="71" y="57"/>
                      <a:pt x="75" y="52"/>
                    </a:cubicBezTo>
                    <a:cubicBezTo>
                      <a:pt x="108" y="0"/>
                      <a:pt x="108" y="0"/>
                      <a:pt x="108" y="0"/>
                    </a:cubicBezTo>
                    <a:cubicBezTo>
                      <a:pt x="130" y="0"/>
                      <a:pt x="130" y="0"/>
                      <a:pt x="130" y="0"/>
                    </a:cubicBezTo>
                    <a:cubicBezTo>
                      <a:pt x="130" y="131"/>
                      <a:pt x="130" y="131"/>
                      <a:pt x="130" y="131"/>
                    </a:cubicBezTo>
                    <a:lnTo>
                      <a:pt x="106" y="131"/>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6" name="Freeform 13"/>
              <p:cNvSpPr>
                <a:spLocks/>
              </p:cNvSpPr>
              <p:nvPr userDrawn="1"/>
            </p:nvSpPr>
            <p:spPr bwMode="auto">
              <a:xfrm>
                <a:off x="7665803" y="4864376"/>
                <a:ext cx="100854" cy="148389"/>
              </a:xfrm>
              <a:custGeom>
                <a:avLst/>
                <a:gdLst>
                  <a:gd name="T0" fmla="*/ 133 w 133"/>
                  <a:gd name="T1" fmla="*/ 23 h 204"/>
                  <a:gd name="T2" fmla="*/ 132 w 133"/>
                  <a:gd name="T3" fmla="*/ 22 h 204"/>
                  <a:gd name="T4" fmla="*/ 65 w 133"/>
                  <a:gd name="T5" fmla="*/ 20 h 204"/>
                  <a:gd name="T6" fmla="*/ 52 w 133"/>
                  <a:gd name="T7" fmla="*/ 52 h 204"/>
                  <a:gd name="T8" fmla="*/ 20 w 133"/>
                  <a:gd name="T9" fmla="*/ 65 h 204"/>
                  <a:gd name="T10" fmla="*/ 22 w 133"/>
                  <a:gd name="T11" fmla="*/ 132 h 204"/>
                  <a:gd name="T12" fmla="*/ 95 w 133"/>
                  <a:gd name="T13" fmla="*/ 204 h 204"/>
                  <a:gd name="T14" fmla="*/ 117 w 133"/>
                  <a:gd name="T15" fmla="*/ 182 h 204"/>
                  <a:gd name="T16" fmla="*/ 44 w 133"/>
                  <a:gd name="T17" fmla="*/ 110 h 204"/>
                  <a:gd name="T18" fmla="*/ 42 w 133"/>
                  <a:gd name="T19" fmla="*/ 86 h 204"/>
                  <a:gd name="T20" fmla="*/ 66 w 133"/>
                  <a:gd name="T21" fmla="*/ 88 h 204"/>
                  <a:gd name="T22" fmla="*/ 133 w 133"/>
                  <a:gd name="T23" fmla="*/ 155 h 204"/>
                  <a:gd name="T24" fmla="*/ 133 w 133"/>
                  <a:gd name="T25" fmla="*/ 111 h 204"/>
                  <a:gd name="T26" fmla="*/ 88 w 133"/>
                  <a:gd name="T27" fmla="*/ 66 h 204"/>
                  <a:gd name="T28" fmla="*/ 86 w 133"/>
                  <a:gd name="T29" fmla="*/ 42 h 204"/>
                  <a:gd name="T30" fmla="*/ 110 w 133"/>
                  <a:gd name="T31" fmla="*/ 44 h 204"/>
                  <a:gd name="T32" fmla="*/ 133 w 133"/>
                  <a:gd name="T33" fmla="*/ 66 h 204"/>
                  <a:gd name="T34" fmla="*/ 133 w 133"/>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204">
                    <a:moveTo>
                      <a:pt x="133" y="23"/>
                    </a:moveTo>
                    <a:cubicBezTo>
                      <a:pt x="132" y="22"/>
                      <a:pt x="132" y="22"/>
                      <a:pt x="132" y="22"/>
                    </a:cubicBezTo>
                    <a:cubicBezTo>
                      <a:pt x="110" y="0"/>
                      <a:pt x="82" y="2"/>
                      <a:pt x="65" y="20"/>
                    </a:cubicBezTo>
                    <a:cubicBezTo>
                      <a:pt x="53" y="32"/>
                      <a:pt x="51" y="46"/>
                      <a:pt x="52" y="52"/>
                    </a:cubicBezTo>
                    <a:cubicBezTo>
                      <a:pt x="47" y="51"/>
                      <a:pt x="32" y="52"/>
                      <a:pt x="20" y="65"/>
                    </a:cubicBezTo>
                    <a:cubicBezTo>
                      <a:pt x="3" y="82"/>
                      <a:pt x="0" y="110"/>
                      <a:pt x="22" y="132"/>
                    </a:cubicBezTo>
                    <a:cubicBezTo>
                      <a:pt x="95" y="204"/>
                      <a:pt x="95" y="204"/>
                      <a:pt x="95" y="204"/>
                    </a:cubicBezTo>
                    <a:cubicBezTo>
                      <a:pt x="117" y="182"/>
                      <a:pt x="117" y="182"/>
                      <a:pt x="117" y="182"/>
                    </a:cubicBezTo>
                    <a:cubicBezTo>
                      <a:pt x="44" y="110"/>
                      <a:pt x="44" y="110"/>
                      <a:pt x="44" y="110"/>
                    </a:cubicBezTo>
                    <a:cubicBezTo>
                      <a:pt x="35" y="101"/>
                      <a:pt x="36" y="91"/>
                      <a:pt x="42" y="86"/>
                    </a:cubicBezTo>
                    <a:cubicBezTo>
                      <a:pt x="47" y="80"/>
                      <a:pt x="58" y="79"/>
                      <a:pt x="66" y="88"/>
                    </a:cubicBezTo>
                    <a:cubicBezTo>
                      <a:pt x="133" y="155"/>
                      <a:pt x="133" y="155"/>
                      <a:pt x="133" y="155"/>
                    </a:cubicBezTo>
                    <a:cubicBezTo>
                      <a:pt x="133" y="111"/>
                      <a:pt x="133" y="111"/>
                      <a:pt x="133" y="111"/>
                    </a:cubicBezTo>
                    <a:cubicBezTo>
                      <a:pt x="88" y="66"/>
                      <a:pt x="88" y="66"/>
                      <a:pt x="88" y="66"/>
                    </a:cubicBezTo>
                    <a:cubicBezTo>
                      <a:pt x="80" y="57"/>
                      <a:pt x="80" y="47"/>
                      <a:pt x="86" y="42"/>
                    </a:cubicBezTo>
                    <a:cubicBezTo>
                      <a:pt x="92" y="36"/>
                      <a:pt x="102" y="35"/>
                      <a:pt x="110" y="44"/>
                    </a:cubicBezTo>
                    <a:cubicBezTo>
                      <a:pt x="133" y="66"/>
                      <a:pt x="133" y="66"/>
                      <a:pt x="133" y="66"/>
                    </a:cubicBezTo>
                    <a:lnTo>
                      <a:pt x="133"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7" name="Freeform 14"/>
              <p:cNvSpPr>
                <a:spLocks noEditPoints="1"/>
              </p:cNvSpPr>
              <p:nvPr userDrawn="1"/>
            </p:nvSpPr>
            <p:spPr bwMode="auto">
              <a:xfrm>
                <a:off x="8023287" y="4895470"/>
                <a:ext cx="20556" cy="93282"/>
              </a:xfrm>
              <a:custGeom>
                <a:avLst/>
                <a:gdLst>
                  <a:gd name="T0" fmla="*/ 14 w 27"/>
                  <a:gd name="T1" fmla="*/ 26 h 128"/>
                  <a:gd name="T2" fmla="*/ 0 w 27"/>
                  <a:gd name="T3" fmla="*/ 13 h 128"/>
                  <a:gd name="T4" fmla="*/ 14 w 27"/>
                  <a:gd name="T5" fmla="*/ 0 h 128"/>
                  <a:gd name="T6" fmla="*/ 27 w 27"/>
                  <a:gd name="T7" fmla="*/ 13 h 128"/>
                  <a:gd name="T8" fmla="*/ 14 w 27"/>
                  <a:gd name="T9" fmla="*/ 26 h 128"/>
                  <a:gd name="T10" fmla="*/ 3 w 27"/>
                  <a:gd name="T11" fmla="*/ 128 h 128"/>
                  <a:gd name="T12" fmla="*/ 3 w 27"/>
                  <a:gd name="T13" fmla="*/ 40 h 128"/>
                  <a:gd name="T14" fmla="*/ 25 w 27"/>
                  <a:gd name="T15" fmla="*/ 40 h 128"/>
                  <a:gd name="T16" fmla="*/ 25 w 27"/>
                  <a:gd name="T17" fmla="*/ 112 h 128"/>
                  <a:gd name="T18" fmla="*/ 3 w 27"/>
                  <a:gd name="T1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128">
                    <a:moveTo>
                      <a:pt x="14" y="26"/>
                    </a:moveTo>
                    <a:cubicBezTo>
                      <a:pt x="6" y="26"/>
                      <a:pt x="0" y="20"/>
                      <a:pt x="0" y="13"/>
                    </a:cubicBezTo>
                    <a:cubicBezTo>
                      <a:pt x="0" y="6"/>
                      <a:pt x="6" y="0"/>
                      <a:pt x="14" y="0"/>
                    </a:cubicBezTo>
                    <a:cubicBezTo>
                      <a:pt x="21" y="0"/>
                      <a:pt x="27" y="5"/>
                      <a:pt x="27" y="13"/>
                    </a:cubicBezTo>
                    <a:cubicBezTo>
                      <a:pt x="27" y="20"/>
                      <a:pt x="21" y="26"/>
                      <a:pt x="14" y="26"/>
                    </a:cubicBezTo>
                    <a:close/>
                    <a:moveTo>
                      <a:pt x="3" y="128"/>
                    </a:moveTo>
                    <a:cubicBezTo>
                      <a:pt x="3" y="40"/>
                      <a:pt x="3" y="40"/>
                      <a:pt x="3" y="40"/>
                    </a:cubicBezTo>
                    <a:cubicBezTo>
                      <a:pt x="25" y="40"/>
                      <a:pt x="25" y="40"/>
                      <a:pt x="25" y="40"/>
                    </a:cubicBezTo>
                    <a:cubicBezTo>
                      <a:pt x="25" y="40"/>
                      <a:pt x="25" y="95"/>
                      <a:pt x="25" y="112"/>
                    </a:cubicBezTo>
                    <a:cubicBezTo>
                      <a:pt x="25" y="128"/>
                      <a:pt x="3" y="128"/>
                      <a:pt x="3" y="1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8" name="Freeform 15"/>
              <p:cNvSpPr>
                <a:spLocks/>
              </p:cNvSpPr>
              <p:nvPr userDrawn="1"/>
            </p:nvSpPr>
            <p:spPr bwMode="auto">
              <a:xfrm>
                <a:off x="8615239" y="4924717"/>
                <a:ext cx="103744" cy="66806"/>
              </a:xfrm>
              <a:custGeom>
                <a:avLst/>
                <a:gdLst>
                  <a:gd name="T0" fmla="*/ 111 w 137"/>
                  <a:gd name="T1" fmla="*/ 72 h 92"/>
                  <a:gd name="T2" fmla="*/ 88 w 137"/>
                  <a:gd name="T3" fmla="*/ 88 h 92"/>
                  <a:gd name="T4" fmla="*/ 68 w 137"/>
                  <a:gd name="T5" fmla="*/ 28 h 92"/>
                  <a:gd name="T6" fmla="*/ 68 w 137"/>
                  <a:gd name="T7" fmla="*/ 28 h 92"/>
                  <a:gd name="T8" fmla="*/ 53 w 137"/>
                  <a:gd name="T9" fmla="*/ 72 h 92"/>
                  <a:gd name="T10" fmla="*/ 31 w 137"/>
                  <a:gd name="T11" fmla="*/ 88 h 92"/>
                  <a:gd name="T12" fmla="*/ 0 w 137"/>
                  <a:gd name="T13" fmla="*/ 0 h 92"/>
                  <a:gd name="T14" fmla="*/ 22 w 137"/>
                  <a:gd name="T15" fmla="*/ 0 h 92"/>
                  <a:gd name="T16" fmla="*/ 41 w 137"/>
                  <a:gd name="T17" fmla="*/ 60 h 92"/>
                  <a:gd name="T18" fmla="*/ 41 w 137"/>
                  <a:gd name="T19" fmla="*/ 60 h 92"/>
                  <a:gd name="T20" fmla="*/ 60 w 137"/>
                  <a:gd name="T21" fmla="*/ 0 h 92"/>
                  <a:gd name="T22" fmla="*/ 77 w 137"/>
                  <a:gd name="T23" fmla="*/ 0 h 92"/>
                  <a:gd name="T24" fmla="*/ 97 w 137"/>
                  <a:gd name="T25" fmla="*/ 60 h 92"/>
                  <a:gd name="T26" fmla="*/ 97 w 137"/>
                  <a:gd name="T27" fmla="*/ 60 h 92"/>
                  <a:gd name="T28" fmla="*/ 115 w 137"/>
                  <a:gd name="T29" fmla="*/ 0 h 92"/>
                  <a:gd name="T30" fmla="*/ 137 w 137"/>
                  <a:gd name="T31" fmla="*/ 0 h 92"/>
                  <a:gd name="T32" fmla="*/ 111 w 137"/>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 h="92">
                    <a:moveTo>
                      <a:pt x="111" y="72"/>
                    </a:moveTo>
                    <a:cubicBezTo>
                      <a:pt x="104" y="92"/>
                      <a:pt x="88" y="88"/>
                      <a:pt x="88" y="88"/>
                    </a:cubicBezTo>
                    <a:cubicBezTo>
                      <a:pt x="68" y="28"/>
                      <a:pt x="68" y="28"/>
                      <a:pt x="68" y="28"/>
                    </a:cubicBezTo>
                    <a:cubicBezTo>
                      <a:pt x="68" y="28"/>
                      <a:pt x="68" y="28"/>
                      <a:pt x="68" y="28"/>
                    </a:cubicBezTo>
                    <a:cubicBezTo>
                      <a:pt x="68" y="28"/>
                      <a:pt x="59"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7" y="60"/>
                      <a:pt x="97" y="60"/>
                      <a:pt x="97" y="60"/>
                    </a:cubicBezTo>
                    <a:cubicBezTo>
                      <a:pt x="97" y="60"/>
                      <a:pt x="97" y="60"/>
                      <a:pt x="97" y="60"/>
                    </a:cubicBezTo>
                    <a:cubicBezTo>
                      <a:pt x="115" y="0"/>
                      <a:pt x="115" y="0"/>
                      <a:pt x="115" y="0"/>
                    </a:cubicBezTo>
                    <a:cubicBezTo>
                      <a:pt x="137" y="0"/>
                      <a:pt x="137" y="0"/>
                      <a:pt x="137" y="0"/>
                    </a:cubicBezTo>
                    <a:cubicBezTo>
                      <a:pt x="137"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9" name="Freeform 16"/>
              <p:cNvSpPr>
                <a:spLocks noEditPoints="1"/>
              </p:cNvSpPr>
              <p:nvPr userDrawn="1"/>
            </p:nvSpPr>
            <p:spPr bwMode="auto">
              <a:xfrm>
                <a:off x="8423168" y="4892699"/>
                <a:ext cx="65844" cy="95129"/>
              </a:xfrm>
              <a:custGeom>
                <a:avLst/>
                <a:gdLst>
                  <a:gd name="T0" fmla="*/ 1 w 87"/>
                  <a:gd name="T1" fmla="*/ 0 h 131"/>
                  <a:gd name="T2" fmla="*/ 0 w 87"/>
                  <a:gd name="T3" fmla="*/ 131 h 131"/>
                  <a:gd name="T4" fmla="*/ 41 w 87"/>
                  <a:gd name="T5" fmla="*/ 131 h 131"/>
                  <a:gd name="T6" fmla="*/ 87 w 87"/>
                  <a:gd name="T7" fmla="*/ 92 h 131"/>
                  <a:gd name="T8" fmla="*/ 65 w 87"/>
                  <a:gd name="T9" fmla="*/ 61 h 131"/>
                  <a:gd name="T10" fmla="*/ 62 w 87"/>
                  <a:gd name="T11" fmla="*/ 60 h 131"/>
                  <a:gd name="T12" fmla="*/ 64 w 87"/>
                  <a:gd name="T13" fmla="*/ 59 h 131"/>
                  <a:gd name="T14" fmla="*/ 79 w 87"/>
                  <a:gd name="T15" fmla="*/ 32 h 131"/>
                  <a:gd name="T16" fmla="*/ 42 w 87"/>
                  <a:gd name="T17" fmla="*/ 0 h 131"/>
                  <a:gd name="T18" fmla="*/ 1 w 87"/>
                  <a:gd name="T19" fmla="*/ 0 h 131"/>
                  <a:gd name="T20" fmla="*/ 23 w 87"/>
                  <a:gd name="T21" fmla="*/ 17 h 131"/>
                  <a:gd name="T22" fmla="*/ 36 w 87"/>
                  <a:gd name="T23" fmla="*/ 17 h 131"/>
                  <a:gd name="T24" fmla="*/ 56 w 87"/>
                  <a:gd name="T25" fmla="*/ 35 h 131"/>
                  <a:gd name="T26" fmla="*/ 38 w 87"/>
                  <a:gd name="T27" fmla="*/ 55 h 131"/>
                  <a:gd name="T28" fmla="*/ 22 w 87"/>
                  <a:gd name="T29" fmla="*/ 55 h 131"/>
                  <a:gd name="T30" fmla="*/ 23 w 87"/>
                  <a:gd name="T31" fmla="*/ 17 h 131"/>
                  <a:gd name="T32" fmla="*/ 22 w 87"/>
                  <a:gd name="T33" fmla="*/ 74 h 131"/>
                  <a:gd name="T34" fmla="*/ 40 w 87"/>
                  <a:gd name="T35" fmla="*/ 74 h 131"/>
                  <a:gd name="T36" fmla="*/ 64 w 87"/>
                  <a:gd name="T37" fmla="*/ 92 h 131"/>
                  <a:gd name="T38" fmla="*/ 39 w 87"/>
                  <a:gd name="T39" fmla="*/ 113 h 131"/>
                  <a:gd name="T40" fmla="*/ 22 w 87"/>
                  <a:gd name="T41" fmla="*/ 113 h 131"/>
                  <a:gd name="T42" fmla="*/ 22 w 87"/>
                  <a:gd name="T43" fmla="*/ 7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131">
                    <a:moveTo>
                      <a:pt x="1" y="0"/>
                    </a:moveTo>
                    <a:cubicBezTo>
                      <a:pt x="1" y="3"/>
                      <a:pt x="0" y="129"/>
                      <a:pt x="0" y="131"/>
                    </a:cubicBezTo>
                    <a:cubicBezTo>
                      <a:pt x="2" y="131"/>
                      <a:pt x="41" y="131"/>
                      <a:pt x="41" y="131"/>
                    </a:cubicBezTo>
                    <a:cubicBezTo>
                      <a:pt x="73" y="131"/>
                      <a:pt x="87" y="111"/>
                      <a:pt x="87" y="92"/>
                    </a:cubicBezTo>
                    <a:cubicBezTo>
                      <a:pt x="87" y="77"/>
                      <a:pt x="79" y="65"/>
                      <a:pt x="65" y="61"/>
                    </a:cubicBezTo>
                    <a:cubicBezTo>
                      <a:pt x="62" y="60"/>
                      <a:pt x="62" y="60"/>
                      <a:pt x="62" y="60"/>
                    </a:cubicBezTo>
                    <a:cubicBezTo>
                      <a:pt x="64" y="59"/>
                      <a:pt x="64" y="59"/>
                      <a:pt x="64" y="59"/>
                    </a:cubicBezTo>
                    <a:cubicBezTo>
                      <a:pt x="74" y="54"/>
                      <a:pt x="79" y="44"/>
                      <a:pt x="79" y="32"/>
                    </a:cubicBezTo>
                    <a:cubicBezTo>
                      <a:pt x="79" y="17"/>
                      <a:pt x="68" y="0"/>
                      <a:pt x="42" y="0"/>
                    </a:cubicBezTo>
                    <a:cubicBezTo>
                      <a:pt x="42" y="0"/>
                      <a:pt x="3" y="0"/>
                      <a:pt x="1" y="0"/>
                    </a:cubicBezTo>
                    <a:close/>
                    <a:moveTo>
                      <a:pt x="23" y="17"/>
                    </a:moveTo>
                    <a:cubicBezTo>
                      <a:pt x="36" y="17"/>
                      <a:pt x="36" y="17"/>
                      <a:pt x="36" y="17"/>
                    </a:cubicBezTo>
                    <a:cubicBezTo>
                      <a:pt x="49" y="17"/>
                      <a:pt x="56" y="24"/>
                      <a:pt x="56" y="35"/>
                    </a:cubicBezTo>
                    <a:cubicBezTo>
                      <a:pt x="56" y="47"/>
                      <a:pt x="47" y="55"/>
                      <a:pt x="38" y="55"/>
                    </a:cubicBezTo>
                    <a:cubicBezTo>
                      <a:pt x="22" y="55"/>
                      <a:pt x="22" y="55"/>
                      <a:pt x="22" y="55"/>
                    </a:cubicBezTo>
                    <a:lnTo>
                      <a:pt x="23" y="17"/>
                    </a:lnTo>
                    <a:close/>
                    <a:moveTo>
                      <a:pt x="22" y="74"/>
                    </a:moveTo>
                    <a:cubicBezTo>
                      <a:pt x="40" y="74"/>
                      <a:pt x="40" y="74"/>
                      <a:pt x="40" y="74"/>
                    </a:cubicBezTo>
                    <a:cubicBezTo>
                      <a:pt x="55" y="74"/>
                      <a:pt x="64" y="81"/>
                      <a:pt x="64" y="92"/>
                    </a:cubicBezTo>
                    <a:cubicBezTo>
                      <a:pt x="64" y="105"/>
                      <a:pt x="55" y="113"/>
                      <a:pt x="39" y="113"/>
                    </a:cubicBezTo>
                    <a:cubicBezTo>
                      <a:pt x="22" y="113"/>
                      <a:pt x="22" y="113"/>
                      <a:pt x="22" y="113"/>
                    </a:cubicBezTo>
                    <a:lnTo>
                      <a:pt x="22" y="74"/>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0" name="Freeform 17"/>
              <p:cNvSpPr>
                <a:spLocks noEditPoints="1"/>
              </p:cNvSpPr>
              <p:nvPr userDrawn="1"/>
            </p:nvSpPr>
            <p:spPr bwMode="auto">
              <a:xfrm>
                <a:off x="8546184" y="4923177"/>
                <a:ext cx="66486" cy="66190"/>
              </a:xfrm>
              <a:custGeom>
                <a:avLst/>
                <a:gdLst>
                  <a:gd name="T0" fmla="*/ 75 w 88"/>
                  <a:gd name="T1" fmla="*/ 78 h 91"/>
                  <a:gd name="T2" fmla="*/ 44 w 88"/>
                  <a:gd name="T3" fmla="*/ 91 h 91"/>
                  <a:gd name="T4" fmla="*/ 14 w 88"/>
                  <a:gd name="T5" fmla="*/ 80 h 91"/>
                  <a:gd name="T6" fmla="*/ 0 w 88"/>
                  <a:gd name="T7" fmla="*/ 46 h 91"/>
                  <a:gd name="T8" fmla="*/ 13 w 88"/>
                  <a:gd name="T9" fmla="*/ 12 h 91"/>
                  <a:gd name="T10" fmla="*/ 44 w 88"/>
                  <a:gd name="T11" fmla="*/ 0 h 91"/>
                  <a:gd name="T12" fmla="*/ 76 w 88"/>
                  <a:gd name="T13" fmla="*/ 12 h 91"/>
                  <a:gd name="T14" fmla="*/ 88 w 88"/>
                  <a:gd name="T15" fmla="*/ 45 h 91"/>
                  <a:gd name="T16" fmla="*/ 75 w 88"/>
                  <a:gd name="T17" fmla="*/ 78 h 91"/>
                  <a:gd name="T18" fmla="*/ 44 w 88"/>
                  <a:gd name="T19" fmla="*/ 17 h 91"/>
                  <a:gd name="T20" fmla="*/ 23 w 88"/>
                  <a:gd name="T21" fmla="*/ 45 h 91"/>
                  <a:gd name="T22" fmla="*/ 44 w 88"/>
                  <a:gd name="T23" fmla="*/ 73 h 91"/>
                  <a:gd name="T24" fmla="*/ 65 w 88"/>
                  <a:gd name="T25" fmla="*/ 45 h 91"/>
                  <a:gd name="T26" fmla="*/ 44 w 88"/>
                  <a:gd name="T27"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91">
                    <a:moveTo>
                      <a:pt x="75" y="78"/>
                    </a:moveTo>
                    <a:cubicBezTo>
                      <a:pt x="68" y="86"/>
                      <a:pt x="57" y="91"/>
                      <a:pt x="44" y="91"/>
                    </a:cubicBezTo>
                    <a:cubicBezTo>
                      <a:pt x="32" y="91"/>
                      <a:pt x="21" y="87"/>
                      <a:pt x="14" y="80"/>
                    </a:cubicBezTo>
                    <a:cubicBezTo>
                      <a:pt x="5" y="72"/>
                      <a:pt x="0" y="60"/>
                      <a:pt x="0" y="46"/>
                    </a:cubicBezTo>
                    <a:cubicBezTo>
                      <a:pt x="0" y="32"/>
                      <a:pt x="5" y="20"/>
                      <a:pt x="13" y="12"/>
                    </a:cubicBezTo>
                    <a:cubicBezTo>
                      <a:pt x="21" y="4"/>
                      <a:pt x="31" y="0"/>
                      <a:pt x="44" y="0"/>
                    </a:cubicBezTo>
                    <a:cubicBezTo>
                      <a:pt x="57" y="0"/>
                      <a:pt x="68" y="4"/>
                      <a:pt x="76" y="12"/>
                    </a:cubicBezTo>
                    <a:cubicBezTo>
                      <a:pt x="84" y="20"/>
                      <a:pt x="88" y="32"/>
                      <a:pt x="88" y="45"/>
                    </a:cubicBezTo>
                    <a:cubicBezTo>
                      <a:pt x="88" y="58"/>
                      <a:pt x="83" y="70"/>
                      <a:pt x="75" y="78"/>
                    </a:cubicBezTo>
                    <a:close/>
                    <a:moveTo>
                      <a:pt x="44" y="17"/>
                    </a:moveTo>
                    <a:cubicBezTo>
                      <a:pt x="30" y="17"/>
                      <a:pt x="23" y="29"/>
                      <a:pt x="23" y="45"/>
                    </a:cubicBezTo>
                    <a:cubicBezTo>
                      <a:pt x="23" y="62"/>
                      <a:pt x="31" y="73"/>
                      <a:pt x="44" y="73"/>
                    </a:cubicBezTo>
                    <a:cubicBezTo>
                      <a:pt x="58" y="73"/>
                      <a:pt x="65" y="61"/>
                      <a:pt x="65" y="45"/>
                    </a:cubicBezTo>
                    <a:cubicBezTo>
                      <a:pt x="65" y="28"/>
                      <a:pt x="57" y="17"/>
                      <a:pt x="44" y="1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1" name="Freeform 18"/>
              <p:cNvSpPr>
                <a:spLocks/>
              </p:cNvSpPr>
              <p:nvPr userDrawn="1"/>
            </p:nvSpPr>
            <p:spPr bwMode="auto">
              <a:xfrm>
                <a:off x="8728298" y="4923177"/>
                <a:ext cx="60705" cy="65574"/>
              </a:xfrm>
              <a:custGeom>
                <a:avLst/>
                <a:gdLst>
                  <a:gd name="T0" fmla="*/ 58 w 80"/>
                  <a:gd name="T1" fmla="*/ 90 h 90"/>
                  <a:gd name="T2" fmla="*/ 58 w 80"/>
                  <a:gd name="T3" fmla="*/ 38 h 90"/>
                  <a:gd name="T4" fmla="*/ 45 w 80"/>
                  <a:gd name="T5" fmla="*/ 19 h 90"/>
                  <a:gd name="T6" fmla="*/ 23 w 80"/>
                  <a:gd name="T7" fmla="*/ 28 h 90"/>
                  <a:gd name="T8" fmla="*/ 23 w 80"/>
                  <a:gd name="T9" fmla="*/ 74 h 90"/>
                  <a:gd name="T10" fmla="*/ 0 w 80"/>
                  <a:gd name="T11" fmla="*/ 90 h 90"/>
                  <a:gd name="T12" fmla="*/ 0 w 80"/>
                  <a:gd name="T13" fmla="*/ 2 h 90"/>
                  <a:gd name="T14" fmla="*/ 19 w 80"/>
                  <a:gd name="T15" fmla="*/ 2 h 90"/>
                  <a:gd name="T16" fmla="*/ 22 w 80"/>
                  <a:gd name="T17" fmla="*/ 11 h 90"/>
                  <a:gd name="T18" fmla="*/ 52 w 80"/>
                  <a:gd name="T19" fmla="*/ 0 h 90"/>
                  <a:gd name="T20" fmla="*/ 80 w 80"/>
                  <a:gd name="T21" fmla="*/ 31 h 90"/>
                  <a:gd name="T22" fmla="*/ 80 w 80"/>
                  <a:gd name="T23" fmla="*/ 74 h 90"/>
                  <a:gd name="T24" fmla="*/ 58 w 80"/>
                  <a:gd name="T2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90">
                    <a:moveTo>
                      <a:pt x="58" y="90"/>
                    </a:moveTo>
                    <a:cubicBezTo>
                      <a:pt x="58" y="38"/>
                      <a:pt x="58" y="38"/>
                      <a:pt x="58" y="38"/>
                    </a:cubicBezTo>
                    <a:cubicBezTo>
                      <a:pt x="58" y="29"/>
                      <a:pt x="56" y="19"/>
                      <a:pt x="45" y="19"/>
                    </a:cubicBezTo>
                    <a:cubicBezTo>
                      <a:pt x="37" y="19"/>
                      <a:pt x="29" y="23"/>
                      <a:pt x="23" y="28"/>
                    </a:cubicBezTo>
                    <a:cubicBezTo>
                      <a:pt x="23" y="28"/>
                      <a:pt x="23" y="57"/>
                      <a:pt x="23" y="74"/>
                    </a:cubicBezTo>
                    <a:cubicBezTo>
                      <a:pt x="23" y="90"/>
                      <a:pt x="0" y="90"/>
                      <a:pt x="0" y="90"/>
                    </a:cubicBezTo>
                    <a:cubicBezTo>
                      <a:pt x="0" y="2"/>
                      <a:pt x="0" y="2"/>
                      <a:pt x="0" y="2"/>
                    </a:cubicBezTo>
                    <a:cubicBezTo>
                      <a:pt x="19" y="2"/>
                      <a:pt x="19" y="2"/>
                      <a:pt x="19" y="2"/>
                    </a:cubicBezTo>
                    <a:cubicBezTo>
                      <a:pt x="22" y="11"/>
                      <a:pt x="22" y="11"/>
                      <a:pt x="22" y="11"/>
                    </a:cubicBezTo>
                    <a:cubicBezTo>
                      <a:pt x="31" y="4"/>
                      <a:pt x="40" y="0"/>
                      <a:pt x="52" y="0"/>
                    </a:cubicBezTo>
                    <a:cubicBezTo>
                      <a:pt x="65" y="0"/>
                      <a:pt x="80" y="8"/>
                      <a:pt x="80" y="31"/>
                    </a:cubicBezTo>
                    <a:cubicBezTo>
                      <a:pt x="80" y="31"/>
                      <a:pt x="80" y="57"/>
                      <a:pt x="80" y="74"/>
                    </a:cubicBezTo>
                    <a:cubicBezTo>
                      <a:pt x="80" y="90"/>
                      <a:pt x="58" y="90"/>
                      <a:pt x="58" y="9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2" name="Freeform 19"/>
              <p:cNvSpPr>
                <a:spLocks/>
              </p:cNvSpPr>
              <p:nvPr userDrawn="1"/>
            </p:nvSpPr>
            <p:spPr bwMode="auto">
              <a:xfrm>
                <a:off x="8501217" y="4923177"/>
                <a:ext cx="43361" cy="65574"/>
              </a:xfrm>
              <a:custGeom>
                <a:avLst/>
                <a:gdLst>
                  <a:gd name="T0" fmla="*/ 49 w 57"/>
                  <a:gd name="T1" fmla="*/ 22 h 90"/>
                  <a:gd name="T2" fmla="*/ 39 w 57"/>
                  <a:gd name="T3" fmla="*/ 20 h 90"/>
                  <a:gd name="T4" fmla="*/ 22 w 57"/>
                  <a:gd name="T5" fmla="*/ 27 h 90"/>
                  <a:gd name="T6" fmla="*/ 22 w 57"/>
                  <a:gd name="T7" fmla="*/ 74 h 90"/>
                  <a:gd name="T8" fmla="*/ 0 w 57"/>
                  <a:gd name="T9" fmla="*/ 90 h 90"/>
                  <a:gd name="T10" fmla="*/ 0 w 57"/>
                  <a:gd name="T11" fmla="*/ 2 h 90"/>
                  <a:gd name="T12" fmla="*/ 19 w 57"/>
                  <a:gd name="T13" fmla="*/ 2 h 90"/>
                  <a:gd name="T14" fmla="*/ 21 w 57"/>
                  <a:gd name="T15" fmla="*/ 11 h 90"/>
                  <a:gd name="T16" fmla="*/ 45 w 57"/>
                  <a:gd name="T17" fmla="*/ 0 h 90"/>
                  <a:gd name="T18" fmla="*/ 57 w 57"/>
                  <a:gd name="T19" fmla="*/ 4 h 90"/>
                  <a:gd name="T20" fmla="*/ 49 w 57"/>
                  <a:gd name="T21" fmla="*/ 2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0">
                    <a:moveTo>
                      <a:pt x="49" y="22"/>
                    </a:moveTo>
                    <a:cubicBezTo>
                      <a:pt x="46" y="20"/>
                      <a:pt x="42" y="20"/>
                      <a:pt x="39" y="20"/>
                    </a:cubicBezTo>
                    <a:cubicBezTo>
                      <a:pt x="34" y="20"/>
                      <a:pt x="28" y="22"/>
                      <a:pt x="22" y="27"/>
                    </a:cubicBezTo>
                    <a:cubicBezTo>
                      <a:pt x="22" y="27"/>
                      <a:pt x="22" y="57"/>
                      <a:pt x="22" y="74"/>
                    </a:cubicBezTo>
                    <a:cubicBezTo>
                      <a:pt x="22" y="90"/>
                      <a:pt x="0" y="90"/>
                      <a:pt x="0" y="90"/>
                    </a:cubicBezTo>
                    <a:cubicBezTo>
                      <a:pt x="0" y="2"/>
                      <a:pt x="0" y="2"/>
                      <a:pt x="0" y="2"/>
                    </a:cubicBezTo>
                    <a:cubicBezTo>
                      <a:pt x="19" y="2"/>
                      <a:pt x="19" y="2"/>
                      <a:pt x="19"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3" name="Freeform 20"/>
              <p:cNvSpPr>
                <a:spLocks/>
              </p:cNvSpPr>
              <p:nvPr userDrawn="1"/>
            </p:nvSpPr>
            <p:spPr bwMode="auto">
              <a:xfrm>
                <a:off x="7766657" y="4864376"/>
                <a:ext cx="100211" cy="148389"/>
              </a:xfrm>
              <a:custGeom>
                <a:avLst/>
                <a:gdLst>
                  <a:gd name="T0" fmla="*/ 0 w 132"/>
                  <a:gd name="T1" fmla="*/ 23 h 204"/>
                  <a:gd name="T2" fmla="*/ 1 w 132"/>
                  <a:gd name="T3" fmla="*/ 22 h 204"/>
                  <a:gd name="T4" fmla="*/ 67 w 132"/>
                  <a:gd name="T5" fmla="*/ 20 h 204"/>
                  <a:gd name="T6" fmla="*/ 80 w 132"/>
                  <a:gd name="T7" fmla="*/ 52 h 204"/>
                  <a:gd name="T8" fmla="*/ 113 w 132"/>
                  <a:gd name="T9" fmla="*/ 65 h 204"/>
                  <a:gd name="T10" fmla="*/ 111 w 132"/>
                  <a:gd name="T11" fmla="*/ 132 h 204"/>
                  <a:gd name="T12" fmla="*/ 38 w 132"/>
                  <a:gd name="T13" fmla="*/ 204 h 204"/>
                  <a:gd name="T14" fmla="*/ 16 w 132"/>
                  <a:gd name="T15" fmla="*/ 182 h 204"/>
                  <a:gd name="T16" fmla="*/ 88 w 132"/>
                  <a:gd name="T17" fmla="*/ 110 h 204"/>
                  <a:gd name="T18" fmla="*/ 91 w 132"/>
                  <a:gd name="T19" fmla="*/ 86 h 204"/>
                  <a:gd name="T20" fmla="*/ 67 w 132"/>
                  <a:gd name="T21" fmla="*/ 88 h 204"/>
                  <a:gd name="T22" fmla="*/ 0 w 132"/>
                  <a:gd name="T23" fmla="*/ 155 h 204"/>
                  <a:gd name="T24" fmla="*/ 0 w 132"/>
                  <a:gd name="T25" fmla="*/ 111 h 204"/>
                  <a:gd name="T26" fmla="*/ 45 w 132"/>
                  <a:gd name="T27" fmla="*/ 66 h 204"/>
                  <a:gd name="T28" fmla="*/ 46 w 132"/>
                  <a:gd name="T29" fmla="*/ 42 h 204"/>
                  <a:gd name="T30" fmla="*/ 22 w 132"/>
                  <a:gd name="T31" fmla="*/ 44 h 204"/>
                  <a:gd name="T32" fmla="*/ 0 w 132"/>
                  <a:gd name="T33" fmla="*/ 66 h 204"/>
                  <a:gd name="T34" fmla="*/ 0 w 132"/>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204">
                    <a:moveTo>
                      <a:pt x="0" y="23"/>
                    </a:moveTo>
                    <a:cubicBezTo>
                      <a:pt x="1" y="22"/>
                      <a:pt x="1" y="22"/>
                      <a:pt x="1" y="22"/>
                    </a:cubicBezTo>
                    <a:cubicBezTo>
                      <a:pt x="23" y="0"/>
                      <a:pt x="50" y="2"/>
                      <a:pt x="67" y="20"/>
                    </a:cubicBezTo>
                    <a:cubicBezTo>
                      <a:pt x="80" y="32"/>
                      <a:pt x="81" y="46"/>
                      <a:pt x="80" y="52"/>
                    </a:cubicBezTo>
                    <a:cubicBezTo>
                      <a:pt x="86" y="51"/>
                      <a:pt x="100" y="52"/>
                      <a:pt x="113" y="65"/>
                    </a:cubicBezTo>
                    <a:cubicBezTo>
                      <a:pt x="130" y="82"/>
                      <a:pt x="132" y="110"/>
                      <a:pt x="111" y="132"/>
                    </a:cubicBezTo>
                    <a:cubicBezTo>
                      <a:pt x="38" y="204"/>
                      <a:pt x="38" y="204"/>
                      <a:pt x="38" y="204"/>
                    </a:cubicBezTo>
                    <a:cubicBezTo>
                      <a:pt x="16" y="182"/>
                      <a:pt x="16" y="182"/>
                      <a:pt x="16" y="182"/>
                    </a:cubicBezTo>
                    <a:cubicBezTo>
                      <a:pt x="88" y="110"/>
                      <a:pt x="88" y="110"/>
                      <a:pt x="88" y="110"/>
                    </a:cubicBezTo>
                    <a:cubicBezTo>
                      <a:pt x="97" y="101"/>
                      <a:pt x="96" y="91"/>
                      <a:pt x="91" y="86"/>
                    </a:cubicBezTo>
                    <a:cubicBezTo>
                      <a:pt x="85" y="80"/>
                      <a:pt x="75" y="79"/>
                      <a:pt x="67" y="88"/>
                    </a:cubicBezTo>
                    <a:cubicBezTo>
                      <a:pt x="0" y="155"/>
                      <a:pt x="0" y="155"/>
                      <a:pt x="0" y="155"/>
                    </a:cubicBezTo>
                    <a:cubicBezTo>
                      <a:pt x="0" y="111"/>
                      <a:pt x="0" y="111"/>
                      <a:pt x="0" y="111"/>
                    </a:cubicBezTo>
                    <a:cubicBezTo>
                      <a:pt x="45" y="66"/>
                      <a:pt x="45" y="66"/>
                      <a:pt x="45" y="66"/>
                    </a:cubicBezTo>
                    <a:cubicBezTo>
                      <a:pt x="53" y="57"/>
                      <a:pt x="52" y="47"/>
                      <a:pt x="46" y="42"/>
                    </a:cubicBezTo>
                    <a:cubicBezTo>
                      <a:pt x="41" y="36"/>
                      <a:pt x="31" y="35"/>
                      <a:pt x="22" y="44"/>
                    </a:cubicBezTo>
                    <a:cubicBezTo>
                      <a:pt x="0" y="66"/>
                      <a:pt x="0" y="66"/>
                      <a:pt x="0" y="66"/>
                    </a:cubicBezTo>
                    <a:lnTo>
                      <a:pt x="0"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grpSp>
      <p:sp>
        <p:nvSpPr>
          <p:cNvPr id="77"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solidFill>
                  <a:schemeClr val="tx1">
                    <a:lumMod val="50000"/>
                    <a:lumOff val="50000"/>
                  </a:schemeClr>
                </a:solidFill>
                <a:latin typeface="+mn-lt"/>
              </a:rPr>
              <a:t>Private and Confidental</a:t>
            </a:r>
            <a:endParaRPr lang="pt-BR" sz="500" dirty="0">
              <a:solidFill>
                <a:schemeClr val="tx1">
                  <a:lumMod val="50000"/>
                  <a:lumOff val="50000"/>
                </a:schemeClr>
              </a:solidFill>
              <a:latin typeface="+mn-lt"/>
            </a:endParaRPr>
          </a:p>
        </p:txBody>
      </p:sp>
    </p:spTree>
    <p:extLst>
      <p:ext uri="{BB962C8B-B14F-4D97-AF65-F5344CB8AC3E}">
        <p14:creationId xmlns:p14="http://schemas.microsoft.com/office/powerpoint/2010/main" val="1949190426"/>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A_MB_Leaf">
    <p:bg>
      <p:bgPr>
        <a:solidFill>
          <a:schemeClr val="bg1"/>
        </a:solidFill>
        <a:effectLst/>
      </p:bgPr>
    </p:bg>
    <p:spTree>
      <p:nvGrpSpPr>
        <p:cNvPr id="1" name=""/>
        <p:cNvGrpSpPr/>
        <p:nvPr/>
      </p:nvGrpSpPr>
      <p:grpSpPr>
        <a:xfrm>
          <a:off x="0" y="0"/>
          <a:ext cx="0" cy="0"/>
          <a:chOff x="0" y="0"/>
          <a:chExt cx="0" cy="0"/>
        </a:xfrm>
      </p:grpSpPr>
      <p:sp>
        <p:nvSpPr>
          <p:cNvPr id="31" name="Rectangle 30"/>
          <p:cNvSpPr/>
          <p:nvPr userDrawn="1"/>
        </p:nvSpPr>
        <p:spPr>
          <a:xfrm>
            <a:off x="0" y="0"/>
            <a:ext cx="9144000" cy="5148263"/>
          </a:xfrm>
          <a:prstGeom prst="rect">
            <a:avLst/>
          </a:prstGeom>
          <a:solidFill>
            <a:schemeClr val="tx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en-GB" sz="1050" smtClean="0">
              <a:solidFill>
                <a:schemeClr val="bg1"/>
              </a:solidFill>
              <a:latin typeface="Arial" panose="020B0604020202020204" pitchFamily="34" charset="0"/>
              <a:cs typeface="Arial" panose="020B0604020202020204" pitchFamily="34" charset="0"/>
            </a:endParaRPr>
          </a:p>
        </p:txBody>
      </p:sp>
      <p:pic>
        <p:nvPicPr>
          <p:cNvPr id="33" name="Picture 32" descr="cookie_white.png"/>
          <p:cNvPicPr>
            <a:picLocks noChangeAspect="1"/>
          </p:cNvPicPr>
          <p:nvPr userDrawn="1"/>
        </p:nvPicPr>
        <p:blipFill rotWithShape="1">
          <a:blip r:embed="rId2" cstate="screen">
            <a:alphaModFix amt="16000"/>
            <a:extLst>
              <a:ext uri="{28A0092B-C50C-407E-A947-70E740481C1C}">
                <a14:useLocalDpi xmlns:a14="http://schemas.microsoft.com/office/drawing/2010/main"/>
              </a:ext>
            </a:extLst>
          </a:blip>
          <a:srcRect/>
          <a:stretch/>
        </p:blipFill>
        <p:spPr>
          <a:xfrm flipH="1">
            <a:off x="5149029" y="2289839"/>
            <a:ext cx="4020091" cy="2880000"/>
          </a:xfrm>
          <a:prstGeom prst="rect">
            <a:avLst/>
          </a:prstGeom>
        </p:spPr>
      </p:pic>
      <p:grpSp>
        <p:nvGrpSpPr>
          <p:cNvPr id="85" name="Group 84"/>
          <p:cNvGrpSpPr/>
          <p:nvPr userDrawn="1"/>
        </p:nvGrpSpPr>
        <p:grpSpPr>
          <a:xfrm>
            <a:off x="6223980" y="4846685"/>
            <a:ext cx="1123200" cy="262528"/>
            <a:chOff x="7673274" y="4343117"/>
            <a:chExt cx="1123200" cy="262528"/>
          </a:xfrm>
          <a:solidFill>
            <a:schemeClr val="bg1"/>
          </a:solidFill>
        </p:grpSpPr>
        <p:grpSp>
          <p:nvGrpSpPr>
            <p:cNvPr id="86" name="Group 85"/>
            <p:cNvGrpSpPr/>
            <p:nvPr userDrawn="1"/>
          </p:nvGrpSpPr>
          <p:grpSpPr>
            <a:xfrm>
              <a:off x="7909937" y="4494135"/>
              <a:ext cx="438357" cy="111510"/>
              <a:chOff x="7909937" y="4491754"/>
              <a:chExt cx="438357" cy="111510"/>
            </a:xfrm>
            <a:grpFill/>
          </p:grpSpPr>
          <p:sp>
            <p:nvSpPr>
              <p:cNvPr id="108" name="Freeform 21"/>
              <p:cNvSpPr>
                <a:spLocks noEditPoints="1"/>
              </p:cNvSpPr>
              <p:nvPr/>
            </p:nvSpPr>
            <p:spPr bwMode="auto">
              <a:xfrm>
                <a:off x="7909937" y="4496945"/>
                <a:ext cx="72264" cy="78286"/>
              </a:xfrm>
              <a:custGeom>
                <a:avLst/>
                <a:gdLst>
                  <a:gd name="T0" fmla="*/ 290 w 696"/>
                  <a:gd name="T1" fmla="*/ 0 h 754"/>
                  <a:gd name="T2" fmla="*/ 394 w 696"/>
                  <a:gd name="T3" fmla="*/ 0 h 754"/>
                  <a:gd name="T4" fmla="*/ 696 w 696"/>
                  <a:gd name="T5" fmla="*/ 754 h 754"/>
                  <a:gd name="T6" fmla="*/ 550 w 696"/>
                  <a:gd name="T7" fmla="*/ 754 h 754"/>
                  <a:gd name="T8" fmla="*/ 478 w 696"/>
                  <a:gd name="T9" fmla="*/ 566 h 754"/>
                  <a:gd name="T10" fmla="*/ 210 w 696"/>
                  <a:gd name="T11" fmla="*/ 566 h 754"/>
                  <a:gd name="T12" fmla="*/ 140 w 696"/>
                  <a:gd name="T13" fmla="*/ 754 h 754"/>
                  <a:gd name="T14" fmla="*/ 0 w 696"/>
                  <a:gd name="T15" fmla="*/ 754 h 754"/>
                  <a:gd name="T16" fmla="*/ 290 w 696"/>
                  <a:gd name="T17" fmla="*/ 0 h 754"/>
                  <a:gd name="T18" fmla="*/ 436 w 696"/>
                  <a:gd name="T19" fmla="*/ 456 h 754"/>
                  <a:gd name="T20" fmla="*/ 384 w 696"/>
                  <a:gd name="T21" fmla="*/ 306 h 754"/>
                  <a:gd name="T22" fmla="*/ 384 w 696"/>
                  <a:gd name="T23" fmla="*/ 306 h 754"/>
                  <a:gd name="T24" fmla="*/ 360 w 696"/>
                  <a:gd name="T25" fmla="*/ 236 h 754"/>
                  <a:gd name="T26" fmla="*/ 346 w 696"/>
                  <a:gd name="T27" fmla="*/ 190 h 754"/>
                  <a:gd name="T28" fmla="*/ 344 w 696"/>
                  <a:gd name="T29" fmla="*/ 190 h 754"/>
                  <a:gd name="T30" fmla="*/ 344 w 696"/>
                  <a:gd name="T31" fmla="*/ 190 h 754"/>
                  <a:gd name="T32" fmla="*/ 328 w 696"/>
                  <a:gd name="T33" fmla="*/ 236 h 754"/>
                  <a:gd name="T34" fmla="*/ 304 w 696"/>
                  <a:gd name="T35" fmla="*/ 306 h 754"/>
                  <a:gd name="T36" fmla="*/ 250 w 696"/>
                  <a:gd name="T37" fmla="*/ 456 h 754"/>
                  <a:gd name="T38" fmla="*/ 436 w 696"/>
                  <a:gd name="T39" fmla="*/ 456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6" h="754">
                    <a:moveTo>
                      <a:pt x="290" y="0"/>
                    </a:moveTo>
                    <a:lnTo>
                      <a:pt x="394" y="0"/>
                    </a:lnTo>
                    <a:lnTo>
                      <a:pt x="696" y="754"/>
                    </a:lnTo>
                    <a:lnTo>
                      <a:pt x="550" y="754"/>
                    </a:lnTo>
                    <a:lnTo>
                      <a:pt x="478" y="566"/>
                    </a:lnTo>
                    <a:lnTo>
                      <a:pt x="210" y="566"/>
                    </a:lnTo>
                    <a:lnTo>
                      <a:pt x="140" y="754"/>
                    </a:lnTo>
                    <a:lnTo>
                      <a:pt x="0" y="754"/>
                    </a:lnTo>
                    <a:lnTo>
                      <a:pt x="290" y="0"/>
                    </a:lnTo>
                    <a:close/>
                    <a:moveTo>
                      <a:pt x="436" y="456"/>
                    </a:moveTo>
                    <a:lnTo>
                      <a:pt x="384" y="306"/>
                    </a:lnTo>
                    <a:lnTo>
                      <a:pt x="384" y="306"/>
                    </a:lnTo>
                    <a:lnTo>
                      <a:pt x="360" y="236"/>
                    </a:lnTo>
                    <a:lnTo>
                      <a:pt x="346" y="190"/>
                    </a:lnTo>
                    <a:lnTo>
                      <a:pt x="344" y="190"/>
                    </a:lnTo>
                    <a:lnTo>
                      <a:pt x="344" y="190"/>
                    </a:lnTo>
                    <a:lnTo>
                      <a:pt x="328" y="236"/>
                    </a:lnTo>
                    <a:lnTo>
                      <a:pt x="304" y="306"/>
                    </a:lnTo>
                    <a:lnTo>
                      <a:pt x="250" y="456"/>
                    </a:lnTo>
                    <a:lnTo>
                      <a:pt x="436" y="4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 name="Freeform 22"/>
              <p:cNvSpPr>
                <a:spLocks noEditPoints="1"/>
              </p:cNvSpPr>
              <p:nvPr/>
            </p:nvSpPr>
            <p:spPr bwMode="auto">
              <a:xfrm>
                <a:off x="8047404" y="4517918"/>
                <a:ext cx="48591" cy="58558"/>
              </a:xfrm>
              <a:custGeom>
                <a:avLst/>
                <a:gdLst>
                  <a:gd name="T0" fmla="*/ 334 w 468"/>
                  <a:gd name="T1" fmla="*/ 502 h 564"/>
                  <a:gd name="T2" fmla="*/ 302 w 468"/>
                  <a:gd name="T3" fmla="*/ 526 h 564"/>
                  <a:gd name="T4" fmla="*/ 266 w 468"/>
                  <a:gd name="T5" fmla="*/ 546 h 564"/>
                  <a:gd name="T6" fmla="*/ 226 w 468"/>
                  <a:gd name="T7" fmla="*/ 560 h 564"/>
                  <a:gd name="T8" fmla="*/ 178 w 468"/>
                  <a:gd name="T9" fmla="*/ 564 h 564"/>
                  <a:gd name="T10" fmla="*/ 160 w 468"/>
                  <a:gd name="T11" fmla="*/ 564 h 564"/>
                  <a:gd name="T12" fmla="*/ 124 w 468"/>
                  <a:gd name="T13" fmla="*/ 558 h 564"/>
                  <a:gd name="T14" fmla="*/ 92 w 468"/>
                  <a:gd name="T15" fmla="*/ 546 h 564"/>
                  <a:gd name="T16" fmla="*/ 62 w 468"/>
                  <a:gd name="T17" fmla="*/ 528 h 564"/>
                  <a:gd name="T18" fmla="*/ 38 w 468"/>
                  <a:gd name="T19" fmla="*/ 506 h 564"/>
                  <a:gd name="T20" fmla="*/ 20 w 468"/>
                  <a:gd name="T21" fmla="*/ 478 h 564"/>
                  <a:gd name="T22" fmla="*/ 6 w 468"/>
                  <a:gd name="T23" fmla="*/ 446 h 564"/>
                  <a:gd name="T24" fmla="*/ 0 w 468"/>
                  <a:gd name="T25" fmla="*/ 412 h 564"/>
                  <a:gd name="T26" fmla="*/ 0 w 468"/>
                  <a:gd name="T27" fmla="*/ 392 h 564"/>
                  <a:gd name="T28" fmla="*/ 6 w 468"/>
                  <a:gd name="T29" fmla="*/ 342 h 564"/>
                  <a:gd name="T30" fmla="*/ 24 w 468"/>
                  <a:gd name="T31" fmla="*/ 302 h 564"/>
                  <a:gd name="T32" fmla="*/ 52 w 468"/>
                  <a:gd name="T33" fmla="*/ 270 h 564"/>
                  <a:gd name="T34" fmla="*/ 90 w 468"/>
                  <a:gd name="T35" fmla="*/ 246 h 564"/>
                  <a:gd name="T36" fmla="*/ 120 w 468"/>
                  <a:gd name="T37" fmla="*/ 232 h 564"/>
                  <a:gd name="T38" fmla="*/ 190 w 468"/>
                  <a:gd name="T39" fmla="*/ 218 h 564"/>
                  <a:gd name="T40" fmla="*/ 322 w 468"/>
                  <a:gd name="T41" fmla="*/ 210 h 564"/>
                  <a:gd name="T42" fmla="*/ 322 w 468"/>
                  <a:gd name="T43" fmla="*/ 194 h 564"/>
                  <a:gd name="T44" fmla="*/ 314 w 468"/>
                  <a:gd name="T45" fmla="*/ 154 h 564"/>
                  <a:gd name="T46" fmla="*/ 294 w 468"/>
                  <a:gd name="T47" fmla="*/ 126 h 564"/>
                  <a:gd name="T48" fmla="*/ 260 w 468"/>
                  <a:gd name="T49" fmla="*/ 108 h 564"/>
                  <a:gd name="T50" fmla="*/ 218 w 468"/>
                  <a:gd name="T51" fmla="*/ 104 h 564"/>
                  <a:gd name="T52" fmla="*/ 198 w 468"/>
                  <a:gd name="T53" fmla="*/ 104 h 564"/>
                  <a:gd name="T54" fmla="*/ 160 w 468"/>
                  <a:gd name="T55" fmla="*/ 110 h 564"/>
                  <a:gd name="T56" fmla="*/ 108 w 468"/>
                  <a:gd name="T57" fmla="*/ 126 h 564"/>
                  <a:gd name="T58" fmla="*/ 32 w 468"/>
                  <a:gd name="T59" fmla="*/ 54 h 564"/>
                  <a:gd name="T60" fmla="*/ 56 w 468"/>
                  <a:gd name="T61" fmla="*/ 42 h 564"/>
                  <a:gd name="T62" fmla="*/ 106 w 468"/>
                  <a:gd name="T63" fmla="*/ 22 h 564"/>
                  <a:gd name="T64" fmla="*/ 158 w 468"/>
                  <a:gd name="T65" fmla="*/ 8 h 564"/>
                  <a:gd name="T66" fmla="*/ 212 w 468"/>
                  <a:gd name="T67" fmla="*/ 0 h 564"/>
                  <a:gd name="T68" fmla="*/ 240 w 468"/>
                  <a:gd name="T69" fmla="*/ 0 h 564"/>
                  <a:gd name="T70" fmla="*/ 292 w 468"/>
                  <a:gd name="T71" fmla="*/ 4 h 564"/>
                  <a:gd name="T72" fmla="*/ 336 w 468"/>
                  <a:gd name="T73" fmla="*/ 12 h 564"/>
                  <a:gd name="T74" fmla="*/ 372 w 468"/>
                  <a:gd name="T75" fmla="*/ 28 h 564"/>
                  <a:gd name="T76" fmla="*/ 404 w 468"/>
                  <a:gd name="T77" fmla="*/ 50 h 564"/>
                  <a:gd name="T78" fmla="*/ 426 w 468"/>
                  <a:gd name="T79" fmla="*/ 76 h 564"/>
                  <a:gd name="T80" fmla="*/ 444 w 468"/>
                  <a:gd name="T81" fmla="*/ 110 h 564"/>
                  <a:gd name="T82" fmla="*/ 454 w 468"/>
                  <a:gd name="T83" fmla="*/ 150 h 564"/>
                  <a:gd name="T84" fmla="*/ 458 w 468"/>
                  <a:gd name="T85" fmla="*/ 196 h 564"/>
                  <a:gd name="T86" fmla="*/ 458 w 468"/>
                  <a:gd name="T87" fmla="*/ 414 h 564"/>
                  <a:gd name="T88" fmla="*/ 460 w 468"/>
                  <a:gd name="T89" fmla="*/ 496 h 564"/>
                  <a:gd name="T90" fmla="*/ 468 w 468"/>
                  <a:gd name="T91" fmla="*/ 552 h 564"/>
                  <a:gd name="T92" fmla="*/ 334 w 468"/>
                  <a:gd name="T93" fmla="*/ 502 h 564"/>
                  <a:gd name="T94" fmla="*/ 248 w 468"/>
                  <a:gd name="T95" fmla="*/ 304 h 564"/>
                  <a:gd name="T96" fmla="*/ 204 w 468"/>
                  <a:gd name="T97" fmla="*/ 310 h 564"/>
                  <a:gd name="T98" fmla="*/ 170 w 468"/>
                  <a:gd name="T99" fmla="*/ 322 h 564"/>
                  <a:gd name="T100" fmla="*/ 162 w 468"/>
                  <a:gd name="T101" fmla="*/ 326 h 564"/>
                  <a:gd name="T102" fmla="*/ 150 w 468"/>
                  <a:gd name="T103" fmla="*/ 340 h 564"/>
                  <a:gd name="T104" fmla="*/ 142 w 468"/>
                  <a:gd name="T105" fmla="*/ 354 h 564"/>
                  <a:gd name="T106" fmla="*/ 138 w 468"/>
                  <a:gd name="T107" fmla="*/ 382 h 564"/>
                  <a:gd name="T108" fmla="*/ 138 w 468"/>
                  <a:gd name="T109" fmla="*/ 400 h 564"/>
                  <a:gd name="T110" fmla="*/ 150 w 468"/>
                  <a:gd name="T111" fmla="*/ 426 h 564"/>
                  <a:gd name="T112" fmla="*/ 170 w 468"/>
                  <a:gd name="T113" fmla="*/ 446 h 564"/>
                  <a:gd name="T114" fmla="*/ 200 w 468"/>
                  <a:gd name="T115" fmla="*/ 456 h 564"/>
                  <a:gd name="T116" fmla="*/ 216 w 468"/>
                  <a:gd name="T117" fmla="*/ 456 h 564"/>
                  <a:gd name="T118" fmla="*/ 252 w 468"/>
                  <a:gd name="T119" fmla="*/ 452 h 564"/>
                  <a:gd name="T120" fmla="*/ 282 w 468"/>
                  <a:gd name="T121" fmla="*/ 442 h 564"/>
                  <a:gd name="T122" fmla="*/ 322 w 468"/>
                  <a:gd name="T123" fmla="*/ 418 h 564"/>
                  <a:gd name="T124" fmla="*/ 248 w 468"/>
                  <a:gd name="T125" fmla="*/ 30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8" h="564">
                    <a:moveTo>
                      <a:pt x="334" y="502"/>
                    </a:moveTo>
                    <a:lnTo>
                      <a:pt x="334" y="502"/>
                    </a:lnTo>
                    <a:lnTo>
                      <a:pt x="318" y="514"/>
                    </a:lnTo>
                    <a:lnTo>
                      <a:pt x="302" y="526"/>
                    </a:lnTo>
                    <a:lnTo>
                      <a:pt x="284" y="536"/>
                    </a:lnTo>
                    <a:lnTo>
                      <a:pt x="266" y="546"/>
                    </a:lnTo>
                    <a:lnTo>
                      <a:pt x="246" y="554"/>
                    </a:lnTo>
                    <a:lnTo>
                      <a:pt x="226" y="560"/>
                    </a:lnTo>
                    <a:lnTo>
                      <a:pt x="202" y="562"/>
                    </a:lnTo>
                    <a:lnTo>
                      <a:pt x="178" y="564"/>
                    </a:lnTo>
                    <a:lnTo>
                      <a:pt x="178" y="564"/>
                    </a:lnTo>
                    <a:lnTo>
                      <a:pt x="160" y="564"/>
                    </a:lnTo>
                    <a:lnTo>
                      <a:pt x="140" y="560"/>
                    </a:lnTo>
                    <a:lnTo>
                      <a:pt x="124" y="558"/>
                    </a:lnTo>
                    <a:lnTo>
                      <a:pt x="106" y="552"/>
                    </a:lnTo>
                    <a:lnTo>
                      <a:pt x="92" y="546"/>
                    </a:lnTo>
                    <a:lnTo>
                      <a:pt x="76" y="538"/>
                    </a:lnTo>
                    <a:lnTo>
                      <a:pt x="62" y="528"/>
                    </a:lnTo>
                    <a:lnTo>
                      <a:pt x="50" y="516"/>
                    </a:lnTo>
                    <a:lnTo>
                      <a:pt x="38" y="506"/>
                    </a:lnTo>
                    <a:lnTo>
                      <a:pt x="28" y="492"/>
                    </a:lnTo>
                    <a:lnTo>
                      <a:pt x="20" y="478"/>
                    </a:lnTo>
                    <a:lnTo>
                      <a:pt x="12" y="462"/>
                    </a:lnTo>
                    <a:lnTo>
                      <a:pt x="6" y="446"/>
                    </a:lnTo>
                    <a:lnTo>
                      <a:pt x="2" y="430"/>
                    </a:lnTo>
                    <a:lnTo>
                      <a:pt x="0" y="412"/>
                    </a:lnTo>
                    <a:lnTo>
                      <a:pt x="0" y="392"/>
                    </a:lnTo>
                    <a:lnTo>
                      <a:pt x="0" y="392"/>
                    </a:lnTo>
                    <a:lnTo>
                      <a:pt x="0" y="366"/>
                    </a:lnTo>
                    <a:lnTo>
                      <a:pt x="6" y="342"/>
                    </a:lnTo>
                    <a:lnTo>
                      <a:pt x="14" y="320"/>
                    </a:lnTo>
                    <a:lnTo>
                      <a:pt x="24" y="302"/>
                    </a:lnTo>
                    <a:lnTo>
                      <a:pt x="36" y="284"/>
                    </a:lnTo>
                    <a:lnTo>
                      <a:pt x="52" y="270"/>
                    </a:lnTo>
                    <a:lnTo>
                      <a:pt x="70" y="256"/>
                    </a:lnTo>
                    <a:lnTo>
                      <a:pt x="90" y="246"/>
                    </a:lnTo>
                    <a:lnTo>
                      <a:pt x="90" y="246"/>
                    </a:lnTo>
                    <a:lnTo>
                      <a:pt x="120" y="232"/>
                    </a:lnTo>
                    <a:lnTo>
                      <a:pt x="154" y="224"/>
                    </a:lnTo>
                    <a:lnTo>
                      <a:pt x="190" y="218"/>
                    </a:lnTo>
                    <a:lnTo>
                      <a:pt x="230" y="214"/>
                    </a:lnTo>
                    <a:lnTo>
                      <a:pt x="322" y="210"/>
                    </a:lnTo>
                    <a:lnTo>
                      <a:pt x="322" y="194"/>
                    </a:lnTo>
                    <a:lnTo>
                      <a:pt x="322" y="194"/>
                    </a:lnTo>
                    <a:lnTo>
                      <a:pt x="320" y="172"/>
                    </a:lnTo>
                    <a:lnTo>
                      <a:pt x="314" y="154"/>
                    </a:lnTo>
                    <a:lnTo>
                      <a:pt x="306" y="138"/>
                    </a:lnTo>
                    <a:lnTo>
                      <a:pt x="294" y="126"/>
                    </a:lnTo>
                    <a:lnTo>
                      <a:pt x="278" y="116"/>
                    </a:lnTo>
                    <a:lnTo>
                      <a:pt x="260" y="108"/>
                    </a:lnTo>
                    <a:lnTo>
                      <a:pt x="240" y="106"/>
                    </a:lnTo>
                    <a:lnTo>
                      <a:pt x="218" y="104"/>
                    </a:lnTo>
                    <a:lnTo>
                      <a:pt x="218" y="104"/>
                    </a:lnTo>
                    <a:lnTo>
                      <a:pt x="198" y="104"/>
                    </a:lnTo>
                    <a:lnTo>
                      <a:pt x="178" y="106"/>
                    </a:lnTo>
                    <a:lnTo>
                      <a:pt x="160" y="110"/>
                    </a:lnTo>
                    <a:lnTo>
                      <a:pt x="142" y="114"/>
                    </a:lnTo>
                    <a:lnTo>
                      <a:pt x="108" y="126"/>
                    </a:lnTo>
                    <a:lnTo>
                      <a:pt x="76" y="142"/>
                    </a:lnTo>
                    <a:lnTo>
                      <a:pt x="32" y="54"/>
                    </a:lnTo>
                    <a:lnTo>
                      <a:pt x="32" y="54"/>
                    </a:lnTo>
                    <a:lnTo>
                      <a:pt x="56" y="42"/>
                    </a:lnTo>
                    <a:lnTo>
                      <a:pt x="82" y="30"/>
                    </a:lnTo>
                    <a:lnTo>
                      <a:pt x="106" y="22"/>
                    </a:lnTo>
                    <a:lnTo>
                      <a:pt x="132" y="14"/>
                    </a:lnTo>
                    <a:lnTo>
                      <a:pt x="158" y="8"/>
                    </a:lnTo>
                    <a:lnTo>
                      <a:pt x="186" y="4"/>
                    </a:lnTo>
                    <a:lnTo>
                      <a:pt x="212" y="0"/>
                    </a:lnTo>
                    <a:lnTo>
                      <a:pt x="240" y="0"/>
                    </a:lnTo>
                    <a:lnTo>
                      <a:pt x="240" y="0"/>
                    </a:lnTo>
                    <a:lnTo>
                      <a:pt x="268" y="0"/>
                    </a:lnTo>
                    <a:lnTo>
                      <a:pt x="292" y="4"/>
                    </a:lnTo>
                    <a:lnTo>
                      <a:pt x="314" y="6"/>
                    </a:lnTo>
                    <a:lnTo>
                      <a:pt x="336" y="12"/>
                    </a:lnTo>
                    <a:lnTo>
                      <a:pt x="356" y="20"/>
                    </a:lnTo>
                    <a:lnTo>
                      <a:pt x="372" y="28"/>
                    </a:lnTo>
                    <a:lnTo>
                      <a:pt x="388" y="38"/>
                    </a:lnTo>
                    <a:lnTo>
                      <a:pt x="404" y="50"/>
                    </a:lnTo>
                    <a:lnTo>
                      <a:pt x="416" y="62"/>
                    </a:lnTo>
                    <a:lnTo>
                      <a:pt x="426" y="76"/>
                    </a:lnTo>
                    <a:lnTo>
                      <a:pt x="436" y="94"/>
                    </a:lnTo>
                    <a:lnTo>
                      <a:pt x="444" y="110"/>
                    </a:lnTo>
                    <a:lnTo>
                      <a:pt x="450" y="130"/>
                    </a:lnTo>
                    <a:lnTo>
                      <a:pt x="454" y="150"/>
                    </a:lnTo>
                    <a:lnTo>
                      <a:pt x="456" y="172"/>
                    </a:lnTo>
                    <a:lnTo>
                      <a:pt x="458" y="196"/>
                    </a:lnTo>
                    <a:lnTo>
                      <a:pt x="458" y="414"/>
                    </a:lnTo>
                    <a:lnTo>
                      <a:pt x="458" y="414"/>
                    </a:lnTo>
                    <a:lnTo>
                      <a:pt x="458" y="458"/>
                    </a:lnTo>
                    <a:lnTo>
                      <a:pt x="460" y="496"/>
                    </a:lnTo>
                    <a:lnTo>
                      <a:pt x="462" y="528"/>
                    </a:lnTo>
                    <a:lnTo>
                      <a:pt x="468" y="552"/>
                    </a:lnTo>
                    <a:lnTo>
                      <a:pt x="354" y="552"/>
                    </a:lnTo>
                    <a:lnTo>
                      <a:pt x="334" y="502"/>
                    </a:lnTo>
                    <a:close/>
                    <a:moveTo>
                      <a:pt x="248" y="304"/>
                    </a:moveTo>
                    <a:lnTo>
                      <a:pt x="248" y="304"/>
                    </a:lnTo>
                    <a:lnTo>
                      <a:pt x="224" y="306"/>
                    </a:lnTo>
                    <a:lnTo>
                      <a:pt x="204" y="310"/>
                    </a:lnTo>
                    <a:lnTo>
                      <a:pt x="186" y="314"/>
                    </a:lnTo>
                    <a:lnTo>
                      <a:pt x="170" y="322"/>
                    </a:lnTo>
                    <a:lnTo>
                      <a:pt x="170" y="322"/>
                    </a:lnTo>
                    <a:lnTo>
                      <a:pt x="162" y="326"/>
                    </a:lnTo>
                    <a:lnTo>
                      <a:pt x="156" y="332"/>
                    </a:lnTo>
                    <a:lnTo>
                      <a:pt x="150" y="340"/>
                    </a:lnTo>
                    <a:lnTo>
                      <a:pt x="146" y="346"/>
                    </a:lnTo>
                    <a:lnTo>
                      <a:pt x="142" y="354"/>
                    </a:lnTo>
                    <a:lnTo>
                      <a:pt x="140" y="364"/>
                    </a:lnTo>
                    <a:lnTo>
                      <a:pt x="138" y="382"/>
                    </a:lnTo>
                    <a:lnTo>
                      <a:pt x="138" y="382"/>
                    </a:lnTo>
                    <a:lnTo>
                      <a:pt x="138" y="400"/>
                    </a:lnTo>
                    <a:lnTo>
                      <a:pt x="142" y="414"/>
                    </a:lnTo>
                    <a:lnTo>
                      <a:pt x="150" y="426"/>
                    </a:lnTo>
                    <a:lnTo>
                      <a:pt x="158" y="438"/>
                    </a:lnTo>
                    <a:lnTo>
                      <a:pt x="170" y="446"/>
                    </a:lnTo>
                    <a:lnTo>
                      <a:pt x="184" y="452"/>
                    </a:lnTo>
                    <a:lnTo>
                      <a:pt x="200" y="456"/>
                    </a:lnTo>
                    <a:lnTo>
                      <a:pt x="216" y="456"/>
                    </a:lnTo>
                    <a:lnTo>
                      <a:pt x="216" y="456"/>
                    </a:lnTo>
                    <a:lnTo>
                      <a:pt x="234" y="456"/>
                    </a:lnTo>
                    <a:lnTo>
                      <a:pt x="252" y="452"/>
                    </a:lnTo>
                    <a:lnTo>
                      <a:pt x="268" y="448"/>
                    </a:lnTo>
                    <a:lnTo>
                      <a:pt x="282" y="442"/>
                    </a:lnTo>
                    <a:lnTo>
                      <a:pt x="304" y="430"/>
                    </a:lnTo>
                    <a:lnTo>
                      <a:pt x="322" y="418"/>
                    </a:lnTo>
                    <a:lnTo>
                      <a:pt x="322" y="302"/>
                    </a:lnTo>
                    <a:lnTo>
                      <a:pt x="248" y="3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 name="Freeform 23"/>
              <p:cNvSpPr>
                <a:spLocks/>
              </p:cNvSpPr>
              <p:nvPr/>
            </p:nvSpPr>
            <p:spPr bwMode="auto">
              <a:xfrm>
                <a:off x="8121536" y="4519372"/>
                <a:ext cx="62089" cy="83892"/>
              </a:xfrm>
              <a:custGeom>
                <a:avLst/>
                <a:gdLst>
                  <a:gd name="T0" fmla="*/ 34 w 598"/>
                  <a:gd name="T1" fmla="*/ 678 h 808"/>
                  <a:gd name="T2" fmla="*/ 34 w 598"/>
                  <a:gd name="T3" fmla="*/ 678 h 808"/>
                  <a:gd name="T4" fmla="*/ 54 w 598"/>
                  <a:gd name="T5" fmla="*/ 688 h 808"/>
                  <a:gd name="T6" fmla="*/ 74 w 598"/>
                  <a:gd name="T7" fmla="*/ 694 h 808"/>
                  <a:gd name="T8" fmla="*/ 94 w 598"/>
                  <a:gd name="T9" fmla="*/ 698 h 808"/>
                  <a:gd name="T10" fmla="*/ 116 w 598"/>
                  <a:gd name="T11" fmla="*/ 700 h 808"/>
                  <a:gd name="T12" fmla="*/ 116 w 598"/>
                  <a:gd name="T13" fmla="*/ 700 h 808"/>
                  <a:gd name="T14" fmla="*/ 138 w 598"/>
                  <a:gd name="T15" fmla="*/ 698 h 808"/>
                  <a:gd name="T16" fmla="*/ 158 w 598"/>
                  <a:gd name="T17" fmla="*/ 692 h 808"/>
                  <a:gd name="T18" fmla="*/ 168 w 598"/>
                  <a:gd name="T19" fmla="*/ 686 h 808"/>
                  <a:gd name="T20" fmla="*/ 178 w 598"/>
                  <a:gd name="T21" fmla="*/ 680 h 808"/>
                  <a:gd name="T22" fmla="*/ 188 w 598"/>
                  <a:gd name="T23" fmla="*/ 672 h 808"/>
                  <a:gd name="T24" fmla="*/ 198 w 598"/>
                  <a:gd name="T25" fmla="*/ 664 h 808"/>
                  <a:gd name="T26" fmla="*/ 216 w 598"/>
                  <a:gd name="T27" fmla="*/ 642 h 808"/>
                  <a:gd name="T28" fmla="*/ 234 w 598"/>
                  <a:gd name="T29" fmla="*/ 612 h 808"/>
                  <a:gd name="T30" fmla="*/ 250 w 598"/>
                  <a:gd name="T31" fmla="*/ 578 h 808"/>
                  <a:gd name="T32" fmla="*/ 266 w 598"/>
                  <a:gd name="T33" fmla="*/ 536 h 808"/>
                  <a:gd name="T34" fmla="*/ 24 w 598"/>
                  <a:gd name="T35" fmla="*/ 0 h 808"/>
                  <a:gd name="T36" fmla="*/ 164 w 598"/>
                  <a:gd name="T37" fmla="*/ 0 h 808"/>
                  <a:gd name="T38" fmla="*/ 328 w 598"/>
                  <a:gd name="T39" fmla="*/ 382 h 808"/>
                  <a:gd name="T40" fmla="*/ 330 w 598"/>
                  <a:gd name="T41" fmla="*/ 382 h 808"/>
                  <a:gd name="T42" fmla="*/ 460 w 598"/>
                  <a:gd name="T43" fmla="*/ 0 h 808"/>
                  <a:gd name="T44" fmla="*/ 598 w 598"/>
                  <a:gd name="T45" fmla="*/ 0 h 808"/>
                  <a:gd name="T46" fmla="*/ 392 w 598"/>
                  <a:gd name="T47" fmla="*/ 556 h 808"/>
                  <a:gd name="T48" fmla="*/ 392 w 598"/>
                  <a:gd name="T49" fmla="*/ 556 h 808"/>
                  <a:gd name="T50" fmla="*/ 376 w 598"/>
                  <a:gd name="T51" fmla="*/ 596 h 808"/>
                  <a:gd name="T52" fmla="*/ 360 w 598"/>
                  <a:gd name="T53" fmla="*/ 632 h 808"/>
                  <a:gd name="T54" fmla="*/ 344 w 598"/>
                  <a:gd name="T55" fmla="*/ 662 h 808"/>
                  <a:gd name="T56" fmla="*/ 326 w 598"/>
                  <a:gd name="T57" fmla="*/ 690 h 808"/>
                  <a:gd name="T58" fmla="*/ 308 w 598"/>
                  <a:gd name="T59" fmla="*/ 714 h 808"/>
                  <a:gd name="T60" fmla="*/ 292 w 598"/>
                  <a:gd name="T61" fmla="*/ 734 h 808"/>
                  <a:gd name="T62" fmla="*/ 274 w 598"/>
                  <a:gd name="T63" fmla="*/ 752 h 808"/>
                  <a:gd name="T64" fmla="*/ 256 w 598"/>
                  <a:gd name="T65" fmla="*/ 766 h 808"/>
                  <a:gd name="T66" fmla="*/ 238 w 598"/>
                  <a:gd name="T67" fmla="*/ 778 h 808"/>
                  <a:gd name="T68" fmla="*/ 220 w 598"/>
                  <a:gd name="T69" fmla="*/ 788 h 808"/>
                  <a:gd name="T70" fmla="*/ 200 w 598"/>
                  <a:gd name="T71" fmla="*/ 796 h 808"/>
                  <a:gd name="T72" fmla="*/ 182 w 598"/>
                  <a:gd name="T73" fmla="*/ 800 h 808"/>
                  <a:gd name="T74" fmla="*/ 164 w 598"/>
                  <a:gd name="T75" fmla="*/ 804 h 808"/>
                  <a:gd name="T76" fmla="*/ 146 w 598"/>
                  <a:gd name="T77" fmla="*/ 808 h 808"/>
                  <a:gd name="T78" fmla="*/ 108 w 598"/>
                  <a:gd name="T79" fmla="*/ 808 h 808"/>
                  <a:gd name="T80" fmla="*/ 108 w 598"/>
                  <a:gd name="T81" fmla="*/ 808 h 808"/>
                  <a:gd name="T82" fmla="*/ 78 w 598"/>
                  <a:gd name="T83" fmla="*/ 808 h 808"/>
                  <a:gd name="T84" fmla="*/ 52 w 598"/>
                  <a:gd name="T85" fmla="*/ 802 h 808"/>
                  <a:gd name="T86" fmla="*/ 26 w 598"/>
                  <a:gd name="T87" fmla="*/ 794 h 808"/>
                  <a:gd name="T88" fmla="*/ 0 w 598"/>
                  <a:gd name="T89" fmla="*/ 784 h 808"/>
                  <a:gd name="T90" fmla="*/ 34 w 598"/>
                  <a:gd name="T91" fmla="*/ 678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98" h="808">
                    <a:moveTo>
                      <a:pt x="34" y="678"/>
                    </a:moveTo>
                    <a:lnTo>
                      <a:pt x="34" y="678"/>
                    </a:lnTo>
                    <a:lnTo>
                      <a:pt x="54" y="688"/>
                    </a:lnTo>
                    <a:lnTo>
                      <a:pt x="74" y="694"/>
                    </a:lnTo>
                    <a:lnTo>
                      <a:pt x="94" y="698"/>
                    </a:lnTo>
                    <a:lnTo>
                      <a:pt x="116" y="700"/>
                    </a:lnTo>
                    <a:lnTo>
                      <a:pt x="116" y="700"/>
                    </a:lnTo>
                    <a:lnTo>
                      <a:pt x="138" y="698"/>
                    </a:lnTo>
                    <a:lnTo>
                      <a:pt x="158" y="692"/>
                    </a:lnTo>
                    <a:lnTo>
                      <a:pt x="168" y="686"/>
                    </a:lnTo>
                    <a:lnTo>
                      <a:pt x="178" y="680"/>
                    </a:lnTo>
                    <a:lnTo>
                      <a:pt x="188" y="672"/>
                    </a:lnTo>
                    <a:lnTo>
                      <a:pt x="198" y="664"/>
                    </a:lnTo>
                    <a:lnTo>
                      <a:pt x="216" y="642"/>
                    </a:lnTo>
                    <a:lnTo>
                      <a:pt x="234" y="612"/>
                    </a:lnTo>
                    <a:lnTo>
                      <a:pt x="250" y="578"/>
                    </a:lnTo>
                    <a:lnTo>
                      <a:pt x="266" y="536"/>
                    </a:lnTo>
                    <a:lnTo>
                      <a:pt x="24" y="0"/>
                    </a:lnTo>
                    <a:lnTo>
                      <a:pt x="164" y="0"/>
                    </a:lnTo>
                    <a:lnTo>
                      <a:pt x="328" y="382"/>
                    </a:lnTo>
                    <a:lnTo>
                      <a:pt x="330" y="382"/>
                    </a:lnTo>
                    <a:lnTo>
                      <a:pt x="460" y="0"/>
                    </a:lnTo>
                    <a:lnTo>
                      <a:pt x="598" y="0"/>
                    </a:lnTo>
                    <a:lnTo>
                      <a:pt x="392" y="556"/>
                    </a:lnTo>
                    <a:lnTo>
                      <a:pt x="392" y="556"/>
                    </a:lnTo>
                    <a:lnTo>
                      <a:pt x="376" y="596"/>
                    </a:lnTo>
                    <a:lnTo>
                      <a:pt x="360" y="632"/>
                    </a:lnTo>
                    <a:lnTo>
                      <a:pt x="344" y="662"/>
                    </a:lnTo>
                    <a:lnTo>
                      <a:pt x="326" y="690"/>
                    </a:lnTo>
                    <a:lnTo>
                      <a:pt x="308" y="714"/>
                    </a:lnTo>
                    <a:lnTo>
                      <a:pt x="292" y="734"/>
                    </a:lnTo>
                    <a:lnTo>
                      <a:pt x="274" y="752"/>
                    </a:lnTo>
                    <a:lnTo>
                      <a:pt x="256" y="766"/>
                    </a:lnTo>
                    <a:lnTo>
                      <a:pt x="238" y="778"/>
                    </a:lnTo>
                    <a:lnTo>
                      <a:pt x="220" y="788"/>
                    </a:lnTo>
                    <a:lnTo>
                      <a:pt x="200" y="796"/>
                    </a:lnTo>
                    <a:lnTo>
                      <a:pt x="182" y="800"/>
                    </a:lnTo>
                    <a:lnTo>
                      <a:pt x="164" y="804"/>
                    </a:lnTo>
                    <a:lnTo>
                      <a:pt x="146" y="808"/>
                    </a:lnTo>
                    <a:lnTo>
                      <a:pt x="108" y="808"/>
                    </a:lnTo>
                    <a:lnTo>
                      <a:pt x="108" y="808"/>
                    </a:lnTo>
                    <a:lnTo>
                      <a:pt x="78" y="808"/>
                    </a:lnTo>
                    <a:lnTo>
                      <a:pt x="52" y="802"/>
                    </a:lnTo>
                    <a:lnTo>
                      <a:pt x="26" y="794"/>
                    </a:lnTo>
                    <a:lnTo>
                      <a:pt x="0" y="784"/>
                    </a:lnTo>
                    <a:lnTo>
                      <a:pt x="34" y="6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1" name="Freeform 24"/>
              <p:cNvSpPr>
                <a:spLocks/>
              </p:cNvSpPr>
              <p:nvPr/>
            </p:nvSpPr>
            <p:spPr bwMode="auto">
              <a:xfrm>
                <a:off x="8179056" y="4502136"/>
                <a:ext cx="45269" cy="74340"/>
              </a:xfrm>
              <a:custGeom>
                <a:avLst/>
                <a:gdLst>
                  <a:gd name="T0" fmla="*/ 124 w 436"/>
                  <a:gd name="T1" fmla="*/ 572 h 716"/>
                  <a:gd name="T2" fmla="*/ 124 w 436"/>
                  <a:gd name="T3" fmla="*/ 272 h 716"/>
                  <a:gd name="T4" fmla="*/ 0 w 436"/>
                  <a:gd name="T5" fmla="*/ 272 h 716"/>
                  <a:gd name="T6" fmla="*/ 28 w 436"/>
                  <a:gd name="T7" fmla="*/ 166 h 716"/>
                  <a:gd name="T8" fmla="*/ 124 w 436"/>
                  <a:gd name="T9" fmla="*/ 166 h 716"/>
                  <a:gd name="T10" fmla="*/ 124 w 436"/>
                  <a:gd name="T11" fmla="*/ 40 h 716"/>
                  <a:gd name="T12" fmla="*/ 260 w 436"/>
                  <a:gd name="T13" fmla="*/ 0 h 716"/>
                  <a:gd name="T14" fmla="*/ 260 w 436"/>
                  <a:gd name="T15" fmla="*/ 166 h 716"/>
                  <a:gd name="T16" fmla="*/ 424 w 436"/>
                  <a:gd name="T17" fmla="*/ 166 h 716"/>
                  <a:gd name="T18" fmla="*/ 390 w 436"/>
                  <a:gd name="T19" fmla="*/ 272 h 716"/>
                  <a:gd name="T20" fmla="*/ 260 w 436"/>
                  <a:gd name="T21" fmla="*/ 272 h 716"/>
                  <a:gd name="T22" fmla="*/ 260 w 436"/>
                  <a:gd name="T23" fmla="*/ 538 h 716"/>
                  <a:gd name="T24" fmla="*/ 260 w 436"/>
                  <a:gd name="T25" fmla="*/ 538 h 716"/>
                  <a:gd name="T26" fmla="*/ 262 w 436"/>
                  <a:gd name="T27" fmla="*/ 556 h 716"/>
                  <a:gd name="T28" fmla="*/ 264 w 436"/>
                  <a:gd name="T29" fmla="*/ 570 h 716"/>
                  <a:gd name="T30" fmla="*/ 268 w 436"/>
                  <a:gd name="T31" fmla="*/ 582 h 716"/>
                  <a:gd name="T32" fmla="*/ 274 w 436"/>
                  <a:gd name="T33" fmla="*/ 592 h 716"/>
                  <a:gd name="T34" fmla="*/ 280 w 436"/>
                  <a:gd name="T35" fmla="*/ 598 h 716"/>
                  <a:gd name="T36" fmla="*/ 290 w 436"/>
                  <a:gd name="T37" fmla="*/ 604 h 716"/>
                  <a:gd name="T38" fmla="*/ 300 w 436"/>
                  <a:gd name="T39" fmla="*/ 606 h 716"/>
                  <a:gd name="T40" fmla="*/ 312 w 436"/>
                  <a:gd name="T41" fmla="*/ 606 h 716"/>
                  <a:gd name="T42" fmla="*/ 312 w 436"/>
                  <a:gd name="T43" fmla="*/ 606 h 716"/>
                  <a:gd name="T44" fmla="*/ 336 w 436"/>
                  <a:gd name="T45" fmla="*/ 604 h 716"/>
                  <a:gd name="T46" fmla="*/ 358 w 436"/>
                  <a:gd name="T47" fmla="*/ 598 h 716"/>
                  <a:gd name="T48" fmla="*/ 378 w 436"/>
                  <a:gd name="T49" fmla="*/ 590 h 716"/>
                  <a:gd name="T50" fmla="*/ 394 w 436"/>
                  <a:gd name="T51" fmla="*/ 580 h 716"/>
                  <a:gd name="T52" fmla="*/ 436 w 436"/>
                  <a:gd name="T53" fmla="*/ 674 h 716"/>
                  <a:gd name="T54" fmla="*/ 436 w 436"/>
                  <a:gd name="T55" fmla="*/ 674 h 716"/>
                  <a:gd name="T56" fmla="*/ 420 w 436"/>
                  <a:gd name="T57" fmla="*/ 684 h 716"/>
                  <a:gd name="T58" fmla="*/ 402 w 436"/>
                  <a:gd name="T59" fmla="*/ 692 h 716"/>
                  <a:gd name="T60" fmla="*/ 384 w 436"/>
                  <a:gd name="T61" fmla="*/ 698 h 716"/>
                  <a:gd name="T62" fmla="*/ 362 w 436"/>
                  <a:gd name="T63" fmla="*/ 704 h 716"/>
                  <a:gd name="T64" fmla="*/ 342 w 436"/>
                  <a:gd name="T65" fmla="*/ 710 h 716"/>
                  <a:gd name="T66" fmla="*/ 320 w 436"/>
                  <a:gd name="T67" fmla="*/ 714 h 716"/>
                  <a:gd name="T68" fmla="*/ 300 w 436"/>
                  <a:gd name="T69" fmla="*/ 716 h 716"/>
                  <a:gd name="T70" fmla="*/ 278 w 436"/>
                  <a:gd name="T71" fmla="*/ 716 h 716"/>
                  <a:gd name="T72" fmla="*/ 278 w 436"/>
                  <a:gd name="T73" fmla="*/ 716 h 716"/>
                  <a:gd name="T74" fmla="*/ 260 w 436"/>
                  <a:gd name="T75" fmla="*/ 716 h 716"/>
                  <a:gd name="T76" fmla="*/ 244 w 436"/>
                  <a:gd name="T77" fmla="*/ 714 h 716"/>
                  <a:gd name="T78" fmla="*/ 228 w 436"/>
                  <a:gd name="T79" fmla="*/ 710 h 716"/>
                  <a:gd name="T80" fmla="*/ 214 w 436"/>
                  <a:gd name="T81" fmla="*/ 706 h 716"/>
                  <a:gd name="T82" fmla="*/ 200 w 436"/>
                  <a:gd name="T83" fmla="*/ 700 h 716"/>
                  <a:gd name="T84" fmla="*/ 188 w 436"/>
                  <a:gd name="T85" fmla="*/ 694 h 716"/>
                  <a:gd name="T86" fmla="*/ 176 w 436"/>
                  <a:gd name="T87" fmla="*/ 686 h 716"/>
                  <a:gd name="T88" fmla="*/ 166 w 436"/>
                  <a:gd name="T89" fmla="*/ 678 h 716"/>
                  <a:gd name="T90" fmla="*/ 156 w 436"/>
                  <a:gd name="T91" fmla="*/ 668 h 716"/>
                  <a:gd name="T92" fmla="*/ 148 w 436"/>
                  <a:gd name="T93" fmla="*/ 656 h 716"/>
                  <a:gd name="T94" fmla="*/ 142 w 436"/>
                  <a:gd name="T95" fmla="*/ 644 h 716"/>
                  <a:gd name="T96" fmla="*/ 136 w 436"/>
                  <a:gd name="T97" fmla="*/ 632 h 716"/>
                  <a:gd name="T98" fmla="*/ 130 w 436"/>
                  <a:gd name="T99" fmla="*/ 618 h 716"/>
                  <a:gd name="T100" fmla="*/ 128 w 436"/>
                  <a:gd name="T101" fmla="*/ 604 h 716"/>
                  <a:gd name="T102" fmla="*/ 126 w 436"/>
                  <a:gd name="T103" fmla="*/ 588 h 716"/>
                  <a:gd name="T104" fmla="*/ 124 w 436"/>
                  <a:gd name="T105" fmla="*/ 572 h 716"/>
                  <a:gd name="T106" fmla="*/ 124 w 436"/>
                  <a:gd name="T107" fmla="*/ 57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6" h="716">
                    <a:moveTo>
                      <a:pt x="124" y="572"/>
                    </a:moveTo>
                    <a:lnTo>
                      <a:pt x="124" y="272"/>
                    </a:lnTo>
                    <a:lnTo>
                      <a:pt x="0" y="272"/>
                    </a:lnTo>
                    <a:lnTo>
                      <a:pt x="28" y="166"/>
                    </a:lnTo>
                    <a:lnTo>
                      <a:pt x="124" y="166"/>
                    </a:lnTo>
                    <a:lnTo>
                      <a:pt x="124" y="40"/>
                    </a:lnTo>
                    <a:lnTo>
                      <a:pt x="260" y="0"/>
                    </a:lnTo>
                    <a:lnTo>
                      <a:pt x="260" y="166"/>
                    </a:lnTo>
                    <a:lnTo>
                      <a:pt x="424" y="166"/>
                    </a:lnTo>
                    <a:lnTo>
                      <a:pt x="390" y="272"/>
                    </a:lnTo>
                    <a:lnTo>
                      <a:pt x="260" y="272"/>
                    </a:lnTo>
                    <a:lnTo>
                      <a:pt x="260" y="538"/>
                    </a:lnTo>
                    <a:lnTo>
                      <a:pt x="260" y="538"/>
                    </a:lnTo>
                    <a:lnTo>
                      <a:pt x="262" y="556"/>
                    </a:lnTo>
                    <a:lnTo>
                      <a:pt x="264" y="570"/>
                    </a:lnTo>
                    <a:lnTo>
                      <a:pt x="268" y="582"/>
                    </a:lnTo>
                    <a:lnTo>
                      <a:pt x="274" y="592"/>
                    </a:lnTo>
                    <a:lnTo>
                      <a:pt x="280" y="598"/>
                    </a:lnTo>
                    <a:lnTo>
                      <a:pt x="290" y="604"/>
                    </a:lnTo>
                    <a:lnTo>
                      <a:pt x="300" y="606"/>
                    </a:lnTo>
                    <a:lnTo>
                      <a:pt x="312" y="606"/>
                    </a:lnTo>
                    <a:lnTo>
                      <a:pt x="312" y="606"/>
                    </a:lnTo>
                    <a:lnTo>
                      <a:pt x="336" y="604"/>
                    </a:lnTo>
                    <a:lnTo>
                      <a:pt x="358" y="598"/>
                    </a:lnTo>
                    <a:lnTo>
                      <a:pt x="378" y="590"/>
                    </a:lnTo>
                    <a:lnTo>
                      <a:pt x="394" y="580"/>
                    </a:lnTo>
                    <a:lnTo>
                      <a:pt x="436" y="674"/>
                    </a:lnTo>
                    <a:lnTo>
                      <a:pt x="436" y="674"/>
                    </a:lnTo>
                    <a:lnTo>
                      <a:pt x="420" y="684"/>
                    </a:lnTo>
                    <a:lnTo>
                      <a:pt x="402" y="692"/>
                    </a:lnTo>
                    <a:lnTo>
                      <a:pt x="384" y="698"/>
                    </a:lnTo>
                    <a:lnTo>
                      <a:pt x="362" y="704"/>
                    </a:lnTo>
                    <a:lnTo>
                      <a:pt x="342" y="710"/>
                    </a:lnTo>
                    <a:lnTo>
                      <a:pt x="320" y="714"/>
                    </a:lnTo>
                    <a:lnTo>
                      <a:pt x="300" y="716"/>
                    </a:lnTo>
                    <a:lnTo>
                      <a:pt x="278" y="716"/>
                    </a:lnTo>
                    <a:lnTo>
                      <a:pt x="278" y="716"/>
                    </a:lnTo>
                    <a:lnTo>
                      <a:pt x="260" y="716"/>
                    </a:lnTo>
                    <a:lnTo>
                      <a:pt x="244" y="714"/>
                    </a:lnTo>
                    <a:lnTo>
                      <a:pt x="228" y="710"/>
                    </a:lnTo>
                    <a:lnTo>
                      <a:pt x="214" y="706"/>
                    </a:lnTo>
                    <a:lnTo>
                      <a:pt x="200" y="700"/>
                    </a:lnTo>
                    <a:lnTo>
                      <a:pt x="188" y="694"/>
                    </a:lnTo>
                    <a:lnTo>
                      <a:pt x="176" y="686"/>
                    </a:lnTo>
                    <a:lnTo>
                      <a:pt x="166" y="678"/>
                    </a:lnTo>
                    <a:lnTo>
                      <a:pt x="156" y="668"/>
                    </a:lnTo>
                    <a:lnTo>
                      <a:pt x="148" y="656"/>
                    </a:lnTo>
                    <a:lnTo>
                      <a:pt x="142" y="644"/>
                    </a:lnTo>
                    <a:lnTo>
                      <a:pt x="136" y="632"/>
                    </a:lnTo>
                    <a:lnTo>
                      <a:pt x="130" y="618"/>
                    </a:lnTo>
                    <a:lnTo>
                      <a:pt x="128" y="604"/>
                    </a:lnTo>
                    <a:lnTo>
                      <a:pt x="126" y="588"/>
                    </a:lnTo>
                    <a:lnTo>
                      <a:pt x="124" y="572"/>
                    </a:lnTo>
                    <a:lnTo>
                      <a:pt x="124" y="5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 name="Freeform 25"/>
              <p:cNvSpPr>
                <a:spLocks/>
              </p:cNvSpPr>
              <p:nvPr/>
            </p:nvSpPr>
            <p:spPr bwMode="auto">
              <a:xfrm>
                <a:off x="8254227" y="4517918"/>
                <a:ext cx="47345" cy="58558"/>
              </a:xfrm>
              <a:custGeom>
                <a:avLst/>
                <a:gdLst>
                  <a:gd name="T0" fmla="*/ 0 w 456"/>
                  <a:gd name="T1" fmla="*/ 288 h 564"/>
                  <a:gd name="T2" fmla="*/ 4 w 456"/>
                  <a:gd name="T3" fmla="*/ 226 h 564"/>
                  <a:gd name="T4" fmla="*/ 22 w 456"/>
                  <a:gd name="T5" fmla="*/ 172 h 564"/>
                  <a:gd name="T6" fmla="*/ 48 w 456"/>
                  <a:gd name="T7" fmla="*/ 122 h 564"/>
                  <a:gd name="T8" fmla="*/ 82 w 456"/>
                  <a:gd name="T9" fmla="*/ 80 h 564"/>
                  <a:gd name="T10" fmla="*/ 124 w 456"/>
                  <a:gd name="T11" fmla="*/ 46 h 564"/>
                  <a:gd name="T12" fmla="*/ 172 w 456"/>
                  <a:gd name="T13" fmla="*/ 22 h 564"/>
                  <a:gd name="T14" fmla="*/ 226 w 456"/>
                  <a:gd name="T15" fmla="*/ 6 h 564"/>
                  <a:gd name="T16" fmla="*/ 284 w 456"/>
                  <a:gd name="T17" fmla="*/ 0 h 564"/>
                  <a:gd name="T18" fmla="*/ 308 w 456"/>
                  <a:gd name="T19" fmla="*/ 0 h 564"/>
                  <a:gd name="T20" fmla="*/ 352 w 456"/>
                  <a:gd name="T21" fmla="*/ 6 h 564"/>
                  <a:gd name="T22" fmla="*/ 388 w 456"/>
                  <a:gd name="T23" fmla="*/ 16 h 564"/>
                  <a:gd name="T24" fmla="*/ 428 w 456"/>
                  <a:gd name="T25" fmla="*/ 36 h 564"/>
                  <a:gd name="T26" fmla="*/ 428 w 456"/>
                  <a:gd name="T27" fmla="*/ 152 h 564"/>
                  <a:gd name="T28" fmla="*/ 400 w 456"/>
                  <a:gd name="T29" fmla="*/ 134 h 564"/>
                  <a:gd name="T30" fmla="*/ 368 w 456"/>
                  <a:gd name="T31" fmla="*/ 120 h 564"/>
                  <a:gd name="T32" fmla="*/ 336 w 456"/>
                  <a:gd name="T33" fmla="*/ 112 h 564"/>
                  <a:gd name="T34" fmla="*/ 298 w 456"/>
                  <a:gd name="T35" fmla="*/ 110 h 564"/>
                  <a:gd name="T36" fmla="*/ 280 w 456"/>
                  <a:gd name="T37" fmla="*/ 110 h 564"/>
                  <a:gd name="T38" fmla="*/ 246 w 456"/>
                  <a:gd name="T39" fmla="*/ 118 h 564"/>
                  <a:gd name="T40" fmla="*/ 216 w 456"/>
                  <a:gd name="T41" fmla="*/ 130 h 564"/>
                  <a:gd name="T42" fmla="*/ 192 w 456"/>
                  <a:gd name="T43" fmla="*/ 148 h 564"/>
                  <a:gd name="T44" fmla="*/ 170 w 456"/>
                  <a:gd name="T45" fmla="*/ 172 h 564"/>
                  <a:gd name="T46" fmla="*/ 156 w 456"/>
                  <a:gd name="T47" fmla="*/ 200 h 564"/>
                  <a:gd name="T48" fmla="*/ 144 w 456"/>
                  <a:gd name="T49" fmla="*/ 230 h 564"/>
                  <a:gd name="T50" fmla="*/ 140 w 456"/>
                  <a:gd name="T51" fmla="*/ 266 h 564"/>
                  <a:gd name="T52" fmla="*/ 138 w 456"/>
                  <a:gd name="T53" fmla="*/ 284 h 564"/>
                  <a:gd name="T54" fmla="*/ 142 w 456"/>
                  <a:gd name="T55" fmla="*/ 322 h 564"/>
                  <a:gd name="T56" fmla="*/ 150 w 456"/>
                  <a:gd name="T57" fmla="*/ 358 h 564"/>
                  <a:gd name="T58" fmla="*/ 162 w 456"/>
                  <a:gd name="T59" fmla="*/ 386 h 564"/>
                  <a:gd name="T60" fmla="*/ 180 w 456"/>
                  <a:gd name="T61" fmla="*/ 410 h 564"/>
                  <a:gd name="T62" fmla="*/ 202 w 456"/>
                  <a:gd name="T63" fmla="*/ 430 h 564"/>
                  <a:gd name="T64" fmla="*/ 228 w 456"/>
                  <a:gd name="T65" fmla="*/ 444 h 564"/>
                  <a:gd name="T66" fmla="*/ 258 w 456"/>
                  <a:gd name="T67" fmla="*/ 452 h 564"/>
                  <a:gd name="T68" fmla="*/ 292 w 456"/>
                  <a:gd name="T69" fmla="*/ 454 h 564"/>
                  <a:gd name="T70" fmla="*/ 310 w 456"/>
                  <a:gd name="T71" fmla="*/ 454 h 564"/>
                  <a:gd name="T72" fmla="*/ 342 w 456"/>
                  <a:gd name="T73" fmla="*/ 448 h 564"/>
                  <a:gd name="T74" fmla="*/ 388 w 456"/>
                  <a:gd name="T75" fmla="*/ 432 h 564"/>
                  <a:gd name="T76" fmla="*/ 456 w 456"/>
                  <a:gd name="T77" fmla="*/ 512 h 564"/>
                  <a:gd name="T78" fmla="*/ 438 w 456"/>
                  <a:gd name="T79" fmla="*/ 522 h 564"/>
                  <a:gd name="T80" fmla="*/ 398 w 456"/>
                  <a:gd name="T81" fmla="*/ 542 h 564"/>
                  <a:gd name="T82" fmla="*/ 352 w 456"/>
                  <a:gd name="T83" fmla="*/ 556 h 564"/>
                  <a:gd name="T84" fmla="*/ 300 w 456"/>
                  <a:gd name="T85" fmla="*/ 564 h 564"/>
                  <a:gd name="T86" fmla="*/ 272 w 456"/>
                  <a:gd name="T87" fmla="*/ 564 h 564"/>
                  <a:gd name="T88" fmla="*/ 210 w 456"/>
                  <a:gd name="T89" fmla="*/ 558 h 564"/>
                  <a:gd name="T90" fmla="*/ 156 w 456"/>
                  <a:gd name="T91" fmla="*/ 542 h 564"/>
                  <a:gd name="T92" fmla="*/ 108 w 456"/>
                  <a:gd name="T93" fmla="*/ 518 h 564"/>
                  <a:gd name="T94" fmla="*/ 70 w 456"/>
                  <a:gd name="T95" fmla="*/ 484 h 564"/>
                  <a:gd name="T96" fmla="*/ 40 w 456"/>
                  <a:gd name="T97" fmla="*/ 444 h 564"/>
                  <a:gd name="T98" fmla="*/ 18 w 456"/>
                  <a:gd name="T99" fmla="*/ 396 h 564"/>
                  <a:gd name="T100" fmla="*/ 4 w 456"/>
                  <a:gd name="T101" fmla="*/ 344 h 564"/>
                  <a:gd name="T102" fmla="*/ 0 w 456"/>
                  <a:gd name="T103" fmla="*/ 288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56" h="564">
                    <a:moveTo>
                      <a:pt x="0" y="288"/>
                    </a:moveTo>
                    <a:lnTo>
                      <a:pt x="0" y="288"/>
                    </a:lnTo>
                    <a:lnTo>
                      <a:pt x="0" y="256"/>
                    </a:lnTo>
                    <a:lnTo>
                      <a:pt x="4" y="226"/>
                    </a:lnTo>
                    <a:lnTo>
                      <a:pt x="12" y="198"/>
                    </a:lnTo>
                    <a:lnTo>
                      <a:pt x="22" y="172"/>
                    </a:lnTo>
                    <a:lnTo>
                      <a:pt x="32" y="146"/>
                    </a:lnTo>
                    <a:lnTo>
                      <a:pt x="48" y="122"/>
                    </a:lnTo>
                    <a:lnTo>
                      <a:pt x="64" y="100"/>
                    </a:lnTo>
                    <a:lnTo>
                      <a:pt x="82" y="80"/>
                    </a:lnTo>
                    <a:lnTo>
                      <a:pt x="102" y="62"/>
                    </a:lnTo>
                    <a:lnTo>
                      <a:pt x="124" y="46"/>
                    </a:lnTo>
                    <a:lnTo>
                      <a:pt x="146" y="32"/>
                    </a:lnTo>
                    <a:lnTo>
                      <a:pt x="172" y="22"/>
                    </a:lnTo>
                    <a:lnTo>
                      <a:pt x="198" y="12"/>
                    </a:lnTo>
                    <a:lnTo>
                      <a:pt x="226" y="6"/>
                    </a:lnTo>
                    <a:lnTo>
                      <a:pt x="254" y="2"/>
                    </a:lnTo>
                    <a:lnTo>
                      <a:pt x="284" y="0"/>
                    </a:lnTo>
                    <a:lnTo>
                      <a:pt x="284" y="0"/>
                    </a:lnTo>
                    <a:lnTo>
                      <a:pt x="308" y="0"/>
                    </a:lnTo>
                    <a:lnTo>
                      <a:pt x="332" y="4"/>
                    </a:lnTo>
                    <a:lnTo>
                      <a:pt x="352" y="6"/>
                    </a:lnTo>
                    <a:lnTo>
                      <a:pt x="372" y="12"/>
                    </a:lnTo>
                    <a:lnTo>
                      <a:pt x="388" y="16"/>
                    </a:lnTo>
                    <a:lnTo>
                      <a:pt x="404" y="24"/>
                    </a:lnTo>
                    <a:lnTo>
                      <a:pt x="428" y="36"/>
                    </a:lnTo>
                    <a:lnTo>
                      <a:pt x="428" y="152"/>
                    </a:lnTo>
                    <a:lnTo>
                      <a:pt x="428" y="152"/>
                    </a:lnTo>
                    <a:lnTo>
                      <a:pt x="414" y="142"/>
                    </a:lnTo>
                    <a:lnTo>
                      <a:pt x="400" y="134"/>
                    </a:lnTo>
                    <a:lnTo>
                      <a:pt x="384" y="126"/>
                    </a:lnTo>
                    <a:lnTo>
                      <a:pt x="368" y="120"/>
                    </a:lnTo>
                    <a:lnTo>
                      <a:pt x="352" y="116"/>
                    </a:lnTo>
                    <a:lnTo>
                      <a:pt x="336" y="112"/>
                    </a:lnTo>
                    <a:lnTo>
                      <a:pt x="316" y="110"/>
                    </a:lnTo>
                    <a:lnTo>
                      <a:pt x="298" y="110"/>
                    </a:lnTo>
                    <a:lnTo>
                      <a:pt x="298" y="110"/>
                    </a:lnTo>
                    <a:lnTo>
                      <a:pt x="280" y="110"/>
                    </a:lnTo>
                    <a:lnTo>
                      <a:pt x="262" y="112"/>
                    </a:lnTo>
                    <a:lnTo>
                      <a:pt x="246" y="118"/>
                    </a:lnTo>
                    <a:lnTo>
                      <a:pt x="230" y="122"/>
                    </a:lnTo>
                    <a:lnTo>
                      <a:pt x="216" y="130"/>
                    </a:lnTo>
                    <a:lnTo>
                      <a:pt x="204" y="138"/>
                    </a:lnTo>
                    <a:lnTo>
                      <a:pt x="192" y="148"/>
                    </a:lnTo>
                    <a:lnTo>
                      <a:pt x="180" y="160"/>
                    </a:lnTo>
                    <a:lnTo>
                      <a:pt x="170" y="172"/>
                    </a:lnTo>
                    <a:lnTo>
                      <a:pt x="162" y="186"/>
                    </a:lnTo>
                    <a:lnTo>
                      <a:pt x="156" y="200"/>
                    </a:lnTo>
                    <a:lnTo>
                      <a:pt x="150" y="214"/>
                    </a:lnTo>
                    <a:lnTo>
                      <a:pt x="144" y="230"/>
                    </a:lnTo>
                    <a:lnTo>
                      <a:pt x="142" y="248"/>
                    </a:lnTo>
                    <a:lnTo>
                      <a:pt x="140" y="266"/>
                    </a:lnTo>
                    <a:lnTo>
                      <a:pt x="138" y="284"/>
                    </a:lnTo>
                    <a:lnTo>
                      <a:pt x="138" y="284"/>
                    </a:lnTo>
                    <a:lnTo>
                      <a:pt x="140" y="304"/>
                    </a:lnTo>
                    <a:lnTo>
                      <a:pt x="142" y="322"/>
                    </a:lnTo>
                    <a:lnTo>
                      <a:pt x="144" y="340"/>
                    </a:lnTo>
                    <a:lnTo>
                      <a:pt x="150" y="358"/>
                    </a:lnTo>
                    <a:lnTo>
                      <a:pt x="156" y="372"/>
                    </a:lnTo>
                    <a:lnTo>
                      <a:pt x="162" y="386"/>
                    </a:lnTo>
                    <a:lnTo>
                      <a:pt x="170" y="400"/>
                    </a:lnTo>
                    <a:lnTo>
                      <a:pt x="180" y="410"/>
                    </a:lnTo>
                    <a:lnTo>
                      <a:pt x="190" y="420"/>
                    </a:lnTo>
                    <a:lnTo>
                      <a:pt x="202" y="430"/>
                    </a:lnTo>
                    <a:lnTo>
                      <a:pt x="214" y="438"/>
                    </a:lnTo>
                    <a:lnTo>
                      <a:pt x="228" y="444"/>
                    </a:lnTo>
                    <a:lnTo>
                      <a:pt x="242" y="448"/>
                    </a:lnTo>
                    <a:lnTo>
                      <a:pt x="258" y="452"/>
                    </a:lnTo>
                    <a:lnTo>
                      <a:pt x="274" y="454"/>
                    </a:lnTo>
                    <a:lnTo>
                      <a:pt x="292" y="454"/>
                    </a:lnTo>
                    <a:lnTo>
                      <a:pt x="292" y="454"/>
                    </a:lnTo>
                    <a:lnTo>
                      <a:pt x="310" y="454"/>
                    </a:lnTo>
                    <a:lnTo>
                      <a:pt x="326" y="452"/>
                    </a:lnTo>
                    <a:lnTo>
                      <a:pt x="342" y="448"/>
                    </a:lnTo>
                    <a:lnTo>
                      <a:pt x="358" y="444"/>
                    </a:lnTo>
                    <a:lnTo>
                      <a:pt x="388" y="432"/>
                    </a:lnTo>
                    <a:lnTo>
                      <a:pt x="416" y="418"/>
                    </a:lnTo>
                    <a:lnTo>
                      <a:pt x="456" y="512"/>
                    </a:lnTo>
                    <a:lnTo>
                      <a:pt x="456" y="512"/>
                    </a:lnTo>
                    <a:lnTo>
                      <a:pt x="438" y="522"/>
                    </a:lnTo>
                    <a:lnTo>
                      <a:pt x="420" y="532"/>
                    </a:lnTo>
                    <a:lnTo>
                      <a:pt x="398" y="542"/>
                    </a:lnTo>
                    <a:lnTo>
                      <a:pt x="376" y="550"/>
                    </a:lnTo>
                    <a:lnTo>
                      <a:pt x="352" y="556"/>
                    </a:lnTo>
                    <a:lnTo>
                      <a:pt x="326" y="560"/>
                    </a:lnTo>
                    <a:lnTo>
                      <a:pt x="300" y="564"/>
                    </a:lnTo>
                    <a:lnTo>
                      <a:pt x="272" y="564"/>
                    </a:lnTo>
                    <a:lnTo>
                      <a:pt x="272" y="564"/>
                    </a:lnTo>
                    <a:lnTo>
                      <a:pt x="240" y="562"/>
                    </a:lnTo>
                    <a:lnTo>
                      <a:pt x="210" y="558"/>
                    </a:lnTo>
                    <a:lnTo>
                      <a:pt x="182" y="552"/>
                    </a:lnTo>
                    <a:lnTo>
                      <a:pt x="156" y="542"/>
                    </a:lnTo>
                    <a:lnTo>
                      <a:pt x="130" y="532"/>
                    </a:lnTo>
                    <a:lnTo>
                      <a:pt x="108" y="518"/>
                    </a:lnTo>
                    <a:lnTo>
                      <a:pt x="88" y="502"/>
                    </a:lnTo>
                    <a:lnTo>
                      <a:pt x="70" y="484"/>
                    </a:lnTo>
                    <a:lnTo>
                      <a:pt x="54" y="464"/>
                    </a:lnTo>
                    <a:lnTo>
                      <a:pt x="40" y="444"/>
                    </a:lnTo>
                    <a:lnTo>
                      <a:pt x="28" y="420"/>
                    </a:lnTo>
                    <a:lnTo>
                      <a:pt x="18" y="396"/>
                    </a:lnTo>
                    <a:lnTo>
                      <a:pt x="10" y="370"/>
                    </a:lnTo>
                    <a:lnTo>
                      <a:pt x="4" y="344"/>
                    </a:lnTo>
                    <a:lnTo>
                      <a:pt x="0" y="316"/>
                    </a:lnTo>
                    <a:lnTo>
                      <a:pt x="0" y="288"/>
                    </a:lnTo>
                    <a:lnTo>
                      <a:pt x="0"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 name="Freeform 26"/>
              <p:cNvSpPr>
                <a:spLocks/>
              </p:cNvSpPr>
              <p:nvPr/>
            </p:nvSpPr>
            <p:spPr bwMode="auto">
              <a:xfrm>
                <a:off x="8304894" y="4517918"/>
                <a:ext cx="43400" cy="58558"/>
              </a:xfrm>
              <a:custGeom>
                <a:avLst/>
                <a:gdLst>
                  <a:gd name="T0" fmla="*/ 58 w 418"/>
                  <a:gd name="T1" fmla="*/ 422 h 564"/>
                  <a:gd name="T2" fmla="*/ 112 w 418"/>
                  <a:gd name="T3" fmla="*/ 444 h 564"/>
                  <a:gd name="T4" fmla="*/ 170 w 418"/>
                  <a:gd name="T5" fmla="*/ 456 h 564"/>
                  <a:gd name="T6" fmla="*/ 210 w 418"/>
                  <a:gd name="T7" fmla="*/ 456 h 564"/>
                  <a:gd name="T8" fmla="*/ 258 w 418"/>
                  <a:gd name="T9" fmla="*/ 444 h 564"/>
                  <a:gd name="T10" fmla="*/ 282 w 418"/>
                  <a:gd name="T11" fmla="*/ 414 h 564"/>
                  <a:gd name="T12" fmla="*/ 284 w 418"/>
                  <a:gd name="T13" fmla="*/ 392 h 564"/>
                  <a:gd name="T14" fmla="*/ 274 w 418"/>
                  <a:gd name="T15" fmla="*/ 372 h 564"/>
                  <a:gd name="T16" fmla="*/ 226 w 418"/>
                  <a:gd name="T17" fmla="*/ 340 h 564"/>
                  <a:gd name="T18" fmla="*/ 134 w 418"/>
                  <a:gd name="T19" fmla="*/ 304 h 564"/>
                  <a:gd name="T20" fmla="*/ 72 w 418"/>
                  <a:gd name="T21" fmla="*/ 264 h 564"/>
                  <a:gd name="T22" fmla="*/ 48 w 418"/>
                  <a:gd name="T23" fmla="*/ 232 h 564"/>
                  <a:gd name="T24" fmla="*/ 34 w 418"/>
                  <a:gd name="T25" fmla="*/ 194 h 564"/>
                  <a:gd name="T26" fmla="*/ 32 w 418"/>
                  <a:gd name="T27" fmla="*/ 162 h 564"/>
                  <a:gd name="T28" fmla="*/ 40 w 418"/>
                  <a:gd name="T29" fmla="*/ 112 h 564"/>
                  <a:gd name="T30" fmla="*/ 62 w 418"/>
                  <a:gd name="T31" fmla="*/ 70 h 564"/>
                  <a:gd name="T32" fmla="*/ 100 w 418"/>
                  <a:gd name="T33" fmla="*/ 36 h 564"/>
                  <a:gd name="T34" fmla="*/ 150 w 418"/>
                  <a:gd name="T35" fmla="*/ 12 h 564"/>
                  <a:gd name="T36" fmla="*/ 212 w 418"/>
                  <a:gd name="T37" fmla="*/ 0 h 564"/>
                  <a:gd name="T38" fmla="*/ 280 w 418"/>
                  <a:gd name="T39" fmla="*/ 2 h 564"/>
                  <a:gd name="T40" fmla="*/ 394 w 418"/>
                  <a:gd name="T41" fmla="*/ 26 h 564"/>
                  <a:gd name="T42" fmla="*/ 358 w 418"/>
                  <a:gd name="T43" fmla="*/ 128 h 564"/>
                  <a:gd name="T44" fmla="*/ 262 w 418"/>
                  <a:gd name="T45" fmla="*/ 108 h 564"/>
                  <a:gd name="T46" fmla="*/ 224 w 418"/>
                  <a:gd name="T47" fmla="*/ 108 h 564"/>
                  <a:gd name="T48" fmla="*/ 186 w 418"/>
                  <a:gd name="T49" fmla="*/ 118 h 564"/>
                  <a:gd name="T50" fmla="*/ 166 w 418"/>
                  <a:gd name="T51" fmla="*/ 144 h 564"/>
                  <a:gd name="T52" fmla="*/ 166 w 418"/>
                  <a:gd name="T53" fmla="*/ 164 h 564"/>
                  <a:gd name="T54" fmla="*/ 176 w 418"/>
                  <a:gd name="T55" fmla="*/ 184 h 564"/>
                  <a:gd name="T56" fmla="*/ 224 w 418"/>
                  <a:gd name="T57" fmla="*/ 212 h 564"/>
                  <a:gd name="T58" fmla="*/ 314 w 418"/>
                  <a:gd name="T59" fmla="*/ 248 h 564"/>
                  <a:gd name="T60" fmla="*/ 378 w 418"/>
                  <a:gd name="T61" fmla="*/ 292 h 564"/>
                  <a:gd name="T62" fmla="*/ 402 w 418"/>
                  <a:gd name="T63" fmla="*/ 324 h 564"/>
                  <a:gd name="T64" fmla="*/ 414 w 418"/>
                  <a:gd name="T65" fmla="*/ 364 h 564"/>
                  <a:gd name="T66" fmla="*/ 418 w 418"/>
                  <a:gd name="T67" fmla="*/ 396 h 564"/>
                  <a:gd name="T68" fmla="*/ 408 w 418"/>
                  <a:gd name="T69" fmla="*/ 456 h 564"/>
                  <a:gd name="T70" fmla="*/ 380 w 418"/>
                  <a:gd name="T71" fmla="*/ 502 h 564"/>
                  <a:gd name="T72" fmla="*/ 336 w 418"/>
                  <a:gd name="T73" fmla="*/ 534 h 564"/>
                  <a:gd name="T74" fmla="*/ 282 w 418"/>
                  <a:gd name="T75" fmla="*/ 554 h 564"/>
                  <a:gd name="T76" fmla="*/ 220 w 418"/>
                  <a:gd name="T77" fmla="*/ 564 h 564"/>
                  <a:gd name="T78" fmla="*/ 168 w 418"/>
                  <a:gd name="T79" fmla="*/ 562 h 564"/>
                  <a:gd name="T80" fmla="*/ 84 w 418"/>
                  <a:gd name="T81" fmla="*/ 548 h 564"/>
                  <a:gd name="T82" fmla="*/ 18 w 418"/>
                  <a:gd name="T83" fmla="*/ 522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8" h="564">
                    <a:moveTo>
                      <a:pt x="42" y="412"/>
                    </a:moveTo>
                    <a:lnTo>
                      <a:pt x="42" y="412"/>
                    </a:lnTo>
                    <a:lnTo>
                      <a:pt x="58" y="422"/>
                    </a:lnTo>
                    <a:lnTo>
                      <a:pt x="76" y="430"/>
                    </a:lnTo>
                    <a:lnTo>
                      <a:pt x="94" y="438"/>
                    </a:lnTo>
                    <a:lnTo>
                      <a:pt x="112" y="444"/>
                    </a:lnTo>
                    <a:lnTo>
                      <a:pt x="130" y="450"/>
                    </a:lnTo>
                    <a:lnTo>
                      <a:pt x="150" y="454"/>
                    </a:lnTo>
                    <a:lnTo>
                      <a:pt x="170" y="456"/>
                    </a:lnTo>
                    <a:lnTo>
                      <a:pt x="190" y="456"/>
                    </a:lnTo>
                    <a:lnTo>
                      <a:pt x="190" y="456"/>
                    </a:lnTo>
                    <a:lnTo>
                      <a:pt x="210" y="456"/>
                    </a:lnTo>
                    <a:lnTo>
                      <a:pt x="228" y="454"/>
                    </a:lnTo>
                    <a:lnTo>
                      <a:pt x="244" y="450"/>
                    </a:lnTo>
                    <a:lnTo>
                      <a:pt x="258" y="444"/>
                    </a:lnTo>
                    <a:lnTo>
                      <a:pt x="268" y="436"/>
                    </a:lnTo>
                    <a:lnTo>
                      <a:pt x="278" y="426"/>
                    </a:lnTo>
                    <a:lnTo>
                      <a:pt x="282" y="414"/>
                    </a:lnTo>
                    <a:lnTo>
                      <a:pt x="284" y="400"/>
                    </a:lnTo>
                    <a:lnTo>
                      <a:pt x="284" y="400"/>
                    </a:lnTo>
                    <a:lnTo>
                      <a:pt x="284" y="392"/>
                    </a:lnTo>
                    <a:lnTo>
                      <a:pt x="282" y="384"/>
                    </a:lnTo>
                    <a:lnTo>
                      <a:pt x="278" y="378"/>
                    </a:lnTo>
                    <a:lnTo>
                      <a:pt x="274" y="372"/>
                    </a:lnTo>
                    <a:lnTo>
                      <a:pt x="262" y="360"/>
                    </a:lnTo>
                    <a:lnTo>
                      <a:pt x="244" y="350"/>
                    </a:lnTo>
                    <a:lnTo>
                      <a:pt x="226" y="340"/>
                    </a:lnTo>
                    <a:lnTo>
                      <a:pt x="204" y="332"/>
                    </a:lnTo>
                    <a:lnTo>
                      <a:pt x="158" y="314"/>
                    </a:lnTo>
                    <a:lnTo>
                      <a:pt x="134" y="304"/>
                    </a:lnTo>
                    <a:lnTo>
                      <a:pt x="112" y="294"/>
                    </a:lnTo>
                    <a:lnTo>
                      <a:pt x="90" y="280"/>
                    </a:lnTo>
                    <a:lnTo>
                      <a:pt x="72" y="264"/>
                    </a:lnTo>
                    <a:lnTo>
                      <a:pt x="62" y="254"/>
                    </a:lnTo>
                    <a:lnTo>
                      <a:pt x="54" y="244"/>
                    </a:lnTo>
                    <a:lnTo>
                      <a:pt x="48" y="232"/>
                    </a:lnTo>
                    <a:lnTo>
                      <a:pt x="42" y="222"/>
                    </a:lnTo>
                    <a:lnTo>
                      <a:pt x="38" y="208"/>
                    </a:lnTo>
                    <a:lnTo>
                      <a:pt x="34" y="194"/>
                    </a:lnTo>
                    <a:lnTo>
                      <a:pt x="32" y="180"/>
                    </a:lnTo>
                    <a:lnTo>
                      <a:pt x="32" y="162"/>
                    </a:lnTo>
                    <a:lnTo>
                      <a:pt x="32" y="162"/>
                    </a:lnTo>
                    <a:lnTo>
                      <a:pt x="32" y="146"/>
                    </a:lnTo>
                    <a:lnTo>
                      <a:pt x="36" y="128"/>
                    </a:lnTo>
                    <a:lnTo>
                      <a:pt x="40" y="112"/>
                    </a:lnTo>
                    <a:lnTo>
                      <a:pt x="46" y="98"/>
                    </a:lnTo>
                    <a:lnTo>
                      <a:pt x="54" y="82"/>
                    </a:lnTo>
                    <a:lnTo>
                      <a:pt x="62" y="70"/>
                    </a:lnTo>
                    <a:lnTo>
                      <a:pt x="74" y="56"/>
                    </a:lnTo>
                    <a:lnTo>
                      <a:pt x="86" y="46"/>
                    </a:lnTo>
                    <a:lnTo>
                      <a:pt x="100" y="36"/>
                    </a:lnTo>
                    <a:lnTo>
                      <a:pt x="116" y="26"/>
                    </a:lnTo>
                    <a:lnTo>
                      <a:pt x="132" y="18"/>
                    </a:lnTo>
                    <a:lnTo>
                      <a:pt x="150" y="12"/>
                    </a:lnTo>
                    <a:lnTo>
                      <a:pt x="170" y="6"/>
                    </a:lnTo>
                    <a:lnTo>
                      <a:pt x="190" y="4"/>
                    </a:lnTo>
                    <a:lnTo>
                      <a:pt x="212" y="0"/>
                    </a:lnTo>
                    <a:lnTo>
                      <a:pt x="236" y="0"/>
                    </a:lnTo>
                    <a:lnTo>
                      <a:pt x="236" y="0"/>
                    </a:lnTo>
                    <a:lnTo>
                      <a:pt x="280" y="2"/>
                    </a:lnTo>
                    <a:lnTo>
                      <a:pt x="320" y="8"/>
                    </a:lnTo>
                    <a:lnTo>
                      <a:pt x="358" y="16"/>
                    </a:lnTo>
                    <a:lnTo>
                      <a:pt x="394" y="26"/>
                    </a:lnTo>
                    <a:lnTo>
                      <a:pt x="394" y="142"/>
                    </a:lnTo>
                    <a:lnTo>
                      <a:pt x="394" y="142"/>
                    </a:lnTo>
                    <a:lnTo>
                      <a:pt x="358" y="128"/>
                    </a:lnTo>
                    <a:lnTo>
                      <a:pt x="322" y="116"/>
                    </a:lnTo>
                    <a:lnTo>
                      <a:pt x="282" y="110"/>
                    </a:lnTo>
                    <a:lnTo>
                      <a:pt x="262" y="108"/>
                    </a:lnTo>
                    <a:lnTo>
                      <a:pt x="242" y="108"/>
                    </a:lnTo>
                    <a:lnTo>
                      <a:pt x="242" y="108"/>
                    </a:lnTo>
                    <a:lnTo>
                      <a:pt x="224" y="108"/>
                    </a:lnTo>
                    <a:lnTo>
                      <a:pt x="210" y="110"/>
                    </a:lnTo>
                    <a:lnTo>
                      <a:pt x="198" y="114"/>
                    </a:lnTo>
                    <a:lnTo>
                      <a:pt x="186" y="118"/>
                    </a:lnTo>
                    <a:lnTo>
                      <a:pt x="176" y="126"/>
                    </a:lnTo>
                    <a:lnTo>
                      <a:pt x="170" y="134"/>
                    </a:lnTo>
                    <a:lnTo>
                      <a:pt x="166" y="144"/>
                    </a:lnTo>
                    <a:lnTo>
                      <a:pt x="164" y="156"/>
                    </a:lnTo>
                    <a:lnTo>
                      <a:pt x="164" y="156"/>
                    </a:lnTo>
                    <a:lnTo>
                      <a:pt x="166" y="164"/>
                    </a:lnTo>
                    <a:lnTo>
                      <a:pt x="168" y="170"/>
                    </a:lnTo>
                    <a:lnTo>
                      <a:pt x="172" y="178"/>
                    </a:lnTo>
                    <a:lnTo>
                      <a:pt x="176" y="184"/>
                    </a:lnTo>
                    <a:lnTo>
                      <a:pt x="188" y="194"/>
                    </a:lnTo>
                    <a:lnTo>
                      <a:pt x="204" y="204"/>
                    </a:lnTo>
                    <a:lnTo>
                      <a:pt x="224" y="212"/>
                    </a:lnTo>
                    <a:lnTo>
                      <a:pt x="244" y="220"/>
                    </a:lnTo>
                    <a:lnTo>
                      <a:pt x="292" y="238"/>
                    </a:lnTo>
                    <a:lnTo>
                      <a:pt x="314" y="248"/>
                    </a:lnTo>
                    <a:lnTo>
                      <a:pt x="338" y="260"/>
                    </a:lnTo>
                    <a:lnTo>
                      <a:pt x="360" y="274"/>
                    </a:lnTo>
                    <a:lnTo>
                      <a:pt x="378" y="292"/>
                    </a:lnTo>
                    <a:lnTo>
                      <a:pt x="386" y="302"/>
                    </a:lnTo>
                    <a:lnTo>
                      <a:pt x="394" y="312"/>
                    </a:lnTo>
                    <a:lnTo>
                      <a:pt x="402" y="324"/>
                    </a:lnTo>
                    <a:lnTo>
                      <a:pt x="406" y="336"/>
                    </a:lnTo>
                    <a:lnTo>
                      <a:pt x="412" y="350"/>
                    </a:lnTo>
                    <a:lnTo>
                      <a:pt x="414" y="364"/>
                    </a:lnTo>
                    <a:lnTo>
                      <a:pt x="418" y="380"/>
                    </a:lnTo>
                    <a:lnTo>
                      <a:pt x="418" y="396"/>
                    </a:lnTo>
                    <a:lnTo>
                      <a:pt x="418" y="396"/>
                    </a:lnTo>
                    <a:lnTo>
                      <a:pt x="416" y="418"/>
                    </a:lnTo>
                    <a:lnTo>
                      <a:pt x="414" y="438"/>
                    </a:lnTo>
                    <a:lnTo>
                      <a:pt x="408" y="456"/>
                    </a:lnTo>
                    <a:lnTo>
                      <a:pt x="400" y="472"/>
                    </a:lnTo>
                    <a:lnTo>
                      <a:pt x="390" y="488"/>
                    </a:lnTo>
                    <a:lnTo>
                      <a:pt x="380" y="502"/>
                    </a:lnTo>
                    <a:lnTo>
                      <a:pt x="366" y="514"/>
                    </a:lnTo>
                    <a:lnTo>
                      <a:pt x="352" y="524"/>
                    </a:lnTo>
                    <a:lnTo>
                      <a:pt x="336" y="534"/>
                    </a:lnTo>
                    <a:lnTo>
                      <a:pt x="320" y="542"/>
                    </a:lnTo>
                    <a:lnTo>
                      <a:pt x="302" y="550"/>
                    </a:lnTo>
                    <a:lnTo>
                      <a:pt x="282" y="554"/>
                    </a:lnTo>
                    <a:lnTo>
                      <a:pt x="262" y="558"/>
                    </a:lnTo>
                    <a:lnTo>
                      <a:pt x="242" y="562"/>
                    </a:lnTo>
                    <a:lnTo>
                      <a:pt x="220" y="564"/>
                    </a:lnTo>
                    <a:lnTo>
                      <a:pt x="200" y="564"/>
                    </a:lnTo>
                    <a:lnTo>
                      <a:pt x="200" y="564"/>
                    </a:lnTo>
                    <a:lnTo>
                      <a:pt x="168" y="562"/>
                    </a:lnTo>
                    <a:lnTo>
                      <a:pt x="138" y="560"/>
                    </a:lnTo>
                    <a:lnTo>
                      <a:pt x="110" y="554"/>
                    </a:lnTo>
                    <a:lnTo>
                      <a:pt x="84" y="548"/>
                    </a:lnTo>
                    <a:lnTo>
                      <a:pt x="60" y="540"/>
                    </a:lnTo>
                    <a:lnTo>
                      <a:pt x="38" y="532"/>
                    </a:lnTo>
                    <a:lnTo>
                      <a:pt x="18" y="522"/>
                    </a:lnTo>
                    <a:lnTo>
                      <a:pt x="0" y="512"/>
                    </a:lnTo>
                    <a:lnTo>
                      <a:pt x="42" y="4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 name="Freeform 27"/>
              <p:cNvSpPr>
                <a:spLocks noEditPoints="1"/>
              </p:cNvSpPr>
              <p:nvPr/>
            </p:nvSpPr>
            <p:spPr bwMode="auto">
              <a:xfrm>
                <a:off x="8230347" y="4493623"/>
                <a:ext cx="17443" cy="81608"/>
              </a:xfrm>
              <a:custGeom>
                <a:avLst/>
                <a:gdLst>
                  <a:gd name="T0" fmla="*/ 84 w 168"/>
                  <a:gd name="T1" fmla="*/ 162 h 786"/>
                  <a:gd name="T2" fmla="*/ 84 w 168"/>
                  <a:gd name="T3" fmla="*/ 162 h 786"/>
                  <a:gd name="T4" fmla="*/ 68 w 168"/>
                  <a:gd name="T5" fmla="*/ 160 h 786"/>
                  <a:gd name="T6" fmla="*/ 52 w 168"/>
                  <a:gd name="T7" fmla="*/ 156 h 786"/>
                  <a:gd name="T8" fmla="*/ 38 w 168"/>
                  <a:gd name="T9" fmla="*/ 148 h 786"/>
                  <a:gd name="T10" fmla="*/ 26 w 168"/>
                  <a:gd name="T11" fmla="*/ 138 h 786"/>
                  <a:gd name="T12" fmla="*/ 14 w 168"/>
                  <a:gd name="T13" fmla="*/ 126 h 786"/>
                  <a:gd name="T14" fmla="*/ 8 w 168"/>
                  <a:gd name="T15" fmla="*/ 112 h 786"/>
                  <a:gd name="T16" fmla="*/ 2 w 168"/>
                  <a:gd name="T17" fmla="*/ 98 h 786"/>
                  <a:gd name="T18" fmla="*/ 0 w 168"/>
                  <a:gd name="T19" fmla="*/ 80 h 786"/>
                  <a:gd name="T20" fmla="*/ 0 w 168"/>
                  <a:gd name="T21" fmla="*/ 80 h 786"/>
                  <a:gd name="T22" fmla="*/ 2 w 168"/>
                  <a:gd name="T23" fmla="*/ 64 h 786"/>
                  <a:gd name="T24" fmla="*/ 8 w 168"/>
                  <a:gd name="T25" fmla="*/ 50 h 786"/>
                  <a:gd name="T26" fmla="*/ 14 w 168"/>
                  <a:gd name="T27" fmla="*/ 36 h 786"/>
                  <a:gd name="T28" fmla="*/ 26 w 168"/>
                  <a:gd name="T29" fmla="*/ 24 h 786"/>
                  <a:gd name="T30" fmla="*/ 38 w 168"/>
                  <a:gd name="T31" fmla="*/ 14 h 786"/>
                  <a:gd name="T32" fmla="*/ 52 w 168"/>
                  <a:gd name="T33" fmla="*/ 6 h 786"/>
                  <a:gd name="T34" fmla="*/ 68 w 168"/>
                  <a:gd name="T35" fmla="*/ 2 h 786"/>
                  <a:gd name="T36" fmla="*/ 84 w 168"/>
                  <a:gd name="T37" fmla="*/ 0 h 786"/>
                  <a:gd name="T38" fmla="*/ 84 w 168"/>
                  <a:gd name="T39" fmla="*/ 0 h 786"/>
                  <a:gd name="T40" fmla="*/ 102 w 168"/>
                  <a:gd name="T41" fmla="*/ 2 h 786"/>
                  <a:gd name="T42" fmla="*/ 118 w 168"/>
                  <a:gd name="T43" fmla="*/ 6 h 786"/>
                  <a:gd name="T44" fmla="*/ 132 w 168"/>
                  <a:gd name="T45" fmla="*/ 14 h 786"/>
                  <a:gd name="T46" fmla="*/ 144 w 168"/>
                  <a:gd name="T47" fmla="*/ 24 h 786"/>
                  <a:gd name="T48" fmla="*/ 154 w 168"/>
                  <a:gd name="T49" fmla="*/ 36 h 786"/>
                  <a:gd name="T50" fmla="*/ 162 w 168"/>
                  <a:gd name="T51" fmla="*/ 48 h 786"/>
                  <a:gd name="T52" fmla="*/ 166 w 168"/>
                  <a:gd name="T53" fmla="*/ 64 h 786"/>
                  <a:gd name="T54" fmla="*/ 168 w 168"/>
                  <a:gd name="T55" fmla="*/ 80 h 786"/>
                  <a:gd name="T56" fmla="*/ 168 w 168"/>
                  <a:gd name="T57" fmla="*/ 80 h 786"/>
                  <a:gd name="T58" fmla="*/ 166 w 168"/>
                  <a:gd name="T59" fmla="*/ 96 h 786"/>
                  <a:gd name="T60" fmla="*/ 162 w 168"/>
                  <a:gd name="T61" fmla="*/ 112 h 786"/>
                  <a:gd name="T62" fmla="*/ 154 w 168"/>
                  <a:gd name="T63" fmla="*/ 126 h 786"/>
                  <a:gd name="T64" fmla="*/ 144 w 168"/>
                  <a:gd name="T65" fmla="*/ 138 h 786"/>
                  <a:gd name="T66" fmla="*/ 132 w 168"/>
                  <a:gd name="T67" fmla="*/ 148 h 786"/>
                  <a:gd name="T68" fmla="*/ 118 w 168"/>
                  <a:gd name="T69" fmla="*/ 156 h 786"/>
                  <a:gd name="T70" fmla="*/ 102 w 168"/>
                  <a:gd name="T71" fmla="*/ 160 h 786"/>
                  <a:gd name="T72" fmla="*/ 84 w 168"/>
                  <a:gd name="T73" fmla="*/ 162 h 786"/>
                  <a:gd name="T74" fmla="*/ 84 w 168"/>
                  <a:gd name="T75" fmla="*/ 162 h 786"/>
                  <a:gd name="T76" fmla="*/ 16 w 168"/>
                  <a:gd name="T77" fmla="*/ 786 h 786"/>
                  <a:gd name="T78" fmla="*/ 16 w 168"/>
                  <a:gd name="T79" fmla="*/ 244 h 786"/>
                  <a:gd name="T80" fmla="*/ 152 w 168"/>
                  <a:gd name="T81" fmla="*/ 244 h 786"/>
                  <a:gd name="T82" fmla="*/ 152 w 168"/>
                  <a:gd name="T83" fmla="*/ 244 h 786"/>
                  <a:gd name="T84" fmla="*/ 152 w 168"/>
                  <a:gd name="T85" fmla="*/ 686 h 786"/>
                  <a:gd name="T86" fmla="*/ 152 w 168"/>
                  <a:gd name="T87" fmla="*/ 686 h 786"/>
                  <a:gd name="T88" fmla="*/ 150 w 168"/>
                  <a:gd name="T89" fmla="*/ 704 h 786"/>
                  <a:gd name="T90" fmla="*/ 146 w 168"/>
                  <a:gd name="T91" fmla="*/ 720 h 786"/>
                  <a:gd name="T92" fmla="*/ 138 w 168"/>
                  <a:gd name="T93" fmla="*/ 732 h 786"/>
                  <a:gd name="T94" fmla="*/ 130 w 168"/>
                  <a:gd name="T95" fmla="*/ 744 h 786"/>
                  <a:gd name="T96" fmla="*/ 120 w 168"/>
                  <a:gd name="T97" fmla="*/ 754 h 786"/>
                  <a:gd name="T98" fmla="*/ 108 w 168"/>
                  <a:gd name="T99" fmla="*/ 762 h 786"/>
                  <a:gd name="T100" fmla="*/ 96 w 168"/>
                  <a:gd name="T101" fmla="*/ 768 h 786"/>
                  <a:gd name="T102" fmla="*/ 84 w 168"/>
                  <a:gd name="T103" fmla="*/ 774 h 786"/>
                  <a:gd name="T104" fmla="*/ 60 w 168"/>
                  <a:gd name="T105" fmla="*/ 782 h 786"/>
                  <a:gd name="T106" fmla="*/ 38 w 168"/>
                  <a:gd name="T107" fmla="*/ 784 h 786"/>
                  <a:gd name="T108" fmla="*/ 16 w 168"/>
                  <a:gd name="T109" fmla="*/ 786 h 786"/>
                  <a:gd name="T110" fmla="*/ 16 w 168"/>
                  <a:gd name="T111" fmla="*/ 786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8" h="786">
                    <a:moveTo>
                      <a:pt x="84" y="162"/>
                    </a:moveTo>
                    <a:lnTo>
                      <a:pt x="84" y="162"/>
                    </a:lnTo>
                    <a:lnTo>
                      <a:pt x="68" y="160"/>
                    </a:lnTo>
                    <a:lnTo>
                      <a:pt x="52" y="156"/>
                    </a:lnTo>
                    <a:lnTo>
                      <a:pt x="38" y="148"/>
                    </a:lnTo>
                    <a:lnTo>
                      <a:pt x="26" y="138"/>
                    </a:lnTo>
                    <a:lnTo>
                      <a:pt x="14" y="126"/>
                    </a:lnTo>
                    <a:lnTo>
                      <a:pt x="8" y="112"/>
                    </a:lnTo>
                    <a:lnTo>
                      <a:pt x="2" y="98"/>
                    </a:lnTo>
                    <a:lnTo>
                      <a:pt x="0" y="80"/>
                    </a:lnTo>
                    <a:lnTo>
                      <a:pt x="0" y="80"/>
                    </a:lnTo>
                    <a:lnTo>
                      <a:pt x="2" y="64"/>
                    </a:lnTo>
                    <a:lnTo>
                      <a:pt x="8" y="50"/>
                    </a:lnTo>
                    <a:lnTo>
                      <a:pt x="14" y="36"/>
                    </a:lnTo>
                    <a:lnTo>
                      <a:pt x="26" y="24"/>
                    </a:lnTo>
                    <a:lnTo>
                      <a:pt x="38" y="14"/>
                    </a:lnTo>
                    <a:lnTo>
                      <a:pt x="52" y="6"/>
                    </a:lnTo>
                    <a:lnTo>
                      <a:pt x="68" y="2"/>
                    </a:lnTo>
                    <a:lnTo>
                      <a:pt x="84" y="0"/>
                    </a:lnTo>
                    <a:lnTo>
                      <a:pt x="84" y="0"/>
                    </a:lnTo>
                    <a:lnTo>
                      <a:pt x="102" y="2"/>
                    </a:lnTo>
                    <a:lnTo>
                      <a:pt x="118" y="6"/>
                    </a:lnTo>
                    <a:lnTo>
                      <a:pt x="132" y="14"/>
                    </a:lnTo>
                    <a:lnTo>
                      <a:pt x="144" y="24"/>
                    </a:lnTo>
                    <a:lnTo>
                      <a:pt x="154" y="36"/>
                    </a:lnTo>
                    <a:lnTo>
                      <a:pt x="162" y="48"/>
                    </a:lnTo>
                    <a:lnTo>
                      <a:pt x="166" y="64"/>
                    </a:lnTo>
                    <a:lnTo>
                      <a:pt x="168" y="80"/>
                    </a:lnTo>
                    <a:lnTo>
                      <a:pt x="168" y="80"/>
                    </a:lnTo>
                    <a:lnTo>
                      <a:pt x="166" y="96"/>
                    </a:lnTo>
                    <a:lnTo>
                      <a:pt x="162" y="112"/>
                    </a:lnTo>
                    <a:lnTo>
                      <a:pt x="154" y="126"/>
                    </a:lnTo>
                    <a:lnTo>
                      <a:pt x="144" y="138"/>
                    </a:lnTo>
                    <a:lnTo>
                      <a:pt x="132" y="148"/>
                    </a:lnTo>
                    <a:lnTo>
                      <a:pt x="118" y="156"/>
                    </a:lnTo>
                    <a:lnTo>
                      <a:pt x="102" y="160"/>
                    </a:lnTo>
                    <a:lnTo>
                      <a:pt x="84" y="162"/>
                    </a:lnTo>
                    <a:lnTo>
                      <a:pt x="84" y="162"/>
                    </a:lnTo>
                    <a:close/>
                    <a:moveTo>
                      <a:pt x="16" y="786"/>
                    </a:moveTo>
                    <a:lnTo>
                      <a:pt x="16" y="244"/>
                    </a:lnTo>
                    <a:lnTo>
                      <a:pt x="152" y="244"/>
                    </a:lnTo>
                    <a:lnTo>
                      <a:pt x="152" y="244"/>
                    </a:lnTo>
                    <a:lnTo>
                      <a:pt x="152" y="686"/>
                    </a:lnTo>
                    <a:lnTo>
                      <a:pt x="152" y="686"/>
                    </a:lnTo>
                    <a:lnTo>
                      <a:pt x="150" y="704"/>
                    </a:lnTo>
                    <a:lnTo>
                      <a:pt x="146" y="720"/>
                    </a:lnTo>
                    <a:lnTo>
                      <a:pt x="138" y="732"/>
                    </a:lnTo>
                    <a:lnTo>
                      <a:pt x="130" y="744"/>
                    </a:lnTo>
                    <a:lnTo>
                      <a:pt x="120" y="754"/>
                    </a:lnTo>
                    <a:lnTo>
                      <a:pt x="108" y="762"/>
                    </a:lnTo>
                    <a:lnTo>
                      <a:pt x="96" y="768"/>
                    </a:lnTo>
                    <a:lnTo>
                      <a:pt x="84" y="774"/>
                    </a:lnTo>
                    <a:lnTo>
                      <a:pt x="60" y="782"/>
                    </a:lnTo>
                    <a:lnTo>
                      <a:pt x="38" y="784"/>
                    </a:lnTo>
                    <a:lnTo>
                      <a:pt x="16" y="786"/>
                    </a:lnTo>
                    <a:lnTo>
                      <a:pt x="16" y="7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5" name="Freeform 28"/>
              <p:cNvSpPr>
                <a:spLocks/>
              </p:cNvSpPr>
              <p:nvPr/>
            </p:nvSpPr>
            <p:spPr bwMode="auto">
              <a:xfrm>
                <a:off x="7989468" y="4518126"/>
                <a:ext cx="49837" cy="57313"/>
              </a:xfrm>
              <a:custGeom>
                <a:avLst/>
                <a:gdLst>
                  <a:gd name="T0" fmla="*/ 346 w 480"/>
                  <a:gd name="T1" fmla="*/ 230 h 552"/>
                  <a:gd name="T2" fmla="*/ 344 w 480"/>
                  <a:gd name="T3" fmla="*/ 210 h 552"/>
                  <a:gd name="T4" fmla="*/ 338 w 480"/>
                  <a:gd name="T5" fmla="*/ 170 h 552"/>
                  <a:gd name="T6" fmla="*/ 322 w 480"/>
                  <a:gd name="T7" fmla="*/ 138 h 552"/>
                  <a:gd name="T8" fmla="*/ 308 w 480"/>
                  <a:gd name="T9" fmla="*/ 126 h 552"/>
                  <a:gd name="T10" fmla="*/ 290 w 480"/>
                  <a:gd name="T11" fmla="*/ 118 h 552"/>
                  <a:gd name="T12" fmla="*/ 268 w 480"/>
                  <a:gd name="T13" fmla="*/ 116 h 552"/>
                  <a:gd name="T14" fmla="*/ 250 w 480"/>
                  <a:gd name="T15" fmla="*/ 116 h 552"/>
                  <a:gd name="T16" fmla="*/ 216 w 480"/>
                  <a:gd name="T17" fmla="*/ 126 h 552"/>
                  <a:gd name="T18" fmla="*/ 182 w 480"/>
                  <a:gd name="T19" fmla="*/ 140 h 552"/>
                  <a:gd name="T20" fmla="*/ 134 w 480"/>
                  <a:gd name="T21" fmla="*/ 172 h 552"/>
                  <a:gd name="T22" fmla="*/ 134 w 480"/>
                  <a:gd name="T23" fmla="*/ 452 h 552"/>
                  <a:gd name="T24" fmla="*/ 132 w 480"/>
                  <a:gd name="T25" fmla="*/ 470 h 552"/>
                  <a:gd name="T26" fmla="*/ 120 w 480"/>
                  <a:gd name="T27" fmla="*/ 498 h 552"/>
                  <a:gd name="T28" fmla="*/ 102 w 480"/>
                  <a:gd name="T29" fmla="*/ 518 h 552"/>
                  <a:gd name="T30" fmla="*/ 78 w 480"/>
                  <a:gd name="T31" fmla="*/ 534 h 552"/>
                  <a:gd name="T32" fmla="*/ 42 w 480"/>
                  <a:gd name="T33" fmla="*/ 546 h 552"/>
                  <a:gd name="T34" fmla="*/ 0 w 480"/>
                  <a:gd name="T35" fmla="*/ 552 h 552"/>
                  <a:gd name="T36" fmla="*/ 114 w 480"/>
                  <a:gd name="T37" fmla="*/ 14 h 552"/>
                  <a:gd name="T38" fmla="*/ 128 w 480"/>
                  <a:gd name="T39" fmla="*/ 70 h 552"/>
                  <a:gd name="T40" fmla="*/ 170 w 480"/>
                  <a:gd name="T41" fmla="*/ 42 h 552"/>
                  <a:gd name="T42" fmla="*/ 214 w 480"/>
                  <a:gd name="T43" fmla="*/ 20 h 552"/>
                  <a:gd name="T44" fmla="*/ 262 w 480"/>
                  <a:gd name="T45" fmla="*/ 6 h 552"/>
                  <a:gd name="T46" fmla="*/ 314 w 480"/>
                  <a:gd name="T47" fmla="*/ 0 h 552"/>
                  <a:gd name="T48" fmla="*/ 328 w 480"/>
                  <a:gd name="T49" fmla="*/ 2 h 552"/>
                  <a:gd name="T50" fmla="*/ 358 w 480"/>
                  <a:gd name="T51" fmla="*/ 6 h 552"/>
                  <a:gd name="T52" fmla="*/ 388 w 480"/>
                  <a:gd name="T53" fmla="*/ 16 h 552"/>
                  <a:gd name="T54" fmla="*/ 414 w 480"/>
                  <a:gd name="T55" fmla="*/ 32 h 552"/>
                  <a:gd name="T56" fmla="*/ 438 w 480"/>
                  <a:gd name="T57" fmla="*/ 54 h 552"/>
                  <a:gd name="T58" fmla="*/ 458 w 480"/>
                  <a:gd name="T59" fmla="*/ 84 h 552"/>
                  <a:gd name="T60" fmla="*/ 472 w 480"/>
                  <a:gd name="T61" fmla="*/ 120 h 552"/>
                  <a:gd name="T62" fmla="*/ 478 w 480"/>
                  <a:gd name="T63" fmla="*/ 166 h 552"/>
                  <a:gd name="T64" fmla="*/ 480 w 480"/>
                  <a:gd name="T65" fmla="*/ 190 h 552"/>
                  <a:gd name="T66" fmla="*/ 480 w 480"/>
                  <a:gd name="T67" fmla="*/ 452 h 552"/>
                  <a:gd name="T68" fmla="*/ 474 w 480"/>
                  <a:gd name="T69" fmla="*/ 484 h 552"/>
                  <a:gd name="T70" fmla="*/ 458 w 480"/>
                  <a:gd name="T71" fmla="*/ 510 h 552"/>
                  <a:gd name="T72" fmla="*/ 438 w 480"/>
                  <a:gd name="T73" fmla="*/ 528 h 552"/>
                  <a:gd name="T74" fmla="*/ 412 w 480"/>
                  <a:gd name="T75" fmla="*/ 540 h 552"/>
                  <a:gd name="T76" fmla="*/ 366 w 480"/>
                  <a:gd name="T77" fmla="*/ 550 h 552"/>
                  <a:gd name="T78" fmla="*/ 346 w 480"/>
                  <a:gd name="T79" fmla="*/ 552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80" h="552">
                    <a:moveTo>
                      <a:pt x="346" y="552"/>
                    </a:moveTo>
                    <a:lnTo>
                      <a:pt x="346" y="230"/>
                    </a:lnTo>
                    <a:lnTo>
                      <a:pt x="346" y="230"/>
                    </a:lnTo>
                    <a:lnTo>
                      <a:pt x="344" y="210"/>
                    </a:lnTo>
                    <a:lnTo>
                      <a:pt x="342" y="190"/>
                    </a:lnTo>
                    <a:lnTo>
                      <a:pt x="338" y="170"/>
                    </a:lnTo>
                    <a:lnTo>
                      <a:pt x="332" y="152"/>
                    </a:lnTo>
                    <a:lnTo>
                      <a:pt x="322" y="138"/>
                    </a:lnTo>
                    <a:lnTo>
                      <a:pt x="316" y="132"/>
                    </a:lnTo>
                    <a:lnTo>
                      <a:pt x="308" y="126"/>
                    </a:lnTo>
                    <a:lnTo>
                      <a:pt x="300" y="122"/>
                    </a:lnTo>
                    <a:lnTo>
                      <a:pt x="290" y="118"/>
                    </a:lnTo>
                    <a:lnTo>
                      <a:pt x="280" y="116"/>
                    </a:lnTo>
                    <a:lnTo>
                      <a:pt x="268" y="116"/>
                    </a:lnTo>
                    <a:lnTo>
                      <a:pt x="268" y="116"/>
                    </a:lnTo>
                    <a:lnTo>
                      <a:pt x="250" y="116"/>
                    </a:lnTo>
                    <a:lnTo>
                      <a:pt x="232" y="120"/>
                    </a:lnTo>
                    <a:lnTo>
                      <a:pt x="216" y="126"/>
                    </a:lnTo>
                    <a:lnTo>
                      <a:pt x="198" y="132"/>
                    </a:lnTo>
                    <a:lnTo>
                      <a:pt x="182" y="140"/>
                    </a:lnTo>
                    <a:lnTo>
                      <a:pt x="166" y="150"/>
                    </a:lnTo>
                    <a:lnTo>
                      <a:pt x="134" y="172"/>
                    </a:lnTo>
                    <a:lnTo>
                      <a:pt x="134" y="172"/>
                    </a:lnTo>
                    <a:lnTo>
                      <a:pt x="134" y="452"/>
                    </a:lnTo>
                    <a:lnTo>
                      <a:pt x="134" y="452"/>
                    </a:lnTo>
                    <a:lnTo>
                      <a:pt x="132" y="470"/>
                    </a:lnTo>
                    <a:lnTo>
                      <a:pt x="128" y="484"/>
                    </a:lnTo>
                    <a:lnTo>
                      <a:pt x="120" y="498"/>
                    </a:lnTo>
                    <a:lnTo>
                      <a:pt x="112" y="510"/>
                    </a:lnTo>
                    <a:lnTo>
                      <a:pt x="102" y="518"/>
                    </a:lnTo>
                    <a:lnTo>
                      <a:pt x="90" y="528"/>
                    </a:lnTo>
                    <a:lnTo>
                      <a:pt x="78" y="534"/>
                    </a:lnTo>
                    <a:lnTo>
                      <a:pt x="66" y="540"/>
                    </a:lnTo>
                    <a:lnTo>
                      <a:pt x="42" y="546"/>
                    </a:lnTo>
                    <a:lnTo>
                      <a:pt x="20" y="550"/>
                    </a:lnTo>
                    <a:lnTo>
                      <a:pt x="0" y="552"/>
                    </a:lnTo>
                    <a:lnTo>
                      <a:pt x="0" y="14"/>
                    </a:lnTo>
                    <a:lnTo>
                      <a:pt x="114" y="14"/>
                    </a:lnTo>
                    <a:lnTo>
                      <a:pt x="128" y="70"/>
                    </a:lnTo>
                    <a:lnTo>
                      <a:pt x="128" y="70"/>
                    </a:lnTo>
                    <a:lnTo>
                      <a:pt x="150" y="54"/>
                    </a:lnTo>
                    <a:lnTo>
                      <a:pt x="170" y="42"/>
                    </a:lnTo>
                    <a:lnTo>
                      <a:pt x="192" y="30"/>
                    </a:lnTo>
                    <a:lnTo>
                      <a:pt x="214" y="20"/>
                    </a:lnTo>
                    <a:lnTo>
                      <a:pt x="238" y="12"/>
                    </a:lnTo>
                    <a:lnTo>
                      <a:pt x="262" y="6"/>
                    </a:lnTo>
                    <a:lnTo>
                      <a:pt x="286" y="2"/>
                    </a:lnTo>
                    <a:lnTo>
                      <a:pt x="314" y="0"/>
                    </a:lnTo>
                    <a:lnTo>
                      <a:pt x="314" y="0"/>
                    </a:lnTo>
                    <a:lnTo>
                      <a:pt x="328" y="2"/>
                    </a:lnTo>
                    <a:lnTo>
                      <a:pt x="344" y="2"/>
                    </a:lnTo>
                    <a:lnTo>
                      <a:pt x="358" y="6"/>
                    </a:lnTo>
                    <a:lnTo>
                      <a:pt x="374" y="10"/>
                    </a:lnTo>
                    <a:lnTo>
                      <a:pt x="388" y="16"/>
                    </a:lnTo>
                    <a:lnTo>
                      <a:pt x="402" y="24"/>
                    </a:lnTo>
                    <a:lnTo>
                      <a:pt x="414" y="32"/>
                    </a:lnTo>
                    <a:lnTo>
                      <a:pt x="426" y="42"/>
                    </a:lnTo>
                    <a:lnTo>
                      <a:pt x="438" y="54"/>
                    </a:lnTo>
                    <a:lnTo>
                      <a:pt x="448" y="68"/>
                    </a:lnTo>
                    <a:lnTo>
                      <a:pt x="458" y="84"/>
                    </a:lnTo>
                    <a:lnTo>
                      <a:pt x="464" y="102"/>
                    </a:lnTo>
                    <a:lnTo>
                      <a:pt x="472" y="120"/>
                    </a:lnTo>
                    <a:lnTo>
                      <a:pt x="476" y="142"/>
                    </a:lnTo>
                    <a:lnTo>
                      <a:pt x="478" y="166"/>
                    </a:lnTo>
                    <a:lnTo>
                      <a:pt x="480" y="190"/>
                    </a:lnTo>
                    <a:lnTo>
                      <a:pt x="480" y="190"/>
                    </a:lnTo>
                    <a:lnTo>
                      <a:pt x="480" y="452"/>
                    </a:lnTo>
                    <a:lnTo>
                      <a:pt x="480" y="452"/>
                    </a:lnTo>
                    <a:lnTo>
                      <a:pt x="478" y="470"/>
                    </a:lnTo>
                    <a:lnTo>
                      <a:pt x="474" y="484"/>
                    </a:lnTo>
                    <a:lnTo>
                      <a:pt x="468" y="498"/>
                    </a:lnTo>
                    <a:lnTo>
                      <a:pt x="458" y="510"/>
                    </a:lnTo>
                    <a:lnTo>
                      <a:pt x="448" y="520"/>
                    </a:lnTo>
                    <a:lnTo>
                      <a:pt x="438" y="528"/>
                    </a:lnTo>
                    <a:lnTo>
                      <a:pt x="424" y="534"/>
                    </a:lnTo>
                    <a:lnTo>
                      <a:pt x="412" y="540"/>
                    </a:lnTo>
                    <a:lnTo>
                      <a:pt x="388" y="546"/>
                    </a:lnTo>
                    <a:lnTo>
                      <a:pt x="366" y="550"/>
                    </a:lnTo>
                    <a:lnTo>
                      <a:pt x="346" y="552"/>
                    </a:lnTo>
                    <a:lnTo>
                      <a:pt x="346" y="5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6" name="Freeform 29"/>
              <p:cNvSpPr>
                <a:spLocks/>
              </p:cNvSpPr>
              <p:nvPr/>
            </p:nvSpPr>
            <p:spPr bwMode="auto">
              <a:xfrm>
                <a:off x="8106170" y="4491754"/>
                <a:ext cx="14120" cy="83477"/>
              </a:xfrm>
              <a:custGeom>
                <a:avLst/>
                <a:gdLst>
                  <a:gd name="T0" fmla="*/ 136 w 136"/>
                  <a:gd name="T1" fmla="*/ 704 h 804"/>
                  <a:gd name="T2" fmla="*/ 136 w 136"/>
                  <a:gd name="T3" fmla="*/ 704 h 804"/>
                  <a:gd name="T4" fmla="*/ 134 w 136"/>
                  <a:gd name="T5" fmla="*/ 722 h 804"/>
                  <a:gd name="T6" fmla="*/ 130 w 136"/>
                  <a:gd name="T7" fmla="*/ 738 h 804"/>
                  <a:gd name="T8" fmla="*/ 122 w 136"/>
                  <a:gd name="T9" fmla="*/ 750 h 804"/>
                  <a:gd name="T10" fmla="*/ 114 w 136"/>
                  <a:gd name="T11" fmla="*/ 762 h 804"/>
                  <a:gd name="T12" fmla="*/ 104 w 136"/>
                  <a:gd name="T13" fmla="*/ 772 h 804"/>
                  <a:gd name="T14" fmla="*/ 92 w 136"/>
                  <a:gd name="T15" fmla="*/ 780 h 804"/>
                  <a:gd name="T16" fmla="*/ 80 w 136"/>
                  <a:gd name="T17" fmla="*/ 786 h 804"/>
                  <a:gd name="T18" fmla="*/ 68 w 136"/>
                  <a:gd name="T19" fmla="*/ 792 h 804"/>
                  <a:gd name="T20" fmla="*/ 44 w 136"/>
                  <a:gd name="T21" fmla="*/ 800 h 804"/>
                  <a:gd name="T22" fmla="*/ 22 w 136"/>
                  <a:gd name="T23" fmla="*/ 802 h 804"/>
                  <a:gd name="T24" fmla="*/ 0 w 136"/>
                  <a:gd name="T25" fmla="*/ 804 h 804"/>
                  <a:gd name="T26" fmla="*/ 0 w 136"/>
                  <a:gd name="T27" fmla="*/ 0 h 804"/>
                  <a:gd name="T28" fmla="*/ 136 w 136"/>
                  <a:gd name="T29" fmla="*/ 0 h 804"/>
                  <a:gd name="T30" fmla="*/ 136 w 136"/>
                  <a:gd name="T31" fmla="*/ 0 h 804"/>
                  <a:gd name="T32" fmla="*/ 136 w 136"/>
                  <a:gd name="T33" fmla="*/ 704 h 804"/>
                  <a:gd name="T34" fmla="*/ 136 w 136"/>
                  <a:gd name="T35" fmla="*/ 70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04">
                    <a:moveTo>
                      <a:pt x="136" y="704"/>
                    </a:moveTo>
                    <a:lnTo>
                      <a:pt x="136" y="704"/>
                    </a:lnTo>
                    <a:lnTo>
                      <a:pt x="134" y="722"/>
                    </a:lnTo>
                    <a:lnTo>
                      <a:pt x="130" y="738"/>
                    </a:lnTo>
                    <a:lnTo>
                      <a:pt x="122" y="750"/>
                    </a:lnTo>
                    <a:lnTo>
                      <a:pt x="114" y="762"/>
                    </a:lnTo>
                    <a:lnTo>
                      <a:pt x="104" y="772"/>
                    </a:lnTo>
                    <a:lnTo>
                      <a:pt x="92" y="780"/>
                    </a:lnTo>
                    <a:lnTo>
                      <a:pt x="80" y="786"/>
                    </a:lnTo>
                    <a:lnTo>
                      <a:pt x="68" y="792"/>
                    </a:lnTo>
                    <a:lnTo>
                      <a:pt x="44" y="800"/>
                    </a:lnTo>
                    <a:lnTo>
                      <a:pt x="22" y="802"/>
                    </a:lnTo>
                    <a:lnTo>
                      <a:pt x="0" y="804"/>
                    </a:lnTo>
                    <a:lnTo>
                      <a:pt x="0" y="0"/>
                    </a:lnTo>
                    <a:lnTo>
                      <a:pt x="136" y="0"/>
                    </a:lnTo>
                    <a:lnTo>
                      <a:pt x="136" y="0"/>
                    </a:lnTo>
                    <a:lnTo>
                      <a:pt x="136" y="704"/>
                    </a:lnTo>
                    <a:lnTo>
                      <a:pt x="136" y="7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7" name="Group 86"/>
            <p:cNvGrpSpPr/>
            <p:nvPr userDrawn="1"/>
          </p:nvGrpSpPr>
          <p:grpSpPr>
            <a:xfrm>
              <a:off x="7673274" y="4343117"/>
              <a:ext cx="1123200" cy="148389"/>
              <a:chOff x="7665803" y="4864376"/>
              <a:chExt cx="1123200" cy="148389"/>
            </a:xfrm>
            <a:grpFill/>
          </p:grpSpPr>
          <p:sp>
            <p:nvSpPr>
              <p:cNvPr id="88" name="Freeform 6"/>
              <p:cNvSpPr>
                <a:spLocks/>
              </p:cNvSpPr>
              <p:nvPr userDrawn="1"/>
            </p:nvSpPr>
            <p:spPr bwMode="auto">
              <a:xfrm>
                <a:off x="8119644" y="4924717"/>
                <a:ext cx="103102" cy="66806"/>
              </a:xfrm>
              <a:custGeom>
                <a:avLst/>
                <a:gdLst>
                  <a:gd name="T0" fmla="*/ 111 w 136"/>
                  <a:gd name="T1" fmla="*/ 72 h 92"/>
                  <a:gd name="T2" fmla="*/ 87 w 136"/>
                  <a:gd name="T3" fmla="*/ 88 h 92"/>
                  <a:gd name="T4" fmla="*/ 68 w 136"/>
                  <a:gd name="T5" fmla="*/ 28 h 92"/>
                  <a:gd name="T6" fmla="*/ 67 w 136"/>
                  <a:gd name="T7" fmla="*/ 28 h 92"/>
                  <a:gd name="T8" fmla="*/ 53 w 136"/>
                  <a:gd name="T9" fmla="*/ 72 h 92"/>
                  <a:gd name="T10" fmla="*/ 31 w 136"/>
                  <a:gd name="T11" fmla="*/ 88 h 92"/>
                  <a:gd name="T12" fmla="*/ 0 w 136"/>
                  <a:gd name="T13" fmla="*/ 0 h 92"/>
                  <a:gd name="T14" fmla="*/ 22 w 136"/>
                  <a:gd name="T15" fmla="*/ 0 h 92"/>
                  <a:gd name="T16" fmla="*/ 41 w 136"/>
                  <a:gd name="T17" fmla="*/ 60 h 92"/>
                  <a:gd name="T18" fmla="*/ 41 w 136"/>
                  <a:gd name="T19" fmla="*/ 60 h 92"/>
                  <a:gd name="T20" fmla="*/ 60 w 136"/>
                  <a:gd name="T21" fmla="*/ 0 h 92"/>
                  <a:gd name="T22" fmla="*/ 77 w 136"/>
                  <a:gd name="T23" fmla="*/ 0 h 92"/>
                  <a:gd name="T24" fmla="*/ 96 w 136"/>
                  <a:gd name="T25" fmla="*/ 60 h 92"/>
                  <a:gd name="T26" fmla="*/ 97 w 136"/>
                  <a:gd name="T27" fmla="*/ 60 h 92"/>
                  <a:gd name="T28" fmla="*/ 115 w 136"/>
                  <a:gd name="T29" fmla="*/ 0 h 92"/>
                  <a:gd name="T30" fmla="*/ 136 w 136"/>
                  <a:gd name="T31" fmla="*/ 0 h 92"/>
                  <a:gd name="T32" fmla="*/ 111 w 136"/>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 h="92">
                    <a:moveTo>
                      <a:pt x="111" y="72"/>
                    </a:moveTo>
                    <a:cubicBezTo>
                      <a:pt x="103" y="92"/>
                      <a:pt x="87" y="88"/>
                      <a:pt x="87" y="88"/>
                    </a:cubicBezTo>
                    <a:cubicBezTo>
                      <a:pt x="68" y="28"/>
                      <a:pt x="68" y="28"/>
                      <a:pt x="68" y="28"/>
                    </a:cubicBezTo>
                    <a:cubicBezTo>
                      <a:pt x="67" y="28"/>
                      <a:pt x="67" y="28"/>
                      <a:pt x="67" y="28"/>
                    </a:cubicBezTo>
                    <a:cubicBezTo>
                      <a:pt x="67" y="28"/>
                      <a:pt x="58"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6" y="60"/>
                      <a:pt x="96" y="60"/>
                      <a:pt x="96" y="60"/>
                    </a:cubicBezTo>
                    <a:cubicBezTo>
                      <a:pt x="97" y="60"/>
                      <a:pt x="97" y="60"/>
                      <a:pt x="97" y="60"/>
                    </a:cubicBezTo>
                    <a:cubicBezTo>
                      <a:pt x="115" y="0"/>
                      <a:pt x="115" y="0"/>
                      <a:pt x="115" y="0"/>
                    </a:cubicBezTo>
                    <a:cubicBezTo>
                      <a:pt x="136" y="0"/>
                      <a:pt x="136" y="0"/>
                      <a:pt x="136" y="0"/>
                    </a:cubicBezTo>
                    <a:cubicBezTo>
                      <a:pt x="136"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9" name="Freeform 7"/>
              <p:cNvSpPr>
                <a:spLocks noEditPoints="1"/>
              </p:cNvSpPr>
              <p:nvPr userDrawn="1"/>
            </p:nvSpPr>
            <p:spPr bwMode="auto">
              <a:xfrm>
                <a:off x="8225958" y="4923177"/>
                <a:ext cx="57493" cy="66190"/>
              </a:xfrm>
              <a:custGeom>
                <a:avLst/>
                <a:gdLst>
                  <a:gd name="T0" fmla="*/ 57 w 76"/>
                  <a:gd name="T1" fmla="*/ 90 h 91"/>
                  <a:gd name="T2" fmla="*/ 53 w 76"/>
                  <a:gd name="T3" fmla="*/ 81 h 91"/>
                  <a:gd name="T4" fmla="*/ 28 w 76"/>
                  <a:gd name="T5" fmla="*/ 91 h 91"/>
                  <a:gd name="T6" fmla="*/ 0 w 76"/>
                  <a:gd name="T7" fmla="*/ 63 h 91"/>
                  <a:gd name="T8" fmla="*/ 36 w 76"/>
                  <a:gd name="T9" fmla="*/ 34 h 91"/>
                  <a:gd name="T10" fmla="*/ 51 w 76"/>
                  <a:gd name="T11" fmla="*/ 34 h 91"/>
                  <a:gd name="T12" fmla="*/ 51 w 76"/>
                  <a:gd name="T13" fmla="*/ 31 h 91"/>
                  <a:gd name="T14" fmla="*/ 35 w 76"/>
                  <a:gd name="T15" fmla="*/ 17 h 91"/>
                  <a:gd name="T16" fmla="*/ 12 w 76"/>
                  <a:gd name="T17" fmla="*/ 23 h 91"/>
                  <a:gd name="T18" fmla="*/ 5 w 76"/>
                  <a:gd name="T19" fmla="*/ 9 h 91"/>
                  <a:gd name="T20" fmla="*/ 39 w 76"/>
                  <a:gd name="T21" fmla="*/ 0 h 91"/>
                  <a:gd name="T22" fmla="*/ 74 w 76"/>
                  <a:gd name="T23" fmla="*/ 31 h 91"/>
                  <a:gd name="T24" fmla="*/ 74 w 76"/>
                  <a:gd name="T25" fmla="*/ 66 h 91"/>
                  <a:gd name="T26" fmla="*/ 76 w 76"/>
                  <a:gd name="T27" fmla="*/ 90 h 91"/>
                  <a:gd name="T28" fmla="*/ 57 w 76"/>
                  <a:gd name="T29" fmla="*/ 90 h 91"/>
                  <a:gd name="T30" fmla="*/ 51 w 76"/>
                  <a:gd name="T31" fmla="*/ 49 h 91"/>
                  <a:gd name="T32" fmla="*/ 39 w 76"/>
                  <a:gd name="T33" fmla="*/ 49 h 91"/>
                  <a:gd name="T34" fmla="*/ 22 w 76"/>
                  <a:gd name="T35" fmla="*/ 61 h 91"/>
                  <a:gd name="T36" fmla="*/ 36 w 76"/>
                  <a:gd name="T37" fmla="*/ 73 h 91"/>
                  <a:gd name="T38" fmla="*/ 51 w 76"/>
                  <a:gd name="T39" fmla="*/ 68 h 91"/>
                  <a:gd name="T40" fmla="*/ 51 w 76"/>
                  <a:gd name="T41" fmla="*/ 4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91">
                    <a:moveTo>
                      <a:pt x="57" y="90"/>
                    </a:moveTo>
                    <a:cubicBezTo>
                      <a:pt x="53" y="81"/>
                      <a:pt x="53" y="81"/>
                      <a:pt x="53" y="81"/>
                    </a:cubicBezTo>
                    <a:cubicBezTo>
                      <a:pt x="48" y="86"/>
                      <a:pt x="40" y="91"/>
                      <a:pt x="28" y="91"/>
                    </a:cubicBezTo>
                    <a:cubicBezTo>
                      <a:pt x="12" y="91"/>
                      <a:pt x="0" y="80"/>
                      <a:pt x="0" y="63"/>
                    </a:cubicBezTo>
                    <a:cubicBezTo>
                      <a:pt x="0" y="45"/>
                      <a:pt x="14" y="35"/>
                      <a:pt x="36" y="34"/>
                    </a:cubicBezTo>
                    <a:cubicBezTo>
                      <a:pt x="51" y="34"/>
                      <a:pt x="51" y="34"/>
                      <a:pt x="51" y="34"/>
                    </a:cubicBezTo>
                    <a:cubicBezTo>
                      <a:pt x="51" y="33"/>
                      <a:pt x="51" y="32"/>
                      <a:pt x="51" y="31"/>
                    </a:cubicBezTo>
                    <a:cubicBezTo>
                      <a:pt x="51" y="21"/>
                      <a:pt x="44" y="17"/>
                      <a:pt x="35" y="17"/>
                    </a:cubicBezTo>
                    <a:cubicBezTo>
                      <a:pt x="25" y="17"/>
                      <a:pt x="18" y="20"/>
                      <a:pt x="12" y="23"/>
                    </a:cubicBezTo>
                    <a:cubicBezTo>
                      <a:pt x="5" y="9"/>
                      <a:pt x="5" y="9"/>
                      <a:pt x="5" y="9"/>
                    </a:cubicBezTo>
                    <a:cubicBezTo>
                      <a:pt x="17" y="2"/>
                      <a:pt x="28" y="0"/>
                      <a:pt x="39" y="0"/>
                    </a:cubicBezTo>
                    <a:cubicBezTo>
                      <a:pt x="61" y="0"/>
                      <a:pt x="74" y="9"/>
                      <a:pt x="74" y="31"/>
                    </a:cubicBezTo>
                    <a:cubicBezTo>
                      <a:pt x="74" y="66"/>
                      <a:pt x="74" y="66"/>
                      <a:pt x="74" y="66"/>
                    </a:cubicBezTo>
                    <a:cubicBezTo>
                      <a:pt x="74" y="78"/>
                      <a:pt x="75" y="86"/>
                      <a:pt x="76" y="90"/>
                    </a:cubicBezTo>
                    <a:lnTo>
                      <a:pt x="57" y="90"/>
                    </a:lnTo>
                    <a:close/>
                    <a:moveTo>
                      <a:pt x="51" y="49"/>
                    </a:moveTo>
                    <a:cubicBezTo>
                      <a:pt x="39" y="49"/>
                      <a:pt x="39" y="49"/>
                      <a:pt x="39" y="49"/>
                    </a:cubicBezTo>
                    <a:cubicBezTo>
                      <a:pt x="27" y="50"/>
                      <a:pt x="22" y="54"/>
                      <a:pt x="22" y="61"/>
                    </a:cubicBezTo>
                    <a:cubicBezTo>
                      <a:pt x="22" y="68"/>
                      <a:pt x="27" y="73"/>
                      <a:pt x="36" y="73"/>
                    </a:cubicBezTo>
                    <a:cubicBezTo>
                      <a:pt x="44" y="73"/>
                      <a:pt x="49" y="70"/>
                      <a:pt x="51" y="68"/>
                    </a:cubicBezTo>
                    <a:lnTo>
                      <a:pt x="51" y="4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0" name="Freeform 8"/>
              <p:cNvSpPr>
                <a:spLocks noEditPoints="1"/>
              </p:cNvSpPr>
              <p:nvPr userDrawn="1"/>
            </p:nvSpPr>
            <p:spPr bwMode="auto">
              <a:xfrm>
                <a:off x="8342550" y="4892699"/>
                <a:ext cx="62311" cy="96668"/>
              </a:xfrm>
              <a:custGeom>
                <a:avLst/>
                <a:gdLst>
                  <a:gd name="T0" fmla="*/ 47 w 82"/>
                  <a:gd name="T1" fmla="*/ 133 h 133"/>
                  <a:gd name="T2" fmla="*/ 0 w 82"/>
                  <a:gd name="T3" fmla="*/ 88 h 133"/>
                  <a:gd name="T4" fmla="*/ 48 w 82"/>
                  <a:gd name="T5" fmla="*/ 42 h 133"/>
                  <a:gd name="T6" fmla="*/ 59 w 82"/>
                  <a:gd name="T7" fmla="*/ 42 h 133"/>
                  <a:gd name="T8" fmla="*/ 60 w 82"/>
                  <a:gd name="T9" fmla="*/ 0 h 133"/>
                  <a:gd name="T10" fmla="*/ 82 w 82"/>
                  <a:gd name="T11" fmla="*/ 0 h 133"/>
                  <a:gd name="T12" fmla="*/ 81 w 82"/>
                  <a:gd name="T13" fmla="*/ 126 h 133"/>
                  <a:gd name="T14" fmla="*/ 47 w 82"/>
                  <a:gd name="T15" fmla="*/ 133 h 133"/>
                  <a:gd name="T16" fmla="*/ 59 w 82"/>
                  <a:gd name="T17" fmla="*/ 60 h 133"/>
                  <a:gd name="T18" fmla="*/ 49 w 82"/>
                  <a:gd name="T19" fmla="*/ 59 h 133"/>
                  <a:gd name="T20" fmla="*/ 22 w 82"/>
                  <a:gd name="T21" fmla="*/ 87 h 133"/>
                  <a:gd name="T22" fmla="*/ 49 w 82"/>
                  <a:gd name="T23" fmla="*/ 114 h 133"/>
                  <a:gd name="T24" fmla="*/ 59 w 82"/>
                  <a:gd name="T25" fmla="*/ 113 h 133"/>
                  <a:gd name="T26" fmla="*/ 59 w 82"/>
                  <a:gd name="T27" fmla="*/ 6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3">
                    <a:moveTo>
                      <a:pt x="47" y="133"/>
                    </a:moveTo>
                    <a:cubicBezTo>
                      <a:pt x="21" y="133"/>
                      <a:pt x="0" y="117"/>
                      <a:pt x="0" y="88"/>
                    </a:cubicBezTo>
                    <a:cubicBezTo>
                      <a:pt x="0" y="61"/>
                      <a:pt x="20" y="42"/>
                      <a:pt x="48" y="42"/>
                    </a:cubicBezTo>
                    <a:cubicBezTo>
                      <a:pt x="52" y="42"/>
                      <a:pt x="56" y="42"/>
                      <a:pt x="59" y="42"/>
                    </a:cubicBezTo>
                    <a:cubicBezTo>
                      <a:pt x="60" y="0"/>
                      <a:pt x="60" y="0"/>
                      <a:pt x="60" y="0"/>
                    </a:cubicBezTo>
                    <a:cubicBezTo>
                      <a:pt x="82" y="0"/>
                      <a:pt x="82" y="0"/>
                      <a:pt x="82" y="0"/>
                    </a:cubicBezTo>
                    <a:cubicBezTo>
                      <a:pt x="81" y="126"/>
                      <a:pt x="81" y="126"/>
                      <a:pt x="81" y="126"/>
                    </a:cubicBezTo>
                    <a:cubicBezTo>
                      <a:pt x="73" y="130"/>
                      <a:pt x="62" y="133"/>
                      <a:pt x="47" y="133"/>
                    </a:cubicBezTo>
                    <a:close/>
                    <a:moveTo>
                      <a:pt x="59" y="60"/>
                    </a:moveTo>
                    <a:cubicBezTo>
                      <a:pt x="56" y="60"/>
                      <a:pt x="54" y="59"/>
                      <a:pt x="49" y="59"/>
                    </a:cubicBezTo>
                    <a:cubicBezTo>
                      <a:pt x="33" y="59"/>
                      <a:pt x="22" y="70"/>
                      <a:pt x="22" y="87"/>
                    </a:cubicBezTo>
                    <a:cubicBezTo>
                      <a:pt x="22" y="103"/>
                      <a:pt x="32" y="114"/>
                      <a:pt x="49" y="114"/>
                    </a:cubicBezTo>
                    <a:cubicBezTo>
                      <a:pt x="53" y="114"/>
                      <a:pt x="57" y="114"/>
                      <a:pt x="59" y="113"/>
                    </a:cubicBezTo>
                    <a:lnTo>
                      <a:pt x="59" y="60"/>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1" name="Freeform 9"/>
              <p:cNvSpPr>
                <a:spLocks/>
              </p:cNvSpPr>
              <p:nvPr userDrawn="1"/>
            </p:nvSpPr>
            <p:spPr bwMode="auto">
              <a:xfrm>
                <a:off x="8093949"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2" name="Freeform 10"/>
              <p:cNvSpPr>
                <a:spLocks/>
              </p:cNvSpPr>
              <p:nvPr userDrawn="1"/>
            </p:nvSpPr>
            <p:spPr bwMode="auto">
              <a:xfrm>
                <a:off x="8060545"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3" name="Freeform 11"/>
              <p:cNvSpPr>
                <a:spLocks/>
              </p:cNvSpPr>
              <p:nvPr userDrawn="1"/>
            </p:nvSpPr>
            <p:spPr bwMode="auto">
              <a:xfrm>
                <a:off x="8297262" y="4923177"/>
                <a:ext cx="43039" cy="66190"/>
              </a:xfrm>
              <a:custGeom>
                <a:avLst/>
                <a:gdLst>
                  <a:gd name="T0" fmla="*/ 49 w 57"/>
                  <a:gd name="T1" fmla="*/ 22 h 91"/>
                  <a:gd name="T2" fmla="*/ 39 w 57"/>
                  <a:gd name="T3" fmla="*/ 20 h 91"/>
                  <a:gd name="T4" fmla="*/ 22 w 57"/>
                  <a:gd name="T5" fmla="*/ 27 h 91"/>
                  <a:gd name="T6" fmla="*/ 22 w 57"/>
                  <a:gd name="T7" fmla="*/ 74 h 91"/>
                  <a:gd name="T8" fmla="*/ 0 w 57"/>
                  <a:gd name="T9" fmla="*/ 90 h 91"/>
                  <a:gd name="T10" fmla="*/ 0 w 57"/>
                  <a:gd name="T11" fmla="*/ 2 h 91"/>
                  <a:gd name="T12" fmla="*/ 18 w 57"/>
                  <a:gd name="T13" fmla="*/ 2 h 91"/>
                  <a:gd name="T14" fmla="*/ 21 w 57"/>
                  <a:gd name="T15" fmla="*/ 11 h 91"/>
                  <a:gd name="T16" fmla="*/ 45 w 57"/>
                  <a:gd name="T17" fmla="*/ 0 h 91"/>
                  <a:gd name="T18" fmla="*/ 57 w 57"/>
                  <a:gd name="T19" fmla="*/ 4 h 91"/>
                  <a:gd name="T20" fmla="*/ 49 w 57"/>
                  <a:gd name="T21" fmla="*/ 2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1">
                    <a:moveTo>
                      <a:pt x="49" y="22"/>
                    </a:moveTo>
                    <a:cubicBezTo>
                      <a:pt x="45" y="20"/>
                      <a:pt x="41" y="20"/>
                      <a:pt x="39" y="20"/>
                    </a:cubicBezTo>
                    <a:cubicBezTo>
                      <a:pt x="34" y="20"/>
                      <a:pt x="28" y="22"/>
                      <a:pt x="22" y="27"/>
                    </a:cubicBezTo>
                    <a:cubicBezTo>
                      <a:pt x="22" y="27"/>
                      <a:pt x="22" y="57"/>
                      <a:pt x="22" y="74"/>
                    </a:cubicBezTo>
                    <a:cubicBezTo>
                      <a:pt x="22" y="91"/>
                      <a:pt x="0" y="90"/>
                      <a:pt x="0" y="90"/>
                    </a:cubicBezTo>
                    <a:cubicBezTo>
                      <a:pt x="0" y="2"/>
                      <a:pt x="0" y="2"/>
                      <a:pt x="0" y="2"/>
                    </a:cubicBezTo>
                    <a:cubicBezTo>
                      <a:pt x="18" y="2"/>
                      <a:pt x="18" y="2"/>
                      <a:pt x="18"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4" name="Freeform 12"/>
              <p:cNvSpPr>
                <a:spLocks/>
              </p:cNvSpPr>
              <p:nvPr userDrawn="1"/>
            </p:nvSpPr>
            <p:spPr bwMode="auto">
              <a:xfrm>
                <a:off x="7907980" y="4892699"/>
                <a:ext cx="98605" cy="95129"/>
              </a:xfrm>
              <a:custGeom>
                <a:avLst/>
                <a:gdLst>
                  <a:gd name="T0" fmla="*/ 106 w 130"/>
                  <a:gd name="T1" fmla="*/ 131 h 131"/>
                  <a:gd name="T2" fmla="*/ 106 w 130"/>
                  <a:gd name="T3" fmla="*/ 53 h 131"/>
                  <a:gd name="T4" fmla="*/ 107 w 130"/>
                  <a:gd name="T5" fmla="*/ 39 h 131"/>
                  <a:gd name="T6" fmla="*/ 106 w 130"/>
                  <a:gd name="T7" fmla="*/ 39 h 131"/>
                  <a:gd name="T8" fmla="*/ 99 w 130"/>
                  <a:gd name="T9" fmla="*/ 52 h 131"/>
                  <a:gd name="T10" fmla="*/ 72 w 130"/>
                  <a:gd name="T11" fmla="*/ 93 h 131"/>
                  <a:gd name="T12" fmla="*/ 60 w 130"/>
                  <a:gd name="T13" fmla="*/ 93 h 131"/>
                  <a:gd name="T14" fmla="*/ 32 w 130"/>
                  <a:gd name="T15" fmla="*/ 51 h 131"/>
                  <a:gd name="T16" fmla="*/ 24 w 130"/>
                  <a:gd name="T17" fmla="*/ 39 h 131"/>
                  <a:gd name="T18" fmla="*/ 23 w 130"/>
                  <a:gd name="T19" fmla="*/ 39 h 131"/>
                  <a:gd name="T20" fmla="*/ 24 w 130"/>
                  <a:gd name="T21" fmla="*/ 52 h 131"/>
                  <a:gd name="T22" fmla="*/ 24 w 130"/>
                  <a:gd name="T23" fmla="*/ 131 h 131"/>
                  <a:gd name="T24" fmla="*/ 0 w 130"/>
                  <a:gd name="T25" fmla="*/ 131 h 131"/>
                  <a:gd name="T26" fmla="*/ 0 w 130"/>
                  <a:gd name="T27" fmla="*/ 0 h 131"/>
                  <a:gd name="T28" fmla="*/ 22 w 130"/>
                  <a:gd name="T29" fmla="*/ 0 h 131"/>
                  <a:gd name="T30" fmla="*/ 58 w 130"/>
                  <a:gd name="T31" fmla="*/ 52 h 131"/>
                  <a:gd name="T32" fmla="*/ 66 w 130"/>
                  <a:gd name="T33" fmla="*/ 66 h 131"/>
                  <a:gd name="T34" fmla="*/ 67 w 130"/>
                  <a:gd name="T35" fmla="*/ 66 h 131"/>
                  <a:gd name="T36" fmla="*/ 75 w 130"/>
                  <a:gd name="T37" fmla="*/ 52 h 131"/>
                  <a:gd name="T38" fmla="*/ 108 w 130"/>
                  <a:gd name="T39" fmla="*/ 0 h 131"/>
                  <a:gd name="T40" fmla="*/ 130 w 130"/>
                  <a:gd name="T41" fmla="*/ 0 h 131"/>
                  <a:gd name="T42" fmla="*/ 130 w 130"/>
                  <a:gd name="T43" fmla="*/ 131 h 131"/>
                  <a:gd name="T44" fmla="*/ 106 w 130"/>
                  <a:gd name="T45"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0" h="131">
                    <a:moveTo>
                      <a:pt x="106" y="131"/>
                    </a:moveTo>
                    <a:cubicBezTo>
                      <a:pt x="106" y="53"/>
                      <a:pt x="106" y="53"/>
                      <a:pt x="106" y="53"/>
                    </a:cubicBezTo>
                    <a:cubicBezTo>
                      <a:pt x="106" y="48"/>
                      <a:pt x="106" y="44"/>
                      <a:pt x="107" y="39"/>
                    </a:cubicBezTo>
                    <a:cubicBezTo>
                      <a:pt x="106" y="39"/>
                      <a:pt x="106" y="39"/>
                      <a:pt x="106" y="39"/>
                    </a:cubicBezTo>
                    <a:cubicBezTo>
                      <a:pt x="105" y="43"/>
                      <a:pt x="101" y="49"/>
                      <a:pt x="99" y="52"/>
                    </a:cubicBezTo>
                    <a:cubicBezTo>
                      <a:pt x="72" y="93"/>
                      <a:pt x="72" y="93"/>
                      <a:pt x="72" y="93"/>
                    </a:cubicBezTo>
                    <a:cubicBezTo>
                      <a:pt x="60" y="93"/>
                      <a:pt x="60" y="93"/>
                      <a:pt x="60" y="93"/>
                    </a:cubicBezTo>
                    <a:cubicBezTo>
                      <a:pt x="32" y="51"/>
                      <a:pt x="32" y="51"/>
                      <a:pt x="32" y="51"/>
                    </a:cubicBezTo>
                    <a:cubicBezTo>
                      <a:pt x="29" y="48"/>
                      <a:pt x="26" y="44"/>
                      <a:pt x="24" y="39"/>
                    </a:cubicBezTo>
                    <a:cubicBezTo>
                      <a:pt x="23" y="39"/>
                      <a:pt x="23" y="39"/>
                      <a:pt x="23" y="39"/>
                    </a:cubicBezTo>
                    <a:cubicBezTo>
                      <a:pt x="24" y="44"/>
                      <a:pt x="24" y="48"/>
                      <a:pt x="24" y="52"/>
                    </a:cubicBezTo>
                    <a:cubicBezTo>
                      <a:pt x="24" y="131"/>
                      <a:pt x="24" y="131"/>
                      <a:pt x="24" y="131"/>
                    </a:cubicBezTo>
                    <a:cubicBezTo>
                      <a:pt x="0" y="131"/>
                      <a:pt x="0" y="131"/>
                      <a:pt x="0" y="131"/>
                    </a:cubicBezTo>
                    <a:cubicBezTo>
                      <a:pt x="0" y="0"/>
                      <a:pt x="0" y="0"/>
                      <a:pt x="0" y="0"/>
                    </a:cubicBezTo>
                    <a:cubicBezTo>
                      <a:pt x="22" y="0"/>
                      <a:pt x="22" y="0"/>
                      <a:pt x="22" y="0"/>
                    </a:cubicBezTo>
                    <a:cubicBezTo>
                      <a:pt x="58" y="52"/>
                      <a:pt x="58" y="52"/>
                      <a:pt x="58" y="52"/>
                    </a:cubicBezTo>
                    <a:cubicBezTo>
                      <a:pt x="61" y="57"/>
                      <a:pt x="64" y="61"/>
                      <a:pt x="66" y="66"/>
                    </a:cubicBezTo>
                    <a:cubicBezTo>
                      <a:pt x="67" y="66"/>
                      <a:pt x="67" y="66"/>
                      <a:pt x="67" y="66"/>
                    </a:cubicBezTo>
                    <a:cubicBezTo>
                      <a:pt x="69" y="61"/>
                      <a:pt x="71" y="57"/>
                      <a:pt x="75" y="52"/>
                    </a:cubicBezTo>
                    <a:cubicBezTo>
                      <a:pt x="108" y="0"/>
                      <a:pt x="108" y="0"/>
                      <a:pt x="108" y="0"/>
                    </a:cubicBezTo>
                    <a:cubicBezTo>
                      <a:pt x="130" y="0"/>
                      <a:pt x="130" y="0"/>
                      <a:pt x="130" y="0"/>
                    </a:cubicBezTo>
                    <a:cubicBezTo>
                      <a:pt x="130" y="131"/>
                      <a:pt x="130" y="131"/>
                      <a:pt x="130" y="131"/>
                    </a:cubicBezTo>
                    <a:lnTo>
                      <a:pt x="106" y="131"/>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5" name="Freeform 13"/>
              <p:cNvSpPr>
                <a:spLocks/>
              </p:cNvSpPr>
              <p:nvPr userDrawn="1"/>
            </p:nvSpPr>
            <p:spPr bwMode="auto">
              <a:xfrm>
                <a:off x="7665803" y="4864376"/>
                <a:ext cx="100854" cy="148389"/>
              </a:xfrm>
              <a:custGeom>
                <a:avLst/>
                <a:gdLst>
                  <a:gd name="T0" fmla="*/ 133 w 133"/>
                  <a:gd name="T1" fmla="*/ 23 h 204"/>
                  <a:gd name="T2" fmla="*/ 132 w 133"/>
                  <a:gd name="T3" fmla="*/ 22 h 204"/>
                  <a:gd name="T4" fmla="*/ 65 w 133"/>
                  <a:gd name="T5" fmla="*/ 20 h 204"/>
                  <a:gd name="T6" fmla="*/ 52 w 133"/>
                  <a:gd name="T7" fmla="*/ 52 h 204"/>
                  <a:gd name="T8" fmla="*/ 20 w 133"/>
                  <a:gd name="T9" fmla="*/ 65 h 204"/>
                  <a:gd name="T10" fmla="*/ 22 w 133"/>
                  <a:gd name="T11" fmla="*/ 132 h 204"/>
                  <a:gd name="T12" fmla="*/ 95 w 133"/>
                  <a:gd name="T13" fmla="*/ 204 h 204"/>
                  <a:gd name="T14" fmla="*/ 117 w 133"/>
                  <a:gd name="T15" fmla="*/ 182 h 204"/>
                  <a:gd name="T16" fmla="*/ 44 w 133"/>
                  <a:gd name="T17" fmla="*/ 110 h 204"/>
                  <a:gd name="T18" fmla="*/ 42 w 133"/>
                  <a:gd name="T19" fmla="*/ 86 h 204"/>
                  <a:gd name="T20" fmla="*/ 66 w 133"/>
                  <a:gd name="T21" fmla="*/ 88 h 204"/>
                  <a:gd name="T22" fmla="*/ 133 w 133"/>
                  <a:gd name="T23" fmla="*/ 155 h 204"/>
                  <a:gd name="T24" fmla="*/ 133 w 133"/>
                  <a:gd name="T25" fmla="*/ 111 h 204"/>
                  <a:gd name="T26" fmla="*/ 88 w 133"/>
                  <a:gd name="T27" fmla="*/ 66 h 204"/>
                  <a:gd name="T28" fmla="*/ 86 w 133"/>
                  <a:gd name="T29" fmla="*/ 42 h 204"/>
                  <a:gd name="T30" fmla="*/ 110 w 133"/>
                  <a:gd name="T31" fmla="*/ 44 h 204"/>
                  <a:gd name="T32" fmla="*/ 133 w 133"/>
                  <a:gd name="T33" fmla="*/ 66 h 204"/>
                  <a:gd name="T34" fmla="*/ 133 w 133"/>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204">
                    <a:moveTo>
                      <a:pt x="133" y="23"/>
                    </a:moveTo>
                    <a:cubicBezTo>
                      <a:pt x="132" y="22"/>
                      <a:pt x="132" y="22"/>
                      <a:pt x="132" y="22"/>
                    </a:cubicBezTo>
                    <a:cubicBezTo>
                      <a:pt x="110" y="0"/>
                      <a:pt x="82" y="2"/>
                      <a:pt x="65" y="20"/>
                    </a:cubicBezTo>
                    <a:cubicBezTo>
                      <a:pt x="53" y="32"/>
                      <a:pt x="51" y="46"/>
                      <a:pt x="52" y="52"/>
                    </a:cubicBezTo>
                    <a:cubicBezTo>
                      <a:pt x="47" y="51"/>
                      <a:pt x="32" y="52"/>
                      <a:pt x="20" y="65"/>
                    </a:cubicBezTo>
                    <a:cubicBezTo>
                      <a:pt x="3" y="82"/>
                      <a:pt x="0" y="110"/>
                      <a:pt x="22" y="132"/>
                    </a:cubicBezTo>
                    <a:cubicBezTo>
                      <a:pt x="95" y="204"/>
                      <a:pt x="95" y="204"/>
                      <a:pt x="95" y="204"/>
                    </a:cubicBezTo>
                    <a:cubicBezTo>
                      <a:pt x="117" y="182"/>
                      <a:pt x="117" y="182"/>
                      <a:pt x="117" y="182"/>
                    </a:cubicBezTo>
                    <a:cubicBezTo>
                      <a:pt x="44" y="110"/>
                      <a:pt x="44" y="110"/>
                      <a:pt x="44" y="110"/>
                    </a:cubicBezTo>
                    <a:cubicBezTo>
                      <a:pt x="35" y="101"/>
                      <a:pt x="36" y="91"/>
                      <a:pt x="42" y="86"/>
                    </a:cubicBezTo>
                    <a:cubicBezTo>
                      <a:pt x="47" y="80"/>
                      <a:pt x="58" y="79"/>
                      <a:pt x="66" y="88"/>
                    </a:cubicBezTo>
                    <a:cubicBezTo>
                      <a:pt x="133" y="155"/>
                      <a:pt x="133" y="155"/>
                      <a:pt x="133" y="155"/>
                    </a:cubicBezTo>
                    <a:cubicBezTo>
                      <a:pt x="133" y="111"/>
                      <a:pt x="133" y="111"/>
                      <a:pt x="133" y="111"/>
                    </a:cubicBezTo>
                    <a:cubicBezTo>
                      <a:pt x="88" y="66"/>
                      <a:pt x="88" y="66"/>
                      <a:pt x="88" y="66"/>
                    </a:cubicBezTo>
                    <a:cubicBezTo>
                      <a:pt x="80" y="57"/>
                      <a:pt x="80" y="47"/>
                      <a:pt x="86" y="42"/>
                    </a:cubicBezTo>
                    <a:cubicBezTo>
                      <a:pt x="92" y="36"/>
                      <a:pt x="102" y="35"/>
                      <a:pt x="110" y="44"/>
                    </a:cubicBezTo>
                    <a:cubicBezTo>
                      <a:pt x="133" y="66"/>
                      <a:pt x="133" y="66"/>
                      <a:pt x="133" y="66"/>
                    </a:cubicBezTo>
                    <a:lnTo>
                      <a:pt x="133"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6" name="Freeform 14"/>
              <p:cNvSpPr>
                <a:spLocks noEditPoints="1"/>
              </p:cNvSpPr>
              <p:nvPr userDrawn="1"/>
            </p:nvSpPr>
            <p:spPr bwMode="auto">
              <a:xfrm>
                <a:off x="8023287" y="4895470"/>
                <a:ext cx="20556" cy="93282"/>
              </a:xfrm>
              <a:custGeom>
                <a:avLst/>
                <a:gdLst>
                  <a:gd name="T0" fmla="*/ 14 w 27"/>
                  <a:gd name="T1" fmla="*/ 26 h 128"/>
                  <a:gd name="T2" fmla="*/ 0 w 27"/>
                  <a:gd name="T3" fmla="*/ 13 h 128"/>
                  <a:gd name="T4" fmla="*/ 14 w 27"/>
                  <a:gd name="T5" fmla="*/ 0 h 128"/>
                  <a:gd name="T6" fmla="*/ 27 w 27"/>
                  <a:gd name="T7" fmla="*/ 13 h 128"/>
                  <a:gd name="T8" fmla="*/ 14 w 27"/>
                  <a:gd name="T9" fmla="*/ 26 h 128"/>
                  <a:gd name="T10" fmla="*/ 3 w 27"/>
                  <a:gd name="T11" fmla="*/ 128 h 128"/>
                  <a:gd name="T12" fmla="*/ 3 w 27"/>
                  <a:gd name="T13" fmla="*/ 40 h 128"/>
                  <a:gd name="T14" fmla="*/ 25 w 27"/>
                  <a:gd name="T15" fmla="*/ 40 h 128"/>
                  <a:gd name="T16" fmla="*/ 25 w 27"/>
                  <a:gd name="T17" fmla="*/ 112 h 128"/>
                  <a:gd name="T18" fmla="*/ 3 w 27"/>
                  <a:gd name="T1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128">
                    <a:moveTo>
                      <a:pt x="14" y="26"/>
                    </a:moveTo>
                    <a:cubicBezTo>
                      <a:pt x="6" y="26"/>
                      <a:pt x="0" y="20"/>
                      <a:pt x="0" y="13"/>
                    </a:cubicBezTo>
                    <a:cubicBezTo>
                      <a:pt x="0" y="6"/>
                      <a:pt x="6" y="0"/>
                      <a:pt x="14" y="0"/>
                    </a:cubicBezTo>
                    <a:cubicBezTo>
                      <a:pt x="21" y="0"/>
                      <a:pt x="27" y="5"/>
                      <a:pt x="27" y="13"/>
                    </a:cubicBezTo>
                    <a:cubicBezTo>
                      <a:pt x="27" y="20"/>
                      <a:pt x="21" y="26"/>
                      <a:pt x="14" y="26"/>
                    </a:cubicBezTo>
                    <a:close/>
                    <a:moveTo>
                      <a:pt x="3" y="128"/>
                    </a:moveTo>
                    <a:cubicBezTo>
                      <a:pt x="3" y="40"/>
                      <a:pt x="3" y="40"/>
                      <a:pt x="3" y="40"/>
                    </a:cubicBezTo>
                    <a:cubicBezTo>
                      <a:pt x="25" y="40"/>
                      <a:pt x="25" y="40"/>
                      <a:pt x="25" y="40"/>
                    </a:cubicBezTo>
                    <a:cubicBezTo>
                      <a:pt x="25" y="40"/>
                      <a:pt x="25" y="95"/>
                      <a:pt x="25" y="112"/>
                    </a:cubicBezTo>
                    <a:cubicBezTo>
                      <a:pt x="25" y="128"/>
                      <a:pt x="3" y="128"/>
                      <a:pt x="3" y="1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7" name="Freeform 15"/>
              <p:cNvSpPr>
                <a:spLocks/>
              </p:cNvSpPr>
              <p:nvPr userDrawn="1"/>
            </p:nvSpPr>
            <p:spPr bwMode="auto">
              <a:xfrm>
                <a:off x="8615239" y="4924717"/>
                <a:ext cx="103744" cy="66806"/>
              </a:xfrm>
              <a:custGeom>
                <a:avLst/>
                <a:gdLst>
                  <a:gd name="T0" fmla="*/ 111 w 137"/>
                  <a:gd name="T1" fmla="*/ 72 h 92"/>
                  <a:gd name="T2" fmla="*/ 88 w 137"/>
                  <a:gd name="T3" fmla="*/ 88 h 92"/>
                  <a:gd name="T4" fmla="*/ 68 w 137"/>
                  <a:gd name="T5" fmla="*/ 28 h 92"/>
                  <a:gd name="T6" fmla="*/ 68 w 137"/>
                  <a:gd name="T7" fmla="*/ 28 h 92"/>
                  <a:gd name="T8" fmla="*/ 53 w 137"/>
                  <a:gd name="T9" fmla="*/ 72 h 92"/>
                  <a:gd name="T10" fmla="*/ 31 w 137"/>
                  <a:gd name="T11" fmla="*/ 88 h 92"/>
                  <a:gd name="T12" fmla="*/ 0 w 137"/>
                  <a:gd name="T13" fmla="*/ 0 h 92"/>
                  <a:gd name="T14" fmla="*/ 22 w 137"/>
                  <a:gd name="T15" fmla="*/ 0 h 92"/>
                  <a:gd name="T16" fmla="*/ 41 w 137"/>
                  <a:gd name="T17" fmla="*/ 60 h 92"/>
                  <a:gd name="T18" fmla="*/ 41 w 137"/>
                  <a:gd name="T19" fmla="*/ 60 h 92"/>
                  <a:gd name="T20" fmla="*/ 60 w 137"/>
                  <a:gd name="T21" fmla="*/ 0 h 92"/>
                  <a:gd name="T22" fmla="*/ 77 w 137"/>
                  <a:gd name="T23" fmla="*/ 0 h 92"/>
                  <a:gd name="T24" fmla="*/ 97 w 137"/>
                  <a:gd name="T25" fmla="*/ 60 h 92"/>
                  <a:gd name="T26" fmla="*/ 97 w 137"/>
                  <a:gd name="T27" fmla="*/ 60 h 92"/>
                  <a:gd name="T28" fmla="*/ 115 w 137"/>
                  <a:gd name="T29" fmla="*/ 0 h 92"/>
                  <a:gd name="T30" fmla="*/ 137 w 137"/>
                  <a:gd name="T31" fmla="*/ 0 h 92"/>
                  <a:gd name="T32" fmla="*/ 111 w 137"/>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 h="92">
                    <a:moveTo>
                      <a:pt x="111" y="72"/>
                    </a:moveTo>
                    <a:cubicBezTo>
                      <a:pt x="104" y="92"/>
                      <a:pt x="88" y="88"/>
                      <a:pt x="88" y="88"/>
                    </a:cubicBezTo>
                    <a:cubicBezTo>
                      <a:pt x="68" y="28"/>
                      <a:pt x="68" y="28"/>
                      <a:pt x="68" y="28"/>
                    </a:cubicBezTo>
                    <a:cubicBezTo>
                      <a:pt x="68" y="28"/>
                      <a:pt x="68" y="28"/>
                      <a:pt x="68" y="28"/>
                    </a:cubicBezTo>
                    <a:cubicBezTo>
                      <a:pt x="68" y="28"/>
                      <a:pt x="59"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7" y="60"/>
                      <a:pt x="97" y="60"/>
                      <a:pt x="97" y="60"/>
                    </a:cubicBezTo>
                    <a:cubicBezTo>
                      <a:pt x="97" y="60"/>
                      <a:pt x="97" y="60"/>
                      <a:pt x="97" y="60"/>
                    </a:cubicBezTo>
                    <a:cubicBezTo>
                      <a:pt x="115" y="0"/>
                      <a:pt x="115" y="0"/>
                      <a:pt x="115" y="0"/>
                    </a:cubicBezTo>
                    <a:cubicBezTo>
                      <a:pt x="137" y="0"/>
                      <a:pt x="137" y="0"/>
                      <a:pt x="137" y="0"/>
                    </a:cubicBezTo>
                    <a:cubicBezTo>
                      <a:pt x="137"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3" name="Freeform 16"/>
              <p:cNvSpPr>
                <a:spLocks noEditPoints="1"/>
              </p:cNvSpPr>
              <p:nvPr userDrawn="1"/>
            </p:nvSpPr>
            <p:spPr bwMode="auto">
              <a:xfrm>
                <a:off x="8423168" y="4892699"/>
                <a:ext cx="65844" cy="95129"/>
              </a:xfrm>
              <a:custGeom>
                <a:avLst/>
                <a:gdLst>
                  <a:gd name="T0" fmla="*/ 1 w 87"/>
                  <a:gd name="T1" fmla="*/ 0 h 131"/>
                  <a:gd name="T2" fmla="*/ 0 w 87"/>
                  <a:gd name="T3" fmla="*/ 131 h 131"/>
                  <a:gd name="T4" fmla="*/ 41 w 87"/>
                  <a:gd name="T5" fmla="*/ 131 h 131"/>
                  <a:gd name="T6" fmla="*/ 87 w 87"/>
                  <a:gd name="T7" fmla="*/ 92 h 131"/>
                  <a:gd name="T8" fmla="*/ 65 w 87"/>
                  <a:gd name="T9" fmla="*/ 61 h 131"/>
                  <a:gd name="T10" fmla="*/ 62 w 87"/>
                  <a:gd name="T11" fmla="*/ 60 h 131"/>
                  <a:gd name="T12" fmla="*/ 64 w 87"/>
                  <a:gd name="T13" fmla="*/ 59 h 131"/>
                  <a:gd name="T14" fmla="*/ 79 w 87"/>
                  <a:gd name="T15" fmla="*/ 32 h 131"/>
                  <a:gd name="T16" fmla="*/ 42 w 87"/>
                  <a:gd name="T17" fmla="*/ 0 h 131"/>
                  <a:gd name="T18" fmla="*/ 1 w 87"/>
                  <a:gd name="T19" fmla="*/ 0 h 131"/>
                  <a:gd name="T20" fmla="*/ 23 w 87"/>
                  <a:gd name="T21" fmla="*/ 17 h 131"/>
                  <a:gd name="T22" fmla="*/ 36 w 87"/>
                  <a:gd name="T23" fmla="*/ 17 h 131"/>
                  <a:gd name="T24" fmla="*/ 56 w 87"/>
                  <a:gd name="T25" fmla="*/ 35 h 131"/>
                  <a:gd name="T26" fmla="*/ 38 w 87"/>
                  <a:gd name="T27" fmla="*/ 55 h 131"/>
                  <a:gd name="T28" fmla="*/ 22 w 87"/>
                  <a:gd name="T29" fmla="*/ 55 h 131"/>
                  <a:gd name="T30" fmla="*/ 23 w 87"/>
                  <a:gd name="T31" fmla="*/ 17 h 131"/>
                  <a:gd name="T32" fmla="*/ 22 w 87"/>
                  <a:gd name="T33" fmla="*/ 74 h 131"/>
                  <a:gd name="T34" fmla="*/ 40 w 87"/>
                  <a:gd name="T35" fmla="*/ 74 h 131"/>
                  <a:gd name="T36" fmla="*/ 64 w 87"/>
                  <a:gd name="T37" fmla="*/ 92 h 131"/>
                  <a:gd name="T38" fmla="*/ 39 w 87"/>
                  <a:gd name="T39" fmla="*/ 113 h 131"/>
                  <a:gd name="T40" fmla="*/ 22 w 87"/>
                  <a:gd name="T41" fmla="*/ 113 h 131"/>
                  <a:gd name="T42" fmla="*/ 22 w 87"/>
                  <a:gd name="T43" fmla="*/ 7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131">
                    <a:moveTo>
                      <a:pt x="1" y="0"/>
                    </a:moveTo>
                    <a:cubicBezTo>
                      <a:pt x="1" y="3"/>
                      <a:pt x="0" y="129"/>
                      <a:pt x="0" y="131"/>
                    </a:cubicBezTo>
                    <a:cubicBezTo>
                      <a:pt x="2" y="131"/>
                      <a:pt x="41" y="131"/>
                      <a:pt x="41" y="131"/>
                    </a:cubicBezTo>
                    <a:cubicBezTo>
                      <a:pt x="73" y="131"/>
                      <a:pt x="87" y="111"/>
                      <a:pt x="87" y="92"/>
                    </a:cubicBezTo>
                    <a:cubicBezTo>
                      <a:pt x="87" y="77"/>
                      <a:pt x="79" y="65"/>
                      <a:pt x="65" y="61"/>
                    </a:cubicBezTo>
                    <a:cubicBezTo>
                      <a:pt x="62" y="60"/>
                      <a:pt x="62" y="60"/>
                      <a:pt x="62" y="60"/>
                    </a:cubicBezTo>
                    <a:cubicBezTo>
                      <a:pt x="64" y="59"/>
                      <a:pt x="64" y="59"/>
                      <a:pt x="64" y="59"/>
                    </a:cubicBezTo>
                    <a:cubicBezTo>
                      <a:pt x="74" y="54"/>
                      <a:pt x="79" y="44"/>
                      <a:pt x="79" y="32"/>
                    </a:cubicBezTo>
                    <a:cubicBezTo>
                      <a:pt x="79" y="17"/>
                      <a:pt x="68" y="0"/>
                      <a:pt x="42" y="0"/>
                    </a:cubicBezTo>
                    <a:cubicBezTo>
                      <a:pt x="42" y="0"/>
                      <a:pt x="3" y="0"/>
                      <a:pt x="1" y="0"/>
                    </a:cubicBezTo>
                    <a:close/>
                    <a:moveTo>
                      <a:pt x="23" y="17"/>
                    </a:moveTo>
                    <a:cubicBezTo>
                      <a:pt x="36" y="17"/>
                      <a:pt x="36" y="17"/>
                      <a:pt x="36" y="17"/>
                    </a:cubicBezTo>
                    <a:cubicBezTo>
                      <a:pt x="49" y="17"/>
                      <a:pt x="56" y="24"/>
                      <a:pt x="56" y="35"/>
                    </a:cubicBezTo>
                    <a:cubicBezTo>
                      <a:pt x="56" y="47"/>
                      <a:pt x="47" y="55"/>
                      <a:pt x="38" y="55"/>
                    </a:cubicBezTo>
                    <a:cubicBezTo>
                      <a:pt x="22" y="55"/>
                      <a:pt x="22" y="55"/>
                      <a:pt x="22" y="55"/>
                    </a:cubicBezTo>
                    <a:lnTo>
                      <a:pt x="23" y="17"/>
                    </a:lnTo>
                    <a:close/>
                    <a:moveTo>
                      <a:pt x="22" y="74"/>
                    </a:moveTo>
                    <a:cubicBezTo>
                      <a:pt x="40" y="74"/>
                      <a:pt x="40" y="74"/>
                      <a:pt x="40" y="74"/>
                    </a:cubicBezTo>
                    <a:cubicBezTo>
                      <a:pt x="55" y="74"/>
                      <a:pt x="64" y="81"/>
                      <a:pt x="64" y="92"/>
                    </a:cubicBezTo>
                    <a:cubicBezTo>
                      <a:pt x="64" y="105"/>
                      <a:pt x="55" y="113"/>
                      <a:pt x="39" y="113"/>
                    </a:cubicBezTo>
                    <a:cubicBezTo>
                      <a:pt x="22" y="113"/>
                      <a:pt x="22" y="113"/>
                      <a:pt x="22" y="113"/>
                    </a:cubicBezTo>
                    <a:lnTo>
                      <a:pt x="22" y="74"/>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4" name="Freeform 17"/>
              <p:cNvSpPr>
                <a:spLocks noEditPoints="1"/>
              </p:cNvSpPr>
              <p:nvPr userDrawn="1"/>
            </p:nvSpPr>
            <p:spPr bwMode="auto">
              <a:xfrm>
                <a:off x="8546184" y="4923177"/>
                <a:ext cx="66486" cy="66190"/>
              </a:xfrm>
              <a:custGeom>
                <a:avLst/>
                <a:gdLst>
                  <a:gd name="T0" fmla="*/ 75 w 88"/>
                  <a:gd name="T1" fmla="*/ 78 h 91"/>
                  <a:gd name="T2" fmla="*/ 44 w 88"/>
                  <a:gd name="T3" fmla="*/ 91 h 91"/>
                  <a:gd name="T4" fmla="*/ 14 w 88"/>
                  <a:gd name="T5" fmla="*/ 80 h 91"/>
                  <a:gd name="T6" fmla="*/ 0 w 88"/>
                  <a:gd name="T7" fmla="*/ 46 h 91"/>
                  <a:gd name="T8" fmla="*/ 13 w 88"/>
                  <a:gd name="T9" fmla="*/ 12 h 91"/>
                  <a:gd name="T10" fmla="*/ 44 w 88"/>
                  <a:gd name="T11" fmla="*/ 0 h 91"/>
                  <a:gd name="T12" fmla="*/ 76 w 88"/>
                  <a:gd name="T13" fmla="*/ 12 h 91"/>
                  <a:gd name="T14" fmla="*/ 88 w 88"/>
                  <a:gd name="T15" fmla="*/ 45 h 91"/>
                  <a:gd name="T16" fmla="*/ 75 w 88"/>
                  <a:gd name="T17" fmla="*/ 78 h 91"/>
                  <a:gd name="T18" fmla="*/ 44 w 88"/>
                  <a:gd name="T19" fmla="*/ 17 h 91"/>
                  <a:gd name="T20" fmla="*/ 23 w 88"/>
                  <a:gd name="T21" fmla="*/ 45 h 91"/>
                  <a:gd name="T22" fmla="*/ 44 w 88"/>
                  <a:gd name="T23" fmla="*/ 73 h 91"/>
                  <a:gd name="T24" fmla="*/ 65 w 88"/>
                  <a:gd name="T25" fmla="*/ 45 h 91"/>
                  <a:gd name="T26" fmla="*/ 44 w 88"/>
                  <a:gd name="T27"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91">
                    <a:moveTo>
                      <a:pt x="75" y="78"/>
                    </a:moveTo>
                    <a:cubicBezTo>
                      <a:pt x="68" y="86"/>
                      <a:pt x="57" y="91"/>
                      <a:pt x="44" y="91"/>
                    </a:cubicBezTo>
                    <a:cubicBezTo>
                      <a:pt x="32" y="91"/>
                      <a:pt x="21" y="87"/>
                      <a:pt x="14" y="80"/>
                    </a:cubicBezTo>
                    <a:cubicBezTo>
                      <a:pt x="5" y="72"/>
                      <a:pt x="0" y="60"/>
                      <a:pt x="0" y="46"/>
                    </a:cubicBezTo>
                    <a:cubicBezTo>
                      <a:pt x="0" y="32"/>
                      <a:pt x="5" y="20"/>
                      <a:pt x="13" y="12"/>
                    </a:cubicBezTo>
                    <a:cubicBezTo>
                      <a:pt x="21" y="4"/>
                      <a:pt x="31" y="0"/>
                      <a:pt x="44" y="0"/>
                    </a:cubicBezTo>
                    <a:cubicBezTo>
                      <a:pt x="57" y="0"/>
                      <a:pt x="68" y="4"/>
                      <a:pt x="76" y="12"/>
                    </a:cubicBezTo>
                    <a:cubicBezTo>
                      <a:pt x="84" y="20"/>
                      <a:pt x="88" y="32"/>
                      <a:pt x="88" y="45"/>
                    </a:cubicBezTo>
                    <a:cubicBezTo>
                      <a:pt x="88" y="58"/>
                      <a:pt x="83" y="70"/>
                      <a:pt x="75" y="78"/>
                    </a:cubicBezTo>
                    <a:close/>
                    <a:moveTo>
                      <a:pt x="44" y="17"/>
                    </a:moveTo>
                    <a:cubicBezTo>
                      <a:pt x="30" y="17"/>
                      <a:pt x="23" y="29"/>
                      <a:pt x="23" y="45"/>
                    </a:cubicBezTo>
                    <a:cubicBezTo>
                      <a:pt x="23" y="62"/>
                      <a:pt x="31" y="73"/>
                      <a:pt x="44" y="73"/>
                    </a:cubicBezTo>
                    <a:cubicBezTo>
                      <a:pt x="58" y="73"/>
                      <a:pt x="65" y="61"/>
                      <a:pt x="65" y="45"/>
                    </a:cubicBezTo>
                    <a:cubicBezTo>
                      <a:pt x="65" y="28"/>
                      <a:pt x="57" y="17"/>
                      <a:pt x="44" y="1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5" name="Freeform 18"/>
              <p:cNvSpPr>
                <a:spLocks/>
              </p:cNvSpPr>
              <p:nvPr userDrawn="1"/>
            </p:nvSpPr>
            <p:spPr bwMode="auto">
              <a:xfrm>
                <a:off x="8728298" y="4923177"/>
                <a:ext cx="60705" cy="65574"/>
              </a:xfrm>
              <a:custGeom>
                <a:avLst/>
                <a:gdLst>
                  <a:gd name="T0" fmla="*/ 58 w 80"/>
                  <a:gd name="T1" fmla="*/ 90 h 90"/>
                  <a:gd name="T2" fmla="*/ 58 w 80"/>
                  <a:gd name="T3" fmla="*/ 38 h 90"/>
                  <a:gd name="T4" fmla="*/ 45 w 80"/>
                  <a:gd name="T5" fmla="*/ 19 h 90"/>
                  <a:gd name="T6" fmla="*/ 23 w 80"/>
                  <a:gd name="T7" fmla="*/ 28 h 90"/>
                  <a:gd name="T8" fmla="*/ 23 w 80"/>
                  <a:gd name="T9" fmla="*/ 74 h 90"/>
                  <a:gd name="T10" fmla="*/ 0 w 80"/>
                  <a:gd name="T11" fmla="*/ 90 h 90"/>
                  <a:gd name="T12" fmla="*/ 0 w 80"/>
                  <a:gd name="T13" fmla="*/ 2 h 90"/>
                  <a:gd name="T14" fmla="*/ 19 w 80"/>
                  <a:gd name="T15" fmla="*/ 2 h 90"/>
                  <a:gd name="T16" fmla="*/ 22 w 80"/>
                  <a:gd name="T17" fmla="*/ 11 h 90"/>
                  <a:gd name="T18" fmla="*/ 52 w 80"/>
                  <a:gd name="T19" fmla="*/ 0 h 90"/>
                  <a:gd name="T20" fmla="*/ 80 w 80"/>
                  <a:gd name="T21" fmla="*/ 31 h 90"/>
                  <a:gd name="T22" fmla="*/ 80 w 80"/>
                  <a:gd name="T23" fmla="*/ 74 h 90"/>
                  <a:gd name="T24" fmla="*/ 58 w 80"/>
                  <a:gd name="T2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90">
                    <a:moveTo>
                      <a:pt x="58" y="90"/>
                    </a:moveTo>
                    <a:cubicBezTo>
                      <a:pt x="58" y="38"/>
                      <a:pt x="58" y="38"/>
                      <a:pt x="58" y="38"/>
                    </a:cubicBezTo>
                    <a:cubicBezTo>
                      <a:pt x="58" y="29"/>
                      <a:pt x="56" y="19"/>
                      <a:pt x="45" y="19"/>
                    </a:cubicBezTo>
                    <a:cubicBezTo>
                      <a:pt x="37" y="19"/>
                      <a:pt x="29" y="23"/>
                      <a:pt x="23" y="28"/>
                    </a:cubicBezTo>
                    <a:cubicBezTo>
                      <a:pt x="23" y="28"/>
                      <a:pt x="23" y="57"/>
                      <a:pt x="23" y="74"/>
                    </a:cubicBezTo>
                    <a:cubicBezTo>
                      <a:pt x="23" y="90"/>
                      <a:pt x="0" y="90"/>
                      <a:pt x="0" y="90"/>
                    </a:cubicBezTo>
                    <a:cubicBezTo>
                      <a:pt x="0" y="2"/>
                      <a:pt x="0" y="2"/>
                      <a:pt x="0" y="2"/>
                    </a:cubicBezTo>
                    <a:cubicBezTo>
                      <a:pt x="19" y="2"/>
                      <a:pt x="19" y="2"/>
                      <a:pt x="19" y="2"/>
                    </a:cubicBezTo>
                    <a:cubicBezTo>
                      <a:pt x="22" y="11"/>
                      <a:pt x="22" y="11"/>
                      <a:pt x="22" y="11"/>
                    </a:cubicBezTo>
                    <a:cubicBezTo>
                      <a:pt x="31" y="4"/>
                      <a:pt x="40" y="0"/>
                      <a:pt x="52" y="0"/>
                    </a:cubicBezTo>
                    <a:cubicBezTo>
                      <a:pt x="65" y="0"/>
                      <a:pt x="80" y="8"/>
                      <a:pt x="80" y="31"/>
                    </a:cubicBezTo>
                    <a:cubicBezTo>
                      <a:pt x="80" y="31"/>
                      <a:pt x="80" y="57"/>
                      <a:pt x="80" y="74"/>
                    </a:cubicBezTo>
                    <a:cubicBezTo>
                      <a:pt x="80" y="90"/>
                      <a:pt x="58" y="90"/>
                      <a:pt x="58" y="9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6" name="Freeform 19"/>
              <p:cNvSpPr>
                <a:spLocks/>
              </p:cNvSpPr>
              <p:nvPr userDrawn="1"/>
            </p:nvSpPr>
            <p:spPr bwMode="auto">
              <a:xfrm>
                <a:off x="8501217" y="4923177"/>
                <a:ext cx="43361" cy="65574"/>
              </a:xfrm>
              <a:custGeom>
                <a:avLst/>
                <a:gdLst>
                  <a:gd name="T0" fmla="*/ 49 w 57"/>
                  <a:gd name="T1" fmla="*/ 22 h 90"/>
                  <a:gd name="T2" fmla="*/ 39 w 57"/>
                  <a:gd name="T3" fmla="*/ 20 h 90"/>
                  <a:gd name="T4" fmla="*/ 22 w 57"/>
                  <a:gd name="T5" fmla="*/ 27 h 90"/>
                  <a:gd name="T6" fmla="*/ 22 w 57"/>
                  <a:gd name="T7" fmla="*/ 74 h 90"/>
                  <a:gd name="T8" fmla="*/ 0 w 57"/>
                  <a:gd name="T9" fmla="*/ 90 h 90"/>
                  <a:gd name="T10" fmla="*/ 0 w 57"/>
                  <a:gd name="T11" fmla="*/ 2 h 90"/>
                  <a:gd name="T12" fmla="*/ 19 w 57"/>
                  <a:gd name="T13" fmla="*/ 2 h 90"/>
                  <a:gd name="T14" fmla="*/ 21 w 57"/>
                  <a:gd name="T15" fmla="*/ 11 h 90"/>
                  <a:gd name="T16" fmla="*/ 45 w 57"/>
                  <a:gd name="T17" fmla="*/ 0 h 90"/>
                  <a:gd name="T18" fmla="*/ 57 w 57"/>
                  <a:gd name="T19" fmla="*/ 4 h 90"/>
                  <a:gd name="T20" fmla="*/ 49 w 57"/>
                  <a:gd name="T21" fmla="*/ 2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0">
                    <a:moveTo>
                      <a:pt x="49" y="22"/>
                    </a:moveTo>
                    <a:cubicBezTo>
                      <a:pt x="46" y="20"/>
                      <a:pt x="42" y="20"/>
                      <a:pt x="39" y="20"/>
                    </a:cubicBezTo>
                    <a:cubicBezTo>
                      <a:pt x="34" y="20"/>
                      <a:pt x="28" y="22"/>
                      <a:pt x="22" y="27"/>
                    </a:cubicBezTo>
                    <a:cubicBezTo>
                      <a:pt x="22" y="27"/>
                      <a:pt x="22" y="57"/>
                      <a:pt x="22" y="74"/>
                    </a:cubicBezTo>
                    <a:cubicBezTo>
                      <a:pt x="22" y="90"/>
                      <a:pt x="0" y="90"/>
                      <a:pt x="0" y="90"/>
                    </a:cubicBezTo>
                    <a:cubicBezTo>
                      <a:pt x="0" y="2"/>
                      <a:pt x="0" y="2"/>
                      <a:pt x="0" y="2"/>
                    </a:cubicBezTo>
                    <a:cubicBezTo>
                      <a:pt x="19" y="2"/>
                      <a:pt x="19" y="2"/>
                      <a:pt x="19"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7" name="Freeform 20"/>
              <p:cNvSpPr>
                <a:spLocks/>
              </p:cNvSpPr>
              <p:nvPr userDrawn="1"/>
            </p:nvSpPr>
            <p:spPr bwMode="auto">
              <a:xfrm>
                <a:off x="7766657" y="4864376"/>
                <a:ext cx="100211" cy="148389"/>
              </a:xfrm>
              <a:custGeom>
                <a:avLst/>
                <a:gdLst>
                  <a:gd name="T0" fmla="*/ 0 w 132"/>
                  <a:gd name="T1" fmla="*/ 23 h 204"/>
                  <a:gd name="T2" fmla="*/ 1 w 132"/>
                  <a:gd name="T3" fmla="*/ 22 h 204"/>
                  <a:gd name="T4" fmla="*/ 67 w 132"/>
                  <a:gd name="T5" fmla="*/ 20 h 204"/>
                  <a:gd name="T6" fmla="*/ 80 w 132"/>
                  <a:gd name="T7" fmla="*/ 52 h 204"/>
                  <a:gd name="T8" fmla="*/ 113 w 132"/>
                  <a:gd name="T9" fmla="*/ 65 h 204"/>
                  <a:gd name="T10" fmla="*/ 111 w 132"/>
                  <a:gd name="T11" fmla="*/ 132 h 204"/>
                  <a:gd name="T12" fmla="*/ 38 w 132"/>
                  <a:gd name="T13" fmla="*/ 204 h 204"/>
                  <a:gd name="T14" fmla="*/ 16 w 132"/>
                  <a:gd name="T15" fmla="*/ 182 h 204"/>
                  <a:gd name="T16" fmla="*/ 88 w 132"/>
                  <a:gd name="T17" fmla="*/ 110 h 204"/>
                  <a:gd name="T18" fmla="*/ 91 w 132"/>
                  <a:gd name="T19" fmla="*/ 86 h 204"/>
                  <a:gd name="T20" fmla="*/ 67 w 132"/>
                  <a:gd name="T21" fmla="*/ 88 h 204"/>
                  <a:gd name="T22" fmla="*/ 0 w 132"/>
                  <a:gd name="T23" fmla="*/ 155 h 204"/>
                  <a:gd name="T24" fmla="*/ 0 w 132"/>
                  <a:gd name="T25" fmla="*/ 111 h 204"/>
                  <a:gd name="T26" fmla="*/ 45 w 132"/>
                  <a:gd name="T27" fmla="*/ 66 h 204"/>
                  <a:gd name="T28" fmla="*/ 46 w 132"/>
                  <a:gd name="T29" fmla="*/ 42 h 204"/>
                  <a:gd name="T30" fmla="*/ 22 w 132"/>
                  <a:gd name="T31" fmla="*/ 44 h 204"/>
                  <a:gd name="T32" fmla="*/ 0 w 132"/>
                  <a:gd name="T33" fmla="*/ 66 h 204"/>
                  <a:gd name="T34" fmla="*/ 0 w 132"/>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204">
                    <a:moveTo>
                      <a:pt x="0" y="23"/>
                    </a:moveTo>
                    <a:cubicBezTo>
                      <a:pt x="1" y="22"/>
                      <a:pt x="1" y="22"/>
                      <a:pt x="1" y="22"/>
                    </a:cubicBezTo>
                    <a:cubicBezTo>
                      <a:pt x="23" y="0"/>
                      <a:pt x="50" y="2"/>
                      <a:pt x="67" y="20"/>
                    </a:cubicBezTo>
                    <a:cubicBezTo>
                      <a:pt x="80" y="32"/>
                      <a:pt x="81" y="46"/>
                      <a:pt x="80" y="52"/>
                    </a:cubicBezTo>
                    <a:cubicBezTo>
                      <a:pt x="86" y="51"/>
                      <a:pt x="100" y="52"/>
                      <a:pt x="113" y="65"/>
                    </a:cubicBezTo>
                    <a:cubicBezTo>
                      <a:pt x="130" y="82"/>
                      <a:pt x="132" y="110"/>
                      <a:pt x="111" y="132"/>
                    </a:cubicBezTo>
                    <a:cubicBezTo>
                      <a:pt x="38" y="204"/>
                      <a:pt x="38" y="204"/>
                      <a:pt x="38" y="204"/>
                    </a:cubicBezTo>
                    <a:cubicBezTo>
                      <a:pt x="16" y="182"/>
                      <a:pt x="16" y="182"/>
                      <a:pt x="16" y="182"/>
                    </a:cubicBezTo>
                    <a:cubicBezTo>
                      <a:pt x="88" y="110"/>
                      <a:pt x="88" y="110"/>
                      <a:pt x="88" y="110"/>
                    </a:cubicBezTo>
                    <a:cubicBezTo>
                      <a:pt x="97" y="101"/>
                      <a:pt x="96" y="91"/>
                      <a:pt x="91" y="86"/>
                    </a:cubicBezTo>
                    <a:cubicBezTo>
                      <a:pt x="85" y="80"/>
                      <a:pt x="75" y="79"/>
                      <a:pt x="67" y="88"/>
                    </a:cubicBezTo>
                    <a:cubicBezTo>
                      <a:pt x="0" y="155"/>
                      <a:pt x="0" y="155"/>
                      <a:pt x="0" y="155"/>
                    </a:cubicBezTo>
                    <a:cubicBezTo>
                      <a:pt x="0" y="111"/>
                      <a:pt x="0" y="111"/>
                      <a:pt x="0" y="111"/>
                    </a:cubicBezTo>
                    <a:cubicBezTo>
                      <a:pt x="45" y="66"/>
                      <a:pt x="45" y="66"/>
                      <a:pt x="45" y="66"/>
                    </a:cubicBezTo>
                    <a:cubicBezTo>
                      <a:pt x="53" y="57"/>
                      <a:pt x="52" y="47"/>
                      <a:pt x="46" y="42"/>
                    </a:cubicBezTo>
                    <a:cubicBezTo>
                      <a:pt x="41" y="36"/>
                      <a:pt x="31" y="35"/>
                      <a:pt x="22" y="44"/>
                    </a:cubicBezTo>
                    <a:cubicBezTo>
                      <a:pt x="0" y="66"/>
                      <a:pt x="0" y="66"/>
                      <a:pt x="0" y="66"/>
                    </a:cubicBezTo>
                    <a:lnTo>
                      <a:pt x="0"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grpSp>
      <p:cxnSp>
        <p:nvCxnSpPr>
          <p:cNvPr id="32" name="Straight Connector 31"/>
          <p:cNvCxnSpPr/>
          <p:nvPr userDrawn="1"/>
        </p:nvCxnSpPr>
        <p:spPr>
          <a:xfrm>
            <a:off x="343365" y="470176"/>
            <a:ext cx="8460000" cy="0"/>
          </a:xfrm>
          <a:prstGeom prst="line">
            <a:avLst/>
          </a:prstGeom>
          <a:ln w="6350" cmpd="sng">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343365" y="4801146"/>
            <a:ext cx="8460000" cy="0"/>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sp>
        <p:nvSpPr>
          <p:cNvPr id="67"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rgbClr val="FFFFFF"/>
                </a:solidFill>
                <a:latin typeface="+mn-lt"/>
              </a:defRPr>
            </a:lvl1pPr>
          </a:lstStyle>
          <a:p>
            <a:fld id="{19AB4E72-7858-48F1-A40D-12FF09E4BFB8}" type="slidenum">
              <a:rPr lang="en-GB" smtClean="0"/>
              <a:pPr/>
              <a:t>‹Nº›</a:t>
            </a:fld>
            <a:endParaRPr lang="en-GB"/>
          </a:p>
        </p:txBody>
      </p:sp>
      <p:sp>
        <p:nvSpPr>
          <p:cNvPr id="36" name="Title 1"/>
          <p:cNvSpPr>
            <a:spLocks noGrp="1"/>
          </p:cNvSpPr>
          <p:nvPr>
            <p:ph type="ctrTitle" hasCustomPrompt="1"/>
          </p:nvPr>
        </p:nvSpPr>
        <p:spPr>
          <a:xfrm>
            <a:off x="343365" y="2867487"/>
            <a:ext cx="8460000" cy="443198"/>
          </a:xfrm>
          <a:prstGeom prst="rect">
            <a:avLst/>
          </a:prstGeom>
        </p:spPr>
        <p:txBody>
          <a:bodyPr lIns="0" tIns="0" rIns="0" bIns="0" anchor="b"/>
          <a:lstStyle>
            <a:lvl1pPr>
              <a:lnSpc>
                <a:spcPct val="90000"/>
              </a:lnSpc>
              <a:defRPr sz="3200" b="0">
                <a:solidFill>
                  <a:schemeClr val="bg1"/>
                </a:solidFill>
              </a:defRPr>
            </a:lvl1pPr>
          </a:lstStyle>
          <a:p>
            <a:r>
              <a:rPr lang="en-US" dirty="0" smtClean="0"/>
              <a:t>Click to edit Master title Style</a:t>
            </a:r>
            <a:endParaRPr lang="en-US" dirty="0"/>
          </a:p>
        </p:txBody>
      </p:sp>
      <p:sp>
        <p:nvSpPr>
          <p:cNvPr id="37" name="Subtitle 2"/>
          <p:cNvSpPr>
            <a:spLocks noGrp="1"/>
          </p:cNvSpPr>
          <p:nvPr>
            <p:ph type="subTitle" idx="1" hasCustomPrompt="1"/>
          </p:nvPr>
        </p:nvSpPr>
        <p:spPr>
          <a:xfrm>
            <a:off x="343364" y="3474100"/>
            <a:ext cx="8460000" cy="202165"/>
          </a:xfrm>
          <a:prstGeom prst="rect">
            <a:avLst/>
          </a:prstGeom>
        </p:spPr>
        <p:txBody>
          <a:bodyPr lIns="0" tIns="0" rIns="0" bIns="0">
            <a:noAutofit/>
          </a:bodyPr>
          <a:lstStyle>
            <a:lvl1pPr marL="0" indent="0" algn="l">
              <a:buNone/>
              <a:defRPr sz="14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cxnSp>
        <p:nvCxnSpPr>
          <p:cNvPr id="38" name="Straight Connector 37"/>
          <p:cNvCxnSpPr/>
          <p:nvPr userDrawn="1"/>
        </p:nvCxnSpPr>
        <p:spPr>
          <a:xfrm>
            <a:off x="346086" y="3395058"/>
            <a:ext cx="8460000" cy="0"/>
          </a:xfrm>
          <a:prstGeom prst="line">
            <a:avLst/>
          </a:prstGeom>
          <a:ln w="12700"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119" name="Text Placeholder 2"/>
          <p:cNvSpPr>
            <a:spLocks noGrp="1"/>
          </p:cNvSpPr>
          <p:nvPr>
            <p:ph type="body" sz="quarter" idx="25" hasCustomPrompt="1"/>
          </p:nvPr>
        </p:nvSpPr>
        <p:spPr>
          <a:xfrm>
            <a:off x="4727636" y="4807465"/>
            <a:ext cx="1160462" cy="341313"/>
          </a:xfrm>
          <a:prstGeom prst="rect">
            <a:avLst/>
          </a:prstGeom>
        </p:spPr>
        <p:txBody>
          <a:bodyPr anchor="ctr"/>
          <a:lstStyle>
            <a:lvl1pPr marL="0" indent="0" algn="ctr">
              <a:buNone/>
              <a:defRPr sz="800">
                <a:solidFill>
                  <a:schemeClr val="bg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grpSp>
        <p:nvGrpSpPr>
          <p:cNvPr id="50" name="Group 49"/>
          <p:cNvGrpSpPr/>
          <p:nvPr userDrawn="1"/>
        </p:nvGrpSpPr>
        <p:grpSpPr>
          <a:xfrm>
            <a:off x="7686461" y="4906654"/>
            <a:ext cx="1124815" cy="151147"/>
            <a:chOff x="7686461" y="4581466"/>
            <a:chExt cx="1124815" cy="151147"/>
          </a:xfrm>
          <a:solidFill>
            <a:schemeClr val="bg1"/>
          </a:solidFill>
        </p:grpSpPr>
        <p:sp>
          <p:nvSpPr>
            <p:cNvPr id="52"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3"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4"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5"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8"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75"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76"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77"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78"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79"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0"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1"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2"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3"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4"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grpSp>
      <p:sp>
        <p:nvSpPr>
          <p:cNvPr id="56"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solidFill>
                  <a:schemeClr val="tx2">
                    <a:lumMod val="75000"/>
                  </a:schemeClr>
                </a:solidFill>
                <a:latin typeface="+mn-lt"/>
              </a:rPr>
              <a:t>Private and Confidental</a:t>
            </a:r>
            <a:endParaRPr lang="pt-BR" sz="500" dirty="0">
              <a:solidFill>
                <a:schemeClr val="tx2">
                  <a:lumMod val="75000"/>
                </a:schemeClr>
              </a:solidFill>
              <a:latin typeface="+mn-lt"/>
            </a:endParaRPr>
          </a:p>
        </p:txBody>
      </p:sp>
    </p:spTree>
    <p:extLst>
      <p:ext uri="{BB962C8B-B14F-4D97-AF65-F5344CB8AC3E}">
        <p14:creationId xmlns:p14="http://schemas.microsoft.com/office/powerpoint/2010/main" val="1941413325"/>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A_MB_Slate3">
    <p:bg>
      <p:bgPr>
        <a:solidFill>
          <a:schemeClr val="bg1"/>
        </a:solidFill>
        <a:effectLst/>
      </p:bgPr>
    </p:bg>
    <p:spTree>
      <p:nvGrpSpPr>
        <p:cNvPr id="1" name=""/>
        <p:cNvGrpSpPr/>
        <p:nvPr/>
      </p:nvGrpSpPr>
      <p:grpSpPr>
        <a:xfrm>
          <a:off x="0" y="0"/>
          <a:ext cx="0" cy="0"/>
          <a:chOff x="0" y="0"/>
          <a:chExt cx="0" cy="0"/>
        </a:xfrm>
      </p:grpSpPr>
      <p:sp>
        <p:nvSpPr>
          <p:cNvPr id="31" name="Rectangle 30"/>
          <p:cNvSpPr/>
          <p:nvPr userDrawn="1"/>
        </p:nvSpPr>
        <p:spPr>
          <a:xfrm>
            <a:off x="0" y="0"/>
            <a:ext cx="9144000" cy="5148263"/>
          </a:xfrm>
          <a:prstGeom prst="rect">
            <a:avLst/>
          </a:prstGeom>
          <a:solidFill>
            <a:srgbClr val="4B4E53"/>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en-GB" sz="1050" smtClean="0">
              <a:solidFill>
                <a:schemeClr val="bg1"/>
              </a:solidFill>
              <a:latin typeface="Arial" panose="020B0604020202020204" pitchFamily="34" charset="0"/>
              <a:cs typeface="Arial" panose="020B0604020202020204" pitchFamily="34" charset="0"/>
            </a:endParaRPr>
          </a:p>
        </p:txBody>
      </p:sp>
      <p:pic>
        <p:nvPicPr>
          <p:cNvPr id="33" name="Picture 32" descr="cookie_white.png"/>
          <p:cNvPicPr>
            <a:picLocks noChangeAspect="1"/>
          </p:cNvPicPr>
          <p:nvPr userDrawn="1"/>
        </p:nvPicPr>
        <p:blipFill rotWithShape="1">
          <a:blip r:embed="rId2" cstate="screen">
            <a:alphaModFix amt="16000"/>
            <a:extLst>
              <a:ext uri="{28A0092B-C50C-407E-A947-70E740481C1C}">
                <a14:useLocalDpi xmlns:a14="http://schemas.microsoft.com/office/drawing/2010/main"/>
              </a:ext>
            </a:extLst>
          </a:blip>
          <a:srcRect/>
          <a:stretch/>
        </p:blipFill>
        <p:spPr>
          <a:xfrm flipH="1">
            <a:off x="5149029" y="2289839"/>
            <a:ext cx="4020091" cy="2880000"/>
          </a:xfrm>
          <a:prstGeom prst="rect">
            <a:avLst/>
          </a:prstGeom>
        </p:spPr>
      </p:pic>
      <p:cxnSp>
        <p:nvCxnSpPr>
          <p:cNvPr id="32" name="Straight Connector 31"/>
          <p:cNvCxnSpPr/>
          <p:nvPr userDrawn="1"/>
        </p:nvCxnSpPr>
        <p:spPr>
          <a:xfrm>
            <a:off x="343365" y="470176"/>
            <a:ext cx="8460000" cy="0"/>
          </a:xfrm>
          <a:prstGeom prst="line">
            <a:avLst/>
          </a:prstGeom>
          <a:ln w="6350" cmpd="sng">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343365" y="4801146"/>
            <a:ext cx="8460000" cy="0"/>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sp>
        <p:nvSpPr>
          <p:cNvPr id="67"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rgbClr val="FFFFFF"/>
                </a:solidFill>
                <a:latin typeface="+mn-lt"/>
              </a:defRPr>
            </a:lvl1pPr>
          </a:lstStyle>
          <a:p>
            <a:fld id="{19AB4E72-7858-48F1-A40D-12FF09E4BFB8}" type="slidenum">
              <a:rPr lang="en-GB" smtClean="0"/>
              <a:pPr/>
              <a:t>‹Nº›</a:t>
            </a:fld>
            <a:endParaRPr lang="en-GB"/>
          </a:p>
        </p:txBody>
      </p:sp>
      <p:sp>
        <p:nvSpPr>
          <p:cNvPr id="36" name="Title 1"/>
          <p:cNvSpPr>
            <a:spLocks noGrp="1"/>
          </p:cNvSpPr>
          <p:nvPr>
            <p:ph type="ctrTitle" hasCustomPrompt="1"/>
          </p:nvPr>
        </p:nvSpPr>
        <p:spPr>
          <a:xfrm>
            <a:off x="343365" y="2867487"/>
            <a:ext cx="8460000" cy="443198"/>
          </a:xfrm>
          <a:prstGeom prst="rect">
            <a:avLst/>
          </a:prstGeom>
        </p:spPr>
        <p:txBody>
          <a:bodyPr lIns="0" tIns="0" rIns="0" bIns="0" anchor="b"/>
          <a:lstStyle>
            <a:lvl1pPr>
              <a:lnSpc>
                <a:spcPct val="90000"/>
              </a:lnSpc>
              <a:defRPr sz="3200" b="0">
                <a:solidFill>
                  <a:schemeClr val="bg1"/>
                </a:solidFill>
              </a:defRPr>
            </a:lvl1pPr>
          </a:lstStyle>
          <a:p>
            <a:r>
              <a:rPr lang="en-US" dirty="0" smtClean="0"/>
              <a:t>Click to edit Master title Style</a:t>
            </a:r>
            <a:endParaRPr lang="en-US" dirty="0"/>
          </a:p>
        </p:txBody>
      </p:sp>
      <p:sp>
        <p:nvSpPr>
          <p:cNvPr id="37" name="Subtitle 2"/>
          <p:cNvSpPr>
            <a:spLocks noGrp="1"/>
          </p:cNvSpPr>
          <p:nvPr>
            <p:ph type="subTitle" idx="1" hasCustomPrompt="1"/>
          </p:nvPr>
        </p:nvSpPr>
        <p:spPr>
          <a:xfrm>
            <a:off x="343364" y="3474100"/>
            <a:ext cx="8460000" cy="202165"/>
          </a:xfrm>
          <a:prstGeom prst="rect">
            <a:avLst/>
          </a:prstGeom>
        </p:spPr>
        <p:txBody>
          <a:bodyPr lIns="0" tIns="0" rIns="0" bIns="0">
            <a:noAutofit/>
          </a:bodyPr>
          <a:lstStyle>
            <a:lvl1pPr marL="0" indent="0" algn="l">
              <a:buNone/>
              <a:defRPr sz="1400">
                <a:solidFill>
                  <a:schemeClr val="tx2"/>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cxnSp>
        <p:nvCxnSpPr>
          <p:cNvPr id="38" name="Straight Connector 37"/>
          <p:cNvCxnSpPr/>
          <p:nvPr userDrawn="1"/>
        </p:nvCxnSpPr>
        <p:spPr>
          <a:xfrm>
            <a:off x="346086" y="3395058"/>
            <a:ext cx="8460000" cy="0"/>
          </a:xfrm>
          <a:prstGeom prst="line">
            <a:avLst/>
          </a:prstGeom>
          <a:ln w="12700"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69" name="Text Placeholder 2"/>
          <p:cNvSpPr>
            <a:spLocks noGrp="1"/>
          </p:cNvSpPr>
          <p:nvPr>
            <p:ph type="body" sz="quarter" idx="25" hasCustomPrompt="1"/>
          </p:nvPr>
        </p:nvSpPr>
        <p:spPr>
          <a:xfrm>
            <a:off x="4727636" y="4807465"/>
            <a:ext cx="1160462" cy="341313"/>
          </a:xfrm>
          <a:prstGeom prst="rect">
            <a:avLst/>
          </a:prstGeom>
        </p:spPr>
        <p:txBody>
          <a:bodyPr anchor="ctr"/>
          <a:lstStyle>
            <a:lvl1pPr marL="0" indent="0" algn="ctr">
              <a:buNone/>
              <a:defRPr sz="800">
                <a:solidFill>
                  <a:schemeClr val="bg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grpSp>
        <p:nvGrpSpPr>
          <p:cNvPr id="70" name="Group 69"/>
          <p:cNvGrpSpPr/>
          <p:nvPr userDrawn="1"/>
        </p:nvGrpSpPr>
        <p:grpSpPr>
          <a:xfrm>
            <a:off x="7686461" y="4906654"/>
            <a:ext cx="1124815" cy="151147"/>
            <a:chOff x="7686461" y="4581466"/>
            <a:chExt cx="1124815" cy="151147"/>
          </a:xfrm>
          <a:solidFill>
            <a:schemeClr val="bg1"/>
          </a:solidFill>
        </p:grpSpPr>
        <p:sp>
          <p:nvSpPr>
            <p:cNvPr id="71"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72"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73"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74"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75"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76"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77"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78"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79"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0"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1"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2"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3"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4"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5"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grpSp>
      <p:grpSp>
        <p:nvGrpSpPr>
          <p:cNvPr id="51" name="Group 50"/>
          <p:cNvGrpSpPr/>
          <p:nvPr userDrawn="1"/>
        </p:nvGrpSpPr>
        <p:grpSpPr>
          <a:xfrm>
            <a:off x="6223980" y="4846685"/>
            <a:ext cx="1123200" cy="262528"/>
            <a:chOff x="7673274" y="4343117"/>
            <a:chExt cx="1123200" cy="262528"/>
          </a:xfrm>
          <a:solidFill>
            <a:schemeClr val="bg1"/>
          </a:solidFill>
        </p:grpSpPr>
        <p:grpSp>
          <p:nvGrpSpPr>
            <p:cNvPr id="56" name="Group 55"/>
            <p:cNvGrpSpPr/>
            <p:nvPr userDrawn="1"/>
          </p:nvGrpSpPr>
          <p:grpSpPr>
            <a:xfrm>
              <a:off x="7909937" y="4494135"/>
              <a:ext cx="438357" cy="111510"/>
              <a:chOff x="7909937" y="4491754"/>
              <a:chExt cx="438357" cy="111510"/>
            </a:xfrm>
            <a:grpFill/>
          </p:grpSpPr>
          <p:sp>
            <p:nvSpPr>
              <p:cNvPr id="93" name="Freeform 21"/>
              <p:cNvSpPr>
                <a:spLocks noEditPoints="1"/>
              </p:cNvSpPr>
              <p:nvPr/>
            </p:nvSpPr>
            <p:spPr bwMode="auto">
              <a:xfrm>
                <a:off x="7909937" y="4496945"/>
                <a:ext cx="72264" cy="78286"/>
              </a:xfrm>
              <a:custGeom>
                <a:avLst/>
                <a:gdLst>
                  <a:gd name="T0" fmla="*/ 290 w 696"/>
                  <a:gd name="T1" fmla="*/ 0 h 754"/>
                  <a:gd name="T2" fmla="*/ 394 w 696"/>
                  <a:gd name="T3" fmla="*/ 0 h 754"/>
                  <a:gd name="T4" fmla="*/ 696 w 696"/>
                  <a:gd name="T5" fmla="*/ 754 h 754"/>
                  <a:gd name="T6" fmla="*/ 550 w 696"/>
                  <a:gd name="T7" fmla="*/ 754 h 754"/>
                  <a:gd name="T8" fmla="*/ 478 w 696"/>
                  <a:gd name="T9" fmla="*/ 566 h 754"/>
                  <a:gd name="T10" fmla="*/ 210 w 696"/>
                  <a:gd name="T11" fmla="*/ 566 h 754"/>
                  <a:gd name="T12" fmla="*/ 140 w 696"/>
                  <a:gd name="T13" fmla="*/ 754 h 754"/>
                  <a:gd name="T14" fmla="*/ 0 w 696"/>
                  <a:gd name="T15" fmla="*/ 754 h 754"/>
                  <a:gd name="T16" fmla="*/ 290 w 696"/>
                  <a:gd name="T17" fmla="*/ 0 h 754"/>
                  <a:gd name="T18" fmla="*/ 436 w 696"/>
                  <a:gd name="T19" fmla="*/ 456 h 754"/>
                  <a:gd name="T20" fmla="*/ 384 w 696"/>
                  <a:gd name="T21" fmla="*/ 306 h 754"/>
                  <a:gd name="T22" fmla="*/ 384 w 696"/>
                  <a:gd name="T23" fmla="*/ 306 h 754"/>
                  <a:gd name="T24" fmla="*/ 360 w 696"/>
                  <a:gd name="T25" fmla="*/ 236 h 754"/>
                  <a:gd name="T26" fmla="*/ 346 w 696"/>
                  <a:gd name="T27" fmla="*/ 190 h 754"/>
                  <a:gd name="T28" fmla="*/ 344 w 696"/>
                  <a:gd name="T29" fmla="*/ 190 h 754"/>
                  <a:gd name="T30" fmla="*/ 344 w 696"/>
                  <a:gd name="T31" fmla="*/ 190 h 754"/>
                  <a:gd name="T32" fmla="*/ 328 w 696"/>
                  <a:gd name="T33" fmla="*/ 236 h 754"/>
                  <a:gd name="T34" fmla="*/ 304 w 696"/>
                  <a:gd name="T35" fmla="*/ 306 h 754"/>
                  <a:gd name="T36" fmla="*/ 250 w 696"/>
                  <a:gd name="T37" fmla="*/ 456 h 754"/>
                  <a:gd name="T38" fmla="*/ 436 w 696"/>
                  <a:gd name="T39" fmla="*/ 456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6" h="754">
                    <a:moveTo>
                      <a:pt x="290" y="0"/>
                    </a:moveTo>
                    <a:lnTo>
                      <a:pt x="394" y="0"/>
                    </a:lnTo>
                    <a:lnTo>
                      <a:pt x="696" y="754"/>
                    </a:lnTo>
                    <a:lnTo>
                      <a:pt x="550" y="754"/>
                    </a:lnTo>
                    <a:lnTo>
                      <a:pt x="478" y="566"/>
                    </a:lnTo>
                    <a:lnTo>
                      <a:pt x="210" y="566"/>
                    </a:lnTo>
                    <a:lnTo>
                      <a:pt x="140" y="754"/>
                    </a:lnTo>
                    <a:lnTo>
                      <a:pt x="0" y="754"/>
                    </a:lnTo>
                    <a:lnTo>
                      <a:pt x="290" y="0"/>
                    </a:lnTo>
                    <a:close/>
                    <a:moveTo>
                      <a:pt x="436" y="456"/>
                    </a:moveTo>
                    <a:lnTo>
                      <a:pt x="384" y="306"/>
                    </a:lnTo>
                    <a:lnTo>
                      <a:pt x="384" y="306"/>
                    </a:lnTo>
                    <a:lnTo>
                      <a:pt x="360" y="236"/>
                    </a:lnTo>
                    <a:lnTo>
                      <a:pt x="346" y="190"/>
                    </a:lnTo>
                    <a:lnTo>
                      <a:pt x="344" y="190"/>
                    </a:lnTo>
                    <a:lnTo>
                      <a:pt x="344" y="190"/>
                    </a:lnTo>
                    <a:lnTo>
                      <a:pt x="328" y="236"/>
                    </a:lnTo>
                    <a:lnTo>
                      <a:pt x="304" y="306"/>
                    </a:lnTo>
                    <a:lnTo>
                      <a:pt x="250" y="456"/>
                    </a:lnTo>
                    <a:lnTo>
                      <a:pt x="436" y="4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 name="Freeform 22"/>
              <p:cNvSpPr>
                <a:spLocks noEditPoints="1"/>
              </p:cNvSpPr>
              <p:nvPr/>
            </p:nvSpPr>
            <p:spPr bwMode="auto">
              <a:xfrm>
                <a:off x="8047404" y="4517918"/>
                <a:ext cx="48591" cy="58558"/>
              </a:xfrm>
              <a:custGeom>
                <a:avLst/>
                <a:gdLst>
                  <a:gd name="T0" fmla="*/ 334 w 468"/>
                  <a:gd name="T1" fmla="*/ 502 h 564"/>
                  <a:gd name="T2" fmla="*/ 302 w 468"/>
                  <a:gd name="T3" fmla="*/ 526 h 564"/>
                  <a:gd name="T4" fmla="*/ 266 w 468"/>
                  <a:gd name="T5" fmla="*/ 546 h 564"/>
                  <a:gd name="T6" fmla="*/ 226 w 468"/>
                  <a:gd name="T7" fmla="*/ 560 h 564"/>
                  <a:gd name="T8" fmla="*/ 178 w 468"/>
                  <a:gd name="T9" fmla="*/ 564 h 564"/>
                  <a:gd name="T10" fmla="*/ 160 w 468"/>
                  <a:gd name="T11" fmla="*/ 564 h 564"/>
                  <a:gd name="T12" fmla="*/ 124 w 468"/>
                  <a:gd name="T13" fmla="*/ 558 h 564"/>
                  <a:gd name="T14" fmla="*/ 92 w 468"/>
                  <a:gd name="T15" fmla="*/ 546 h 564"/>
                  <a:gd name="T16" fmla="*/ 62 w 468"/>
                  <a:gd name="T17" fmla="*/ 528 h 564"/>
                  <a:gd name="T18" fmla="*/ 38 w 468"/>
                  <a:gd name="T19" fmla="*/ 506 h 564"/>
                  <a:gd name="T20" fmla="*/ 20 w 468"/>
                  <a:gd name="T21" fmla="*/ 478 h 564"/>
                  <a:gd name="T22" fmla="*/ 6 w 468"/>
                  <a:gd name="T23" fmla="*/ 446 h 564"/>
                  <a:gd name="T24" fmla="*/ 0 w 468"/>
                  <a:gd name="T25" fmla="*/ 412 h 564"/>
                  <a:gd name="T26" fmla="*/ 0 w 468"/>
                  <a:gd name="T27" fmla="*/ 392 h 564"/>
                  <a:gd name="T28" fmla="*/ 6 w 468"/>
                  <a:gd name="T29" fmla="*/ 342 h 564"/>
                  <a:gd name="T30" fmla="*/ 24 w 468"/>
                  <a:gd name="T31" fmla="*/ 302 h 564"/>
                  <a:gd name="T32" fmla="*/ 52 w 468"/>
                  <a:gd name="T33" fmla="*/ 270 h 564"/>
                  <a:gd name="T34" fmla="*/ 90 w 468"/>
                  <a:gd name="T35" fmla="*/ 246 h 564"/>
                  <a:gd name="T36" fmla="*/ 120 w 468"/>
                  <a:gd name="T37" fmla="*/ 232 h 564"/>
                  <a:gd name="T38" fmla="*/ 190 w 468"/>
                  <a:gd name="T39" fmla="*/ 218 h 564"/>
                  <a:gd name="T40" fmla="*/ 322 w 468"/>
                  <a:gd name="T41" fmla="*/ 210 h 564"/>
                  <a:gd name="T42" fmla="*/ 322 w 468"/>
                  <a:gd name="T43" fmla="*/ 194 h 564"/>
                  <a:gd name="T44" fmla="*/ 314 w 468"/>
                  <a:gd name="T45" fmla="*/ 154 h 564"/>
                  <a:gd name="T46" fmla="*/ 294 w 468"/>
                  <a:gd name="T47" fmla="*/ 126 h 564"/>
                  <a:gd name="T48" fmla="*/ 260 w 468"/>
                  <a:gd name="T49" fmla="*/ 108 h 564"/>
                  <a:gd name="T50" fmla="*/ 218 w 468"/>
                  <a:gd name="T51" fmla="*/ 104 h 564"/>
                  <a:gd name="T52" fmla="*/ 198 w 468"/>
                  <a:gd name="T53" fmla="*/ 104 h 564"/>
                  <a:gd name="T54" fmla="*/ 160 w 468"/>
                  <a:gd name="T55" fmla="*/ 110 h 564"/>
                  <a:gd name="T56" fmla="*/ 108 w 468"/>
                  <a:gd name="T57" fmla="*/ 126 h 564"/>
                  <a:gd name="T58" fmla="*/ 32 w 468"/>
                  <a:gd name="T59" fmla="*/ 54 h 564"/>
                  <a:gd name="T60" fmla="*/ 56 w 468"/>
                  <a:gd name="T61" fmla="*/ 42 h 564"/>
                  <a:gd name="T62" fmla="*/ 106 w 468"/>
                  <a:gd name="T63" fmla="*/ 22 h 564"/>
                  <a:gd name="T64" fmla="*/ 158 w 468"/>
                  <a:gd name="T65" fmla="*/ 8 h 564"/>
                  <a:gd name="T66" fmla="*/ 212 w 468"/>
                  <a:gd name="T67" fmla="*/ 0 h 564"/>
                  <a:gd name="T68" fmla="*/ 240 w 468"/>
                  <a:gd name="T69" fmla="*/ 0 h 564"/>
                  <a:gd name="T70" fmla="*/ 292 w 468"/>
                  <a:gd name="T71" fmla="*/ 4 h 564"/>
                  <a:gd name="T72" fmla="*/ 336 w 468"/>
                  <a:gd name="T73" fmla="*/ 12 h 564"/>
                  <a:gd name="T74" fmla="*/ 372 w 468"/>
                  <a:gd name="T75" fmla="*/ 28 h 564"/>
                  <a:gd name="T76" fmla="*/ 404 w 468"/>
                  <a:gd name="T77" fmla="*/ 50 h 564"/>
                  <a:gd name="T78" fmla="*/ 426 w 468"/>
                  <a:gd name="T79" fmla="*/ 76 h 564"/>
                  <a:gd name="T80" fmla="*/ 444 w 468"/>
                  <a:gd name="T81" fmla="*/ 110 h 564"/>
                  <a:gd name="T82" fmla="*/ 454 w 468"/>
                  <a:gd name="T83" fmla="*/ 150 h 564"/>
                  <a:gd name="T84" fmla="*/ 458 w 468"/>
                  <a:gd name="T85" fmla="*/ 196 h 564"/>
                  <a:gd name="T86" fmla="*/ 458 w 468"/>
                  <a:gd name="T87" fmla="*/ 414 h 564"/>
                  <a:gd name="T88" fmla="*/ 460 w 468"/>
                  <a:gd name="T89" fmla="*/ 496 h 564"/>
                  <a:gd name="T90" fmla="*/ 468 w 468"/>
                  <a:gd name="T91" fmla="*/ 552 h 564"/>
                  <a:gd name="T92" fmla="*/ 334 w 468"/>
                  <a:gd name="T93" fmla="*/ 502 h 564"/>
                  <a:gd name="T94" fmla="*/ 248 w 468"/>
                  <a:gd name="T95" fmla="*/ 304 h 564"/>
                  <a:gd name="T96" fmla="*/ 204 w 468"/>
                  <a:gd name="T97" fmla="*/ 310 h 564"/>
                  <a:gd name="T98" fmla="*/ 170 w 468"/>
                  <a:gd name="T99" fmla="*/ 322 h 564"/>
                  <a:gd name="T100" fmla="*/ 162 w 468"/>
                  <a:gd name="T101" fmla="*/ 326 h 564"/>
                  <a:gd name="T102" fmla="*/ 150 w 468"/>
                  <a:gd name="T103" fmla="*/ 340 h 564"/>
                  <a:gd name="T104" fmla="*/ 142 w 468"/>
                  <a:gd name="T105" fmla="*/ 354 h 564"/>
                  <a:gd name="T106" fmla="*/ 138 w 468"/>
                  <a:gd name="T107" fmla="*/ 382 h 564"/>
                  <a:gd name="T108" fmla="*/ 138 w 468"/>
                  <a:gd name="T109" fmla="*/ 400 h 564"/>
                  <a:gd name="T110" fmla="*/ 150 w 468"/>
                  <a:gd name="T111" fmla="*/ 426 h 564"/>
                  <a:gd name="T112" fmla="*/ 170 w 468"/>
                  <a:gd name="T113" fmla="*/ 446 h 564"/>
                  <a:gd name="T114" fmla="*/ 200 w 468"/>
                  <a:gd name="T115" fmla="*/ 456 h 564"/>
                  <a:gd name="T116" fmla="*/ 216 w 468"/>
                  <a:gd name="T117" fmla="*/ 456 h 564"/>
                  <a:gd name="T118" fmla="*/ 252 w 468"/>
                  <a:gd name="T119" fmla="*/ 452 h 564"/>
                  <a:gd name="T120" fmla="*/ 282 w 468"/>
                  <a:gd name="T121" fmla="*/ 442 h 564"/>
                  <a:gd name="T122" fmla="*/ 322 w 468"/>
                  <a:gd name="T123" fmla="*/ 418 h 564"/>
                  <a:gd name="T124" fmla="*/ 248 w 468"/>
                  <a:gd name="T125" fmla="*/ 30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8" h="564">
                    <a:moveTo>
                      <a:pt x="334" y="502"/>
                    </a:moveTo>
                    <a:lnTo>
                      <a:pt x="334" y="502"/>
                    </a:lnTo>
                    <a:lnTo>
                      <a:pt x="318" y="514"/>
                    </a:lnTo>
                    <a:lnTo>
                      <a:pt x="302" y="526"/>
                    </a:lnTo>
                    <a:lnTo>
                      <a:pt x="284" y="536"/>
                    </a:lnTo>
                    <a:lnTo>
                      <a:pt x="266" y="546"/>
                    </a:lnTo>
                    <a:lnTo>
                      <a:pt x="246" y="554"/>
                    </a:lnTo>
                    <a:lnTo>
                      <a:pt x="226" y="560"/>
                    </a:lnTo>
                    <a:lnTo>
                      <a:pt x="202" y="562"/>
                    </a:lnTo>
                    <a:lnTo>
                      <a:pt x="178" y="564"/>
                    </a:lnTo>
                    <a:lnTo>
                      <a:pt x="178" y="564"/>
                    </a:lnTo>
                    <a:lnTo>
                      <a:pt x="160" y="564"/>
                    </a:lnTo>
                    <a:lnTo>
                      <a:pt x="140" y="560"/>
                    </a:lnTo>
                    <a:lnTo>
                      <a:pt x="124" y="558"/>
                    </a:lnTo>
                    <a:lnTo>
                      <a:pt x="106" y="552"/>
                    </a:lnTo>
                    <a:lnTo>
                      <a:pt x="92" y="546"/>
                    </a:lnTo>
                    <a:lnTo>
                      <a:pt x="76" y="538"/>
                    </a:lnTo>
                    <a:lnTo>
                      <a:pt x="62" y="528"/>
                    </a:lnTo>
                    <a:lnTo>
                      <a:pt x="50" y="516"/>
                    </a:lnTo>
                    <a:lnTo>
                      <a:pt x="38" y="506"/>
                    </a:lnTo>
                    <a:lnTo>
                      <a:pt x="28" y="492"/>
                    </a:lnTo>
                    <a:lnTo>
                      <a:pt x="20" y="478"/>
                    </a:lnTo>
                    <a:lnTo>
                      <a:pt x="12" y="462"/>
                    </a:lnTo>
                    <a:lnTo>
                      <a:pt x="6" y="446"/>
                    </a:lnTo>
                    <a:lnTo>
                      <a:pt x="2" y="430"/>
                    </a:lnTo>
                    <a:lnTo>
                      <a:pt x="0" y="412"/>
                    </a:lnTo>
                    <a:lnTo>
                      <a:pt x="0" y="392"/>
                    </a:lnTo>
                    <a:lnTo>
                      <a:pt x="0" y="392"/>
                    </a:lnTo>
                    <a:lnTo>
                      <a:pt x="0" y="366"/>
                    </a:lnTo>
                    <a:lnTo>
                      <a:pt x="6" y="342"/>
                    </a:lnTo>
                    <a:lnTo>
                      <a:pt x="14" y="320"/>
                    </a:lnTo>
                    <a:lnTo>
                      <a:pt x="24" y="302"/>
                    </a:lnTo>
                    <a:lnTo>
                      <a:pt x="36" y="284"/>
                    </a:lnTo>
                    <a:lnTo>
                      <a:pt x="52" y="270"/>
                    </a:lnTo>
                    <a:lnTo>
                      <a:pt x="70" y="256"/>
                    </a:lnTo>
                    <a:lnTo>
                      <a:pt x="90" y="246"/>
                    </a:lnTo>
                    <a:lnTo>
                      <a:pt x="90" y="246"/>
                    </a:lnTo>
                    <a:lnTo>
                      <a:pt x="120" y="232"/>
                    </a:lnTo>
                    <a:lnTo>
                      <a:pt x="154" y="224"/>
                    </a:lnTo>
                    <a:lnTo>
                      <a:pt x="190" y="218"/>
                    </a:lnTo>
                    <a:lnTo>
                      <a:pt x="230" y="214"/>
                    </a:lnTo>
                    <a:lnTo>
                      <a:pt x="322" y="210"/>
                    </a:lnTo>
                    <a:lnTo>
                      <a:pt x="322" y="194"/>
                    </a:lnTo>
                    <a:lnTo>
                      <a:pt x="322" y="194"/>
                    </a:lnTo>
                    <a:lnTo>
                      <a:pt x="320" y="172"/>
                    </a:lnTo>
                    <a:lnTo>
                      <a:pt x="314" y="154"/>
                    </a:lnTo>
                    <a:lnTo>
                      <a:pt x="306" y="138"/>
                    </a:lnTo>
                    <a:lnTo>
                      <a:pt x="294" y="126"/>
                    </a:lnTo>
                    <a:lnTo>
                      <a:pt x="278" y="116"/>
                    </a:lnTo>
                    <a:lnTo>
                      <a:pt x="260" y="108"/>
                    </a:lnTo>
                    <a:lnTo>
                      <a:pt x="240" y="106"/>
                    </a:lnTo>
                    <a:lnTo>
                      <a:pt x="218" y="104"/>
                    </a:lnTo>
                    <a:lnTo>
                      <a:pt x="218" y="104"/>
                    </a:lnTo>
                    <a:lnTo>
                      <a:pt x="198" y="104"/>
                    </a:lnTo>
                    <a:lnTo>
                      <a:pt x="178" y="106"/>
                    </a:lnTo>
                    <a:lnTo>
                      <a:pt x="160" y="110"/>
                    </a:lnTo>
                    <a:lnTo>
                      <a:pt x="142" y="114"/>
                    </a:lnTo>
                    <a:lnTo>
                      <a:pt x="108" y="126"/>
                    </a:lnTo>
                    <a:lnTo>
                      <a:pt x="76" y="142"/>
                    </a:lnTo>
                    <a:lnTo>
                      <a:pt x="32" y="54"/>
                    </a:lnTo>
                    <a:lnTo>
                      <a:pt x="32" y="54"/>
                    </a:lnTo>
                    <a:lnTo>
                      <a:pt x="56" y="42"/>
                    </a:lnTo>
                    <a:lnTo>
                      <a:pt x="82" y="30"/>
                    </a:lnTo>
                    <a:lnTo>
                      <a:pt x="106" y="22"/>
                    </a:lnTo>
                    <a:lnTo>
                      <a:pt x="132" y="14"/>
                    </a:lnTo>
                    <a:lnTo>
                      <a:pt x="158" y="8"/>
                    </a:lnTo>
                    <a:lnTo>
                      <a:pt x="186" y="4"/>
                    </a:lnTo>
                    <a:lnTo>
                      <a:pt x="212" y="0"/>
                    </a:lnTo>
                    <a:lnTo>
                      <a:pt x="240" y="0"/>
                    </a:lnTo>
                    <a:lnTo>
                      <a:pt x="240" y="0"/>
                    </a:lnTo>
                    <a:lnTo>
                      <a:pt x="268" y="0"/>
                    </a:lnTo>
                    <a:lnTo>
                      <a:pt x="292" y="4"/>
                    </a:lnTo>
                    <a:lnTo>
                      <a:pt x="314" y="6"/>
                    </a:lnTo>
                    <a:lnTo>
                      <a:pt x="336" y="12"/>
                    </a:lnTo>
                    <a:lnTo>
                      <a:pt x="356" y="20"/>
                    </a:lnTo>
                    <a:lnTo>
                      <a:pt x="372" y="28"/>
                    </a:lnTo>
                    <a:lnTo>
                      <a:pt x="388" y="38"/>
                    </a:lnTo>
                    <a:lnTo>
                      <a:pt x="404" y="50"/>
                    </a:lnTo>
                    <a:lnTo>
                      <a:pt x="416" y="62"/>
                    </a:lnTo>
                    <a:lnTo>
                      <a:pt x="426" y="76"/>
                    </a:lnTo>
                    <a:lnTo>
                      <a:pt x="436" y="94"/>
                    </a:lnTo>
                    <a:lnTo>
                      <a:pt x="444" y="110"/>
                    </a:lnTo>
                    <a:lnTo>
                      <a:pt x="450" y="130"/>
                    </a:lnTo>
                    <a:lnTo>
                      <a:pt x="454" y="150"/>
                    </a:lnTo>
                    <a:lnTo>
                      <a:pt x="456" y="172"/>
                    </a:lnTo>
                    <a:lnTo>
                      <a:pt x="458" y="196"/>
                    </a:lnTo>
                    <a:lnTo>
                      <a:pt x="458" y="414"/>
                    </a:lnTo>
                    <a:lnTo>
                      <a:pt x="458" y="414"/>
                    </a:lnTo>
                    <a:lnTo>
                      <a:pt x="458" y="458"/>
                    </a:lnTo>
                    <a:lnTo>
                      <a:pt x="460" y="496"/>
                    </a:lnTo>
                    <a:lnTo>
                      <a:pt x="462" y="528"/>
                    </a:lnTo>
                    <a:lnTo>
                      <a:pt x="468" y="552"/>
                    </a:lnTo>
                    <a:lnTo>
                      <a:pt x="354" y="552"/>
                    </a:lnTo>
                    <a:lnTo>
                      <a:pt x="334" y="502"/>
                    </a:lnTo>
                    <a:close/>
                    <a:moveTo>
                      <a:pt x="248" y="304"/>
                    </a:moveTo>
                    <a:lnTo>
                      <a:pt x="248" y="304"/>
                    </a:lnTo>
                    <a:lnTo>
                      <a:pt x="224" y="306"/>
                    </a:lnTo>
                    <a:lnTo>
                      <a:pt x="204" y="310"/>
                    </a:lnTo>
                    <a:lnTo>
                      <a:pt x="186" y="314"/>
                    </a:lnTo>
                    <a:lnTo>
                      <a:pt x="170" y="322"/>
                    </a:lnTo>
                    <a:lnTo>
                      <a:pt x="170" y="322"/>
                    </a:lnTo>
                    <a:lnTo>
                      <a:pt x="162" y="326"/>
                    </a:lnTo>
                    <a:lnTo>
                      <a:pt x="156" y="332"/>
                    </a:lnTo>
                    <a:lnTo>
                      <a:pt x="150" y="340"/>
                    </a:lnTo>
                    <a:lnTo>
                      <a:pt x="146" y="346"/>
                    </a:lnTo>
                    <a:lnTo>
                      <a:pt x="142" y="354"/>
                    </a:lnTo>
                    <a:lnTo>
                      <a:pt x="140" y="364"/>
                    </a:lnTo>
                    <a:lnTo>
                      <a:pt x="138" y="382"/>
                    </a:lnTo>
                    <a:lnTo>
                      <a:pt x="138" y="382"/>
                    </a:lnTo>
                    <a:lnTo>
                      <a:pt x="138" y="400"/>
                    </a:lnTo>
                    <a:lnTo>
                      <a:pt x="142" y="414"/>
                    </a:lnTo>
                    <a:lnTo>
                      <a:pt x="150" y="426"/>
                    </a:lnTo>
                    <a:lnTo>
                      <a:pt x="158" y="438"/>
                    </a:lnTo>
                    <a:lnTo>
                      <a:pt x="170" y="446"/>
                    </a:lnTo>
                    <a:lnTo>
                      <a:pt x="184" y="452"/>
                    </a:lnTo>
                    <a:lnTo>
                      <a:pt x="200" y="456"/>
                    </a:lnTo>
                    <a:lnTo>
                      <a:pt x="216" y="456"/>
                    </a:lnTo>
                    <a:lnTo>
                      <a:pt x="216" y="456"/>
                    </a:lnTo>
                    <a:lnTo>
                      <a:pt x="234" y="456"/>
                    </a:lnTo>
                    <a:lnTo>
                      <a:pt x="252" y="452"/>
                    </a:lnTo>
                    <a:lnTo>
                      <a:pt x="268" y="448"/>
                    </a:lnTo>
                    <a:lnTo>
                      <a:pt x="282" y="442"/>
                    </a:lnTo>
                    <a:lnTo>
                      <a:pt x="304" y="430"/>
                    </a:lnTo>
                    <a:lnTo>
                      <a:pt x="322" y="418"/>
                    </a:lnTo>
                    <a:lnTo>
                      <a:pt x="322" y="302"/>
                    </a:lnTo>
                    <a:lnTo>
                      <a:pt x="248" y="3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 name="Freeform 23"/>
              <p:cNvSpPr>
                <a:spLocks/>
              </p:cNvSpPr>
              <p:nvPr/>
            </p:nvSpPr>
            <p:spPr bwMode="auto">
              <a:xfrm>
                <a:off x="8121536" y="4519372"/>
                <a:ext cx="62089" cy="83892"/>
              </a:xfrm>
              <a:custGeom>
                <a:avLst/>
                <a:gdLst>
                  <a:gd name="T0" fmla="*/ 34 w 598"/>
                  <a:gd name="T1" fmla="*/ 678 h 808"/>
                  <a:gd name="T2" fmla="*/ 34 w 598"/>
                  <a:gd name="T3" fmla="*/ 678 h 808"/>
                  <a:gd name="T4" fmla="*/ 54 w 598"/>
                  <a:gd name="T5" fmla="*/ 688 h 808"/>
                  <a:gd name="T6" fmla="*/ 74 w 598"/>
                  <a:gd name="T7" fmla="*/ 694 h 808"/>
                  <a:gd name="T8" fmla="*/ 94 w 598"/>
                  <a:gd name="T9" fmla="*/ 698 h 808"/>
                  <a:gd name="T10" fmla="*/ 116 w 598"/>
                  <a:gd name="T11" fmla="*/ 700 h 808"/>
                  <a:gd name="T12" fmla="*/ 116 w 598"/>
                  <a:gd name="T13" fmla="*/ 700 h 808"/>
                  <a:gd name="T14" fmla="*/ 138 w 598"/>
                  <a:gd name="T15" fmla="*/ 698 h 808"/>
                  <a:gd name="T16" fmla="*/ 158 w 598"/>
                  <a:gd name="T17" fmla="*/ 692 h 808"/>
                  <a:gd name="T18" fmla="*/ 168 w 598"/>
                  <a:gd name="T19" fmla="*/ 686 h 808"/>
                  <a:gd name="T20" fmla="*/ 178 w 598"/>
                  <a:gd name="T21" fmla="*/ 680 h 808"/>
                  <a:gd name="T22" fmla="*/ 188 w 598"/>
                  <a:gd name="T23" fmla="*/ 672 h 808"/>
                  <a:gd name="T24" fmla="*/ 198 w 598"/>
                  <a:gd name="T25" fmla="*/ 664 h 808"/>
                  <a:gd name="T26" fmla="*/ 216 w 598"/>
                  <a:gd name="T27" fmla="*/ 642 h 808"/>
                  <a:gd name="T28" fmla="*/ 234 w 598"/>
                  <a:gd name="T29" fmla="*/ 612 h 808"/>
                  <a:gd name="T30" fmla="*/ 250 w 598"/>
                  <a:gd name="T31" fmla="*/ 578 h 808"/>
                  <a:gd name="T32" fmla="*/ 266 w 598"/>
                  <a:gd name="T33" fmla="*/ 536 h 808"/>
                  <a:gd name="T34" fmla="*/ 24 w 598"/>
                  <a:gd name="T35" fmla="*/ 0 h 808"/>
                  <a:gd name="T36" fmla="*/ 164 w 598"/>
                  <a:gd name="T37" fmla="*/ 0 h 808"/>
                  <a:gd name="T38" fmla="*/ 328 w 598"/>
                  <a:gd name="T39" fmla="*/ 382 h 808"/>
                  <a:gd name="T40" fmla="*/ 330 w 598"/>
                  <a:gd name="T41" fmla="*/ 382 h 808"/>
                  <a:gd name="T42" fmla="*/ 460 w 598"/>
                  <a:gd name="T43" fmla="*/ 0 h 808"/>
                  <a:gd name="T44" fmla="*/ 598 w 598"/>
                  <a:gd name="T45" fmla="*/ 0 h 808"/>
                  <a:gd name="T46" fmla="*/ 392 w 598"/>
                  <a:gd name="T47" fmla="*/ 556 h 808"/>
                  <a:gd name="T48" fmla="*/ 392 w 598"/>
                  <a:gd name="T49" fmla="*/ 556 h 808"/>
                  <a:gd name="T50" fmla="*/ 376 w 598"/>
                  <a:gd name="T51" fmla="*/ 596 h 808"/>
                  <a:gd name="T52" fmla="*/ 360 w 598"/>
                  <a:gd name="T53" fmla="*/ 632 h 808"/>
                  <a:gd name="T54" fmla="*/ 344 w 598"/>
                  <a:gd name="T55" fmla="*/ 662 h 808"/>
                  <a:gd name="T56" fmla="*/ 326 w 598"/>
                  <a:gd name="T57" fmla="*/ 690 h 808"/>
                  <a:gd name="T58" fmla="*/ 308 w 598"/>
                  <a:gd name="T59" fmla="*/ 714 h 808"/>
                  <a:gd name="T60" fmla="*/ 292 w 598"/>
                  <a:gd name="T61" fmla="*/ 734 h 808"/>
                  <a:gd name="T62" fmla="*/ 274 w 598"/>
                  <a:gd name="T63" fmla="*/ 752 h 808"/>
                  <a:gd name="T64" fmla="*/ 256 w 598"/>
                  <a:gd name="T65" fmla="*/ 766 h 808"/>
                  <a:gd name="T66" fmla="*/ 238 w 598"/>
                  <a:gd name="T67" fmla="*/ 778 h 808"/>
                  <a:gd name="T68" fmla="*/ 220 w 598"/>
                  <a:gd name="T69" fmla="*/ 788 h 808"/>
                  <a:gd name="T70" fmla="*/ 200 w 598"/>
                  <a:gd name="T71" fmla="*/ 796 h 808"/>
                  <a:gd name="T72" fmla="*/ 182 w 598"/>
                  <a:gd name="T73" fmla="*/ 800 h 808"/>
                  <a:gd name="T74" fmla="*/ 164 w 598"/>
                  <a:gd name="T75" fmla="*/ 804 h 808"/>
                  <a:gd name="T76" fmla="*/ 146 w 598"/>
                  <a:gd name="T77" fmla="*/ 808 h 808"/>
                  <a:gd name="T78" fmla="*/ 108 w 598"/>
                  <a:gd name="T79" fmla="*/ 808 h 808"/>
                  <a:gd name="T80" fmla="*/ 108 w 598"/>
                  <a:gd name="T81" fmla="*/ 808 h 808"/>
                  <a:gd name="T82" fmla="*/ 78 w 598"/>
                  <a:gd name="T83" fmla="*/ 808 h 808"/>
                  <a:gd name="T84" fmla="*/ 52 w 598"/>
                  <a:gd name="T85" fmla="*/ 802 h 808"/>
                  <a:gd name="T86" fmla="*/ 26 w 598"/>
                  <a:gd name="T87" fmla="*/ 794 h 808"/>
                  <a:gd name="T88" fmla="*/ 0 w 598"/>
                  <a:gd name="T89" fmla="*/ 784 h 808"/>
                  <a:gd name="T90" fmla="*/ 34 w 598"/>
                  <a:gd name="T91" fmla="*/ 678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98" h="808">
                    <a:moveTo>
                      <a:pt x="34" y="678"/>
                    </a:moveTo>
                    <a:lnTo>
                      <a:pt x="34" y="678"/>
                    </a:lnTo>
                    <a:lnTo>
                      <a:pt x="54" y="688"/>
                    </a:lnTo>
                    <a:lnTo>
                      <a:pt x="74" y="694"/>
                    </a:lnTo>
                    <a:lnTo>
                      <a:pt x="94" y="698"/>
                    </a:lnTo>
                    <a:lnTo>
                      <a:pt x="116" y="700"/>
                    </a:lnTo>
                    <a:lnTo>
                      <a:pt x="116" y="700"/>
                    </a:lnTo>
                    <a:lnTo>
                      <a:pt x="138" y="698"/>
                    </a:lnTo>
                    <a:lnTo>
                      <a:pt x="158" y="692"/>
                    </a:lnTo>
                    <a:lnTo>
                      <a:pt x="168" y="686"/>
                    </a:lnTo>
                    <a:lnTo>
                      <a:pt x="178" y="680"/>
                    </a:lnTo>
                    <a:lnTo>
                      <a:pt x="188" y="672"/>
                    </a:lnTo>
                    <a:lnTo>
                      <a:pt x="198" y="664"/>
                    </a:lnTo>
                    <a:lnTo>
                      <a:pt x="216" y="642"/>
                    </a:lnTo>
                    <a:lnTo>
                      <a:pt x="234" y="612"/>
                    </a:lnTo>
                    <a:lnTo>
                      <a:pt x="250" y="578"/>
                    </a:lnTo>
                    <a:lnTo>
                      <a:pt x="266" y="536"/>
                    </a:lnTo>
                    <a:lnTo>
                      <a:pt x="24" y="0"/>
                    </a:lnTo>
                    <a:lnTo>
                      <a:pt x="164" y="0"/>
                    </a:lnTo>
                    <a:lnTo>
                      <a:pt x="328" y="382"/>
                    </a:lnTo>
                    <a:lnTo>
                      <a:pt x="330" y="382"/>
                    </a:lnTo>
                    <a:lnTo>
                      <a:pt x="460" y="0"/>
                    </a:lnTo>
                    <a:lnTo>
                      <a:pt x="598" y="0"/>
                    </a:lnTo>
                    <a:lnTo>
                      <a:pt x="392" y="556"/>
                    </a:lnTo>
                    <a:lnTo>
                      <a:pt x="392" y="556"/>
                    </a:lnTo>
                    <a:lnTo>
                      <a:pt x="376" y="596"/>
                    </a:lnTo>
                    <a:lnTo>
                      <a:pt x="360" y="632"/>
                    </a:lnTo>
                    <a:lnTo>
                      <a:pt x="344" y="662"/>
                    </a:lnTo>
                    <a:lnTo>
                      <a:pt x="326" y="690"/>
                    </a:lnTo>
                    <a:lnTo>
                      <a:pt x="308" y="714"/>
                    </a:lnTo>
                    <a:lnTo>
                      <a:pt x="292" y="734"/>
                    </a:lnTo>
                    <a:lnTo>
                      <a:pt x="274" y="752"/>
                    </a:lnTo>
                    <a:lnTo>
                      <a:pt x="256" y="766"/>
                    </a:lnTo>
                    <a:lnTo>
                      <a:pt x="238" y="778"/>
                    </a:lnTo>
                    <a:lnTo>
                      <a:pt x="220" y="788"/>
                    </a:lnTo>
                    <a:lnTo>
                      <a:pt x="200" y="796"/>
                    </a:lnTo>
                    <a:lnTo>
                      <a:pt x="182" y="800"/>
                    </a:lnTo>
                    <a:lnTo>
                      <a:pt x="164" y="804"/>
                    </a:lnTo>
                    <a:lnTo>
                      <a:pt x="146" y="808"/>
                    </a:lnTo>
                    <a:lnTo>
                      <a:pt x="108" y="808"/>
                    </a:lnTo>
                    <a:lnTo>
                      <a:pt x="108" y="808"/>
                    </a:lnTo>
                    <a:lnTo>
                      <a:pt x="78" y="808"/>
                    </a:lnTo>
                    <a:lnTo>
                      <a:pt x="52" y="802"/>
                    </a:lnTo>
                    <a:lnTo>
                      <a:pt x="26" y="794"/>
                    </a:lnTo>
                    <a:lnTo>
                      <a:pt x="0" y="784"/>
                    </a:lnTo>
                    <a:lnTo>
                      <a:pt x="34" y="6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6" name="Freeform 24"/>
              <p:cNvSpPr>
                <a:spLocks/>
              </p:cNvSpPr>
              <p:nvPr/>
            </p:nvSpPr>
            <p:spPr bwMode="auto">
              <a:xfrm>
                <a:off x="8179056" y="4502136"/>
                <a:ext cx="45269" cy="74340"/>
              </a:xfrm>
              <a:custGeom>
                <a:avLst/>
                <a:gdLst>
                  <a:gd name="T0" fmla="*/ 124 w 436"/>
                  <a:gd name="T1" fmla="*/ 572 h 716"/>
                  <a:gd name="T2" fmla="*/ 124 w 436"/>
                  <a:gd name="T3" fmla="*/ 272 h 716"/>
                  <a:gd name="T4" fmla="*/ 0 w 436"/>
                  <a:gd name="T5" fmla="*/ 272 h 716"/>
                  <a:gd name="T6" fmla="*/ 28 w 436"/>
                  <a:gd name="T7" fmla="*/ 166 h 716"/>
                  <a:gd name="T8" fmla="*/ 124 w 436"/>
                  <a:gd name="T9" fmla="*/ 166 h 716"/>
                  <a:gd name="T10" fmla="*/ 124 w 436"/>
                  <a:gd name="T11" fmla="*/ 40 h 716"/>
                  <a:gd name="T12" fmla="*/ 260 w 436"/>
                  <a:gd name="T13" fmla="*/ 0 h 716"/>
                  <a:gd name="T14" fmla="*/ 260 w 436"/>
                  <a:gd name="T15" fmla="*/ 166 h 716"/>
                  <a:gd name="T16" fmla="*/ 424 w 436"/>
                  <a:gd name="T17" fmla="*/ 166 h 716"/>
                  <a:gd name="T18" fmla="*/ 390 w 436"/>
                  <a:gd name="T19" fmla="*/ 272 h 716"/>
                  <a:gd name="T20" fmla="*/ 260 w 436"/>
                  <a:gd name="T21" fmla="*/ 272 h 716"/>
                  <a:gd name="T22" fmla="*/ 260 w 436"/>
                  <a:gd name="T23" fmla="*/ 538 h 716"/>
                  <a:gd name="T24" fmla="*/ 260 w 436"/>
                  <a:gd name="T25" fmla="*/ 538 h 716"/>
                  <a:gd name="T26" fmla="*/ 262 w 436"/>
                  <a:gd name="T27" fmla="*/ 556 h 716"/>
                  <a:gd name="T28" fmla="*/ 264 w 436"/>
                  <a:gd name="T29" fmla="*/ 570 h 716"/>
                  <a:gd name="T30" fmla="*/ 268 w 436"/>
                  <a:gd name="T31" fmla="*/ 582 h 716"/>
                  <a:gd name="T32" fmla="*/ 274 w 436"/>
                  <a:gd name="T33" fmla="*/ 592 h 716"/>
                  <a:gd name="T34" fmla="*/ 280 w 436"/>
                  <a:gd name="T35" fmla="*/ 598 h 716"/>
                  <a:gd name="T36" fmla="*/ 290 w 436"/>
                  <a:gd name="T37" fmla="*/ 604 h 716"/>
                  <a:gd name="T38" fmla="*/ 300 w 436"/>
                  <a:gd name="T39" fmla="*/ 606 h 716"/>
                  <a:gd name="T40" fmla="*/ 312 w 436"/>
                  <a:gd name="T41" fmla="*/ 606 h 716"/>
                  <a:gd name="T42" fmla="*/ 312 w 436"/>
                  <a:gd name="T43" fmla="*/ 606 h 716"/>
                  <a:gd name="T44" fmla="*/ 336 w 436"/>
                  <a:gd name="T45" fmla="*/ 604 h 716"/>
                  <a:gd name="T46" fmla="*/ 358 w 436"/>
                  <a:gd name="T47" fmla="*/ 598 h 716"/>
                  <a:gd name="T48" fmla="*/ 378 w 436"/>
                  <a:gd name="T49" fmla="*/ 590 h 716"/>
                  <a:gd name="T50" fmla="*/ 394 w 436"/>
                  <a:gd name="T51" fmla="*/ 580 h 716"/>
                  <a:gd name="T52" fmla="*/ 436 w 436"/>
                  <a:gd name="T53" fmla="*/ 674 h 716"/>
                  <a:gd name="T54" fmla="*/ 436 w 436"/>
                  <a:gd name="T55" fmla="*/ 674 h 716"/>
                  <a:gd name="T56" fmla="*/ 420 w 436"/>
                  <a:gd name="T57" fmla="*/ 684 h 716"/>
                  <a:gd name="T58" fmla="*/ 402 w 436"/>
                  <a:gd name="T59" fmla="*/ 692 h 716"/>
                  <a:gd name="T60" fmla="*/ 384 w 436"/>
                  <a:gd name="T61" fmla="*/ 698 h 716"/>
                  <a:gd name="T62" fmla="*/ 362 w 436"/>
                  <a:gd name="T63" fmla="*/ 704 h 716"/>
                  <a:gd name="T64" fmla="*/ 342 w 436"/>
                  <a:gd name="T65" fmla="*/ 710 h 716"/>
                  <a:gd name="T66" fmla="*/ 320 w 436"/>
                  <a:gd name="T67" fmla="*/ 714 h 716"/>
                  <a:gd name="T68" fmla="*/ 300 w 436"/>
                  <a:gd name="T69" fmla="*/ 716 h 716"/>
                  <a:gd name="T70" fmla="*/ 278 w 436"/>
                  <a:gd name="T71" fmla="*/ 716 h 716"/>
                  <a:gd name="T72" fmla="*/ 278 w 436"/>
                  <a:gd name="T73" fmla="*/ 716 h 716"/>
                  <a:gd name="T74" fmla="*/ 260 w 436"/>
                  <a:gd name="T75" fmla="*/ 716 h 716"/>
                  <a:gd name="T76" fmla="*/ 244 w 436"/>
                  <a:gd name="T77" fmla="*/ 714 h 716"/>
                  <a:gd name="T78" fmla="*/ 228 w 436"/>
                  <a:gd name="T79" fmla="*/ 710 h 716"/>
                  <a:gd name="T80" fmla="*/ 214 w 436"/>
                  <a:gd name="T81" fmla="*/ 706 h 716"/>
                  <a:gd name="T82" fmla="*/ 200 w 436"/>
                  <a:gd name="T83" fmla="*/ 700 h 716"/>
                  <a:gd name="T84" fmla="*/ 188 w 436"/>
                  <a:gd name="T85" fmla="*/ 694 h 716"/>
                  <a:gd name="T86" fmla="*/ 176 w 436"/>
                  <a:gd name="T87" fmla="*/ 686 h 716"/>
                  <a:gd name="T88" fmla="*/ 166 w 436"/>
                  <a:gd name="T89" fmla="*/ 678 h 716"/>
                  <a:gd name="T90" fmla="*/ 156 w 436"/>
                  <a:gd name="T91" fmla="*/ 668 h 716"/>
                  <a:gd name="T92" fmla="*/ 148 w 436"/>
                  <a:gd name="T93" fmla="*/ 656 h 716"/>
                  <a:gd name="T94" fmla="*/ 142 w 436"/>
                  <a:gd name="T95" fmla="*/ 644 h 716"/>
                  <a:gd name="T96" fmla="*/ 136 w 436"/>
                  <a:gd name="T97" fmla="*/ 632 h 716"/>
                  <a:gd name="T98" fmla="*/ 130 w 436"/>
                  <a:gd name="T99" fmla="*/ 618 h 716"/>
                  <a:gd name="T100" fmla="*/ 128 w 436"/>
                  <a:gd name="T101" fmla="*/ 604 h 716"/>
                  <a:gd name="T102" fmla="*/ 126 w 436"/>
                  <a:gd name="T103" fmla="*/ 588 h 716"/>
                  <a:gd name="T104" fmla="*/ 124 w 436"/>
                  <a:gd name="T105" fmla="*/ 572 h 716"/>
                  <a:gd name="T106" fmla="*/ 124 w 436"/>
                  <a:gd name="T107" fmla="*/ 57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6" h="716">
                    <a:moveTo>
                      <a:pt x="124" y="572"/>
                    </a:moveTo>
                    <a:lnTo>
                      <a:pt x="124" y="272"/>
                    </a:lnTo>
                    <a:lnTo>
                      <a:pt x="0" y="272"/>
                    </a:lnTo>
                    <a:lnTo>
                      <a:pt x="28" y="166"/>
                    </a:lnTo>
                    <a:lnTo>
                      <a:pt x="124" y="166"/>
                    </a:lnTo>
                    <a:lnTo>
                      <a:pt x="124" y="40"/>
                    </a:lnTo>
                    <a:lnTo>
                      <a:pt x="260" y="0"/>
                    </a:lnTo>
                    <a:lnTo>
                      <a:pt x="260" y="166"/>
                    </a:lnTo>
                    <a:lnTo>
                      <a:pt x="424" y="166"/>
                    </a:lnTo>
                    <a:lnTo>
                      <a:pt x="390" y="272"/>
                    </a:lnTo>
                    <a:lnTo>
                      <a:pt x="260" y="272"/>
                    </a:lnTo>
                    <a:lnTo>
                      <a:pt x="260" y="538"/>
                    </a:lnTo>
                    <a:lnTo>
                      <a:pt x="260" y="538"/>
                    </a:lnTo>
                    <a:lnTo>
                      <a:pt x="262" y="556"/>
                    </a:lnTo>
                    <a:lnTo>
                      <a:pt x="264" y="570"/>
                    </a:lnTo>
                    <a:lnTo>
                      <a:pt x="268" y="582"/>
                    </a:lnTo>
                    <a:lnTo>
                      <a:pt x="274" y="592"/>
                    </a:lnTo>
                    <a:lnTo>
                      <a:pt x="280" y="598"/>
                    </a:lnTo>
                    <a:lnTo>
                      <a:pt x="290" y="604"/>
                    </a:lnTo>
                    <a:lnTo>
                      <a:pt x="300" y="606"/>
                    </a:lnTo>
                    <a:lnTo>
                      <a:pt x="312" y="606"/>
                    </a:lnTo>
                    <a:lnTo>
                      <a:pt x="312" y="606"/>
                    </a:lnTo>
                    <a:lnTo>
                      <a:pt x="336" y="604"/>
                    </a:lnTo>
                    <a:lnTo>
                      <a:pt x="358" y="598"/>
                    </a:lnTo>
                    <a:lnTo>
                      <a:pt x="378" y="590"/>
                    </a:lnTo>
                    <a:lnTo>
                      <a:pt x="394" y="580"/>
                    </a:lnTo>
                    <a:lnTo>
                      <a:pt x="436" y="674"/>
                    </a:lnTo>
                    <a:lnTo>
                      <a:pt x="436" y="674"/>
                    </a:lnTo>
                    <a:lnTo>
                      <a:pt x="420" y="684"/>
                    </a:lnTo>
                    <a:lnTo>
                      <a:pt x="402" y="692"/>
                    </a:lnTo>
                    <a:lnTo>
                      <a:pt x="384" y="698"/>
                    </a:lnTo>
                    <a:lnTo>
                      <a:pt x="362" y="704"/>
                    </a:lnTo>
                    <a:lnTo>
                      <a:pt x="342" y="710"/>
                    </a:lnTo>
                    <a:lnTo>
                      <a:pt x="320" y="714"/>
                    </a:lnTo>
                    <a:lnTo>
                      <a:pt x="300" y="716"/>
                    </a:lnTo>
                    <a:lnTo>
                      <a:pt x="278" y="716"/>
                    </a:lnTo>
                    <a:lnTo>
                      <a:pt x="278" y="716"/>
                    </a:lnTo>
                    <a:lnTo>
                      <a:pt x="260" y="716"/>
                    </a:lnTo>
                    <a:lnTo>
                      <a:pt x="244" y="714"/>
                    </a:lnTo>
                    <a:lnTo>
                      <a:pt x="228" y="710"/>
                    </a:lnTo>
                    <a:lnTo>
                      <a:pt x="214" y="706"/>
                    </a:lnTo>
                    <a:lnTo>
                      <a:pt x="200" y="700"/>
                    </a:lnTo>
                    <a:lnTo>
                      <a:pt x="188" y="694"/>
                    </a:lnTo>
                    <a:lnTo>
                      <a:pt x="176" y="686"/>
                    </a:lnTo>
                    <a:lnTo>
                      <a:pt x="166" y="678"/>
                    </a:lnTo>
                    <a:lnTo>
                      <a:pt x="156" y="668"/>
                    </a:lnTo>
                    <a:lnTo>
                      <a:pt x="148" y="656"/>
                    </a:lnTo>
                    <a:lnTo>
                      <a:pt x="142" y="644"/>
                    </a:lnTo>
                    <a:lnTo>
                      <a:pt x="136" y="632"/>
                    </a:lnTo>
                    <a:lnTo>
                      <a:pt x="130" y="618"/>
                    </a:lnTo>
                    <a:lnTo>
                      <a:pt x="128" y="604"/>
                    </a:lnTo>
                    <a:lnTo>
                      <a:pt x="126" y="588"/>
                    </a:lnTo>
                    <a:lnTo>
                      <a:pt x="124" y="572"/>
                    </a:lnTo>
                    <a:lnTo>
                      <a:pt x="124" y="5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 name="Freeform 25"/>
              <p:cNvSpPr>
                <a:spLocks/>
              </p:cNvSpPr>
              <p:nvPr/>
            </p:nvSpPr>
            <p:spPr bwMode="auto">
              <a:xfrm>
                <a:off x="8254227" y="4517918"/>
                <a:ext cx="47345" cy="58558"/>
              </a:xfrm>
              <a:custGeom>
                <a:avLst/>
                <a:gdLst>
                  <a:gd name="T0" fmla="*/ 0 w 456"/>
                  <a:gd name="T1" fmla="*/ 288 h 564"/>
                  <a:gd name="T2" fmla="*/ 4 w 456"/>
                  <a:gd name="T3" fmla="*/ 226 h 564"/>
                  <a:gd name="T4" fmla="*/ 22 w 456"/>
                  <a:gd name="T5" fmla="*/ 172 h 564"/>
                  <a:gd name="T6" fmla="*/ 48 w 456"/>
                  <a:gd name="T7" fmla="*/ 122 h 564"/>
                  <a:gd name="T8" fmla="*/ 82 w 456"/>
                  <a:gd name="T9" fmla="*/ 80 h 564"/>
                  <a:gd name="T10" fmla="*/ 124 w 456"/>
                  <a:gd name="T11" fmla="*/ 46 h 564"/>
                  <a:gd name="T12" fmla="*/ 172 w 456"/>
                  <a:gd name="T13" fmla="*/ 22 h 564"/>
                  <a:gd name="T14" fmla="*/ 226 w 456"/>
                  <a:gd name="T15" fmla="*/ 6 h 564"/>
                  <a:gd name="T16" fmla="*/ 284 w 456"/>
                  <a:gd name="T17" fmla="*/ 0 h 564"/>
                  <a:gd name="T18" fmla="*/ 308 w 456"/>
                  <a:gd name="T19" fmla="*/ 0 h 564"/>
                  <a:gd name="T20" fmla="*/ 352 w 456"/>
                  <a:gd name="T21" fmla="*/ 6 h 564"/>
                  <a:gd name="T22" fmla="*/ 388 w 456"/>
                  <a:gd name="T23" fmla="*/ 16 h 564"/>
                  <a:gd name="T24" fmla="*/ 428 w 456"/>
                  <a:gd name="T25" fmla="*/ 36 h 564"/>
                  <a:gd name="T26" fmla="*/ 428 w 456"/>
                  <a:gd name="T27" fmla="*/ 152 h 564"/>
                  <a:gd name="T28" fmla="*/ 400 w 456"/>
                  <a:gd name="T29" fmla="*/ 134 h 564"/>
                  <a:gd name="T30" fmla="*/ 368 w 456"/>
                  <a:gd name="T31" fmla="*/ 120 h 564"/>
                  <a:gd name="T32" fmla="*/ 336 w 456"/>
                  <a:gd name="T33" fmla="*/ 112 h 564"/>
                  <a:gd name="T34" fmla="*/ 298 w 456"/>
                  <a:gd name="T35" fmla="*/ 110 h 564"/>
                  <a:gd name="T36" fmla="*/ 280 w 456"/>
                  <a:gd name="T37" fmla="*/ 110 h 564"/>
                  <a:gd name="T38" fmla="*/ 246 w 456"/>
                  <a:gd name="T39" fmla="*/ 118 h 564"/>
                  <a:gd name="T40" fmla="*/ 216 w 456"/>
                  <a:gd name="T41" fmla="*/ 130 h 564"/>
                  <a:gd name="T42" fmla="*/ 192 w 456"/>
                  <a:gd name="T43" fmla="*/ 148 h 564"/>
                  <a:gd name="T44" fmla="*/ 170 w 456"/>
                  <a:gd name="T45" fmla="*/ 172 h 564"/>
                  <a:gd name="T46" fmla="*/ 156 w 456"/>
                  <a:gd name="T47" fmla="*/ 200 h 564"/>
                  <a:gd name="T48" fmla="*/ 144 w 456"/>
                  <a:gd name="T49" fmla="*/ 230 h 564"/>
                  <a:gd name="T50" fmla="*/ 140 w 456"/>
                  <a:gd name="T51" fmla="*/ 266 h 564"/>
                  <a:gd name="T52" fmla="*/ 138 w 456"/>
                  <a:gd name="T53" fmla="*/ 284 h 564"/>
                  <a:gd name="T54" fmla="*/ 142 w 456"/>
                  <a:gd name="T55" fmla="*/ 322 h 564"/>
                  <a:gd name="T56" fmla="*/ 150 w 456"/>
                  <a:gd name="T57" fmla="*/ 358 h 564"/>
                  <a:gd name="T58" fmla="*/ 162 w 456"/>
                  <a:gd name="T59" fmla="*/ 386 h 564"/>
                  <a:gd name="T60" fmla="*/ 180 w 456"/>
                  <a:gd name="T61" fmla="*/ 410 h 564"/>
                  <a:gd name="T62" fmla="*/ 202 w 456"/>
                  <a:gd name="T63" fmla="*/ 430 h 564"/>
                  <a:gd name="T64" fmla="*/ 228 w 456"/>
                  <a:gd name="T65" fmla="*/ 444 h 564"/>
                  <a:gd name="T66" fmla="*/ 258 w 456"/>
                  <a:gd name="T67" fmla="*/ 452 h 564"/>
                  <a:gd name="T68" fmla="*/ 292 w 456"/>
                  <a:gd name="T69" fmla="*/ 454 h 564"/>
                  <a:gd name="T70" fmla="*/ 310 w 456"/>
                  <a:gd name="T71" fmla="*/ 454 h 564"/>
                  <a:gd name="T72" fmla="*/ 342 w 456"/>
                  <a:gd name="T73" fmla="*/ 448 h 564"/>
                  <a:gd name="T74" fmla="*/ 388 w 456"/>
                  <a:gd name="T75" fmla="*/ 432 h 564"/>
                  <a:gd name="T76" fmla="*/ 456 w 456"/>
                  <a:gd name="T77" fmla="*/ 512 h 564"/>
                  <a:gd name="T78" fmla="*/ 438 w 456"/>
                  <a:gd name="T79" fmla="*/ 522 h 564"/>
                  <a:gd name="T80" fmla="*/ 398 w 456"/>
                  <a:gd name="T81" fmla="*/ 542 h 564"/>
                  <a:gd name="T82" fmla="*/ 352 w 456"/>
                  <a:gd name="T83" fmla="*/ 556 h 564"/>
                  <a:gd name="T84" fmla="*/ 300 w 456"/>
                  <a:gd name="T85" fmla="*/ 564 h 564"/>
                  <a:gd name="T86" fmla="*/ 272 w 456"/>
                  <a:gd name="T87" fmla="*/ 564 h 564"/>
                  <a:gd name="T88" fmla="*/ 210 w 456"/>
                  <a:gd name="T89" fmla="*/ 558 h 564"/>
                  <a:gd name="T90" fmla="*/ 156 w 456"/>
                  <a:gd name="T91" fmla="*/ 542 h 564"/>
                  <a:gd name="T92" fmla="*/ 108 w 456"/>
                  <a:gd name="T93" fmla="*/ 518 h 564"/>
                  <a:gd name="T94" fmla="*/ 70 w 456"/>
                  <a:gd name="T95" fmla="*/ 484 h 564"/>
                  <a:gd name="T96" fmla="*/ 40 w 456"/>
                  <a:gd name="T97" fmla="*/ 444 h 564"/>
                  <a:gd name="T98" fmla="*/ 18 w 456"/>
                  <a:gd name="T99" fmla="*/ 396 h 564"/>
                  <a:gd name="T100" fmla="*/ 4 w 456"/>
                  <a:gd name="T101" fmla="*/ 344 h 564"/>
                  <a:gd name="T102" fmla="*/ 0 w 456"/>
                  <a:gd name="T103" fmla="*/ 288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56" h="564">
                    <a:moveTo>
                      <a:pt x="0" y="288"/>
                    </a:moveTo>
                    <a:lnTo>
                      <a:pt x="0" y="288"/>
                    </a:lnTo>
                    <a:lnTo>
                      <a:pt x="0" y="256"/>
                    </a:lnTo>
                    <a:lnTo>
                      <a:pt x="4" y="226"/>
                    </a:lnTo>
                    <a:lnTo>
                      <a:pt x="12" y="198"/>
                    </a:lnTo>
                    <a:lnTo>
                      <a:pt x="22" y="172"/>
                    </a:lnTo>
                    <a:lnTo>
                      <a:pt x="32" y="146"/>
                    </a:lnTo>
                    <a:lnTo>
                      <a:pt x="48" y="122"/>
                    </a:lnTo>
                    <a:lnTo>
                      <a:pt x="64" y="100"/>
                    </a:lnTo>
                    <a:lnTo>
                      <a:pt x="82" y="80"/>
                    </a:lnTo>
                    <a:lnTo>
                      <a:pt x="102" y="62"/>
                    </a:lnTo>
                    <a:lnTo>
                      <a:pt x="124" y="46"/>
                    </a:lnTo>
                    <a:lnTo>
                      <a:pt x="146" y="32"/>
                    </a:lnTo>
                    <a:lnTo>
                      <a:pt x="172" y="22"/>
                    </a:lnTo>
                    <a:lnTo>
                      <a:pt x="198" y="12"/>
                    </a:lnTo>
                    <a:lnTo>
                      <a:pt x="226" y="6"/>
                    </a:lnTo>
                    <a:lnTo>
                      <a:pt x="254" y="2"/>
                    </a:lnTo>
                    <a:lnTo>
                      <a:pt x="284" y="0"/>
                    </a:lnTo>
                    <a:lnTo>
                      <a:pt x="284" y="0"/>
                    </a:lnTo>
                    <a:lnTo>
                      <a:pt x="308" y="0"/>
                    </a:lnTo>
                    <a:lnTo>
                      <a:pt x="332" y="4"/>
                    </a:lnTo>
                    <a:lnTo>
                      <a:pt x="352" y="6"/>
                    </a:lnTo>
                    <a:lnTo>
                      <a:pt x="372" y="12"/>
                    </a:lnTo>
                    <a:lnTo>
                      <a:pt x="388" y="16"/>
                    </a:lnTo>
                    <a:lnTo>
                      <a:pt x="404" y="24"/>
                    </a:lnTo>
                    <a:lnTo>
                      <a:pt x="428" y="36"/>
                    </a:lnTo>
                    <a:lnTo>
                      <a:pt x="428" y="152"/>
                    </a:lnTo>
                    <a:lnTo>
                      <a:pt x="428" y="152"/>
                    </a:lnTo>
                    <a:lnTo>
                      <a:pt x="414" y="142"/>
                    </a:lnTo>
                    <a:lnTo>
                      <a:pt x="400" y="134"/>
                    </a:lnTo>
                    <a:lnTo>
                      <a:pt x="384" y="126"/>
                    </a:lnTo>
                    <a:lnTo>
                      <a:pt x="368" y="120"/>
                    </a:lnTo>
                    <a:lnTo>
                      <a:pt x="352" y="116"/>
                    </a:lnTo>
                    <a:lnTo>
                      <a:pt x="336" y="112"/>
                    </a:lnTo>
                    <a:lnTo>
                      <a:pt x="316" y="110"/>
                    </a:lnTo>
                    <a:lnTo>
                      <a:pt x="298" y="110"/>
                    </a:lnTo>
                    <a:lnTo>
                      <a:pt x="298" y="110"/>
                    </a:lnTo>
                    <a:lnTo>
                      <a:pt x="280" y="110"/>
                    </a:lnTo>
                    <a:lnTo>
                      <a:pt x="262" y="112"/>
                    </a:lnTo>
                    <a:lnTo>
                      <a:pt x="246" y="118"/>
                    </a:lnTo>
                    <a:lnTo>
                      <a:pt x="230" y="122"/>
                    </a:lnTo>
                    <a:lnTo>
                      <a:pt x="216" y="130"/>
                    </a:lnTo>
                    <a:lnTo>
                      <a:pt x="204" y="138"/>
                    </a:lnTo>
                    <a:lnTo>
                      <a:pt x="192" y="148"/>
                    </a:lnTo>
                    <a:lnTo>
                      <a:pt x="180" y="160"/>
                    </a:lnTo>
                    <a:lnTo>
                      <a:pt x="170" y="172"/>
                    </a:lnTo>
                    <a:lnTo>
                      <a:pt x="162" y="186"/>
                    </a:lnTo>
                    <a:lnTo>
                      <a:pt x="156" y="200"/>
                    </a:lnTo>
                    <a:lnTo>
                      <a:pt x="150" y="214"/>
                    </a:lnTo>
                    <a:lnTo>
                      <a:pt x="144" y="230"/>
                    </a:lnTo>
                    <a:lnTo>
                      <a:pt x="142" y="248"/>
                    </a:lnTo>
                    <a:lnTo>
                      <a:pt x="140" y="266"/>
                    </a:lnTo>
                    <a:lnTo>
                      <a:pt x="138" y="284"/>
                    </a:lnTo>
                    <a:lnTo>
                      <a:pt x="138" y="284"/>
                    </a:lnTo>
                    <a:lnTo>
                      <a:pt x="140" y="304"/>
                    </a:lnTo>
                    <a:lnTo>
                      <a:pt x="142" y="322"/>
                    </a:lnTo>
                    <a:lnTo>
                      <a:pt x="144" y="340"/>
                    </a:lnTo>
                    <a:lnTo>
                      <a:pt x="150" y="358"/>
                    </a:lnTo>
                    <a:lnTo>
                      <a:pt x="156" y="372"/>
                    </a:lnTo>
                    <a:lnTo>
                      <a:pt x="162" y="386"/>
                    </a:lnTo>
                    <a:lnTo>
                      <a:pt x="170" y="400"/>
                    </a:lnTo>
                    <a:lnTo>
                      <a:pt x="180" y="410"/>
                    </a:lnTo>
                    <a:lnTo>
                      <a:pt x="190" y="420"/>
                    </a:lnTo>
                    <a:lnTo>
                      <a:pt x="202" y="430"/>
                    </a:lnTo>
                    <a:lnTo>
                      <a:pt x="214" y="438"/>
                    </a:lnTo>
                    <a:lnTo>
                      <a:pt x="228" y="444"/>
                    </a:lnTo>
                    <a:lnTo>
                      <a:pt x="242" y="448"/>
                    </a:lnTo>
                    <a:lnTo>
                      <a:pt x="258" y="452"/>
                    </a:lnTo>
                    <a:lnTo>
                      <a:pt x="274" y="454"/>
                    </a:lnTo>
                    <a:lnTo>
                      <a:pt x="292" y="454"/>
                    </a:lnTo>
                    <a:lnTo>
                      <a:pt x="292" y="454"/>
                    </a:lnTo>
                    <a:lnTo>
                      <a:pt x="310" y="454"/>
                    </a:lnTo>
                    <a:lnTo>
                      <a:pt x="326" y="452"/>
                    </a:lnTo>
                    <a:lnTo>
                      <a:pt x="342" y="448"/>
                    </a:lnTo>
                    <a:lnTo>
                      <a:pt x="358" y="444"/>
                    </a:lnTo>
                    <a:lnTo>
                      <a:pt x="388" y="432"/>
                    </a:lnTo>
                    <a:lnTo>
                      <a:pt x="416" y="418"/>
                    </a:lnTo>
                    <a:lnTo>
                      <a:pt x="456" y="512"/>
                    </a:lnTo>
                    <a:lnTo>
                      <a:pt x="456" y="512"/>
                    </a:lnTo>
                    <a:lnTo>
                      <a:pt x="438" y="522"/>
                    </a:lnTo>
                    <a:lnTo>
                      <a:pt x="420" y="532"/>
                    </a:lnTo>
                    <a:lnTo>
                      <a:pt x="398" y="542"/>
                    </a:lnTo>
                    <a:lnTo>
                      <a:pt x="376" y="550"/>
                    </a:lnTo>
                    <a:lnTo>
                      <a:pt x="352" y="556"/>
                    </a:lnTo>
                    <a:lnTo>
                      <a:pt x="326" y="560"/>
                    </a:lnTo>
                    <a:lnTo>
                      <a:pt x="300" y="564"/>
                    </a:lnTo>
                    <a:lnTo>
                      <a:pt x="272" y="564"/>
                    </a:lnTo>
                    <a:lnTo>
                      <a:pt x="272" y="564"/>
                    </a:lnTo>
                    <a:lnTo>
                      <a:pt x="240" y="562"/>
                    </a:lnTo>
                    <a:lnTo>
                      <a:pt x="210" y="558"/>
                    </a:lnTo>
                    <a:lnTo>
                      <a:pt x="182" y="552"/>
                    </a:lnTo>
                    <a:lnTo>
                      <a:pt x="156" y="542"/>
                    </a:lnTo>
                    <a:lnTo>
                      <a:pt x="130" y="532"/>
                    </a:lnTo>
                    <a:lnTo>
                      <a:pt x="108" y="518"/>
                    </a:lnTo>
                    <a:lnTo>
                      <a:pt x="88" y="502"/>
                    </a:lnTo>
                    <a:lnTo>
                      <a:pt x="70" y="484"/>
                    </a:lnTo>
                    <a:lnTo>
                      <a:pt x="54" y="464"/>
                    </a:lnTo>
                    <a:lnTo>
                      <a:pt x="40" y="444"/>
                    </a:lnTo>
                    <a:lnTo>
                      <a:pt x="28" y="420"/>
                    </a:lnTo>
                    <a:lnTo>
                      <a:pt x="18" y="396"/>
                    </a:lnTo>
                    <a:lnTo>
                      <a:pt x="10" y="370"/>
                    </a:lnTo>
                    <a:lnTo>
                      <a:pt x="4" y="344"/>
                    </a:lnTo>
                    <a:lnTo>
                      <a:pt x="0" y="316"/>
                    </a:lnTo>
                    <a:lnTo>
                      <a:pt x="0" y="288"/>
                    </a:lnTo>
                    <a:lnTo>
                      <a:pt x="0"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26"/>
              <p:cNvSpPr>
                <a:spLocks/>
              </p:cNvSpPr>
              <p:nvPr/>
            </p:nvSpPr>
            <p:spPr bwMode="auto">
              <a:xfrm>
                <a:off x="8304894" y="4517918"/>
                <a:ext cx="43400" cy="58558"/>
              </a:xfrm>
              <a:custGeom>
                <a:avLst/>
                <a:gdLst>
                  <a:gd name="T0" fmla="*/ 58 w 418"/>
                  <a:gd name="T1" fmla="*/ 422 h 564"/>
                  <a:gd name="T2" fmla="*/ 112 w 418"/>
                  <a:gd name="T3" fmla="*/ 444 h 564"/>
                  <a:gd name="T4" fmla="*/ 170 w 418"/>
                  <a:gd name="T5" fmla="*/ 456 h 564"/>
                  <a:gd name="T6" fmla="*/ 210 w 418"/>
                  <a:gd name="T7" fmla="*/ 456 h 564"/>
                  <a:gd name="T8" fmla="*/ 258 w 418"/>
                  <a:gd name="T9" fmla="*/ 444 h 564"/>
                  <a:gd name="T10" fmla="*/ 282 w 418"/>
                  <a:gd name="T11" fmla="*/ 414 h 564"/>
                  <a:gd name="T12" fmla="*/ 284 w 418"/>
                  <a:gd name="T13" fmla="*/ 392 h 564"/>
                  <a:gd name="T14" fmla="*/ 274 w 418"/>
                  <a:gd name="T15" fmla="*/ 372 h 564"/>
                  <a:gd name="T16" fmla="*/ 226 w 418"/>
                  <a:gd name="T17" fmla="*/ 340 h 564"/>
                  <a:gd name="T18" fmla="*/ 134 w 418"/>
                  <a:gd name="T19" fmla="*/ 304 h 564"/>
                  <a:gd name="T20" fmla="*/ 72 w 418"/>
                  <a:gd name="T21" fmla="*/ 264 h 564"/>
                  <a:gd name="T22" fmla="*/ 48 w 418"/>
                  <a:gd name="T23" fmla="*/ 232 h 564"/>
                  <a:gd name="T24" fmla="*/ 34 w 418"/>
                  <a:gd name="T25" fmla="*/ 194 h 564"/>
                  <a:gd name="T26" fmla="*/ 32 w 418"/>
                  <a:gd name="T27" fmla="*/ 162 h 564"/>
                  <a:gd name="T28" fmla="*/ 40 w 418"/>
                  <a:gd name="T29" fmla="*/ 112 h 564"/>
                  <a:gd name="T30" fmla="*/ 62 w 418"/>
                  <a:gd name="T31" fmla="*/ 70 h 564"/>
                  <a:gd name="T32" fmla="*/ 100 w 418"/>
                  <a:gd name="T33" fmla="*/ 36 h 564"/>
                  <a:gd name="T34" fmla="*/ 150 w 418"/>
                  <a:gd name="T35" fmla="*/ 12 h 564"/>
                  <a:gd name="T36" fmla="*/ 212 w 418"/>
                  <a:gd name="T37" fmla="*/ 0 h 564"/>
                  <a:gd name="T38" fmla="*/ 280 w 418"/>
                  <a:gd name="T39" fmla="*/ 2 h 564"/>
                  <a:gd name="T40" fmla="*/ 394 w 418"/>
                  <a:gd name="T41" fmla="*/ 26 h 564"/>
                  <a:gd name="T42" fmla="*/ 358 w 418"/>
                  <a:gd name="T43" fmla="*/ 128 h 564"/>
                  <a:gd name="T44" fmla="*/ 262 w 418"/>
                  <a:gd name="T45" fmla="*/ 108 h 564"/>
                  <a:gd name="T46" fmla="*/ 224 w 418"/>
                  <a:gd name="T47" fmla="*/ 108 h 564"/>
                  <a:gd name="T48" fmla="*/ 186 w 418"/>
                  <a:gd name="T49" fmla="*/ 118 h 564"/>
                  <a:gd name="T50" fmla="*/ 166 w 418"/>
                  <a:gd name="T51" fmla="*/ 144 h 564"/>
                  <a:gd name="T52" fmla="*/ 166 w 418"/>
                  <a:gd name="T53" fmla="*/ 164 h 564"/>
                  <a:gd name="T54" fmla="*/ 176 w 418"/>
                  <a:gd name="T55" fmla="*/ 184 h 564"/>
                  <a:gd name="T56" fmla="*/ 224 w 418"/>
                  <a:gd name="T57" fmla="*/ 212 h 564"/>
                  <a:gd name="T58" fmla="*/ 314 w 418"/>
                  <a:gd name="T59" fmla="*/ 248 h 564"/>
                  <a:gd name="T60" fmla="*/ 378 w 418"/>
                  <a:gd name="T61" fmla="*/ 292 h 564"/>
                  <a:gd name="T62" fmla="*/ 402 w 418"/>
                  <a:gd name="T63" fmla="*/ 324 h 564"/>
                  <a:gd name="T64" fmla="*/ 414 w 418"/>
                  <a:gd name="T65" fmla="*/ 364 h 564"/>
                  <a:gd name="T66" fmla="*/ 418 w 418"/>
                  <a:gd name="T67" fmla="*/ 396 h 564"/>
                  <a:gd name="T68" fmla="*/ 408 w 418"/>
                  <a:gd name="T69" fmla="*/ 456 h 564"/>
                  <a:gd name="T70" fmla="*/ 380 w 418"/>
                  <a:gd name="T71" fmla="*/ 502 h 564"/>
                  <a:gd name="T72" fmla="*/ 336 w 418"/>
                  <a:gd name="T73" fmla="*/ 534 h 564"/>
                  <a:gd name="T74" fmla="*/ 282 w 418"/>
                  <a:gd name="T75" fmla="*/ 554 h 564"/>
                  <a:gd name="T76" fmla="*/ 220 w 418"/>
                  <a:gd name="T77" fmla="*/ 564 h 564"/>
                  <a:gd name="T78" fmla="*/ 168 w 418"/>
                  <a:gd name="T79" fmla="*/ 562 h 564"/>
                  <a:gd name="T80" fmla="*/ 84 w 418"/>
                  <a:gd name="T81" fmla="*/ 548 h 564"/>
                  <a:gd name="T82" fmla="*/ 18 w 418"/>
                  <a:gd name="T83" fmla="*/ 522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8" h="564">
                    <a:moveTo>
                      <a:pt x="42" y="412"/>
                    </a:moveTo>
                    <a:lnTo>
                      <a:pt x="42" y="412"/>
                    </a:lnTo>
                    <a:lnTo>
                      <a:pt x="58" y="422"/>
                    </a:lnTo>
                    <a:lnTo>
                      <a:pt x="76" y="430"/>
                    </a:lnTo>
                    <a:lnTo>
                      <a:pt x="94" y="438"/>
                    </a:lnTo>
                    <a:lnTo>
                      <a:pt x="112" y="444"/>
                    </a:lnTo>
                    <a:lnTo>
                      <a:pt x="130" y="450"/>
                    </a:lnTo>
                    <a:lnTo>
                      <a:pt x="150" y="454"/>
                    </a:lnTo>
                    <a:lnTo>
                      <a:pt x="170" y="456"/>
                    </a:lnTo>
                    <a:lnTo>
                      <a:pt x="190" y="456"/>
                    </a:lnTo>
                    <a:lnTo>
                      <a:pt x="190" y="456"/>
                    </a:lnTo>
                    <a:lnTo>
                      <a:pt x="210" y="456"/>
                    </a:lnTo>
                    <a:lnTo>
                      <a:pt x="228" y="454"/>
                    </a:lnTo>
                    <a:lnTo>
                      <a:pt x="244" y="450"/>
                    </a:lnTo>
                    <a:lnTo>
                      <a:pt x="258" y="444"/>
                    </a:lnTo>
                    <a:lnTo>
                      <a:pt x="268" y="436"/>
                    </a:lnTo>
                    <a:lnTo>
                      <a:pt x="278" y="426"/>
                    </a:lnTo>
                    <a:lnTo>
                      <a:pt x="282" y="414"/>
                    </a:lnTo>
                    <a:lnTo>
                      <a:pt x="284" y="400"/>
                    </a:lnTo>
                    <a:lnTo>
                      <a:pt x="284" y="400"/>
                    </a:lnTo>
                    <a:lnTo>
                      <a:pt x="284" y="392"/>
                    </a:lnTo>
                    <a:lnTo>
                      <a:pt x="282" y="384"/>
                    </a:lnTo>
                    <a:lnTo>
                      <a:pt x="278" y="378"/>
                    </a:lnTo>
                    <a:lnTo>
                      <a:pt x="274" y="372"/>
                    </a:lnTo>
                    <a:lnTo>
                      <a:pt x="262" y="360"/>
                    </a:lnTo>
                    <a:lnTo>
                      <a:pt x="244" y="350"/>
                    </a:lnTo>
                    <a:lnTo>
                      <a:pt x="226" y="340"/>
                    </a:lnTo>
                    <a:lnTo>
                      <a:pt x="204" y="332"/>
                    </a:lnTo>
                    <a:lnTo>
                      <a:pt x="158" y="314"/>
                    </a:lnTo>
                    <a:lnTo>
                      <a:pt x="134" y="304"/>
                    </a:lnTo>
                    <a:lnTo>
                      <a:pt x="112" y="294"/>
                    </a:lnTo>
                    <a:lnTo>
                      <a:pt x="90" y="280"/>
                    </a:lnTo>
                    <a:lnTo>
                      <a:pt x="72" y="264"/>
                    </a:lnTo>
                    <a:lnTo>
                      <a:pt x="62" y="254"/>
                    </a:lnTo>
                    <a:lnTo>
                      <a:pt x="54" y="244"/>
                    </a:lnTo>
                    <a:lnTo>
                      <a:pt x="48" y="232"/>
                    </a:lnTo>
                    <a:lnTo>
                      <a:pt x="42" y="222"/>
                    </a:lnTo>
                    <a:lnTo>
                      <a:pt x="38" y="208"/>
                    </a:lnTo>
                    <a:lnTo>
                      <a:pt x="34" y="194"/>
                    </a:lnTo>
                    <a:lnTo>
                      <a:pt x="32" y="180"/>
                    </a:lnTo>
                    <a:lnTo>
                      <a:pt x="32" y="162"/>
                    </a:lnTo>
                    <a:lnTo>
                      <a:pt x="32" y="162"/>
                    </a:lnTo>
                    <a:lnTo>
                      <a:pt x="32" y="146"/>
                    </a:lnTo>
                    <a:lnTo>
                      <a:pt x="36" y="128"/>
                    </a:lnTo>
                    <a:lnTo>
                      <a:pt x="40" y="112"/>
                    </a:lnTo>
                    <a:lnTo>
                      <a:pt x="46" y="98"/>
                    </a:lnTo>
                    <a:lnTo>
                      <a:pt x="54" y="82"/>
                    </a:lnTo>
                    <a:lnTo>
                      <a:pt x="62" y="70"/>
                    </a:lnTo>
                    <a:lnTo>
                      <a:pt x="74" y="56"/>
                    </a:lnTo>
                    <a:lnTo>
                      <a:pt x="86" y="46"/>
                    </a:lnTo>
                    <a:lnTo>
                      <a:pt x="100" y="36"/>
                    </a:lnTo>
                    <a:lnTo>
                      <a:pt x="116" y="26"/>
                    </a:lnTo>
                    <a:lnTo>
                      <a:pt x="132" y="18"/>
                    </a:lnTo>
                    <a:lnTo>
                      <a:pt x="150" y="12"/>
                    </a:lnTo>
                    <a:lnTo>
                      <a:pt x="170" y="6"/>
                    </a:lnTo>
                    <a:lnTo>
                      <a:pt x="190" y="4"/>
                    </a:lnTo>
                    <a:lnTo>
                      <a:pt x="212" y="0"/>
                    </a:lnTo>
                    <a:lnTo>
                      <a:pt x="236" y="0"/>
                    </a:lnTo>
                    <a:lnTo>
                      <a:pt x="236" y="0"/>
                    </a:lnTo>
                    <a:lnTo>
                      <a:pt x="280" y="2"/>
                    </a:lnTo>
                    <a:lnTo>
                      <a:pt x="320" y="8"/>
                    </a:lnTo>
                    <a:lnTo>
                      <a:pt x="358" y="16"/>
                    </a:lnTo>
                    <a:lnTo>
                      <a:pt x="394" y="26"/>
                    </a:lnTo>
                    <a:lnTo>
                      <a:pt x="394" y="142"/>
                    </a:lnTo>
                    <a:lnTo>
                      <a:pt x="394" y="142"/>
                    </a:lnTo>
                    <a:lnTo>
                      <a:pt x="358" y="128"/>
                    </a:lnTo>
                    <a:lnTo>
                      <a:pt x="322" y="116"/>
                    </a:lnTo>
                    <a:lnTo>
                      <a:pt x="282" y="110"/>
                    </a:lnTo>
                    <a:lnTo>
                      <a:pt x="262" y="108"/>
                    </a:lnTo>
                    <a:lnTo>
                      <a:pt x="242" y="108"/>
                    </a:lnTo>
                    <a:lnTo>
                      <a:pt x="242" y="108"/>
                    </a:lnTo>
                    <a:lnTo>
                      <a:pt x="224" y="108"/>
                    </a:lnTo>
                    <a:lnTo>
                      <a:pt x="210" y="110"/>
                    </a:lnTo>
                    <a:lnTo>
                      <a:pt x="198" y="114"/>
                    </a:lnTo>
                    <a:lnTo>
                      <a:pt x="186" y="118"/>
                    </a:lnTo>
                    <a:lnTo>
                      <a:pt x="176" y="126"/>
                    </a:lnTo>
                    <a:lnTo>
                      <a:pt x="170" y="134"/>
                    </a:lnTo>
                    <a:lnTo>
                      <a:pt x="166" y="144"/>
                    </a:lnTo>
                    <a:lnTo>
                      <a:pt x="164" y="156"/>
                    </a:lnTo>
                    <a:lnTo>
                      <a:pt x="164" y="156"/>
                    </a:lnTo>
                    <a:lnTo>
                      <a:pt x="166" y="164"/>
                    </a:lnTo>
                    <a:lnTo>
                      <a:pt x="168" y="170"/>
                    </a:lnTo>
                    <a:lnTo>
                      <a:pt x="172" y="178"/>
                    </a:lnTo>
                    <a:lnTo>
                      <a:pt x="176" y="184"/>
                    </a:lnTo>
                    <a:lnTo>
                      <a:pt x="188" y="194"/>
                    </a:lnTo>
                    <a:lnTo>
                      <a:pt x="204" y="204"/>
                    </a:lnTo>
                    <a:lnTo>
                      <a:pt x="224" y="212"/>
                    </a:lnTo>
                    <a:lnTo>
                      <a:pt x="244" y="220"/>
                    </a:lnTo>
                    <a:lnTo>
                      <a:pt x="292" y="238"/>
                    </a:lnTo>
                    <a:lnTo>
                      <a:pt x="314" y="248"/>
                    </a:lnTo>
                    <a:lnTo>
                      <a:pt x="338" y="260"/>
                    </a:lnTo>
                    <a:lnTo>
                      <a:pt x="360" y="274"/>
                    </a:lnTo>
                    <a:lnTo>
                      <a:pt x="378" y="292"/>
                    </a:lnTo>
                    <a:lnTo>
                      <a:pt x="386" y="302"/>
                    </a:lnTo>
                    <a:lnTo>
                      <a:pt x="394" y="312"/>
                    </a:lnTo>
                    <a:lnTo>
                      <a:pt x="402" y="324"/>
                    </a:lnTo>
                    <a:lnTo>
                      <a:pt x="406" y="336"/>
                    </a:lnTo>
                    <a:lnTo>
                      <a:pt x="412" y="350"/>
                    </a:lnTo>
                    <a:lnTo>
                      <a:pt x="414" y="364"/>
                    </a:lnTo>
                    <a:lnTo>
                      <a:pt x="418" y="380"/>
                    </a:lnTo>
                    <a:lnTo>
                      <a:pt x="418" y="396"/>
                    </a:lnTo>
                    <a:lnTo>
                      <a:pt x="418" y="396"/>
                    </a:lnTo>
                    <a:lnTo>
                      <a:pt x="416" y="418"/>
                    </a:lnTo>
                    <a:lnTo>
                      <a:pt x="414" y="438"/>
                    </a:lnTo>
                    <a:lnTo>
                      <a:pt x="408" y="456"/>
                    </a:lnTo>
                    <a:lnTo>
                      <a:pt x="400" y="472"/>
                    </a:lnTo>
                    <a:lnTo>
                      <a:pt x="390" y="488"/>
                    </a:lnTo>
                    <a:lnTo>
                      <a:pt x="380" y="502"/>
                    </a:lnTo>
                    <a:lnTo>
                      <a:pt x="366" y="514"/>
                    </a:lnTo>
                    <a:lnTo>
                      <a:pt x="352" y="524"/>
                    </a:lnTo>
                    <a:lnTo>
                      <a:pt x="336" y="534"/>
                    </a:lnTo>
                    <a:lnTo>
                      <a:pt x="320" y="542"/>
                    </a:lnTo>
                    <a:lnTo>
                      <a:pt x="302" y="550"/>
                    </a:lnTo>
                    <a:lnTo>
                      <a:pt x="282" y="554"/>
                    </a:lnTo>
                    <a:lnTo>
                      <a:pt x="262" y="558"/>
                    </a:lnTo>
                    <a:lnTo>
                      <a:pt x="242" y="562"/>
                    </a:lnTo>
                    <a:lnTo>
                      <a:pt x="220" y="564"/>
                    </a:lnTo>
                    <a:lnTo>
                      <a:pt x="200" y="564"/>
                    </a:lnTo>
                    <a:lnTo>
                      <a:pt x="200" y="564"/>
                    </a:lnTo>
                    <a:lnTo>
                      <a:pt x="168" y="562"/>
                    </a:lnTo>
                    <a:lnTo>
                      <a:pt x="138" y="560"/>
                    </a:lnTo>
                    <a:lnTo>
                      <a:pt x="110" y="554"/>
                    </a:lnTo>
                    <a:lnTo>
                      <a:pt x="84" y="548"/>
                    </a:lnTo>
                    <a:lnTo>
                      <a:pt x="60" y="540"/>
                    </a:lnTo>
                    <a:lnTo>
                      <a:pt x="38" y="532"/>
                    </a:lnTo>
                    <a:lnTo>
                      <a:pt x="18" y="522"/>
                    </a:lnTo>
                    <a:lnTo>
                      <a:pt x="0" y="512"/>
                    </a:lnTo>
                    <a:lnTo>
                      <a:pt x="42" y="4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Freeform 27"/>
              <p:cNvSpPr>
                <a:spLocks noEditPoints="1"/>
              </p:cNvSpPr>
              <p:nvPr/>
            </p:nvSpPr>
            <p:spPr bwMode="auto">
              <a:xfrm>
                <a:off x="8230347" y="4493623"/>
                <a:ext cx="17443" cy="81608"/>
              </a:xfrm>
              <a:custGeom>
                <a:avLst/>
                <a:gdLst>
                  <a:gd name="T0" fmla="*/ 84 w 168"/>
                  <a:gd name="T1" fmla="*/ 162 h 786"/>
                  <a:gd name="T2" fmla="*/ 84 w 168"/>
                  <a:gd name="T3" fmla="*/ 162 h 786"/>
                  <a:gd name="T4" fmla="*/ 68 w 168"/>
                  <a:gd name="T5" fmla="*/ 160 h 786"/>
                  <a:gd name="T6" fmla="*/ 52 w 168"/>
                  <a:gd name="T7" fmla="*/ 156 h 786"/>
                  <a:gd name="T8" fmla="*/ 38 w 168"/>
                  <a:gd name="T9" fmla="*/ 148 h 786"/>
                  <a:gd name="T10" fmla="*/ 26 w 168"/>
                  <a:gd name="T11" fmla="*/ 138 h 786"/>
                  <a:gd name="T12" fmla="*/ 14 w 168"/>
                  <a:gd name="T13" fmla="*/ 126 h 786"/>
                  <a:gd name="T14" fmla="*/ 8 w 168"/>
                  <a:gd name="T15" fmla="*/ 112 h 786"/>
                  <a:gd name="T16" fmla="*/ 2 w 168"/>
                  <a:gd name="T17" fmla="*/ 98 h 786"/>
                  <a:gd name="T18" fmla="*/ 0 w 168"/>
                  <a:gd name="T19" fmla="*/ 80 h 786"/>
                  <a:gd name="T20" fmla="*/ 0 w 168"/>
                  <a:gd name="T21" fmla="*/ 80 h 786"/>
                  <a:gd name="T22" fmla="*/ 2 w 168"/>
                  <a:gd name="T23" fmla="*/ 64 h 786"/>
                  <a:gd name="T24" fmla="*/ 8 w 168"/>
                  <a:gd name="T25" fmla="*/ 50 h 786"/>
                  <a:gd name="T26" fmla="*/ 14 w 168"/>
                  <a:gd name="T27" fmla="*/ 36 h 786"/>
                  <a:gd name="T28" fmla="*/ 26 w 168"/>
                  <a:gd name="T29" fmla="*/ 24 h 786"/>
                  <a:gd name="T30" fmla="*/ 38 w 168"/>
                  <a:gd name="T31" fmla="*/ 14 h 786"/>
                  <a:gd name="T32" fmla="*/ 52 w 168"/>
                  <a:gd name="T33" fmla="*/ 6 h 786"/>
                  <a:gd name="T34" fmla="*/ 68 w 168"/>
                  <a:gd name="T35" fmla="*/ 2 h 786"/>
                  <a:gd name="T36" fmla="*/ 84 w 168"/>
                  <a:gd name="T37" fmla="*/ 0 h 786"/>
                  <a:gd name="T38" fmla="*/ 84 w 168"/>
                  <a:gd name="T39" fmla="*/ 0 h 786"/>
                  <a:gd name="T40" fmla="*/ 102 w 168"/>
                  <a:gd name="T41" fmla="*/ 2 h 786"/>
                  <a:gd name="T42" fmla="*/ 118 w 168"/>
                  <a:gd name="T43" fmla="*/ 6 h 786"/>
                  <a:gd name="T44" fmla="*/ 132 w 168"/>
                  <a:gd name="T45" fmla="*/ 14 h 786"/>
                  <a:gd name="T46" fmla="*/ 144 w 168"/>
                  <a:gd name="T47" fmla="*/ 24 h 786"/>
                  <a:gd name="T48" fmla="*/ 154 w 168"/>
                  <a:gd name="T49" fmla="*/ 36 h 786"/>
                  <a:gd name="T50" fmla="*/ 162 w 168"/>
                  <a:gd name="T51" fmla="*/ 48 h 786"/>
                  <a:gd name="T52" fmla="*/ 166 w 168"/>
                  <a:gd name="T53" fmla="*/ 64 h 786"/>
                  <a:gd name="T54" fmla="*/ 168 w 168"/>
                  <a:gd name="T55" fmla="*/ 80 h 786"/>
                  <a:gd name="T56" fmla="*/ 168 w 168"/>
                  <a:gd name="T57" fmla="*/ 80 h 786"/>
                  <a:gd name="T58" fmla="*/ 166 w 168"/>
                  <a:gd name="T59" fmla="*/ 96 h 786"/>
                  <a:gd name="T60" fmla="*/ 162 w 168"/>
                  <a:gd name="T61" fmla="*/ 112 h 786"/>
                  <a:gd name="T62" fmla="*/ 154 w 168"/>
                  <a:gd name="T63" fmla="*/ 126 h 786"/>
                  <a:gd name="T64" fmla="*/ 144 w 168"/>
                  <a:gd name="T65" fmla="*/ 138 h 786"/>
                  <a:gd name="T66" fmla="*/ 132 w 168"/>
                  <a:gd name="T67" fmla="*/ 148 h 786"/>
                  <a:gd name="T68" fmla="*/ 118 w 168"/>
                  <a:gd name="T69" fmla="*/ 156 h 786"/>
                  <a:gd name="T70" fmla="*/ 102 w 168"/>
                  <a:gd name="T71" fmla="*/ 160 h 786"/>
                  <a:gd name="T72" fmla="*/ 84 w 168"/>
                  <a:gd name="T73" fmla="*/ 162 h 786"/>
                  <a:gd name="T74" fmla="*/ 84 w 168"/>
                  <a:gd name="T75" fmla="*/ 162 h 786"/>
                  <a:gd name="T76" fmla="*/ 16 w 168"/>
                  <a:gd name="T77" fmla="*/ 786 h 786"/>
                  <a:gd name="T78" fmla="*/ 16 w 168"/>
                  <a:gd name="T79" fmla="*/ 244 h 786"/>
                  <a:gd name="T80" fmla="*/ 152 w 168"/>
                  <a:gd name="T81" fmla="*/ 244 h 786"/>
                  <a:gd name="T82" fmla="*/ 152 w 168"/>
                  <a:gd name="T83" fmla="*/ 244 h 786"/>
                  <a:gd name="T84" fmla="*/ 152 w 168"/>
                  <a:gd name="T85" fmla="*/ 686 h 786"/>
                  <a:gd name="T86" fmla="*/ 152 w 168"/>
                  <a:gd name="T87" fmla="*/ 686 h 786"/>
                  <a:gd name="T88" fmla="*/ 150 w 168"/>
                  <a:gd name="T89" fmla="*/ 704 h 786"/>
                  <a:gd name="T90" fmla="*/ 146 w 168"/>
                  <a:gd name="T91" fmla="*/ 720 h 786"/>
                  <a:gd name="T92" fmla="*/ 138 w 168"/>
                  <a:gd name="T93" fmla="*/ 732 h 786"/>
                  <a:gd name="T94" fmla="*/ 130 w 168"/>
                  <a:gd name="T95" fmla="*/ 744 h 786"/>
                  <a:gd name="T96" fmla="*/ 120 w 168"/>
                  <a:gd name="T97" fmla="*/ 754 h 786"/>
                  <a:gd name="T98" fmla="*/ 108 w 168"/>
                  <a:gd name="T99" fmla="*/ 762 h 786"/>
                  <a:gd name="T100" fmla="*/ 96 w 168"/>
                  <a:gd name="T101" fmla="*/ 768 h 786"/>
                  <a:gd name="T102" fmla="*/ 84 w 168"/>
                  <a:gd name="T103" fmla="*/ 774 h 786"/>
                  <a:gd name="T104" fmla="*/ 60 w 168"/>
                  <a:gd name="T105" fmla="*/ 782 h 786"/>
                  <a:gd name="T106" fmla="*/ 38 w 168"/>
                  <a:gd name="T107" fmla="*/ 784 h 786"/>
                  <a:gd name="T108" fmla="*/ 16 w 168"/>
                  <a:gd name="T109" fmla="*/ 786 h 786"/>
                  <a:gd name="T110" fmla="*/ 16 w 168"/>
                  <a:gd name="T111" fmla="*/ 786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8" h="786">
                    <a:moveTo>
                      <a:pt x="84" y="162"/>
                    </a:moveTo>
                    <a:lnTo>
                      <a:pt x="84" y="162"/>
                    </a:lnTo>
                    <a:lnTo>
                      <a:pt x="68" y="160"/>
                    </a:lnTo>
                    <a:lnTo>
                      <a:pt x="52" y="156"/>
                    </a:lnTo>
                    <a:lnTo>
                      <a:pt x="38" y="148"/>
                    </a:lnTo>
                    <a:lnTo>
                      <a:pt x="26" y="138"/>
                    </a:lnTo>
                    <a:lnTo>
                      <a:pt x="14" y="126"/>
                    </a:lnTo>
                    <a:lnTo>
                      <a:pt x="8" y="112"/>
                    </a:lnTo>
                    <a:lnTo>
                      <a:pt x="2" y="98"/>
                    </a:lnTo>
                    <a:lnTo>
                      <a:pt x="0" y="80"/>
                    </a:lnTo>
                    <a:lnTo>
                      <a:pt x="0" y="80"/>
                    </a:lnTo>
                    <a:lnTo>
                      <a:pt x="2" y="64"/>
                    </a:lnTo>
                    <a:lnTo>
                      <a:pt x="8" y="50"/>
                    </a:lnTo>
                    <a:lnTo>
                      <a:pt x="14" y="36"/>
                    </a:lnTo>
                    <a:lnTo>
                      <a:pt x="26" y="24"/>
                    </a:lnTo>
                    <a:lnTo>
                      <a:pt x="38" y="14"/>
                    </a:lnTo>
                    <a:lnTo>
                      <a:pt x="52" y="6"/>
                    </a:lnTo>
                    <a:lnTo>
                      <a:pt x="68" y="2"/>
                    </a:lnTo>
                    <a:lnTo>
                      <a:pt x="84" y="0"/>
                    </a:lnTo>
                    <a:lnTo>
                      <a:pt x="84" y="0"/>
                    </a:lnTo>
                    <a:lnTo>
                      <a:pt x="102" y="2"/>
                    </a:lnTo>
                    <a:lnTo>
                      <a:pt x="118" y="6"/>
                    </a:lnTo>
                    <a:lnTo>
                      <a:pt x="132" y="14"/>
                    </a:lnTo>
                    <a:lnTo>
                      <a:pt x="144" y="24"/>
                    </a:lnTo>
                    <a:lnTo>
                      <a:pt x="154" y="36"/>
                    </a:lnTo>
                    <a:lnTo>
                      <a:pt x="162" y="48"/>
                    </a:lnTo>
                    <a:lnTo>
                      <a:pt x="166" y="64"/>
                    </a:lnTo>
                    <a:lnTo>
                      <a:pt x="168" y="80"/>
                    </a:lnTo>
                    <a:lnTo>
                      <a:pt x="168" y="80"/>
                    </a:lnTo>
                    <a:lnTo>
                      <a:pt x="166" y="96"/>
                    </a:lnTo>
                    <a:lnTo>
                      <a:pt x="162" y="112"/>
                    </a:lnTo>
                    <a:lnTo>
                      <a:pt x="154" y="126"/>
                    </a:lnTo>
                    <a:lnTo>
                      <a:pt x="144" y="138"/>
                    </a:lnTo>
                    <a:lnTo>
                      <a:pt x="132" y="148"/>
                    </a:lnTo>
                    <a:lnTo>
                      <a:pt x="118" y="156"/>
                    </a:lnTo>
                    <a:lnTo>
                      <a:pt x="102" y="160"/>
                    </a:lnTo>
                    <a:lnTo>
                      <a:pt x="84" y="162"/>
                    </a:lnTo>
                    <a:lnTo>
                      <a:pt x="84" y="162"/>
                    </a:lnTo>
                    <a:close/>
                    <a:moveTo>
                      <a:pt x="16" y="786"/>
                    </a:moveTo>
                    <a:lnTo>
                      <a:pt x="16" y="244"/>
                    </a:lnTo>
                    <a:lnTo>
                      <a:pt x="152" y="244"/>
                    </a:lnTo>
                    <a:lnTo>
                      <a:pt x="152" y="244"/>
                    </a:lnTo>
                    <a:lnTo>
                      <a:pt x="152" y="686"/>
                    </a:lnTo>
                    <a:lnTo>
                      <a:pt x="152" y="686"/>
                    </a:lnTo>
                    <a:lnTo>
                      <a:pt x="150" y="704"/>
                    </a:lnTo>
                    <a:lnTo>
                      <a:pt x="146" y="720"/>
                    </a:lnTo>
                    <a:lnTo>
                      <a:pt x="138" y="732"/>
                    </a:lnTo>
                    <a:lnTo>
                      <a:pt x="130" y="744"/>
                    </a:lnTo>
                    <a:lnTo>
                      <a:pt x="120" y="754"/>
                    </a:lnTo>
                    <a:lnTo>
                      <a:pt x="108" y="762"/>
                    </a:lnTo>
                    <a:lnTo>
                      <a:pt x="96" y="768"/>
                    </a:lnTo>
                    <a:lnTo>
                      <a:pt x="84" y="774"/>
                    </a:lnTo>
                    <a:lnTo>
                      <a:pt x="60" y="782"/>
                    </a:lnTo>
                    <a:lnTo>
                      <a:pt x="38" y="784"/>
                    </a:lnTo>
                    <a:lnTo>
                      <a:pt x="16" y="786"/>
                    </a:lnTo>
                    <a:lnTo>
                      <a:pt x="16" y="7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28"/>
              <p:cNvSpPr>
                <a:spLocks/>
              </p:cNvSpPr>
              <p:nvPr/>
            </p:nvSpPr>
            <p:spPr bwMode="auto">
              <a:xfrm>
                <a:off x="7989468" y="4518126"/>
                <a:ext cx="49837" cy="57313"/>
              </a:xfrm>
              <a:custGeom>
                <a:avLst/>
                <a:gdLst>
                  <a:gd name="T0" fmla="*/ 346 w 480"/>
                  <a:gd name="T1" fmla="*/ 230 h 552"/>
                  <a:gd name="T2" fmla="*/ 344 w 480"/>
                  <a:gd name="T3" fmla="*/ 210 h 552"/>
                  <a:gd name="T4" fmla="*/ 338 w 480"/>
                  <a:gd name="T5" fmla="*/ 170 h 552"/>
                  <a:gd name="T6" fmla="*/ 322 w 480"/>
                  <a:gd name="T7" fmla="*/ 138 h 552"/>
                  <a:gd name="T8" fmla="*/ 308 w 480"/>
                  <a:gd name="T9" fmla="*/ 126 h 552"/>
                  <a:gd name="T10" fmla="*/ 290 w 480"/>
                  <a:gd name="T11" fmla="*/ 118 h 552"/>
                  <a:gd name="T12" fmla="*/ 268 w 480"/>
                  <a:gd name="T13" fmla="*/ 116 h 552"/>
                  <a:gd name="T14" fmla="*/ 250 w 480"/>
                  <a:gd name="T15" fmla="*/ 116 h 552"/>
                  <a:gd name="T16" fmla="*/ 216 w 480"/>
                  <a:gd name="T17" fmla="*/ 126 h 552"/>
                  <a:gd name="T18" fmla="*/ 182 w 480"/>
                  <a:gd name="T19" fmla="*/ 140 h 552"/>
                  <a:gd name="T20" fmla="*/ 134 w 480"/>
                  <a:gd name="T21" fmla="*/ 172 h 552"/>
                  <a:gd name="T22" fmla="*/ 134 w 480"/>
                  <a:gd name="T23" fmla="*/ 452 h 552"/>
                  <a:gd name="T24" fmla="*/ 132 w 480"/>
                  <a:gd name="T25" fmla="*/ 470 h 552"/>
                  <a:gd name="T26" fmla="*/ 120 w 480"/>
                  <a:gd name="T27" fmla="*/ 498 h 552"/>
                  <a:gd name="T28" fmla="*/ 102 w 480"/>
                  <a:gd name="T29" fmla="*/ 518 h 552"/>
                  <a:gd name="T30" fmla="*/ 78 w 480"/>
                  <a:gd name="T31" fmla="*/ 534 h 552"/>
                  <a:gd name="T32" fmla="*/ 42 w 480"/>
                  <a:gd name="T33" fmla="*/ 546 h 552"/>
                  <a:gd name="T34" fmla="*/ 0 w 480"/>
                  <a:gd name="T35" fmla="*/ 552 h 552"/>
                  <a:gd name="T36" fmla="*/ 114 w 480"/>
                  <a:gd name="T37" fmla="*/ 14 h 552"/>
                  <a:gd name="T38" fmla="*/ 128 w 480"/>
                  <a:gd name="T39" fmla="*/ 70 h 552"/>
                  <a:gd name="T40" fmla="*/ 170 w 480"/>
                  <a:gd name="T41" fmla="*/ 42 h 552"/>
                  <a:gd name="T42" fmla="*/ 214 w 480"/>
                  <a:gd name="T43" fmla="*/ 20 h 552"/>
                  <a:gd name="T44" fmla="*/ 262 w 480"/>
                  <a:gd name="T45" fmla="*/ 6 h 552"/>
                  <a:gd name="T46" fmla="*/ 314 w 480"/>
                  <a:gd name="T47" fmla="*/ 0 h 552"/>
                  <a:gd name="T48" fmla="*/ 328 w 480"/>
                  <a:gd name="T49" fmla="*/ 2 h 552"/>
                  <a:gd name="T50" fmla="*/ 358 w 480"/>
                  <a:gd name="T51" fmla="*/ 6 h 552"/>
                  <a:gd name="T52" fmla="*/ 388 w 480"/>
                  <a:gd name="T53" fmla="*/ 16 h 552"/>
                  <a:gd name="T54" fmla="*/ 414 w 480"/>
                  <a:gd name="T55" fmla="*/ 32 h 552"/>
                  <a:gd name="T56" fmla="*/ 438 w 480"/>
                  <a:gd name="T57" fmla="*/ 54 h 552"/>
                  <a:gd name="T58" fmla="*/ 458 w 480"/>
                  <a:gd name="T59" fmla="*/ 84 h 552"/>
                  <a:gd name="T60" fmla="*/ 472 w 480"/>
                  <a:gd name="T61" fmla="*/ 120 h 552"/>
                  <a:gd name="T62" fmla="*/ 478 w 480"/>
                  <a:gd name="T63" fmla="*/ 166 h 552"/>
                  <a:gd name="T64" fmla="*/ 480 w 480"/>
                  <a:gd name="T65" fmla="*/ 190 h 552"/>
                  <a:gd name="T66" fmla="*/ 480 w 480"/>
                  <a:gd name="T67" fmla="*/ 452 h 552"/>
                  <a:gd name="T68" fmla="*/ 474 w 480"/>
                  <a:gd name="T69" fmla="*/ 484 h 552"/>
                  <a:gd name="T70" fmla="*/ 458 w 480"/>
                  <a:gd name="T71" fmla="*/ 510 h 552"/>
                  <a:gd name="T72" fmla="*/ 438 w 480"/>
                  <a:gd name="T73" fmla="*/ 528 h 552"/>
                  <a:gd name="T74" fmla="*/ 412 w 480"/>
                  <a:gd name="T75" fmla="*/ 540 h 552"/>
                  <a:gd name="T76" fmla="*/ 366 w 480"/>
                  <a:gd name="T77" fmla="*/ 550 h 552"/>
                  <a:gd name="T78" fmla="*/ 346 w 480"/>
                  <a:gd name="T79" fmla="*/ 552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80" h="552">
                    <a:moveTo>
                      <a:pt x="346" y="552"/>
                    </a:moveTo>
                    <a:lnTo>
                      <a:pt x="346" y="230"/>
                    </a:lnTo>
                    <a:lnTo>
                      <a:pt x="346" y="230"/>
                    </a:lnTo>
                    <a:lnTo>
                      <a:pt x="344" y="210"/>
                    </a:lnTo>
                    <a:lnTo>
                      <a:pt x="342" y="190"/>
                    </a:lnTo>
                    <a:lnTo>
                      <a:pt x="338" y="170"/>
                    </a:lnTo>
                    <a:lnTo>
                      <a:pt x="332" y="152"/>
                    </a:lnTo>
                    <a:lnTo>
                      <a:pt x="322" y="138"/>
                    </a:lnTo>
                    <a:lnTo>
                      <a:pt x="316" y="132"/>
                    </a:lnTo>
                    <a:lnTo>
                      <a:pt x="308" y="126"/>
                    </a:lnTo>
                    <a:lnTo>
                      <a:pt x="300" y="122"/>
                    </a:lnTo>
                    <a:lnTo>
                      <a:pt x="290" y="118"/>
                    </a:lnTo>
                    <a:lnTo>
                      <a:pt x="280" y="116"/>
                    </a:lnTo>
                    <a:lnTo>
                      <a:pt x="268" y="116"/>
                    </a:lnTo>
                    <a:lnTo>
                      <a:pt x="268" y="116"/>
                    </a:lnTo>
                    <a:lnTo>
                      <a:pt x="250" y="116"/>
                    </a:lnTo>
                    <a:lnTo>
                      <a:pt x="232" y="120"/>
                    </a:lnTo>
                    <a:lnTo>
                      <a:pt x="216" y="126"/>
                    </a:lnTo>
                    <a:lnTo>
                      <a:pt x="198" y="132"/>
                    </a:lnTo>
                    <a:lnTo>
                      <a:pt x="182" y="140"/>
                    </a:lnTo>
                    <a:lnTo>
                      <a:pt x="166" y="150"/>
                    </a:lnTo>
                    <a:lnTo>
                      <a:pt x="134" y="172"/>
                    </a:lnTo>
                    <a:lnTo>
                      <a:pt x="134" y="172"/>
                    </a:lnTo>
                    <a:lnTo>
                      <a:pt x="134" y="452"/>
                    </a:lnTo>
                    <a:lnTo>
                      <a:pt x="134" y="452"/>
                    </a:lnTo>
                    <a:lnTo>
                      <a:pt x="132" y="470"/>
                    </a:lnTo>
                    <a:lnTo>
                      <a:pt x="128" y="484"/>
                    </a:lnTo>
                    <a:lnTo>
                      <a:pt x="120" y="498"/>
                    </a:lnTo>
                    <a:lnTo>
                      <a:pt x="112" y="510"/>
                    </a:lnTo>
                    <a:lnTo>
                      <a:pt x="102" y="518"/>
                    </a:lnTo>
                    <a:lnTo>
                      <a:pt x="90" y="528"/>
                    </a:lnTo>
                    <a:lnTo>
                      <a:pt x="78" y="534"/>
                    </a:lnTo>
                    <a:lnTo>
                      <a:pt x="66" y="540"/>
                    </a:lnTo>
                    <a:lnTo>
                      <a:pt x="42" y="546"/>
                    </a:lnTo>
                    <a:lnTo>
                      <a:pt x="20" y="550"/>
                    </a:lnTo>
                    <a:lnTo>
                      <a:pt x="0" y="552"/>
                    </a:lnTo>
                    <a:lnTo>
                      <a:pt x="0" y="14"/>
                    </a:lnTo>
                    <a:lnTo>
                      <a:pt x="114" y="14"/>
                    </a:lnTo>
                    <a:lnTo>
                      <a:pt x="128" y="70"/>
                    </a:lnTo>
                    <a:lnTo>
                      <a:pt x="128" y="70"/>
                    </a:lnTo>
                    <a:lnTo>
                      <a:pt x="150" y="54"/>
                    </a:lnTo>
                    <a:lnTo>
                      <a:pt x="170" y="42"/>
                    </a:lnTo>
                    <a:lnTo>
                      <a:pt x="192" y="30"/>
                    </a:lnTo>
                    <a:lnTo>
                      <a:pt x="214" y="20"/>
                    </a:lnTo>
                    <a:lnTo>
                      <a:pt x="238" y="12"/>
                    </a:lnTo>
                    <a:lnTo>
                      <a:pt x="262" y="6"/>
                    </a:lnTo>
                    <a:lnTo>
                      <a:pt x="286" y="2"/>
                    </a:lnTo>
                    <a:lnTo>
                      <a:pt x="314" y="0"/>
                    </a:lnTo>
                    <a:lnTo>
                      <a:pt x="314" y="0"/>
                    </a:lnTo>
                    <a:lnTo>
                      <a:pt x="328" y="2"/>
                    </a:lnTo>
                    <a:lnTo>
                      <a:pt x="344" y="2"/>
                    </a:lnTo>
                    <a:lnTo>
                      <a:pt x="358" y="6"/>
                    </a:lnTo>
                    <a:lnTo>
                      <a:pt x="374" y="10"/>
                    </a:lnTo>
                    <a:lnTo>
                      <a:pt x="388" y="16"/>
                    </a:lnTo>
                    <a:lnTo>
                      <a:pt x="402" y="24"/>
                    </a:lnTo>
                    <a:lnTo>
                      <a:pt x="414" y="32"/>
                    </a:lnTo>
                    <a:lnTo>
                      <a:pt x="426" y="42"/>
                    </a:lnTo>
                    <a:lnTo>
                      <a:pt x="438" y="54"/>
                    </a:lnTo>
                    <a:lnTo>
                      <a:pt x="448" y="68"/>
                    </a:lnTo>
                    <a:lnTo>
                      <a:pt x="458" y="84"/>
                    </a:lnTo>
                    <a:lnTo>
                      <a:pt x="464" y="102"/>
                    </a:lnTo>
                    <a:lnTo>
                      <a:pt x="472" y="120"/>
                    </a:lnTo>
                    <a:lnTo>
                      <a:pt x="476" y="142"/>
                    </a:lnTo>
                    <a:lnTo>
                      <a:pt x="478" y="166"/>
                    </a:lnTo>
                    <a:lnTo>
                      <a:pt x="480" y="190"/>
                    </a:lnTo>
                    <a:lnTo>
                      <a:pt x="480" y="190"/>
                    </a:lnTo>
                    <a:lnTo>
                      <a:pt x="480" y="452"/>
                    </a:lnTo>
                    <a:lnTo>
                      <a:pt x="480" y="452"/>
                    </a:lnTo>
                    <a:lnTo>
                      <a:pt x="478" y="470"/>
                    </a:lnTo>
                    <a:lnTo>
                      <a:pt x="474" y="484"/>
                    </a:lnTo>
                    <a:lnTo>
                      <a:pt x="468" y="498"/>
                    </a:lnTo>
                    <a:lnTo>
                      <a:pt x="458" y="510"/>
                    </a:lnTo>
                    <a:lnTo>
                      <a:pt x="448" y="520"/>
                    </a:lnTo>
                    <a:lnTo>
                      <a:pt x="438" y="528"/>
                    </a:lnTo>
                    <a:lnTo>
                      <a:pt x="424" y="534"/>
                    </a:lnTo>
                    <a:lnTo>
                      <a:pt x="412" y="540"/>
                    </a:lnTo>
                    <a:lnTo>
                      <a:pt x="388" y="546"/>
                    </a:lnTo>
                    <a:lnTo>
                      <a:pt x="366" y="550"/>
                    </a:lnTo>
                    <a:lnTo>
                      <a:pt x="346" y="552"/>
                    </a:lnTo>
                    <a:lnTo>
                      <a:pt x="346" y="5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 name="Freeform 29"/>
              <p:cNvSpPr>
                <a:spLocks/>
              </p:cNvSpPr>
              <p:nvPr/>
            </p:nvSpPr>
            <p:spPr bwMode="auto">
              <a:xfrm>
                <a:off x="8106170" y="4491754"/>
                <a:ext cx="14120" cy="83477"/>
              </a:xfrm>
              <a:custGeom>
                <a:avLst/>
                <a:gdLst>
                  <a:gd name="T0" fmla="*/ 136 w 136"/>
                  <a:gd name="T1" fmla="*/ 704 h 804"/>
                  <a:gd name="T2" fmla="*/ 136 w 136"/>
                  <a:gd name="T3" fmla="*/ 704 h 804"/>
                  <a:gd name="T4" fmla="*/ 134 w 136"/>
                  <a:gd name="T5" fmla="*/ 722 h 804"/>
                  <a:gd name="T6" fmla="*/ 130 w 136"/>
                  <a:gd name="T7" fmla="*/ 738 h 804"/>
                  <a:gd name="T8" fmla="*/ 122 w 136"/>
                  <a:gd name="T9" fmla="*/ 750 h 804"/>
                  <a:gd name="T10" fmla="*/ 114 w 136"/>
                  <a:gd name="T11" fmla="*/ 762 h 804"/>
                  <a:gd name="T12" fmla="*/ 104 w 136"/>
                  <a:gd name="T13" fmla="*/ 772 h 804"/>
                  <a:gd name="T14" fmla="*/ 92 w 136"/>
                  <a:gd name="T15" fmla="*/ 780 h 804"/>
                  <a:gd name="T16" fmla="*/ 80 w 136"/>
                  <a:gd name="T17" fmla="*/ 786 h 804"/>
                  <a:gd name="T18" fmla="*/ 68 w 136"/>
                  <a:gd name="T19" fmla="*/ 792 h 804"/>
                  <a:gd name="T20" fmla="*/ 44 w 136"/>
                  <a:gd name="T21" fmla="*/ 800 h 804"/>
                  <a:gd name="T22" fmla="*/ 22 w 136"/>
                  <a:gd name="T23" fmla="*/ 802 h 804"/>
                  <a:gd name="T24" fmla="*/ 0 w 136"/>
                  <a:gd name="T25" fmla="*/ 804 h 804"/>
                  <a:gd name="T26" fmla="*/ 0 w 136"/>
                  <a:gd name="T27" fmla="*/ 0 h 804"/>
                  <a:gd name="T28" fmla="*/ 136 w 136"/>
                  <a:gd name="T29" fmla="*/ 0 h 804"/>
                  <a:gd name="T30" fmla="*/ 136 w 136"/>
                  <a:gd name="T31" fmla="*/ 0 h 804"/>
                  <a:gd name="T32" fmla="*/ 136 w 136"/>
                  <a:gd name="T33" fmla="*/ 704 h 804"/>
                  <a:gd name="T34" fmla="*/ 136 w 136"/>
                  <a:gd name="T35" fmla="*/ 70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04">
                    <a:moveTo>
                      <a:pt x="136" y="704"/>
                    </a:moveTo>
                    <a:lnTo>
                      <a:pt x="136" y="704"/>
                    </a:lnTo>
                    <a:lnTo>
                      <a:pt x="134" y="722"/>
                    </a:lnTo>
                    <a:lnTo>
                      <a:pt x="130" y="738"/>
                    </a:lnTo>
                    <a:lnTo>
                      <a:pt x="122" y="750"/>
                    </a:lnTo>
                    <a:lnTo>
                      <a:pt x="114" y="762"/>
                    </a:lnTo>
                    <a:lnTo>
                      <a:pt x="104" y="772"/>
                    </a:lnTo>
                    <a:lnTo>
                      <a:pt x="92" y="780"/>
                    </a:lnTo>
                    <a:lnTo>
                      <a:pt x="80" y="786"/>
                    </a:lnTo>
                    <a:lnTo>
                      <a:pt x="68" y="792"/>
                    </a:lnTo>
                    <a:lnTo>
                      <a:pt x="44" y="800"/>
                    </a:lnTo>
                    <a:lnTo>
                      <a:pt x="22" y="802"/>
                    </a:lnTo>
                    <a:lnTo>
                      <a:pt x="0" y="804"/>
                    </a:lnTo>
                    <a:lnTo>
                      <a:pt x="0" y="0"/>
                    </a:lnTo>
                    <a:lnTo>
                      <a:pt x="136" y="0"/>
                    </a:lnTo>
                    <a:lnTo>
                      <a:pt x="136" y="0"/>
                    </a:lnTo>
                    <a:lnTo>
                      <a:pt x="136" y="704"/>
                    </a:lnTo>
                    <a:lnTo>
                      <a:pt x="136" y="7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7" name="Group 56"/>
            <p:cNvGrpSpPr/>
            <p:nvPr userDrawn="1"/>
          </p:nvGrpSpPr>
          <p:grpSpPr>
            <a:xfrm>
              <a:off x="7673274" y="4343117"/>
              <a:ext cx="1123200" cy="148389"/>
              <a:chOff x="7665803" y="4864376"/>
              <a:chExt cx="1123200" cy="148389"/>
            </a:xfrm>
            <a:grpFill/>
          </p:grpSpPr>
          <p:sp>
            <p:nvSpPr>
              <p:cNvPr id="58" name="Freeform 6"/>
              <p:cNvSpPr>
                <a:spLocks/>
              </p:cNvSpPr>
              <p:nvPr userDrawn="1"/>
            </p:nvSpPr>
            <p:spPr bwMode="auto">
              <a:xfrm>
                <a:off x="8119644" y="4924717"/>
                <a:ext cx="103102" cy="66806"/>
              </a:xfrm>
              <a:custGeom>
                <a:avLst/>
                <a:gdLst>
                  <a:gd name="T0" fmla="*/ 111 w 136"/>
                  <a:gd name="T1" fmla="*/ 72 h 92"/>
                  <a:gd name="T2" fmla="*/ 87 w 136"/>
                  <a:gd name="T3" fmla="*/ 88 h 92"/>
                  <a:gd name="T4" fmla="*/ 68 w 136"/>
                  <a:gd name="T5" fmla="*/ 28 h 92"/>
                  <a:gd name="T6" fmla="*/ 67 w 136"/>
                  <a:gd name="T7" fmla="*/ 28 h 92"/>
                  <a:gd name="T8" fmla="*/ 53 w 136"/>
                  <a:gd name="T9" fmla="*/ 72 h 92"/>
                  <a:gd name="T10" fmla="*/ 31 w 136"/>
                  <a:gd name="T11" fmla="*/ 88 h 92"/>
                  <a:gd name="T12" fmla="*/ 0 w 136"/>
                  <a:gd name="T13" fmla="*/ 0 h 92"/>
                  <a:gd name="T14" fmla="*/ 22 w 136"/>
                  <a:gd name="T15" fmla="*/ 0 h 92"/>
                  <a:gd name="T16" fmla="*/ 41 w 136"/>
                  <a:gd name="T17" fmla="*/ 60 h 92"/>
                  <a:gd name="T18" fmla="*/ 41 w 136"/>
                  <a:gd name="T19" fmla="*/ 60 h 92"/>
                  <a:gd name="T20" fmla="*/ 60 w 136"/>
                  <a:gd name="T21" fmla="*/ 0 h 92"/>
                  <a:gd name="T22" fmla="*/ 77 w 136"/>
                  <a:gd name="T23" fmla="*/ 0 h 92"/>
                  <a:gd name="T24" fmla="*/ 96 w 136"/>
                  <a:gd name="T25" fmla="*/ 60 h 92"/>
                  <a:gd name="T26" fmla="*/ 97 w 136"/>
                  <a:gd name="T27" fmla="*/ 60 h 92"/>
                  <a:gd name="T28" fmla="*/ 115 w 136"/>
                  <a:gd name="T29" fmla="*/ 0 h 92"/>
                  <a:gd name="T30" fmla="*/ 136 w 136"/>
                  <a:gd name="T31" fmla="*/ 0 h 92"/>
                  <a:gd name="T32" fmla="*/ 111 w 136"/>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 h="92">
                    <a:moveTo>
                      <a:pt x="111" y="72"/>
                    </a:moveTo>
                    <a:cubicBezTo>
                      <a:pt x="103" y="92"/>
                      <a:pt x="87" y="88"/>
                      <a:pt x="87" y="88"/>
                    </a:cubicBezTo>
                    <a:cubicBezTo>
                      <a:pt x="68" y="28"/>
                      <a:pt x="68" y="28"/>
                      <a:pt x="68" y="28"/>
                    </a:cubicBezTo>
                    <a:cubicBezTo>
                      <a:pt x="67" y="28"/>
                      <a:pt x="67" y="28"/>
                      <a:pt x="67" y="28"/>
                    </a:cubicBezTo>
                    <a:cubicBezTo>
                      <a:pt x="67" y="28"/>
                      <a:pt x="58"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6" y="60"/>
                      <a:pt x="96" y="60"/>
                      <a:pt x="96" y="60"/>
                    </a:cubicBezTo>
                    <a:cubicBezTo>
                      <a:pt x="97" y="60"/>
                      <a:pt x="97" y="60"/>
                      <a:pt x="97" y="60"/>
                    </a:cubicBezTo>
                    <a:cubicBezTo>
                      <a:pt x="115" y="0"/>
                      <a:pt x="115" y="0"/>
                      <a:pt x="115" y="0"/>
                    </a:cubicBezTo>
                    <a:cubicBezTo>
                      <a:pt x="136" y="0"/>
                      <a:pt x="136" y="0"/>
                      <a:pt x="136" y="0"/>
                    </a:cubicBezTo>
                    <a:cubicBezTo>
                      <a:pt x="136"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59" name="Freeform 7"/>
              <p:cNvSpPr>
                <a:spLocks noEditPoints="1"/>
              </p:cNvSpPr>
              <p:nvPr userDrawn="1"/>
            </p:nvSpPr>
            <p:spPr bwMode="auto">
              <a:xfrm>
                <a:off x="8225958" y="4923177"/>
                <a:ext cx="57493" cy="66190"/>
              </a:xfrm>
              <a:custGeom>
                <a:avLst/>
                <a:gdLst>
                  <a:gd name="T0" fmla="*/ 57 w 76"/>
                  <a:gd name="T1" fmla="*/ 90 h 91"/>
                  <a:gd name="T2" fmla="*/ 53 w 76"/>
                  <a:gd name="T3" fmla="*/ 81 h 91"/>
                  <a:gd name="T4" fmla="*/ 28 w 76"/>
                  <a:gd name="T5" fmla="*/ 91 h 91"/>
                  <a:gd name="T6" fmla="*/ 0 w 76"/>
                  <a:gd name="T7" fmla="*/ 63 h 91"/>
                  <a:gd name="T8" fmla="*/ 36 w 76"/>
                  <a:gd name="T9" fmla="*/ 34 h 91"/>
                  <a:gd name="T10" fmla="*/ 51 w 76"/>
                  <a:gd name="T11" fmla="*/ 34 h 91"/>
                  <a:gd name="T12" fmla="*/ 51 w 76"/>
                  <a:gd name="T13" fmla="*/ 31 h 91"/>
                  <a:gd name="T14" fmla="*/ 35 w 76"/>
                  <a:gd name="T15" fmla="*/ 17 h 91"/>
                  <a:gd name="T16" fmla="*/ 12 w 76"/>
                  <a:gd name="T17" fmla="*/ 23 h 91"/>
                  <a:gd name="T18" fmla="*/ 5 w 76"/>
                  <a:gd name="T19" fmla="*/ 9 h 91"/>
                  <a:gd name="T20" fmla="*/ 39 w 76"/>
                  <a:gd name="T21" fmla="*/ 0 h 91"/>
                  <a:gd name="T22" fmla="*/ 74 w 76"/>
                  <a:gd name="T23" fmla="*/ 31 h 91"/>
                  <a:gd name="T24" fmla="*/ 74 w 76"/>
                  <a:gd name="T25" fmla="*/ 66 h 91"/>
                  <a:gd name="T26" fmla="*/ 76 w 76"/>
                  <a:gd name="T27" fmla="*/ 90 h 91"/>
                  <a:gd name="T28" fmla="*/ 57 w 76"/>
                  <a:gd name="T29" fmla="*/ 90 h 91"/>
                  <a:gd name="T30" fmla="*/ 51 w 76"/>
                  <a:gd name="T31" fmla="*/ 49 h 91"/>
                  <a:gd name="T32" fmla="*/ 39 w 76"/>
                  <a:gd name="T33" fmla="*/ 49 h 91"/>
                  <a:gd name="T34" fmla="*/ 22 w 76"/>
                  <a:gd name="T35" fmla="*/ 61 h 91"/>
                  <a:gd name="T36" fmla="*/ 36 w 76"/>
                  <a:gd name="T37" fmla="*/ 73 h 91"/>
                  <a:gd name="T38" fmla="*/ 51 w 76"/>
                  <a:gd name="T39" fmla="*/ 68 h 91"/>
                  <a:gd name="T40" fmla="*/ 51 w 76"/>
                  <a:gd name="T41" fmla="*/ 4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91">
                    <a:moveTo>
                      <a:pt x="57" y="90"/>
                    </a:moveTo>
                    <a:cubicBezTo>
                      <a:pt x="53" y="81"/>
                      <a:pt x="53" y="81"/>
                      <a:pt x="53" y="81"/>
                    </a:cubicBezTo>
                    <a:cubicBezTo>
                      <a:pt x="48" y="86"/>
                      <a:pt x="40" y="91"/>
                      <a:pt x="28" y="91"/>
                    </a:cubicBezTo>
                    <a:cubicBezTo>
                      <a:pt x="12" y="91"/>
                      <a:pt x="0" y="80"/>
                      <a:pt x="0" y="63"/>
                    </a:cubicBezTo>
                    <a:cubicBezTo>
                      <a:pt x="0" y="45"/>
                      <a:pt x="14" y="35"/>
                      <a:pt x="36" y="34"/>
                    </a:cubicBezTo>
                    <a:cubicBezTo>
                      <a:pt x="51" y="34"/>
                      <a:pt x="51" y="34"/>
                      <a:pt x="51" y="34"/>
                    </a:cubicBezTo>
                    <a:cubicBezTo>
                      <a:pt x="51" y="33"/>
                      <a:pt x="51" y="32"/>
                      <a:pt x="51" y="31"/>
                    </a:cubicBezTo>
                    <a:cubicBezTo>
                      <a:pt x="51" y="21"/>
                      <a:pt x="44" y="17"/>
                      <a:pt x="35" y="17"/>
                    </a:cubicBezTo>
                    <a:cubicBezTo>
                      <a:pt x="25" y="17"/>
                      <a:pt x="18" y="20"/>
                      <a:pt x="12" y="23"/>
                    </a:cubicBezTo>
                    <a:cubicBezTo>
                      <a:pt x="5" y="9"/>
                      <a:pt x="5" y="9"/>
                      <a:pt x="5" y="9"/>
                    </a:cubicBezTo>
                    <a:cubicBezTo>
                      <a:pt x="17" y="2"/>
                      <a:pt x="28" y="0"/>
                      <a:pt x="39" y="0"/>
                    </a:cubicBezTo>
                    <a:cubicBezTo>
                      <a:pt x="61" y="0"/>
                      <a:pt x="74" y="9"/>
                      <a:pt x="74" y="31"/>
                    </a:cubicBezTo>
                    <a:cubicBezTo>
                      <a:pt x="74" y="66"/>
                      <a:pt x="74" y="66"/>
                      <a:pt x="74" y="66"/>
                    </a:cubicBezTo>
                    <a:cubicBezTo>
                      <a:pt x="74" y="78"/>
                      <a:pt x="75" y="86"/>
                      <a:pt x="76" y="90"/>
                    </a:cubicBezTo>
                    <a:lnTo>
                      <a:pt x="57" y="90"/>
                    </a:lnTo>
                    <a:close/>
                    <a:moveTo>
                      <a:pt x="51" y="49"/>
                    </a:moveTo>
                    <a:cubicBezTo>
                      <a:pt x="39" y="49"/>
                      <a:pt x="39" y="49"/>
                      <a:pt x="39" y="49"/>
                    </a:cubicBezTo>
                    <a:cubicBezTo>
                      <a:pt x="27" y="50"/>
                      <a:pt x="22" y="54"/>
                      <a:pt x="22" y="61"/>
                    </a:cubicBezTo>
                    <a:cubicBezTo>
                      <a:pt x="22" y="68"/>
                      <a:pt x="27" y="73"/>
                      <a:pt x="36" y="73"/>
                    </a:cubicBezTo>
                    <a:cubicBezTo>
                      <a:pt x="44" y="73"/>
                      <a:pt x="49" y="70"/>
                      <a:pt x="51" y="68"/>
                    </a:cubicBezTo>
                    <a:lnTo>
                      <a:pt x="51" y="4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0" name="Freeform 8"/>
              <p:cNvSpPr>
                <a:spLocks noEditPoints="1"/>
              </p:cNvSpPr>
              <p:nvPr userDrawn="1"/>
            </p:nvSpPr>
            <p:spPr bwMode="auto">
              <a:xfrm>
                <a:off x="8342550" y="4892699"/>
                <a:ext cx="62311" cy="96668"/>
              </a:xfrm>
              <a:custGeom>
                <a:avLst/>
                <a:gdLst>
                  <a:gd name="T0" fmla="*/ 47 w 82"/>
                  <a:gd name="T1" fmla="*/ 133 h 133"/>
                  <a:gd name="T2" fmla="*/ 0 w 82"/>
                  <a:gd name="T3" fmla="*/ 88 h 133"/>
                  <a:gd name="T4" fmla="*/ 48 w 82"/>
                  <a:gd name="T5" fmla="*/ 42 h 133"/>
                  <a:gd name="T6" fmla="*/ 59 w 82"/>
                  <a:gd name="T7" fmla="*/ 42 h 133"/>
                  <a:gd name="T8" fmla="*/ 60 w 82"/>
                  <a:gd name="T9" fmla="*/ 0 h 133"/>
                  <a:gd name="T10" fmla="*/ 82 w 82"/>
                  <a:gd name="T11" fmla="*/ 0 h 133"/>
                  <a:gd name="T12" fmla="*/ 81 w 82"/>
                  <a:gd name="T13" fmla="*/ 126 h 133"/>
                  <a:gd name="T14" fmla="*/ 47 w 82"/>
                  <a:gd name="T15" fmla="*/ 133 h 133"/>
                  <a:gd name="T16" fmla="*/ 59 w 82"/>
                  <a:gd name="T17" fmla="*/ 60 h 133"/>
                  <a:gd name="T18" fmla="*/ 49 w 82"/>
                  <a:gd name="T19" fmla="*/ 59 h 133"/>
                  <a:gd name="T20" fmla="*/ 22 w 82"/>
                  <a:gd name="T21" fmla="*/ 87 h 133"/>
                  <a:gd name="T22" fmla="*/ 49 w 82"/>
                  <a:gd name="T23" fmla="*/ 114 h 133"/>
                  <a:gd name="T24" fmla="*/ 59 w 82"/>
                  <a:gd name="T25" fmla="*/ 113 h 133"/>
                  <a:gd name="T26" fmla="*/ 59 w 82"/>
                  <a:gd name="T27" fmla="*/ 6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3">
                    <a:moveTo>
                      <a:pt x="47" y="133"/>
                    </a:moveTo>
                    <a:cubicBezTo>
                      <a:pt x="21" y="133"/>
                      <a:pt x="0" y="117"/>
                      <a:pt x="0" y="88"/>
                    </a:cubicBezTo>
                    <a:cubicBezTo>
                      <a:pt x="0" y="61"/>
                      <a:pt x="20" y="42"/>
                      <a:pt x="48" y="42"/>
                    </a:cubicBezTo>
                    <a:cubicBezTo>
                      <a:pt x="52" y="42"/>
                      <a:pt x="56" y="42"/>
                      <a:pt x="59" y="42"/>
                    </a:cubicBezTo>
                    <a:cubicBezTo>
                      <a:pt x="60" y="0"/>
                      <a:pt x="60" y="0"/>
                      <a:pt x="60" y="0"/>
                    </a:cubicBezTo>
                    <a:cubicBezTo>
                      <a:pt x="82" y="0"/>
                      <a:pt x="82" y="0"/>
                      <a:pt x="82" y="0"/>
                    </a:cubicBezTo>
                    <a:cubicBezTo>
                      <a:pt x="81" y="126"/>
                      <a:pt x="81" y="126"/>
                      <a:pt x="81" y="126"/>
                    </a:cubicBezTo>
                    <a:cubicBezTo>
                      <a:pt x="73" y="130"/>
                      <a:pt x="62" y="133"/>
                      <a:pt x="47" y="133"/>
                    </a:cubicBezTo>
                    <a:close/>
                    <a:moveTo>
                      <a:pt x="59" y="60"/>
                    </a:moveTo>
                    <a:cubicBezTo>
                      <a:pt x="56" y="60"/>
                      <a:pt x="54" y="59"/>
                      <a:pt x="49" y="59"/>
                    </a:cubicBezTo>
                    <a:cubicBezTo>
                      <a:pt x="33" y="59"/>
                      <a:pt x="22" y="70"/>
                      <a:pt x="22" y="87"/>
                    </a:cubicBezTo>
                    <a:cubicBezTo>
                      <a:pt x="22" y="103"/>
                      <a:pt x="32" y="114"/>
                      <a:pt x="49" y="114"/>
                    </a:cubicBezTo>
                    <a:cubicBezTo>
                      <a:pt x="53" y="114"/>
                      <a:pt x="57" y="114"/>
                      <a:pt x="59" y="113"/>
                    </a:cubicBezTo>
                    <a:lnTo>
                      <a:pt x="59" y="60"/>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1" name="Freeform 9"/>
              <p:cNvSpPr>
                <a:spLocks/>
              </p:cNvSpPr>
              <p:nvPr userDrawn="1"/>
            </p:nvSpPr>
            <p:spPr bwMode="auto">
              <a:xfrm>
                <a:off x="8093949"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2" name="Freeform 10"/>
              <p:cNvSpPr>
                <a:spLocks/>
              </p:cNvSpPr>
              <p:nvPr userDrawn="1"/>
            </p:nvSpPr>
            <p:spPr bwMode="auto">
              <a:xfrm>
                <a:off x="8060545"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3" name="Freeform 11"/>
              <p:cNvSpPr>
                <a:spLocks/>
              </p:cNvSpPr>
              <p:nvPr userDrawn="1"/>
            </p:nvSpPr>
            <p:spPr bwMode="auto">
              <a:xfrm>
                <a:off x="8297262" y="4923177"/>
                <a:ext cx="43039" cy="66190"/>
              </a:xfrm>
              <a:custGeom>
                <a:avLst/>
                <a:gdLst>
                  <a:gd name="T0" fmla="*/ 49 w 57"/>
                  <a:gd name="T1" fmla="*/ 22 h 91"/>
                  <a:gd name="T2" fmla="*/ 39 w 57"/>
                  <a:gd name="T3" fmla="*/ 20 h 91"/>
                  <a:gd name="T4" fmla="*/ 22 w 57"/>
                  <a:gd name="T5" fmla="*/ 27 h 91"/>
                  <a:gd name="T6" fmla="*/ 22 w 57"/>
                  <a:gd name="T7" fmla="*/ 74 h 91"/>
                  <a:gd name="T8" fmla="*/ 0 w 57"/>
                  <a:gd name="T9" fmla="*/ 90 h 91"/>
                  <a:gd name="T10" fmla="*/ 0 w 57"/>
                  <a:gd name="T11" fmla="*/ 2 h 91"/>
                  <a:gd name="T12" fmla="*/ 18 w 57"/>
                  <a:gd name="T13" fmla="*/ 2 h 91"/>
                  <a:gd name="T14" fmla="*/ 21 w 57"/>
                  <a:gd name="T15" fmla="*/ 11 h 91"/>
                  <a:gd name="T16" fmla="*/ 45 w 57"/>
                  <a:gd name="T17" fmla="*/ 0 h 91"/>
                  <a:gd name="T18" fmla="*/ 57 w 57"/>
                  <a:gd name="T19" fmla="*/ 4 h 91"/>
                  <a:gd name="T20" fmla="*/ 49 w 57"/>
                  <a:gd name="T21" fmla="*/ 2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1">
                    <a:moveTo>
                      <a:pt x="49" y="22"/>
                    </a:moveTo>
                    <a:cubicBezTo>
                      <a:pt x="45" y="20"/>
                      <a:pt x="41" y="20"/>
                      <a:pt x="39" y="20"/>
                    </a:cubicBezTo>
                    <a:cubicBezTo>
                      <a:pt x="34" y="20"/>
                      <a:pt x="28" y="22"/>
                      <a:pt x="22" y="27"/>
                    </a:cubicBezTo>
                    <a:cubicBezTo>
                      <a:pt x="22" y="27"/>
                      <a:pt x="22" y="57"/>
                      <a:pt x="22" y="74"/>
                    </a:cubicBezTo>
                    <a:cubicBezTo>
                      <a:pt x="22" y="91"/>
                      <a:pt x="0" y="90"/>
                      <a:pt x="0" y="90"/>
                    </a:cubicBezTo>
                    <a:cubicBezTo>
                      <a:pt x="0" y="2"/>
                      <a:pt x="0" y="2"/>
                      <a:pt x="0" y="2"/>
                    </a:cubicBezTo>
                    <a:cubicBezTo>
                      <a:pt x="18" y="2"/>
                      <a:pt x="18" y="2"/>
                      <a:pt x="18"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4" name="Freeform 12"/>
              <p:cNvSpPr>
                <a:spLocks/>
              </p:cNvSpPr>
              <p:nvPr userDrawn="1"/>
            </p:nvSpPr>
            <p:spPr bwMode="auto">
              <a:xfrm>
                <a:off x="7907980" y="4892699"/>
                <a:ext cx="98605" cy="95129"/>
              </a:xfrm>
              <a:custGeom>
                <a:avLst/>
                <a:gdLst>
                  <a:gd name="T0" fmla="*/ 106 w 130"/>
                  <a:gd name="T1" fmla="*/ 131 h 131"/>
                  <a:gd name="T2" fmla="*/ 106 w 130"/>
                  <a:gd name="T3" fmla="*/ 53 h 131"/>
                  <a:gd name="T4" fmla="*/ 107 w 130"/>
                  <a:gd name="T5" fmla="*/ 39 h 131"/>
                  <a:gd name="T6" fmla="*/ 106 w 130"/>
                  <a:gd name="T7" fmla="*/ 39 h 131"/>
                  <a:gd name="T8" fmla="*/ 99 w 130"/>
                  <a:gd name="T9" fmla="*/ 52 h 131"/>
                  <a:gd name="T10" fmla="*/ 72 w 130"/>
                  <a:gd name="T11" fmla="*/ 93 h 131"/>
                  <a:gd name="T12" fmla="*/ 60 w 130"/>
                  <a:gd name="T13" fmla="*/ 93 h 131"/>
                  <a:gd name="T14" fmla="*/ 32 w 130"/>
                  <a:gd name="T15" fmla="*/ 51 h 131"/>
                  <a:gd name="T16" fmla="*/ 24 w 130"/>
                  <a:gd name="T17" fmla="*/ 39 h 131"/>
                  <a:gd name="T18" fmla="*/ 23 w 130"/>
                  <a:gd name="T19" fmla="*/ 39 h 131"/>
                  <a:gd name="T20" fmla="*/ 24 w 130"/>
                  <a:gd name="T21" fmla="*/ 52 h 131"/>
                  <a:gd name="T22" fmla="*/ 24 w 130"/>
                  <a:gd name="T23" fmla="*/ 131 h 131"/>
                  <a:gd name="T24" fmla="*/ 0 w 130"/>
                  <a:gd name="T25" fmla="*/ 131 h 131"/>
                  <a:gd name="T26" fmla="*/ 0 w 130"/>
                  <a:gd name="T27" fmla="*/ 0 h 131"/>
                  <a:gd name="T28" fmla="*/ 22 w 130"/>
                  <a:gd name="T29" fmla="*/ 0 h 131"/>
                  <a:gd name="T30" fmla="*/ 58 w 130"/>
                  <a:gd name="T31" fmla="*/ 52 h 131"/>
                  <a:gd name="T32" fmla="*/ 66 w 130"/>
                  <a:gd name="T33" fmla="*/ 66 h 131"/>
                  <a:gd name="T34" fmla="*/ 67 w 130"/>
                  <a:gd name="T35" fmla="*/ 66 h 131"/>
                  <a:gd name="T36" fmla="*/ 75 w 130"/>
                  <a:gd name="T37" fmla="*/ 52 h 131"/>
                  <a:gd name="T38" fmla="*/ 108 w 130"/>
                  <a:gd name="T39" fmla="*/ 0 h 131"/>
                  <a:gd name="T40" fmla="*/ 130 w 130"/>
                  <a:gd name="T41" fmla="*/ 0 h 131"/>
                  <a:gd name="T42" fmla="*/ 130 w 130"/>
                  <a:gd name="T43" fmla="*/ 131 h 131"/>
                  <a:gd name="T44" fmla="*/ 106 w 130"/>
                  <a:gd name="T45"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0" h="131">
                    <a:moveTo>
                      <a:pt x="106" y="131"/>
                    </a:moveTo>
                    <a:cubicBezTo>
                      <a:pt x="106" y="53"/>
                      <a:pt x="106" y="53"/>
                      <a:pt x="106" y="53"/>
                    </a:cubicBezTo>
                    <a:cubicBezTo>
                      <a:pt x="106" y="48"/>
                      <a:pt x="106" y="44"/>
                      <a:pt x="107" y="39"/>
                    </a:cubicBezTo>
                    <a:cubicBezTo>
                      <a:pt x="106" y="39"/>
                      <a:pt x="106" y="39"/>
                      <a:pt x="106" y="39"/>
                    </a:cubicBezTo>
                    <a:cubicBezTo>
                      <a:pt x="105" y="43"/>
                      <a:pt x="101" y="49"/>
                      <a:pt x="99" y="52"/>
                    </a:cubicBezTo>
                    <a:cubicBezTo>
                      <a:pt x="72" y="93"/>
                      <a:pt x="72" y="93"/>
                      <a:pt x="72" y="93"/>
                    </a:cubicBezTo>
                    <a:cubicBezTo>
                      <a:pt x="60" y="93"/>
                      <a:pt x="60" y="93"/>
                      <a:pt x="60" y="93"/>
                    </a:cubicBezTo>
                    <a:cubicBezTo>
                      <a:pt x="32" y="51"/>
                      <a:pt x="32" y="51"/>
                      <a:pt x="32" y="51"/>
                    </a:cubicBezTo>
                    <a:cubicBezTo>
                      <a:pt x="29" y="48"/>
                      <a:pt x="26" y="44"/>
                      <a:pt x="24" y="39"/>
                    </a:cubicBezTo>
                    <a:cubicBezTo>
                      <a:pt x="23" y="39"/>
                      <a:pt x="23" y="39"/>
                      <a:pt x="23" y="39"/>
                    </a:cubicBezTo>
                    <a:cubicBezTo>
                      <a:pt x="24" y="44"/>
                      <a:pt x="24" y="48"/>
                      <a:pt x="24" y="52"/>
                    </a:cubicBezTo>
                    <a:cubicBezTo>
                      <a:pt x="24" y="131"/>
                      <a:pt x="24" y="131"/>
                      <a:pt x="24" y="131"/>
                    </a:cubicBezTo>
                    <a:cubicBezTo>
                      <a:pt x="0" y="131"/>
                      <a:pt x="0" y="131"/>
                      <a:pt x="0" y="131"/>
                    </a:cubicBezTo>
                    <a:cubicBezTo>
                      <a:pt x="0" y="0"/>
                      <a:pt x="0" y="0"/>
                      <a:pt x="0" y="0"/>
                    </a:cubicBezTo>
                    <a:cubicBezTo>
                      <a:pt x="22" y="0"/>
                      <a:pt x="22" y="0"/>
                      <a:pt x="22" y="0"/>
                    </a:cubicBezTo>
                    <a:cubicBezTo>
                      <a:pt x="58" y="52"/>
                      <a:pt x="58" y="52"/>
                      <a:pt x="58" y="52"/>
                    </a:cubicBezTo>
                    <a:cubicBezTo>
                      <a:pt x="61" y="57"/>
                      <a:pt x="64" y="61"/>
                      <a:pt x="66" y="66"/>
                    </a:cubicBezTo>
                    <a:cubicBezTo>
                      <a:pt x="67" y="66"/>
                      <a:pt x="67" y="66"/>
                      <a:pt x="67" y="66"/>
                    </a:cubicBezTo>
                    <a:cubicBezTo>
                      <a:pt x="69" y="61"/>
                      <a:pt x="71" y="57"/>
                      <a:pt x="75" y="52"/>
                    </a:cubicBezTo>
                    <a:cubicBezTo>
                      <a:pt x="108" y="0"/>
                      <a:pt x="108" y="0"/>
                      <a:pt x="108" y="0"/>
                    </a:cubicBezTo>
                    <a:cubicBezTo>
                      <a:pt x="130" y="0"/>
                      <a:pt x="130" y="0"/>
                      <a:pt x="130" y="0"/>
                    </a:cubicBezTo>
                    <a:cubicBezTo>
                      <a:pt x="130" y="131"/>
                      <a:pt x="130" y="131"/>
                      <a:pt x="130" y="131"/>
                    </a:cubicBezTo>
                    <a:lnTo>
                      <a:pt x="106" y="131"/>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5" name="Freeform 13"/>
              <p:cNvSpPr>
                <a:spLocks/>
              </p:cNvSpPr>
              <p:nvPr userDrawn="1"/>
            </p:nvSpPr>
            <p:spPr bwMode="auto">
              <a:xfrm>
                <a:off x="7665803" y="4864376"/>
                <a:ext cx="100854" cy="148389"/>
              </a:xfrm>
              <a:custGeom>
                <a:avLst/>
                <a:gdLst>
                  <a:gd name="T0" fmla="*/ 133 w 133"/>
                  <a:gd name="T1" fmla="*/ 23 h 204"/>
                  <a:gd name="T2" fmla="*/ 132 w 133"/>
                  <a:gd name="T3" fmla="*/ 22 h 204"/>
                  <a:gd name="T4" fmla="*/ 65 w 133"/>
                  <a:gd name="T5" fmla="*/ 20 h 204"/>
                  <a:gd name="T6" fmla="*/ 52 w 133"/>
                  <a:gd name="T7" fmla="*/ 52 h 204"/>
                  <a:gd name="T8" fmla="*/ 20 w 133"/>
                  <a:gd name="T9" fmla="*/ 65 h 204"/>
                  <a:gd name="T10" fmla="*/ 22 w 133"/>
                  <a:gd name="T11" fmla="*/ 132 h 204"/>
                  <a:gd name="T12" fmla="*/ 95 w 133"/>
                  <a:gd name="T13" fmla="*/ 204 h 204"/>
                  <a:gd name="T14" fmla="*/ 117 w 133"/>
                  <a:gd name="T15" fmla="*/ 182 h 204"/>
                  <a:gd name="T16" fmla="*/ 44 w 133"/>
                  <a:gd name="T17" fmla="*/ 110 h 204"/>
                  <a:gd name="T18" fmla="*/ 42 w 133"/>
                  <a:gd name="T19" fmla="*/ 86 h 204"/>
                  <a:gd name="T20" fmla="*/ 66 w 133"/>
                  <a:gd name="T21" fmla="*/ 88 h 204"/>
                  <a:gd name="T22" fmla="*/ 133 w 133"/>
                  <a:gd name="T23" fmla="*/ 155 h 204"/>
                  <a:gd name="T24" fmla="*/ 133 w 133"/>
                  <a:gd name="T25" fmla="*/ 111 h 204"/>
                  <a:gd name="T26" fmla="*/ 88 w 133"/>
                  <a:gd name="T27" fmla="*/ 66 h 204"/>
                  <a:gd name="T28" fmla="*/ 86 w 133"/>
                  <a:gd name="T29" fmla="*/ 42 h 204"/>
                  <a:gd name="T30" fmla="*/ 110 w 133"/>
                  <a:gd name="T31" fmla="*/ 44 h 204"/>
                  <a:gd name="T32" fmla="*/ 133 w 133"/>
                  <a:gd name="T33" fmla="*/ 66 h 204"/>
                  <a:gd name="T34" fmla="*/ 133 w 133"/>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204">
                    <a:moveTo>
                      <a:pt x="133" y="23"/>
                    </a:moveTo>
                    <a:cubicBezTo>
                      <a:pt x="132" y="22"/>
                      <a:pt x="132" y="22"/>
                      <a:pt x="132" y="22"/>
                    </a:cubicBezTo>
                    <a:cubicBezTo>
                      <a:pt x="110" y="0"/>
                      <a:pt x="82" y="2"/>
                      <a:pt x="65" y="20"/>
                    </a:cubicBezTo>
                    <a:cubicBezTo>
                      <a:pt x="53" y="32"/>
                      <a:pt x="51" y="46"/>
                      <a:pt x="52" y="52"/>
                    </a:cubicBezTo>
                    <a:cubicBezTo>
                      <a:pt x="47" y="51"/>
                      <a:pt x="32" y="52"/>
                      <a:pt x="20" y="65"/>
                    </a:cubicBezTo>
                    <a:cubicBezTo>
                      <a:pt x="3" y="82"/>
                      <a:pt x="0" y="110"/>
                      <a:pt x="22" y="132"/>
                    </a:cubicBezTo>
                    <a:cubicBezTo>
                      <a:pt x="95" y="204"/>
                      <a:pt x="95" y="204"/>
                      <a:pt x="95" y="204"/>
                    </a:cubicBezTo>
                    <a:cubicBezTo>
                      <a:pt x="117" y="182"/>
                      <a:pt x="117" y="182"/>
                      <a:pt x="117" y="182"/>
                    </a:cubicBezTo>
                    <a:cubicBezTo>
                      <a:pt x="44" y="110"/>
                      <a:pt x="44" y="110"/>
                      <a:pt x="44" y="110"/>
                    </a:cubicBezTo>
                    <a:cubicBezTo>
                      <a:pt x="35" y="101"/>
                      <a:pt x="36" y="91"/>
                      <a:pt x="42" y="86"/>
                    </a:cubicBezTo>
                    <a:cubicBezTo>
                      <a:pt x="47" y="80"/>
                      <a:pt x="58" y="79"/>
                      <a:pt x="66" y="88"/>
                    </a:cubicBezTo>
                    <a:cubicBezTo>
                      <a:pt x="133" y="155"/>
                      <a:pt x="133" y="155"/>
                      <a:pt x="133" y="155"/>
                    </a:cubicBezTo>
                    <a:cubicBezTo>
                      <a:pt x="133" y="111"/>
                      <a:pt x="133" y="111"/>
                      <a:pt x="133" y="111"/>
                    </a:cubicBezTo>
                    <a:cubicBezTo>
                      <a:pt x="88" y="66"/>
                      <a:pt x="88" y="66"/>
                      <a:pt x="88" y="66"/>
                    </a:cubicBezTo>
                    <a:cubicBezTo>
                      <a:pt x="80" y="57"/>
                      <a:pt x="80" y="47"/>
                      <a:pt x="86" y="42"/>
                    </a:cubicBezTo>
                    <a:cubicBezTo>
                      <a:pt x="92" y="36"/>
                      <a:pt x="102" y="35"/>
                      <a:pt x="110" y="44"/>
                    </a:cubicBezTo>
                    <a:cubicBezTo>
                      <a:pt x="133" y="66"/>
                      <a:pt x="133" y="66"/>
                      <a:pt x="133" y="66"/>
                    </a:cubicBezTo>
                    <a:lnTo>
                      <a:pt x="133"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6" name="Freeform 14"/>
              <p:cNvSpPr>
                <a:spLocks noEditPoints="1"/>
              </p:cNvSpPr>
              <p:nvPr userDrawn="1"/>
            </p:nvSpPr>
            <p:spPr bwMode="auto">
              <a:xfrm>
                <a:off x="8023287" y="4895470"/>
                <a:ext cx="20556" cy="93282"/>
              </a:xfrm>
              <a:custGeom>
                <a:avLst/>
                <a:gdLst>
                  <a:gd name="T0" fmla="*/ 14 w 27"/>
                  <a:gd name="T1" fmla="*/ 26 h 128"/>
                  <a:gd name="T2" fmla="*/ 0 w 27"/>
                  <a:gd name="T3" fmla="*/ 13 h 128"/>
                  <a:gd name="T4" fmla="*/ 14 w 27"/>
                  <a:gd name="T5" fmla="*/ 0 h 128"/>
                  <a:gd name="T6" fmla="*/ 27 w 27"/>
                  <a:gd name="T7" fmla="*/ 13 h 128"/>
                  <a:gd name="T8" fmla="*/ 14 w 27"/>
                  <a:gd name="T9" fmla="*/ 26 h 128"/>
                  <a:gd name="T10" fmla="*/ 3 w 27"/>
                  <a:gd name="T11" fmla="*/ 128 h 128"/>
                  <a:gd name="T12" fmla="*/ 3 w 27"/>
                  <a:gd name="T13" fmla="*/ 40 h 128"/>
                  <a:gd name="T14" fmla="*/ 25 w 27"/>
                  <a:gd name="T15" fmla="*/ 40 h 128"/>
                  <a:gd name="T16" fmla="*/ 25 w 27"/>
                  <a:gd name="T17" fmla="*/ 112 h 128"/>
                  <a:gd name="T18" fmla="*/ 3 w 27"/>
                  <a:gd name="T1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128">
                    <a:moveTo>
                      <a:pt x="14" y="26"/>
                    </a:moveTo>
                    <a:cubicBezTo>
                      <a:pt x="6" y="26"/>
                      <a:pt x="0" y="20"/>
                      <a:pt x="0" y="13"/>
                    </a:cubicBezTo>
                    <a:cubicBezTo>
                      <a:pt x="0" y="6"/>
                      <a:pt x="6" y="0"/>
                      <a:pt x="14" y="0"/>
                    </a:cubicBezTo>
                    <a:cubicBezTo>
                      <a:pt x="21" y="0"/>
                      <a:pt x="27" y="5"/>
                      <a:pt x="27" y="13"/>
                    </a:cubicBezTo>
                    <a:cubicBezTo>
                      <a:pt x="27" y="20"/>
                      <a:pt x="21" y="26"/>
                      <a:pt x="14" y="26"/>
                    </a:cubicBezTo>
                    <a:close/>
                    <a:moveTo>
                      <a:pt x="3" y="128"/>
                    </a:moveTo>
                    <a:cubicBezTo>
                      <a:pt x="3" y="40"/>
                      <a:pt x="3" y="40"/>
                      <a:pt x="3" y="40"/>
                    </a:cubicBezTo>
                    <a:cubicBezTo>
                      <a:pt x="25" y="40"/>
                      <a:pt x="25" y="40"/>
                      <a:pt x="25" y="40"/>
                    </a:cubicBezTo>
                    <a:cubicBezTo>
                      <a:pt x="25" y="40"/>
                      <a:pt x="25" y="95"/>
                      <a:pt x="25" y="112"/>
                    </a:cubicBezTo>
                    <a:cubicBezTo>
                      <a:pt x="25" y="128"/>
                      <a:pt x="3" y="128"/>
                      <a:pt x="3" y="1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7" name="Freeform 15"/>
              <p:cNvSpPr>
                <a:spLocks/>
              </p:cNvSpPr>
              <p:nvPr userDrawn="1"/>
            </p:nvSpPr>
            <p:spPr bwMode="auto">
              <a:xfrm>
                <a:off x="8615239" y="4924717"/>
                <a:ext cx="103744" cy="66806"/>
              </a:xfrm>
              <a:custGeom>
                <a:avLst/>
                <a:gdLst>
                  <a:gd name="T0" fmla="*/ 111 w 137"/>
                  <a:gd name="T1" fmla="*/ 72 h 92"/>
                  <a:gd name="T2" fmla="*/ 88 w 137"/>
                  <a:gd name="T3" fmla="*/ 88 h 92"/>
                  <a:gd name="T4" fmla="*/ 68 w 137"/>
                  <a:gd name="T5" fmla="*/ 28 h 92"/>
                  <a:gd name="T6" fmla="*/ 68 w 137"/>
                  <a:gd name="T7" fmla="*/ 28 h 92"/>
                  <a:gd name="T8" fmla="*/ 53 w 137"/>
                  <a:gd name="T9" fmla="*/ 72 h 92"/>
                  <a:gd name="T10" fmla="*/ 31 w 137"/>
                  <a:gd name="T11" fmla="*/ 88 h 92"/>
                  <a:gd name="T12" fmla="*/ 0 w 137"/>
                  <a:gd name="T13" fmla="*/ 0 h 92"/>
                  <a:gd name="T14" fmla="*/ 22 w 137"/>
                  <a:gd name="T15" fmla="*/ 0 h 92"/>
                  <a:gd name="T16" fmla="*/ 41 w 137"/>
                  <a:gd name="T17" fmla="*/ 60 h 92"/>
                  <a:gd name="T18" fmla="*/ 41 w 137"/>
                  <a:gd name="T19" fmla="*/ 60 h 92"/>
                  <a:gd name="T20" fmla="*/ 60 w 137"/>
                  <a:gd name="T21" fmla="*/ 0 h 92"/>
                  <a:gd name="T22" fmla="*/ 77 w 137"/>
                  <a:gd name="T23" fmla="*/ 0 h 92"/>
                  <a:gd name="T24" fmla="*/ 97 w 137"/>
                  <a:gd name="T25" fmla="*/ 60 h 92"/>
                  <a:gd name="T26" fmla="*/ 97 w 137"/>
                  <a:gd name="T27" fmla="*/ 60 h 92"/>
                  <a:gd name="T28" fmla="*/ 115 w 137"/>
                  <a:gd name="T29" fmla="*/ 0 h 92"/>
                  <a:gd name="T30" fmla="*/ 137 w 137"/>
                  <a:gd name="T31" fmla="*/ 0 h 92"/>
                  <a:gd name="T32" fmla="*/ 111 w 137"/>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 h="92">
                    <a:moveTo>
                      <a:pt x="111" y="72"/>
                    </a:moveTo>
                    <a:cubicBezTo>
                      <a:pt x="104" y="92"/>
                      <a:pt x="88" y="88"/>
                      <a:pt x="88" y="88"/>
                    </a:cubicBezTo>
                    <a:cubicBezTo>
                      <a:pt x="68" y="28"/>
                      <a:pt x="68" y="28"/>
                      <a:pt x="68" y="28"/>
                    </a:cubicBezTo>
                    <a:cubicBezTo>
                      <a:pt x="68" y="28"/>
                      <a:pt x="68" y="28"/>
                      <a:pt x="68" y="28"/>
                    </a:cubicBezTo>
                    <a:cubicBezTo>
                      <a:pt x="68" y="28"/>
                      <a:pt x="59"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7" y="60"/>
                      <a:pt x="97" y="60"/>
                      <a:pt x="97" y="60"/>
                    </a:cubicBezTo>
                    <a:cubicBezTo>
                      <a:pt x="97" y="60"/>
                      <a:pt x="97" y="60"/>
                      <a:pt x="97" y="60"/>
                    </a:cubicBezTo>
                    <a:cubicBezTo>
                      <a:pt x="115" y="0"/>
                      <a:pt x="115" y="0"/>
                      <a:pt x="115" y="0"/>
                    </a:cubicBezTo>
                    <a:cubicBezTo>
                      <a:pt x="137" y="0"/>
                      <a:pt x="137" y="0"/>
                      <a:pt x="137" y="0"/>
                    </a:cubicBezTo>
                    <a:cubicBezTo>
                      <a:pt x="137"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8" name="Freeform 16"/>
              <p:cNvSpPr>
                <a:spLocks noEditPoints="1"/>
              </p:cNvSpPr>
              <p:nvPr userDrawn="1"/>
            </p:nvSpPr>
            <p:spPr bwMode="auto">
              <a:xfrm>
                <a:off x="8423168" y="4892699"/>
                <a:ext cx="65844" cy="95129"/>
              </a:xfrm>
              <a:custGeom>
                <a:avLst/>
                <a:gdLst>
                  <a:gd name="T0" fmla="*/ 1 w 87"/>
                  <a:gd name="T1" fmla="*/ 0 h 131"/>
                  <a:gd name="T2" fmla="*/ 0 w 87"/>
                  <a:gd name="T3" fmla="*/ 131 h 131"/>
                  <a:gd name="T4" fmla="*/ 41 w 87"/>
                  <a:gd name="T5" fmla="*/ 131 h 131"/>
                  <a:gd name="T6" fmla="*/ 87 w 87"/>
                  <a:gd name="T7" fmla="*/ 92 h 131"/>
                  <a:gd name="T8" fmla="*/ 65 w 87"/>
                  <a:gd name="T9" fmla="*/ 61 h 131"/>
                  <a:gd name="T10" fmla="*/ 62 w 87"/>
                  <a:gd name="T11" fmla="*/ 60 h 131"/>
                  <a:gd name="T12" fmla="*/ 64 w 87"/>
                  <a:gd name="T13" fmla="*/ 59 h 131"/>
                  <a:gd name="T14" fmla="*/ 79 w 87"/>
                  <a:gd name="T15" fmla="*/ 32 h 131"/>
                  <a:gd name="T16" fmla="*/ 42 w 87"/>
                  <a:gd name="T17" fmla="*/ 0 h 131"/>
                  <a:gd name="T18" fmla="*/ 1 w 87"/>
                  <a:gd name="T19" fmla="*/ 0 h 131"/>
                  <a:gd name="T20" fmla="*/ 23 w 87"/>
                  <a:gd name="T21" fmla="*/ 17 h 131"/>
                  <a:gd name="T22" fmla="*/ 36 w 87"/>
                  <a:gd name="T23" fmla="*/ 17 h 131"/>
                  <a:gd name="T24" fmla="*/ 56 w 87"/>
                  <a:gd name="T25" fmla="*/ 35 h 131"/>
                  <a:gd name="T26" fmla="*/ 38 w 87"/>
                  <a:gd name="T27" fmla="*/ 55 h 131"/>
                  <a:gd name="T28" fmla="*/ 22 w 87"/>
                  <a:gd name="T29" fmla="*/ 55 h 131"/>
                  <a:gd name="T30" fmla="*/ 23 w 87"/>
                  <a:gd name="T31" fmla="*/ 17 h 131"/>
                  <a:gd name="T32" fmla="*/ 22 w 87"/>
                  <a:gd name="T33" fmla="*/ 74 h 131"/>
                  <a:gd name="T34" fmla="*/ 40 w 87"/>
                  <a:gd name="T35" fmla="*/ 74 h 131"/>
                  <a:gd name="T36" fmla="*/ 64 w 87"/>
                  <a:gd name="T37" fmla="*/ 92 h 131"/>
                  <a:gd name="T38" fmla="*/ 39 w 87"/>
                  <a:gd name="T39" fmla="*/ 113 h 131"/>
                  <a:gd name="T40" fmla="*/ 22 w 87"/>
                  <a:gd name="T41" fmla="*/ 113 h 131"/>
                  <a:gd name="T42" fmla="*/ 22 w 87"/>
                  <a:gd name="T43" fmla="*/ 7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131">
                    <a:moveTo>
                      <a:pt x="1" y="0"/>
                    </a:moveTo>
                    <a:cubicBezTo>
                      <a:pt x="1" y="3"/>
                      <a:pt x="0" y="129"/>
                      <a:pt x="0" y="131"/>
                    </a:cubicBezTo>
                    <a:cubicBezTo>
                      <a:pt x="2" y="131"/>
                      <a:pt x="41" y="131"/>
                      <a:pt x="41" y="131"/>
                    </a:cubicBezTo>
                    <a:cubicBezTo>
                      <a:pt x="73" y="131"/>
                      <a:pt x="87" y="111"/>
                      <a:pt x="87" y="92"/>
                    </a:cubicBezTo>
                    <a:cubicBezTo>
                      <a:pt x="87" y="77"/>
                      <a:pt x="79" y="65"/>
                      <a:pt x="65" y="61"/>
                    </a:cubicBezTo>
                    <a:cubicBezTo>
                      <a:pt x="62" y="60"/>
                      <a:pt x="62" y="60"/>
                      <a:pt x="62" y="60"/>
                    </a:cubicBezTo>
                    <a:cubicBezTo>
                      <a:pt x="64" y="59"/>
                      <a:pt x="64" y="59"/>
                      <a:pt x="64" y="59"/>
                    </a:cubicBezTo>
                    <a:cubicBezTo>
                      <a:pt x="74" y="54"/>
                      <a:pt x="79" y="44"/>
                      <a:pt x="79" y="32"/>
                    </a:cubicBezTo>
                    <a:cubicBezTo>
                      <a:pt x="79" y="17"/>
                      <a:pt x="68" y="0"/>
                      <a:pt x="42" y="0"/>
                    </a:cubicBezTo>
                    <a:cubicBezTo>
                      <a:pt x="42" y="0"/>
                      <a:pt x="3" y="0"/>
                      <a:pt x="1" y="0"/>
                    </a:cubicBezTo>
                    <a:close/>
                    <a:moveTo>
                      <a:pt x="23" y="17"/>
                    </a:moveTo>
                    <a:cubicBezTo>
                      <a:pt x="36" y="17"/>
                      <a:pt x="36" y="17"/>
                      <a:pt x="36" y="17"/>
                    </a:cubicBezTo>
                    <a:cubicBezTo>
                      <a:pt x="49" y="17"/>
                      <a:pt x="56" y="24"/>
                      <a:pt x="56" y="35"/>
                    </a:cubicBezTo>
                    <a:cubicBezTo>
                      <a:pt x="56" y="47"/>
                      <a:pt x="47" y="55"/>
                      <a:pt x="38" y="55"/>
                    </a:cubicBezTo>
                    <a:cubicBezTo>
                      <a:pt x="22" y="55"/>
                      <a:pt x="22" y="55"/>
                      <a:pt x="22" y="55"/>
                    </a:cubicBezTo>
                    <a:lnTo>
                      <a:pt x="23" y="17"/>
                    </a:lnTo>
                    <a:close/>
                    <a:moveTo>
                      <a:pt x="22" y="74"/>
                    </a:moveTo>
                    <a:cubicBezTo>
                      <a:pt x="40" y="74"/>
                      <a:pt x="40" y="74"/>
                      <a:pt x="40" y="74"/>
                    </a:cubicBezTo>
                    <a:cubicBezTo>
                      <a:pt x="55" y="74"/>
                      <a:pt x="64" y="81"/>
                      <a:pt x="64" y="92"/>
                    </a:cubicBezTo>
                    <a:cubicBezTo>
                      <a:pt x="64" y="105"/>
                      <a:pt x="55" y="113"/>
                      <a:pt x="39" y="113"/>
                    </a:cubicBezTo>
                    <a:cubicBezTo>
                      <a:pt x="22" y="113"/>
                      <a:pt x="22" y="113"/>
                      <a:pt x="22" y="113"/>
                    </a:cubicBezTo>
                    <a:lnTo>
                      <a:pt x="22" y="74"/>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9" name="Freeform 17"/>
              <p:cNvSpPr>
                <a:spLocks noEditPoints="1"/>
              </p:cNvSpPr>
              <p:nvPr userDrawn="1"/>
            </p:nvSpPr>
            <p:spPr bwMode="auto">
              <a:xfrm>
                <a:off x="8546184" y="4923177"/>
                <a:ext cx="66486" cy="66190"/>
              </a:xfrm>
              <a:custGeom>
                <a:avLst/>
                <a:gdLst>
                  <a:gd name="T0" fmla="*/ 75 w 88"/>
                  <a:gd name="T1" fmla="*/ 78 h 91"/>
                  <a:gd name="T2" fmla="*/ 44 w 88"/>
                  <a:gd name="T3" fmla="*/ 91 h 91"/>
                  <a:gd name="T4" fmla="*/ 14 w 88"/>
                  <a:gd name="T5" fmla="*/ 80 h 91"/>
                  <a:gd name="T6" fmla="*/ 0 w 88"/>
                  <a:gd name="T7" fmla="*/ 46 h 91"/>
                  <a:gd name="T8" fmla="*/ 13 w 88"/>
                  <a:gd name="T9" fmla="*/ 12 h 91"/>
                  <a:gd name="T10" fmla="*/ 44 w 88"/>
                  <a:gd name="T11" fmla="*/ 0 h 91"/>
                  <a:gd name="T12" fmla="*/ 76 w 88"/>
                  <a:gd name="T13" fmla="*/ 12 h 91"/>
                  <a:gd name="T14" fmla="*/ 88 w 88"/>
                  <a:gd name="T15" fmla="*/ 45 h 91"/>
                  <a:gd name="T16" fmla="*/ 75 w 88"/>
                  <a:gd name="T17" fmla="*/ 78 h 91"/>
                  <a:gd name="T18" fmla="*/ 44 w 88"/>
                  <a:gd name="T19" fmla="*/ 17 h 91"/>
                  <a:gd name="T20" fmla="*/ 23 w 88"/>
                  <a:gd name="T21" fmla="*/ 45 h 91"/>
                  <a:gd name="T22" fmla="*/ 44 w 88"/>
                  <a:gd name="T23" fmla="*/ 73 h 91"/>
                  <a:gd name="T24" fmla="*/ 65 w 88"/>
                  <a:gd name="T25" fmla="*/ 45 h 91"/>
                  <a:gd name="T26" fmla="*/ 44 w 88"/>
                  <a:gd name="T27"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91">
                    <a:moveTo>
                      <a:pt x="75" y="78"/>
                    </a:moveTo>
                    <a:cubicBezTo>
                      <a:pt x="68" y="86"/>
                      <a:pt x="57" y="91"/>
                      <a:pt x="44" y="91"/>
                    </a:cubicBezTo>
                    <a:cubicBezTo>
                      <a:pt x="32" y="91"/>
                      <a:pt x="21" y="87"/>
                      <a:pt x="14" y="80"/>
                    </a:cubicBezTo>
                    <a:cubicBezTo>
                      <a:pt x="5" y="72"/>
                      <a:pt x="0" y="60"/>
                      <a:pt x="0" y="46"/>
                    </a:cubicBezTo>
                    <a:cubicBezTo>
                      <a:pt x="0" y="32"/>
                      <a:pt x="5" y="20"/>
                      <a:pt x="13" y="12"/>
                    </a:cubicBezTo>
                    <a:cubicBezTo>
                      <a:pt x="21" y="4"/>
                      <a:pt x="31" y="0"/>
                      <a:pt x="44" y="0"/>
                    </a:cubicBezTo>
                    <a:cubicBezTo>
                      <a:pt x="57" y="0"/>
                      <a:pt x="68" y="4"/>
                      <a:pt x="76" y="12"/>
                    </a:cubicBezTo>
                    <a:cubicBezTo>
                      <a:pt x="84" y="20"/>
                      <a:pt x="88" y="32"/>
                      <a:pt x="88" y="45"/>
                    </a:cubicBezTo>
                    <a:cubicBezTo>
                      <a:pt x="88" y="58"/>
                      <a:pt x="83" y="70"/>
                      <a:pt x="75" y="78"/>
                    </a:cubicBezTo>
                    <a:close/>
                    <a:moveTo>
                      <a:pt x="44" y="17"/>
                    </a:moveTo>
                    <a:cubicBezTo>
                      <a:pt x="30" y="17"/>
                      <a:pt x="23" y="29"/>
                      <a:pt x="23" y="45"/>
                    </a:cubicBezTo>
                    <a:cubicBezTo>
                      <a:pt x="23" y="62"/>
                      <a:pt x="31" y="73"/>
                      <a:pt x="44" y="73"/>
                    </a:cubicBezTo>
                    <a:cubicBezTo>
                      <a:pt x="58" y="73"/>
                      <a:pt x="65" y="61"/>
                      <a:pt x="65" y="45"/>
                    </a:cubicBezTo>
                    <a:cubicBezTo>
                      <a:pt x="65" y="28"/>
                      <a:pt x="57" y="17"/>
                      <a:pt x="44" y="1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0" name="Freeform 18"/>
              <p:cNvSpPr>
                <a:spLocks/>
              </p:cNvSpPr>
              <p:nvPr userDrawn="1"/>
            </p:nvSpPr>
            <p:spPr bwMode="auto">
              <a:xfrm>
                <a:off x="8728298" y="4923177"/>
                <a:ext cx="60705" cy="65574"/>
              </a:xfrm>
              <a:custGeom>
                <a:avLst/>
                <a:gdLst>
                  <a:gd name="T0" fmla="*/ 58 w 80"/>
                  <a:gd name="T1" fmla="*/ 90 h 90"/>
                  <a:gd name="T2" fmla="*/ 58 w 80"/>
                  <a:gd name="T3" fmla="*/ 38 h 90"/>
                  <a:gd name="T4" fmla="*/ 45 w 80"/>
                  <a:gd name="T5" fmla="*/ 19 h 90"/>
                  <a:gd name="T6" fmla="*/ 23 w 80"/>
                  <a:gd name="T7" fmla="*/ 28 h 90"/>
                  <a:gd name="T8" fmla="*/ 23 w 80"/>
                  <a:gd name="T9" fmla="*/ 74 h 90"/>
                  <a:gd name="T10" fmla="*/ 0 w 80"/>
                  <a:gd name="T11" fmla="*/ 90 h 90"/>
                  <a:gd name="T12" fmla="*/ 0 w 80"/>
                  <a:gd name="T13" fmla="*/ 2 h 90"/>
                  <a:gd name="T14" fmla="*/ 19 w 80"/>
                  <a:gd name="T15" fmla="*/ 2 h 90"/>
                  <a:gd name="T16" fmla="*/ 22 w 80"/>
                  <a:gd name="T17" fmla="*/ 11 h 90"/>
                  <a:gd name="T18" fmla="*/ 52 w 80"/>
                  <a:gd name="T19" fmla="*/ 0 h 90"/>
                  <a:gd name="T20" fmla="*/ 80 w 80"/>
                  <a:gd name="T21" fmla="*/ 31 h 90"/>
                  <a:gd name="T22" fmla="*/ 80 w 80"/>
                  <a:gd name="T23" fmla="*/ 74 h 90"/>
                  <a:gd name="T24" fmla="*/ 58 w 80"/>
                  <a:gd name="T2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90">
                    <a:moveTo>
                      <a:pt x="58" y="90"/>
                    </a:moveTo>
                    <a:cubicBezTo>
                      <a:pt x="58" y="38"/>
                      <a:pt x="58" y="38"/>
                      <a:pt x="58" y="38"/>
                    </a:cubicBezTo>
                    <a:cubicBezTo>
                      <a:pt x="58" y="29"/>
                      <a:pt x="56" y="19"/>
                      <a:pt x="45" y="19"/>
                    </a:cubicBezTo>
                    <a:cubicBezTo>
                      <a:pt x="37" y="19"/>
                      <a:pt x="29" y="23"/>
                      <a:pt x="23" y="28"/>
                    </a:cubicBezTo>
                    <a:cubicBezTo>
                      <a:pt x="23" y="28"/>
                      <a:pt x="23" y="57"/>
                      <a:pt x="23" y="74"/>
                    </a:cubicBezTo>
                    <a:cubicBezTo>
                      <a:pt x="23" y="90"/>
                      <a:pt x="0" y="90"/>
                      <a:pt x="0" y="90"/>
                    </a:cubicBezTo>
                    <a:cubicBezTo>
                      <a:pt x="0" y="2"/>
                      <a:pt x="0" y="2"/>
                      <a:pt x="0" y="2"/>
                    </a:cubicBezTo>
                    <a:cubicBezTo>
                      <a:pt x="19" y="2"/>
                      <a:pt x="19" y="2"/>
                      <a:pt x="19" y="2"/>
                    </a:cubicBezTo>
                    <a:cubicBezTo>
                      <a:pt x="22" y="11"/>
                      <a:pt x="22" y="11"/>
                      <a:pt x="22" y="11"/>
                    </a:cubicBezTo>
                    <a:cubicBezTo>
                      <a:pt x="31" y="4"/>
                      <a:pt x="40" y="0"/>
                      <a:pt x="52" y="0"/>
                    </a:cubicBezTo>
                    <a:cubicBezTo>
                      <a:pt x="65" y="0"/>
                      <a:pt x="80" y="8"/>
                      <a:pt x="80" y="31"/>
                    </a:cubicBezTo>
                    <a:cubicBezTo>
                      <a:pt x="80" y="31"/>
                      <a:pt x="80" y="57"/>
                      <a:pt x="80" y="74"/>
                    </a:cubicBezTo>
                    <a:cubicBezTo>
                      <a:pt x="80" y="90"/>
                      <a:pt x="58" y="90"/>
                      <a:pt x="58" y="9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1" name="Freeform 19"/>
              <p:cNvSpPr>
                <a:spLocks/>
              </p:cNvSpPr>
              <p:nvPr userDrawn="1"/>
            </p:nvSpPr>
            <p:spPr bwMode="auto">
              <a:xfrm>
                <a:off x="8501217" y="4923177"/>
                <a:ext cx="43361" cy="65574"/>
              </a:xfrm>
              <a:custGeom>
                <a:avLst/>
                <a:gdLst>
                  <a:gd name="T0" fmla="*/ 49 w 57"/>
                  <a:gd name="T1" fmla="*/ 22 h 90"/>
                  <a:gd name="T2" fmla="*/ 39 w 57"/>
                  <a:gd name="T3" fmla="*/ 20 h 90"/>
                  <a:gd name="T4" fmla="*/ 22 w 57"/>
                  <a:gd name="T5" fmla="*/ 27 h 90"/>
                  <a:gd name="T6" fmla="*/ 22 w 57"/>
                  <a:gd name="T7" fmla="*/ 74 h 90"/>
                  <a:gd name="T8" fmla="*/ 0 w 57"/>
                  <a:gd name="T9" fmla="*/ 90 h 90"/>
                  <a:gd name="T10" fmla="*/ 0 w 57"/>
                  <a:gd name="T11" fmla="*/ 2 h 90"/>
                  <a:gd name="T12" fmla="*/ 19 w 57"/>
                  <a:gd name="T13" fmla="*/ 2 h 90"/>
                  <a:gd name="T14" fmla="*/ 21 w 57"/>
                  <a:gd name="T15" fmla="*/ 11 h 90"/>
                  <a:gd name="T16" fmla="*/ 45 w 57"/>
                  <a:gd name="T17" fmla="*/ 0 h 90"/>
                  <a:gd name="T18" fmla="*/ 57 w 57"/>
                  <a:gd name="T19" fmla="*/ 4 h 90"/>
                  <a:gd name="T20" fmla="*/ 49 w 57"/>
                  <a:gd name="T21" fmla="*/ 2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0">
                    <a:moveTo>
                      <a:pt x="49" y="22"/>
                    </a:moveTo>
                    <a:cubicBezTo>
                      <a:pt x="46" y="20"/>
                      <a:pt x="42" y="20"/>
                      <a:pt x="39" y="20"/>
                    </a:cubicBezTo>
                    <a:cubicBezTo>
                      <a:pt x="34" y="20"/>
                      <a:pt x="28" y="22"/>
                      <a:pt x="22" y="27"/>
                    </a:cubicBezTo>
                    <a:cubicBezTo>
                      <a:pt x="22" y="27"/>
                      <a:pt x="22" y="57"/>
                      <a:pt x="22" y="74"/>
                    </a:cubicBezTo>
                    <a:cubicBezTo>
                      <a:pt x="22" y="90"/>
                      <a:pt x="0" y="90"/>
                      <a:pt x="0" y="90"/>
                    </a:cubicBezTo>
                    <a:cubicBezTo>
                      <a:pt x="0" y="2"/>
                      <a:pt x="0" y="2"/>
                      <a:pt x="0" y="2"/>
                    </a:cubicBezTo>
                    <a:cubicBezTo>
                      <a:pt x="19" y="2"/>
                      <a:pt x="19" y="2"/>
                      <a:pt x="19"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2" name="Freeform 20"/>
              <p:cNvSpPr>
                <a:spLocks/>
              </p:cNvSpPr>
              <p:nvPr userDrawn="1"/>
            </p:nvSpPr>
            <p:spPr bwMode="auto">
              <a:xfrm>
                <a:off x="7766657" y="4864376"/>
                <a:ext cx="100211" cy="148389"/>
              </a:xfrm>
              <a:custGeom>
                <a:avLst/>
                <a:gdLst>
                  <a:gd name="T0" fmla="*/ 0 w 132"/>
                  <a:gd name="T1" fmla="*/ 23 h 204"/>
                  <a:gd name="T2" fmla="*/ 1 w 132"/>
                  <a:gd name="T3" fmla="*/ 22 h 204"/>
                  <a:gd name="T4" fmla="*/ 67 w 132"/>
                  <a:gd name="T5" fmla="*/ 20 h 204"/>
                  <a:gd name="T6" fmla="*/ 80 w 132"/>
                  <a:gd name="T7" fmla="*/ 52 h 204"/>
                  <a:gd name="T8" fmla="*/ 113 w 132"/>
                  <a:gd name="T9" fmla="*/ 65 h 204"/>
                  <a:gd name="T10" fmla="*/ 111 w 132"/>
                  <a:gd name="T11" fmla="*/ 132 h 204"/>
                  <a:gd name="T12" fmla="*/ 38 w 132"/>
                  <a:gd name="T13" fmla="*/ 204 h 204"/>
                  <a:gd name="T14" fmla="*/ 16 w 132"/>
                  <a:gd name="T15" fmla="*/ 182 h 204"/>
                  <a:gd name="T16" fmla="*/ 88 w 132"/>
                  <a:gd name="T17" fmla="*/ 110 h 204"/>
                  <a:gd name="T18" fmla="*/ 91 w 132"/>
                  <a:gd name="T19" fmla="*/ 86 h 204"/>
                  <a:gd name="T20" fmla="*/ 67 w 132"/>
                  <a:gd name="T21" fmla="*/ 88 h 204"/>
                  <a:gd name="T22" fmla="*/ 0 w 132"/>
                  <a:gd name="T23" fmla="*/ 155 h 204"/>
                  <a:gd name="T24" fmla="*/ 0 w 132"/>
                  <a:gd name="T25" fmla="*/ 111 h 204"/>
                  <a:gd name="T26" fmla="*/ 45 w 132"/>
                  <a:gd name="T27" fmla="*/ 66 h 204"/>
                  <a:gd name="T28" fmla="*/ 46 w 132"/>
                  <a:gd name="T29" fmla="*/ 42 h 204"/>
                  <a:gd name="T30" fmla="*/ 22 w 132"/>
                  <a:gd name="T31" fmla="*/ 44 h 204"/>
                  <a:gd name="T32" fmla="*/ 0 w 132"/>
                  <a:gd name="T33" fmla="*/ 66 h 204"/>
                  <a:gd name="T34" fmla="*/ 0 w 132"/>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204">
                    <a:moveTo>
                      <a:pt x="0" y="23"/>
                    </a:moveTo>
                    <a:cubicBezTo>
                      <a:pt x="1" y="22"/>
                      <a:pt x="1" y="22"/>
                      <a:pt x="1" y="22"/>
                    </a:cubicBezTo>
                    <a:cubicBezTo>
                      <a:pt x="23" y="0"/>
                      <a:pt x="50" y="2"/>
                      <a:pt x="67" y="20"/>
                    </a:cubicBezTo>
                    <a:cubicBezTo>
                      <a:pt x="80" y="32"/>
                      <a:pt x="81" y="46"/>
                      <a:pt x="80" y="52"/>
                    </a:cubicBezTo>
                    <a:cubicBezTo>
                      <a:pt x="86" y="51"/>
                      <a:pt x="100" y="52"/>
                      <a:pt x="113" y="65"/>
                    </a:cubicBezTo>
                    <a:cubicBezTo>
                      <a:pt x="130" y="82"/>
                      <a:pt x="132" y="110"/>
                      <a:pt x="111" y="132"/>
                    </a:cubicBezTo>
                    <a:cubicBezTo>
                      <a:pt x="38" y="204"/>
                      <a:pt x="38" y="204"/>
                      <a:pt x="38" y="204"/>
                    </a:cubicBezTo>
                    <a:cubicBezTo>
                      <a:pt x="16" y="182"/>
                      <a:pt x="16" y="182"/>
                      <a:pt x="16" y="182"/>
                    </a:cubicBezTo>
                    <a:cubicBezTo>
                      <a:pt x="88" y="110"/>
                      <a:pt x="88" y="110"/>
                      <a:pt x="88" y="110"/>
                    </a:cubicBezTo>
                    <a:cubicBezTo>
                      <a:pt x="97" y="101"/>
                      <a:pt x="96" y="91"/>
                      <a:pt x="91" y="86"/>
                    </a:cubicBezTo>
                    <a:cubicBezTo>
                      <a:pt x="85" y="80"/>
                      <a:pt x="75" y="79"/>
                      <a:pt x="67" y="88"/>
                    </a:cubicBezTo>
                    <a:cubicBezTo>
                      <a:pt x="0" y="155"/>
                      <a:pt x="0" y="155"/>
                      <a:pt x="0" y="155"/>
                    </a:cubicBezTo>
                    <a:cubicBezTo>
                      <a:pt x="0" y="111"/>
                      <a:pt x="0" y="111"/>
                      <a:pt x="0" y="111"/>
                    </a:cubicBezTo>
                    <a:cubicBezTo>
                      <a:pt x="45" y="66"/>
                      <a:pt x="45" y="66"/>
                      <a:pt x="45" y="66"/>
                    </a:cubicBezTo>
                    <a:cubicBezTo>
                      <a:pt x="53" y="57"/>
                      <a:pt x="52" y="47"/>
                      <a:pt x="46" y="42"/>
                    </a:cubicBezTo>
                    <a:cubicBezTo>
                      <a:pt x="41" y="36"/>
                      <a:pt x="31" y="35"/>
                      <a:pt x="22" y="44"/>
                    </a:cubicBezTo>
                    <a:cubicBezTo>
                      <a:pt x="0" y="66"/>
                      <a:pt x="0" y="66"/>
                      <a:pt x="0" y="66"/>
                    </a:cubicBezTo>
                    <a:lnTo>
                      <a:pt x="0"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grpSp>
      <p:sp>
        <p:nvSpPr>
          <p:cNvPr id="54"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solidFill>
                  <a:schemeClr val="tx1">
                    <a:lumMod val="50000"/>
                    <a:lumOff val="50000"/>
                  </a:schemeClr>
                </a:solidFill>
                <a:latin typeface="+mn-lt"/>
              </a:rPr>
              <a:t>Private and Confidental</a:t>
            </a:r>
            <a:endParaRPr lang="pt-BR" sz="500" dirty="0">
              <a:solidFill>
                <a:schemeClr val="tx1">
                  <a:lumMod val="50000"/>
                  <a:lumOff val="50000"/>
                </a:schemeClr>
              </a:solidFill>
              <a:latin typeface="+mn-lt"/>
            </a:endParaRPr>
          </a:p>
        </p:txBody>
      </p:sp>
    </p:spTree>
    <p:extLst>
      <p:ext uri="{BB962C8B-B14F-4D97-AF65-F5344CB8AC3E}">
        <p14:creationId xmlns:p14="http://schemas.microsoft.com/office/powerpoint/2010/main" val="2852661083"/>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A_V_MB_Leaf">
    <p:bg>
      <p:bgPr>
        <a:solidFill>
          <a:schemeClr val="bg1"/>
        </a:solidFill>
        <a:effectLst/>
      </p:bgPr>
    </p:bg>
    <p:spTree>
      <p:nvGrpSpPr>
        <p:cNvPr id="1" name=""/>
        <p:cNvGrpSpPr/>
        <p:nvPr/>
      </p:nvGrpSpPr>
      <p:grpSpPr>
        <a:xfrm>
          <a:off x="0" y="0"/>
          <a:ext cx="0" cy="0"/>
          <a:chOff x="0" y="0"/>
          <a:chExt cx="0" cy="0"/>
        </a:xfrm>
      </p:grpSpPr>
      <p:sp>
        <p:nvSpPr>
          <p:cNvPr id="31" name="Rectangle 30"/>
          <p:cNvSpPr/>
          <p:nvPr userDrawn="1"/>
        </p:nvSpPr>
        <p:spPr>
          <a:xfrm>
            <a:off x="0" y="0"/>
            <a:ext cx="9144000" cy="5148263"/>
          </a:xfrm>
          <a:prstGeom prst="rect">
            <a:avLst/>
          </a:prstGeom>
          <a:solidFill>
            <a:schemeClr val="tx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en-GB" sz="1050" smtClean="0">
              <a:solidFill>
                <a:schemeClr val="bg1"/>
              </a:solidFill>
              <a:latin typeface="Arial" panose="020B0604020202020204" pitchFamily="34" charset="0"/>
              <a:cs typeface="Arial" panose="020B0604020202020204" pitchFamily="34" charset="0"/>
            </a:endParaRPr>
          </a:p>
        </p:txBody>
      </p:sp>
      <p:pic>
        <p:nvPicPr>
          <p:cNvPr id="33" name="Picture 32" descr="cookie_white.png"/>
          <p:cNvPicPr>
            <a:picLocks noChangeAspect="1"/>
          </p:cNvPicPr>
          <p:nvPr userDrawn="1"/>
        </p:nvPicPr>
        <p:blipFill rotWithShape="1">
          <a:blip r:embed="rId2" cstate="screen">
            <a:alphaModFix amt="16000"/>
            <a:extLst>
              <a:ext uri="{28A0092B-C50C-407E-A947-70E740481C1C}">
                <a14:useLocalDpi xmlns:a14="http://schemas.microsoft.com/office/drawing/2010/main"/>
              </a:ext>
            </a:extLst>
          </a:blip>
          <a:srcRect/>
          <a:stretch/>
        </p:blipFill>
        <p:spPr>
          <a:xfrm flipH="1">
            <a:off x="5149029" y="2289839"/>
            <a:ext cx="4020091" cy="2880000"/>
          </a:xfrm>
          <a:prstGeom prst="rect">
            <a:avLst/>
          </a:prstGeom>
        </p:spPr>
      </p:pic>
      <p:cxnSp>
        <p:nvCxnSpPr>
          <p:cNvPr id="32" name="Straight Connector 31"/>
          <p:cNvCxnSpPr/>
          <p:nvPr userDrawn="1"/>
        </p:nvCxnSpPr>
        <p:spPr>
          <a:xfrm>
            <a:off x="343365" y="470176"/>
            <a:ext cx="8460000" cy="0"/>
          </a:xfrm>
          <a:prstGeom prst="line">
            <a:avLst/>
          </a:prstGeom>
          <a:ln w="6350" cmpd="sng">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343365" y="4801146"/>
            <a:ext cx="8460000" cy="0"/>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sp>
        <p:nvSpPr>
          <p:cNvPr id="67"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rgbClr val="FFFFFF"/>
                </a:solidFill>
                <a:latin typeface="+mn-lt"/>
              </a:defRPr>
            </a:lvl1pPr>
          </a:lstStyle>
          <a:p>
            <a:fld id="{19AB4E72-7858-48F1-A40D-12FF09E4BFB8}" type="slidenum">
              <a:rPr lang="en-GB" smtClean="0"/>
              <a:pPr/>
              <a:t>‹Nº›</a:t>
            </a:fld>
            <a:endParaRPr lang="en-GB"/>
          </a:p>
        </p:txBody>
      </p:sp>
      <p:sp>
        <p:nvSpPr>
          <p:cNvPr id="36" name="Title 1"/>
          <p:cNvSpPr>
            <a:spLocks noGrp="1"/>
          </p:cNvSpPr>
          <p:nvPr>
            <p:ph type="ctrTitle" hasCustomPrompt="1"/>
          </p:nvPr>
        </p:nvSpPr>
        <p:spPr>
          <a:xfrm>
            <a:off x="343365" y="2867487"/>
            <a:ext cx="8460000" cy="443198"/>
          </a:xfrm>
          <a:prstGeom prst="rect">
            <a:avLst/>
          </a:prstGeom>
        </p:spPr>
        <p:txBody>
          <a:bodyPr lIns="0" tIns="0" rIns="0" bIns="0" anchor="b"/>
          <a:lstStyle>
            <a:lvl1pPr>
              <a:lnSpc>
                <a:spcPct val="90000"/>
              </a:lnSpc>
              <a:defRPr sz="3200" b="0">
                <a:solidFill>
                  <a:schemeClr val="bg1"/>
                </a:solidFill>
              </a:defRPr>
            </a:lvl1pPr>
          </a:lstStyle>
          <a:p>
            <a:r>
              <a:rPr lang="en-US" dirty="0" smtClean="0"/>
              <a:t>Click to edit Master title Style</a:t>
            </a:r>
            <a:endParaRPr lang="en-US" dirty="0"/>
          </a:p>
        </p:txBody>
      </p:sp>
      <p:sp>
        <p:nvSpPr>
          <p:cNvPr id="37" name="Subtitle 2"/>
          <p:cNvSpPr>
            <a:spLocks noGrp="1"/>
          </p:cNvSpPr>
          <p:nvPr>
            <p:ph type="subTitle" idx="1" hasCustomPrompt="1"/>
          </p:nvPr>
        </p:nvSpPr>
        <p:spPr>
          <a:xfrm>
            <a:off x="343364" y="3474100"/>
            <a:ext cx="8460000" cy="202165"/>
          </a:xfrm>
          <a:prstGeom prst="rect">
            <a:avLst/>
          </a:prstGeom>
        </p:spPr>
        <p:txBody>
          <a:bodyPr lIns="0" tIns="0" rIns="0" bIns="0">
            <a:noAutofit/>
          </a:bodyPr>
          <a:lstStyle>
            <a:lvl1pPr marL="0" indent="0" algn="l">
              <a:buNone/>
              <a:defRPr sz="14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cxnSp>
        <p:nvCxnSpPr>
          <p:cNvPr id="38" name="Straight Connector 37"/>
          <p:cNvCxnSpPr/>
          <p:nvPr userDrawn="1"/>
        </p:nvCxnSpPr>
        <p:spPr>
          <a:xfrm>
            <a:off x="346086" y="3395058"/>
            <a:ext cx="8460000" cy="0"/>
          </a:xfrm>
          <a:prstGeom prst="line">
            <a:avLst/>
          </a:prstGeom>
          <a:ln w="12700" cmpd="sng">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19" name="Group 118"/>
          <p:cNvGrpSpPr/>
          <p:nvPr userDrawn="1"/>
        </p:nvGrpSpPr>
        <p:grpSpPr>
          <a:xfrm>
            <a:off x="6223980" y="4840100"/>
            <a:ext cx="1123200" cy="233974"/>
            <a:chOff x="7665803" y="4864376"/>
            <a:chExt cx="1123200" cy="233974"/>
          </a:xfrm>
          <a:solidFill>
            <a:schemeClr val="bg1"/>
          </a:solidFill>
        </p:grpSpPr>
        <p:sp>
          <p:nvSpPr>
            <p:cNvPr id="120" name="Freeform 6"/>
            <p:cNvSpPr>
              <a:spLocks/>
            </p:cNvSpPr>
            <p:nvPr userDrawn="1"/>
          </p:nvSpPr>
          <p:spPr bwMode="auto">
            <a:xfrm>
              <a:off x="8119644" y="4924717"/>
              <a:ext cx="103102" cy="66806"/>
            </a:xfrm>
            <a:custGeom>
              <a:avLst/>
              <a:gdLst>
                <a:gd name="T0" fmla="*/ 111 w 136"/>
                <a:gd name="T1" fmla="*/ 72 h 92"/>
                <a:gd name="T2" fmla="*/ 87 w 136"/>
                <a:gd name="T3" fmla="*/ 88 h 92"/>
                <a:gd name="T4" fmla="*/ 68 w 136"/>
                <a:gd name="T5" fmla="*/ 28 h 92"/>
                <a:gd name="T6" fmla="*/ 67 w 136"/>
                <a:gd name="T7" fmla="*/ 28 h 92"/>
                <a:gd name="T8" fmla="*/ 53 w 136"/>
                <a:gd name="T9" fmla="*/ 72 h 92"/>
                <a:gd name="T10" fmla="*/ 31 w 136"/>
                <a:gd name="T11" fmla="*/ 88 h 92"/>
                <a:gd name="T12" fmla="*/ 0 w 136"/>
                <a:gd name="T13" fmla="*/ 0 h 92"/>
                <a:gd name="T14" fmla="*/ 22 w 136"/>
                <a:gd name="T15" fmla="*/ 0 h 92"/>
                <a:gd name="T16" fmla="*/ 41 w 136"/>
                <a:gd name="T17" fmla="*/ 60 h 92"/>
                <a:gd name="T18" fmla="*/ 41 w 136"/>
                <a:gd name="T19" fmla="*/ 60 h 92"/>
                <a:gd name="T20" fmla="*/ 60 w 136"/>
                <a:gd name="T21" fmla="*/ 0 h 92"/>
                <a:gd name="T22" fmla="*/ 77 w 136"/>
                <a:gd name="T23" fmla="*/ 0 h 92"/>
                <a:gd name="T24" fmla="*/ 96 w 136"/>
                <a:gd name="T25" fmla="*/ 60 h 92"/>
                <a:gd name="T26" fmla="*/ 97 w 136"/>
                <a:gd name="T27" fmla="*/ 60 h 92"/>
                <a:gd name="T28" fmla="*/ 115 w 136"/>
                <a:gd name="T29" fmla="*/ 0 h 92"/>
                <a:gd name="T30" fmla="*/ 136 w 136"/>
                <a:gd name="T31" fmla="*/ 0 h 92"/>
                <a:gd name="T32" fmla="*/ 111 w 136"/>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 h="92">
                  <a:moveTo>
                    <a:pt x="111" y="72"/>
                  </a:moveTo>
                  <a:cubicBezTo>
                    <a:pt x="103" y="92"/>
                    <a:pt x="87" y="88"/>
                    <a:pt x="87" y="88"/>
                  </a:cubicBezTo>
                  <a:cubicBezTo>
                    <a:pt x="68" y="28"/>
                    <a:pt x="68" y="28"/>
                    <a:pt x="68" y="28"/>
                  </a:cubicBezTo>
                  <a:cubicBezTo>
                    <a:pt x="67" y="28"/>
                    <a:pt x="67" y="28"/>
                    <a:pt x="67" y="28"/>
                  </a:cubicBezTo>
                  <a:cubicBezTo>
                    <a:pt x="67" y="28"/>
                    <a:pt x="58"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6" y="60"/>
                    <a:pt x="96" y="60"/>
                    <a:pt x="96" y="60"/>
                  </a:cubicBezTo>
                  <a:cubicBezTo>
                    <a:pt x="97" y="60"/>
                    <a:pt x="97" y="60"/>
                    <a:pt x="97" y="60"/>
                  </a:cubicBezTo>
                  <a:cubicBezTo>
                    <a:pt x="115" y="0"/>
                    <a:pt x="115" y="0"/>
                    <a:pt x="115" y="0"/>
                  </a:cubicBezTo>
                  <a:cubicBezTo>
                    <a:pt x="136" y="0"/>
                    <a:pt x="136" y="0"/>
                    <a:pt x="136" y="0"/>
                  </a:cubicBezTo>
                  <a:cubicBezTo>
                    <a:pt x="136"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21" name="Freeform 7"/>
            <p:cNvSpPr>
              <a:spLocks noEditPoints="1"/>
            </p:cNvSpPr>
            <p:nvPr userDrawn="1"/>
          </p:nvSpPr>
          <p:spPr bwMode="auto">
            <a:xfrm>
              <a:off x="8225958" y="4923177"/>
              <a:ext cx="57493" cy="66190"/>
            </a:xfrm>
            <a:custGeom>
              <a:avLst/>
              <a:gdLst>
                <a:gd name="T0" fmla="*/ 57 w 76"/>
                <a:gd name="T1" fmla="*/ 90 h 91"/>
                <a:gd name="T2" fmla="*/ 53 w 76"/>
                <a:gd name="T3" fmla="*/ 81 h 91"/>
                <a:gd name="T4" fmla="*/ 28 w 76"/>
                <a:gd name="T5" fmla="*/ 91 h 91"/>
                <a:gd name="T6" fmla="*/ 0 w 76"/>
                <a:gd name="T7" fmla="*/ 63 h 91"/>
                <a:gd name="T8" fmla="*/ 36 w 76"/>
                <a:gd name="T9" fmla="*/ 34 h 91"/>
                <a:gd name="T10" fmla="*/ 51 w 76"/>
                <a:gd name="T11" fmla="*/ 34 h 91"/>
                <a:gd name="T12" fmla="*/ 51 w 76"/>
                <a:gd name="T13" fmla="*/ 31 h 91"/>
                <a:gd name="T14" fmla="*/ 35 w 76"/>
                <a:gd name="T15" fmla="*/ 17 h 91"/>
                <a:gd name="T16" fmla="*/ 12 w 76"/>
                <a:gd name="T17" fmla="*/ 23 h 91"/>
                <a:gd name="T18" fmla="*/ 5 w 76"/>
                <a:gd name="T19" fmla="*/ 9 h 91"/>
                <a:gd name="T20" fmla="*/ 39 w 76"/>
                <a:gd name="T21" fmla="*/ 0 h 91"/>
                <a:gd name="T22" fmla="*/ 74 w 76"/>
                <a:gd name="T23" fmla="*/ 31 h 91"/>
                <a:gd name="T24" fmla="*/ 74 w 76"/>
                <a:gd name="T25" fmla="*/ 66 h 91"/>
                <a:gd name="T26" fmla="*/ 76 w 76"/>
                <a:gd name="T27" fmla="*/ 90 h 91"/>
                <a:gd name="T28" fmla="*/ 57 w 76"/>
                <a:gd name="T29" fmla="*/ 90 h 91"/>
                <a:gd name="T30" fmla="*/ 51 w 76"/>
                <a:gd name="T31" fmla="*/ 49 h 91"/>
                <a:gd name="T32" fmla="*/ 39 w 76"/>
                <a:gd name="T33" fmla="*/ 49 h 91"/>
                <a:gd name="T34" fmla="*/ 22 w 76"/>
                <a:gd name="T35" fmla="*/ 61 h 91"/>
                <a:gd name="T36" fmla="*/ 36 w 76"/>
                <a:gd name="T37" fmla="*/ 73 h 91"/>
                <a:gd name="T38" fmla="*/ 51 w 76"/>
                <a:gd name="T39" fmla="*/ 68 h 91"/>
                <a:gd name="T40" fmla="*/ 51 w 76"/>
                <a:gd name="T41" fmla="*/ 4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91">
                  <a:moveTo>
                    <a:pt x="57" y="90"/>
                  </a:moveTo>
                  <a:cubicBezTo>
                    <a:pt x="53" y="81"/>
                    <a:pt x="53" y="81"/>
                    <a:pt x="53" y="81"/>
                  </a:cubicBezTo>
                  <a:cubicBezTo>
                    <a:pt x="48" y="86"/>
                    <a:pt x="40" y="91"/>
                    <a:pt x="28" y="91"/>
                  </a:cubicBezTo>
                  <a:cubicBezTo>
                    <a:pt x="12" y="91"/>
                    <a:pt x="0" y="80"/>
                    <a:pt x="0" y="63"/>
                  </a:cubicBezTo>
                  <a:cubicBezTo>
                    <a:pt x="0" y="45"/>
                    <a:pt x="14" y="35"/>
                    <a:pt x="36" y="34"/>
                  </a:cubicBezTo>
                  <a:cubicBezTo>
                    <a:pt x="51" y="34"/>
                    <a:pt x="51" y="34"/>
                    <a:pt x="51" y="34"/>
                  </a:cubicBezTo>
                  <a:cubicBezTo>
                    <a:pt x="51" y="33"/>
                    <a:pt x="51" y="32"/>
                    <a:pt x="51" y="31"/>
                  </a:cubicBezTo>
                  <a:cubicBezTo>
                    <a:pt x="51" y="21"/>
                    <a:pt x="44" y="17"/>
                    <a:pt x="35" y="17"/>
                  </a:cubicBezTo>
                  <a:cubicBezTo>
                    <a:pt x="25" y="17"/>
                    <a:pt x="18" y="20"/>
                    <a:pt x="12" y="23"/>
                  </a:cubicBezTo>
                  <a:cubicBezTo>
                    <a:pt x="5" y="9"/>
                    <a:pt x="5" y="9"/>
                    <a:pt x="5" y="9"/>
                  </a:cubicBezTo>
                  <a:cubicBezTo>
                    <a:pt x="17" y="2"/>
                    <a:pt x="28" y="0"/>
                    <a:pt x="39" y="0"/>
                  </a:cubicBezTo>
                  <a:cubicBezTo>
                    <a:pt x="61" y="0"/>
                    <a:pt x="74" y="9"/>
                    <a:pt x="74" y="31"/>
                  </a:cubicBezTo>
                  <a:cubicBezTo>
                    <a:pt x="74" y="66"/>
                    <a:pt x="74" y="66"/>
                    <a:pt x="74" y="66"/>
                  </a:cubicBezTo>
                  <a:cubicBezTo>
                    <a:pt x="74" y="78"/>
                    <a:pt x="75" y="86"/>
                    <a:pt x="76" y="90"/>
                  </a:cubicBezTo>
                  <a:lnTo>
                    <a:pt x="57" y="90"/>
                  </a:lnTo>
                  <a:close/>
                  <a:moveTo>
                    <a:pt x="51" y="49"/>
                  </a:moveTo>
                  <a:cubicBezTo>
                    <a:pt x="39" y="49"/>
                    <a:pt x="39" y="49"/>
                    <a:pt x="39" y="49"/>
                  </a:cubicBezTo>
                  <a:cubicBezTo>
                    <a:pt x="27" y="50"/>
                    <a:pt x="22" y="54"/>
                    <a:pt x="22" y="61"/>
                  </a:cubicBezTo>
                  <a:cubicBezTo>
                    <a:pt x="22" y="68"/>
                    <a:pt x="27" y="73"/>
                    <a:pt x="36" y="73"/>
                  </a:cubicBezTo>
                  <a:cubicBezTo>
                    <a:pt x="44" y="73"/>
                    <a:pt x="49" y="70"/>
                    <a:pt x="51" y="68"/>
                  </a:cubicBezTo>
                  <a:lnTo>
                    <a:pt x="51" y="4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22" name="Freeform 8"/>
            <p:cNvSpPr>
              <a:spLocks noEditPoints="1"/>
            </p:cNvSpPr>
            <p:nvPr userDrawn="1"/>
          </p:nvSpPr>
          <p:spPr bwMode="auto">
            <a:xfrm>
              <a:off x="8342550" y="4892699"/>
              <a:ext cx="62311" cy="96668"/>
            </a:xfrm>
            <a:custGeom>
              <a:avLst/>
              <a:gdLst>
                <a:gd name="T0" fmla="*/ 47 w 82"/>
                <a:gd name="T1" fmla="*/ 133 h 133"/>
                <a:gd name="T2" fmla="*/ 0 w 82"/>
                <a:gd name="T3" fmla="*/ 88 h 133"/>
                <a:gd name="T4" fmla="*/ 48 w 82"/>
                <a:gd name="T5" fmla="*/ 42 h 133"/>
                <a:gd name="T6" fmla="*/ 59 w 82"/>
                <a:gd name="T7" fmla="*/ 42 h 133"/>
                <a:gd name="T8" fmla="*/ 60 w 82"/>
                <a:gd name="T9" fmla="*/ 0 h 133"/>
                <a:gd name="T10" fmla="*/ 82 w 82"/>
                <a:gd name="T11" fmla="*/ 0 h 133"/>
                <a:gd name="T12" fmla="*/ 81 w 82"/>
                <a:gd name="T13" fmla="*/ 126 h 133"/>
                <a:gd name="T14" fmla="*/ 47 w 82"/>
                <a:gd name="T15" fmla="*/ 133 h 133"/>
                <a:gd name="T16" fmla="*/ 59 w 82"/>
                <a:gd name="T17" fmla="*/ 60 h 133"/>
                <a:gd name="T18" fmla="*/ 49 w 82"/>
                <a:gd name="T19" fmla="*/ 59 h 133"/>
                <a:gd name="T20" fmla="*/ 22 w 82"/>
                <a:gd name="T21" fmla="*/ 87 h 133"/>
                <a:gd name="T22" fmla="*/ 49 w 82"/>
                <a:gd name="T23" fmla="*/ 114 h 133"/>
                <a:gd name="T24" fmla="*/ 59 w 82"/>
                <a:gd name="T25" fmla="*/ 113 h 133"/>
                <a:gd name="T26" fmla="*/ 59 w 82"/>
                <a:gd name="T27" fmla="*/ 6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3">
                  <a:moveTo>
                    <a:pt x="47" y="133"/>
                  </a:moveTo>
                  <a:cubicBezTo>
                    <a:pt x="21" y="133"/>
                    <a:pt x="0" y="117"/>
                    <a:pt x="0" y="88"/>
                  </a:cubicBezTo>
                  <a:cubicBezTo>
                    <a:pt x="0" y="61"/>
                    <a:pt x="20" y="42"/>
                    <a:pt x="48" y="42"/>
                  </a:cubicBezTo>
                  <a:cubicBezTo>
                    <a:pt x="52" y="42"/>
                    <a:pt x="56" y="42"/>
                    <a:pt x="59" y="42"/>
                  </a:cubicBezTo>
                  <a:cubicBezTo>
                    <a:pt x="60" y="0"/>
                    <a:pt x="60" y="0"/>
                    <a:pt x="60" y="0"/>
                  </a:cubicBezTo>
                  <a:cubicBezTo>
                    <a:pt x="82" y="0"/>
                    <a:pt x="82" y="0"/>
                    <a:pt x="82" y="0"/>
                  </a:cubicBezTo>
                  <a:cubicBezTo>
                    <a:pt x="81" y="126"/>
                    <a:pt x="81" y="126"/>
                    <a:pt x="81" y="126"/>
                  </a:cubicBezTo>
                  <a:cubicBezTo>
                    <a:pt x="73" y="130"/>
                    <a:pt x="62" y="133"/>
                    <a:pt x="47" y="133"/>
                  </a:cubicBezTo>
                  <a:close/>
                  <a:moveTo>
                    <a:pt x="59" y="60"/>
                  </a:moveTo>
                  <a:cubicBezTo>
                    <a:pt x="56" y="60"/>
                    <a:pt x="54" y="59"/>
                    <a:pt x="49" y="59"/>
                  </a:cubicBezTo>
                  <a:cubicBezTo>
                    <a:pt x="33" y="59"/>
                    <a:pt x="22" y="70"/>
                    <a:pt x="22" y="87"/>
                  </a:cubicBezTo>
                  <a:cubicBezTo>
                    <a:pt x="22" y="103"/>
                    <a:pt x="32" y="114"/>
                    <a:pt x="49" y="114"/>
                  </a:cubicBezTo>
                  <a:cubicBezTo>
                    <a:pt x="53" y="114"/>
                    <a:pt x="57" y="114"/>
                    <a:pt x="59" y="113"/>
                  </a:cubicBezTo>
                  <a:lnTo>
                    <a:pt x="59" y="60"/>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23" name="Freeform 9"/>
            <p:cNvSpPr>
              <a:spLocks/>
            </p:cNvSpPr>
            <p:nvPr userDrawn="1"/>
          </p:nvSpPr>
          <p:spPr bwMode="auto">
            <a:xfrm>
              <a:off x="8093949"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24" name="Freeform 10"/>
            <p:cNvSpPr>
              <a:spLocks/>
            </p:cNvSpPr>
            <p:nvPr userDrawn="1"/>
          </p:nvSpPr>
          <p:spPr bwMode="auto">
            <a:xfrm>
              <a:off x="8060545"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25" name="Freeform 11"/>
            <p:cNvSpPr>
              <a:spLocks/>
            </p:cNvSpPr>
            <p:nvPr userDrawn="1"/>
          </p:nvSpPr>
          <p:spPr bwMode="auto">
            <a:xfrm>
              <a:off x="8297262" y="4923177"/>
              <a:ext cx="43039" cy="66190"/>
            </a:xfrm>
            <a:custGeom>
              <a:avLst/>
              <a:gdLst>
                <a:gd name="T0" fmla="*/ 49 w 57"/>
                <a:gd name="T1" fmla="*/ 22 h 91"/>
                <a:gd name="T2" fmla="*/ 39 w 57"/>
                <a:gd name="T3" fmla="*/ 20 h 91"/>
                <a:gd name="T4" fmla="*/ 22 w 57"/>
                <a:gd name="T5" fmla="*/ 27 h 91"/>
                <a:gd name="T6" fmla="*/ 22 w 57"/>
                <a:gd name="T7" fmla="*/ 74 h 91"/>
                <a:gd name="T8" fmla="*/ 0 w 57"/>
                <a:gd name="T9" fmla="*/ 90 h 91"/>
                <a:gd name="T10" fmla="*/ 0 w 57"/>
                <a:gd name="T11" fmla="*/ 2 h 91"/>
                <a:gd name="T12" fmla="*/ 18 w 57"/>
                <a:gd name="T13" fmla="*/ 2 h 91"/>
                <a:gd name="T14" fmla="*/ 21 w 57"/>
                <a:gd name="T15" fmla="*/ 11 h 91"/>
                <a:gd name="T16" fmla="*/ 45 w 57"/>
                <a:gd name="T17" fmla="*/ 0 h 91"/>
                <a:gd name="T18" fmla="*/ 57 w 57"/>
                <a:gd name="T19" fmla="*/ 4 h 91"/>
                <a:gd name="T20" fmla="*/ 49 w 57"/>
                <a:gd name="T21" fmla="*/ 2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1">
                  <a:moveTo>
                    <a:pt x="49" y="22"/>
                  </a:moveTo>
                  <a:cubicBezTo>
                    <a:pt x="45" y="20"/>
                    <a:pt x="41" y="20"/>
                    <a:pt x="39" y="20"/>
                  </a:cubicBezTo>
                  <a:cubicBezTo>
                    <a:pt x="34" y="20"/>
                    <a:pt x="28" y="22"/>
                    <a:pt x="22" y="27"/>
                  </a:cubicBezTo>
                  <a:cubicBezTo>
                    <a:pt x="22" y="27"/>
                    <a:pt x="22" y="57"/>
                    <a:pt x="22" y="74"/>
                  </a:cubicBezTo>
                  <a:cubicBezTo>
                    <a:pt x="22" y="91"/>
                    <a:pt x="0" y="90"/>
                    <a:pt x="0" y="90"/>
                  </a:cubicBezTo>
                  <a:cubicBezTo>
                    <a:pt x="0" y="2"/>
                    <a:pt x="0" y="2"/>
                    <a:pt x="0" y="2"/>
                  </a:cubicBezTo>
                  <a:cubicBezTo>
                    <a:pt x="18" y="2"/>
                    <a:pt x="18" y="2"/>
                    <a:pt x="18"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26" name="Freeform 12"/>
            <p:cNvSpPr>
              <a:spLocks/>
            </p:cNvSpPr>
            <p:nvPr userDrawn="1"/>
          </p:nvSpPr>
          <p:spPr bwMode="auto">
            <a:xfrm>
              <a:off x="7907980" y="4892699"/>
              <a:ext cx="98605" cy="95129"/>
            </a:xfrm>
            <a:custGeom>
              <a:avLst/>
              <a:gdLst>
                <a:gd name="T0" fmla="*/ 106 w 130"/>
                <a:gd name="T1" fmla="*/ 131 h 131"/>
                <a:gd name="T2" fmla="*/ 106 w 130"/>
                <a:gd name="T3" fmla="*/ 53 h 131"/>
                <a:gd name="T4" fmla="*/ 107 w 130"/>
                <a:gd name="T5" fmla="*/ 39 h 131"/>
                <a:gd name="T6" fmla="*/ 106 w 130"/>
                <a:gd name="T7" fmla="*/ 39 h 131"/>
                <a:gd name="T8" fmla="*/ 99 w 130"/>
                <a:gd name="T9" fmla="*/ 52 h 131"/>
                <a:gd name="T10" fmla="*/ 72 w 130"/>
                <a:gd name="T11" fmla="*/ 93 h 131"/>
                <a:gd name="T12" fmla="*/ 60 w 130"/>
                <a:gd name="T13" fmla="*/ 93 h 131"/>
                <a:gd name="T14" fmla="*/ 32 w 130"/>
                <a:gd name="T15" fmla="*/ 51 h 131"/>
                <a:gd name="T16" fmla="*/ 24 w 130"/>
                <a:gd name="T17" fmla="*/ 39 h 131"/>
                <a:gd name="T18" fmla="*/ 23 w 130"/>
                <a:gd name="T19" fmla="*/ 39 h 131"/>
                <a:gd name="T20" fmla="*/ 24 w 130"/>
                <a:gd name="T21" fmla="*/ 52 h 131"/>
                <a:gd name="T22" fmla="*/ 24 w 130"/>
                <a:gd name="T23" fmla="*/ 131 h 131"/>
                <a:gd name="T24" fmla="*/ 0 w 130"/>
                <a:gd name="T25" fmla="*/ 131 h 131"/>
                <a:gd name="T26" fmla="*/ 0 w 130"/>
                <a:gd name="T27" fmla="*/ 0 h 131"/>
                <a:gd name="T28" fmla="*/ 22 w 130"/>
                <a:gd name="T29" fmla="*/ 0 h 131"/>
                <a:gd name="T30" fmla="*/ 58 w 130"/>
                <a:gd name="T31" fmla="*/ 52 h 131"/>
                <a:gd name="T32" fmla="*/ 66 w 130"/>
                <a:gd name="T33" fmla="*/ 66 h 131"/>
                <a:gd name="T34" fmla="*/ 67 w 130"/>
                <a:gd name="T35" fmla="*/ 66 h 131"/>
                <a:gd name="T36" fmla="*/ 75 w 130"/>
                <a:gd name="T37" fmla="*/ 52 h 131"/>
                <a:gd name="T38" fmla="*/ 108 w 130"/>
                <a:gd name="T39" fmla="*/ 0 h 131"/>
                <a:gd name="T40" fmla="*/ 130 w 130"/>
                <a:gd name="T41" fmla="*/ 0 h 131"/>
                <a:gd name="T42" fmla="*/ 130 w 130"/>
                <a:gd name="T43" fmla="*/ 131 h 131"/>
                <a:gd name="T44" fmla="*/ 106 w 130"/>
                <a:gd name="T45"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0" h="131">
                  <a:moveTo>
                    <a:pt x="106" y="131"/>
                  </a:moveTo>
                  <a:cubicBezTo>
                    <a:pt x="106" y="53"/>
                    <a:pt x="106" y="53"/>
                    <a:pt x="106" y="53"/>
                  </a:cubicBezTo>
                  <a:cubicBezTo>
                    <a:pt x="106" y="48"/>
                    <a:pt x="106" y="44"/>
                    <a:pt x="107" y="39"/>
                  </a:cubicBezTo>
                  <a:cubicBezTo>
                    <a:pt x="106" y="39"/>
                    <a:pt x="106" y="39"/>
                    <a:pt x="106" y="39"/>
                  </a:cubicBezTo>
                  <a:cubicBezTo>
                    <a:pt x="105" y="43"/>
                    <a:pt x="101" y="49"/>
                    <a:pt x="99" y="52"/>
                  </a:cubicBezTo>
                  <a:cubicBezTo>
                    <a:pt x="72" y="93"/>
                    <a:pt x="72" y="93"/>
                    <a:pt x="72" y="93"/>
                  </a:cubicBezTo>
                  <a:cubicBezTo>
                    <a:pt x="60" y="93"/>
                    <a:pt x="60" y="93"/>
                    <a:pt x="60" y="93"/>
                  </a:cubicBezTo>
                  <a:cubicBezTo>
                    <a:pt x="32" y="51"/>
                    <a:pt x="32" y="51"/>
                    <a:pt x="32" y="51"/>
                  </a:cubicBezTo>
                  <a:cubicBezTo>
                    <a:pt x="29" y="48"/>
                    <a:pt x="26" y="44"/>
                    <a:pt x="24" y="39"/>
                  </a:cubicBezTo>
                  <a:cubicBezTo>
                    <a:pt x="23" y="39"/>
                    <a:pt x="23" y="39"/>
                    <a:pt x="23" y="39"/>
                  </a:cubicBezTo>
                  <a:cubicBezTo>
                    <a:pt x="24" y="44"/>
                    <a:pt x="24" y="48"/>
                    <a:pt x="24" y="52"/>
                  </a:cubicBezTo>
                  <a:cubicBezTo>
                    <a:pt x="24" y="131"/>
                    <a:pt x="24" y="131"/>
                    <a:pt x="24" y="131"/>
                  </a:cubicBezTo>
                  <a:cubicBezTo>
                    <a:pt x="0" y="131"/>
                    <a:pt x="0" y="131"/>
                    <a:pt x="0" y="131"/>
                  </a:cubicBezTo>
                  <a:cubicBezTo>
                    <a:pt x="0" y="0"/>
                    <a:pt x="0" y="0"/>
                    <a:pt x="0" y="0"/>
                  </a:cubicBezTo>
                  <a:cubicBezTo>
                    <a:pt x="22" y="0"/>
                    <a:pt x="22" y="0"/>
                    <a:pt x="22" y="0"/>
                  </a:cubicBezTo>
                  <a:cubicBezTo>
                    <a:pt x="58" y="52"/>
                    <a:pt x="58" y="52"/>
                    <a:pt x="58" y="52"/>
                  </a:cubicBezTo>
                  <a:cubicBezTo>
                    <a:pt x="61" y="57"/>
                    <a:pt x="64" y="61"/>
                    <a:pt x="66" y="66"/>
                  </a:cubicBezTo>
                  <a:cubicBezTo>
                    <a:pt x="67" y="66"/>
                    <a:pt x="67" y="66"/>
                    <a:pt x="67" y="66"/>
                  </a:cubicBezTo>
                  <a:cubicBezTo>
                    <a:pt x="69" y="61"/>
                    <a:pt x="71" y="57"/>
                    <a:pt x="75" y="52"/>
                  </a:cubicBezTo>
                  <a:cubicBezTo>
                    <a:pt x="108" y="0"/>
                    <a:pt x="108" y="0"/>
                    <a:pt x="108" y="0"/>
                  </a:cubicBezTo>
                  <a:cubicBezTo>
                    <a:pt x="130" y="0"/>
                    <a:pt x="130" y="0"/>
                    <a:pt x="130" y="0"/>
                  </a:cubicBezTo>
                  <a:cubicBezTo>
                    <a:pt x="130" y="131"/>
                    <a:pt x="130" y="131"/>
                    <a:pt x="130" y="131"/>
                  </a:cubicBezTo>
                  <a:lnTo>
                    <a:pt x="106" y="131"/>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27" name="Freeform 13"/>
            <p:cNvSpPr>
              <a:spLocks/>
            </p:cNvSpPr>
            <p:nvPr userDrawn="1"/>
          </p:nvSpPr>
          <p:spPr bwMode="auto">
            <a:xfrm>
              <a:off x="7665803" y="4864376"/>
              <a:ext cx="100854" cy="148389"/>
            </a:xfrm>
            <a:custGeom>
              <a:avLst/>
              <a:gdLst>
                <a:gd name="T0" fmla="*/ 133 w 133"/>
                <a:gd name="T1" fmla="*/ 23 h 204"/>
                <a:gd name="T2" fmla="*/ 132 w 133"/>
                <a:gd name="T3" fmla="*/ 22 h 204"/>
                <a:gd name="T4" fmla="*/ 65 w 133"/>
                <a:gd name="T5" fmla="*/ 20 h 204"/>
                <a:gd name="T6" fmla="*/ 52 w 133"/>
                <a:gd name="T7" fmla="*/ 52 h 204"/>
                <a:gd name="T8" fmla="*/ 20 w 133"/>
                <a:gd name="T9" fmla="*/ 65 h 204"/>
                <a:gd name="T10" fmla="*/ 22 w 133"/>
                <a:gd name="T11" fmla="*/ 132 h 204"/>
                <a:gd name="T12" fmla="*/ 95 w 133"/>
                <a:gd name="T13" fmla="*/ 204 h 204"/>
                <a:gd name="T14" fmla="*/ 117 w 133"/>
                <a:gd name="T15" fmla="*/ 182 h 204"/>
                <a:gd name="T16" fmla="*/ 44 w 133"/>
                <a:gd name="T17" fmla="*/ 110 h 204"/>
                <a:gd name="T18" fmla="*/ 42 w 133"/>
                <a:gd name="T19" fmla="*/ 86 h 204"/>
                <a:gd name="T20" fmla="*/ 66 w 133"/>
                <a:gd name="T21" fmla="*/ 88 h 204"/>
                <a:gd name="T22" fmla="*/ 133 w 133"/>
                <a:gd name="T23" fmla="*/ 155 h 204"/>
                <a:gd name="T24" fmla="*/ 133 w 133"/>
                <a:gd name="T25" fmla="*/ 111 h 204"/>
                <a:gd name="T26" fmla="*/ 88 w 133"/>
                <a:gd name="T27" fmla="*/ 66 h 204"/>
                <a:gd name="T28" fmla="*/ 86 w 133"/>
                <a:gd name="T29" fmla="*/ 42 h 204"/>
                <a:gd name="T30" fmla="*/ 110 w 133"/>
                <a:gd name="T31" fmla="*/ 44 h 204"/>
                <a:gd name="T32" fmla="*/ 133 w 133"/>
                <a:gd name="T33" fmla="*/ 66 h 204"/>
                <a:gd name="T34" fmla="*/ 133 w 133"/>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204">
                  <a:moveTo>
                    <a:pt x="133" y="23"/>
                  </a:moveTo>
                  <a:cubicBezTo>
                    <a:pt x="132" y="22"/>
                    <a:pt x="132" y="22"/>
                    <a:pt x="132" y="22"/>
                  </a:cubicBezTo>
                  <a:cubicBezTo>
                    <a:pt x="110" y="0"/>
                    <a:pt x="82" y="2"/>
                    <a:pt x="65" y="20"/>
                  </a:cubicBezTo>
                  <a:cubicBezTo>
                    <a:pt x="53" y="32"/>
                    <a:pt x="51" y="46"/>
                    <a:pt x="52" y="52"/>
                  </a:cubicBezTo>
                  <a:cubicBezTo>
                    <a:pt x="47" y="51"/>
                    <a:pt x="32" y="52"/>
                    <a:pt x="20" y="65"/>
                  </a:cubicBezTo>
                  <a:cubicBezTo>
                    <a:pt x="3" y="82"/>
                    <a:pt x="0" y="110"/>
                    <a:pt x="22" y="132"/>
                  </a:cubicBezTo>
                  <a:cubicBezTo>
                    <a:pt x="95" y="204"/>
                    <a:pt x="95" y="204"/>
                    <a:pt x="95" y="204"/>
                  </a:cubicBezTo>
                  <a:cubicBezTo>
                    <a:pt x="117" y="182"/>
                    <a:pt x="117" y="182"/>
                    <a:pt x="117" y="182"/>
                  </a:cubicBezTo>
                  <a:cubicBezTo>
                    <a:pt x="44" y="110"/>
                    <a:pt x="44" y="110"/>
                    <a:pt x="44" y="110"/>
                  </a:cubicBezTo>
                  <a:cubicBezTo>
                    <a:pt x="35" y="101"/>
                    <a:pt x="36" y="91"/>
                    <a:pt x="42" y="86"/>
                  </a:cubicBezTo>
                  <a:cubicBezTo>
                    <a:pt x="47" y="80"/>
                    <a:pt x="58" y="79"/>
                    <a:pt x="66" y="88"/>
                  </a:cubicBezTo>
                  <a:cubicBezTo>
                    <a:pt x="133" y="155"/>
                    <a:pt x="133" y="155"/>
                    <a:pt x="133" y="155"/>
                  </a:cubicBezTo>
                  <a:cubicBezTo>
                    <a:pt x="133" y="111"/>
                    <a:pt x="133" y="111"/>
                    <a:pt x="133" y="111"/>
                  </a:cubicBezTo>
                  <a:cubicBezTo>
                    <a:pt x="88" y="66"/>
                    <a:pt x="88" y="66"/>
                    <a:pt x="88" y="66"/>
                  </a:cubicBezTo>
                  <a:cubicBezTo>
                    <a:pt x="80" y="57"/>
                    <a:pt x="80" y="47"/>
                    <a:pt x="86" y="42"/>
                  </a:cubicBezTo>
                  <a:cubicBezTo>
                    <a:pt x="92" y="36"/>
                    <a:pt x="102" y="35"/>
                    <a:pt x="110" y="44"/>
                  </a:cubicBezTo>
                  <a:cubicBezTo>
                    <a:pt x="133" y="66"/>
                    <a:pt x="133" y="66"/>
                    <a:pt x="133" y="66"/>
                  </a:cubicBezTo>
                  <a:lnTo>
                    <a:pt x="133"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28" name="Freeform 14"/>
            <p:cNvSpPr>
              <a:spLocks noEditPoints="1"/>
            </p:cNvSpPr>
            <p:nvPr userDrawn="1"/>
          </p:nvSpPr>
          <p:spPr bwMode="auto">
            <a:xfrm>
              <a:off x="8023287" y="4895470"/>
              <a:ext cx="20556" cy="93282"/>
            </a:xfrm>
            <a:custGeom>
              <a:avLst/>
              <a:gdLst>
                <a:gd name="T0" fmla="*/ 14 w 27"/>
                <a:gd name="T1" fmla="*/ 26 h 128"/>
                <a:gd name="T2" fmla="*/ 0 w 27"/>
                <a:gd name="T3" fmla="*/ 13 h 128"/>
                <a:gd name="T4" fmla="*/ 14 w 27"/>
                <a:gd name="T5" fmla="*/ 0 h 128"/>
                <a:gd name="T6" fmla="*/ 27 w 27"/>
                <a:gd name="T7" fmla="*/ 13 h 128"/>
                <a:gd name="T8" fmla="*/ 14 w 27"/>
                <a:gd name="T9" fmla="*/ 26 h 128"/>
                <a:gd name="T10" fmla="*/ 3 w 27"/>
                <a:gd name="T11" fmla="*/ 128 h 128"/>
                <a:gd name="T12" fmla="*/ 3 w 27"/>
                <a:gd name="T13" fmla="*/ 40 h 128"/>
                <a:gd name="T14" fmla="*/ 25 w 27"/>
                <a:gd name="T15" fmla="*/ 40 h 128"/>
                <a:gd name="T16" fmla="*/ 25 w 27"/>
                <a:gd name="T17" fmla="*/ 112 h 128"/>
                <a:gd name="T18" fmla="*/ 3 w 27"/>
                <a:gd name="T1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128">
                  <a:moveTo>
                    <a:pt x="14" y="26"/>
                  </a:moveTo>
                  <a:cubicBezTo>
                    <a:pt x="6" y="26"/>
                    <a:pt x="0" y="20"/>
                    <a:pt x="0" y="13"/>
                  </a:cubicBezTo>
                  <a:cubicBezTo>
                    <a:pt x="0" y="6"/>
                    <a:pt x="6" y="0"/>
                    <a:pt x="14" y="0"/>
                  </a:cubicBezTo>
                  <a:cubicBezTo>
                    <a:pt x="21" y="0"/>
                    <a:pt x="27" y="5"/>
                    <a:pt x="27" y="13"/>
                  </a:cubicBezTo>
                  <a:cubicBezTo>
                    <a:pt x="27" y="20"/>
                    <a:pt x="21" y="26"/>
                    <a:pt x="14" y="26"/>
                  </a:cubicBezTo>
                  <a:close/>
                  <a:moveTo>
                    <a:pt x="3" y="128"/>
                  </a:moveTo>
                  <a:cubicBezTo>
                    <a:pt x="3" y="40"/>
                    <a:pt x="3" y="40"/>
                    <a:pt x="3" y="40"/>
                  </a:cubicBezTo>
                  <a:cubicBezTo>
                    <a:pt x="25" y="40"/>
                    <a:pt x="25" y="40"/>
                    <a:pt x="25" y="40"/>
                  </a:cubicBezTo>
                  <a:cubicBezTo>
                    <a:pt x="25" y="40"/>
                    <a:pt x="25" y="95"/>
                    <a:pt x="25" y="112"/>
                  </a:cubicBezTo>
                  <a:cubicBezTo>
                    <a:pt x="25" y="128"/>
                    <a:pt x="3" y="128"/>
                    <a:pt x="3" y="1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29" name="Freeform 15"/>
            <p:cNvSpPr>
              <a:spLocks/>
            </p:cNvSpPr>
            <p:nvPr userDrawn="1"/>
          </p:nvSpPr>
          <p:spPr bwMode="auto">
            <a:xfrm>
              <a:off x="8615239" y="4924717"/>
              <a:ext cx="103744" cy="66806"/>
            </a:xfrm>
            <a:custGeom>
              <a:avLst/>
              <a:gdLst>
                <a:gd name="T0" fmla="*/ 111 w 137"/>
                <a:gd name="T1" fmla="*/ 72 h 92"/>
                <a:gd name="T2" fmla="*/ 88 w 137"/>
                <a:gd name="T3" fmla="*/ 88 h 92"/>
                <a:gd name="T4" fmla="*/ 68 w 137"/>
                <a:gd name="T5" fmla="*/ 28 h 92"/>
                <a:gd name="T6" fmla="*/ 68 w 137"/>
                <a:gd name="T7" fmla="*/ 28 h 92"/>
                <a:gd name="T8" fmla="*/ 53 w 137"/>
                <a:gd name="T9" fmla="*/ 72 h 92"/>
                <a:gd name="T10" fmla="*/ 31 w 137"/>
                <a:gd name="T11" fmla="*/ 88 h 92"/>
                <a:gd name="T12" fmla="*/ 0 w 137"/>
                <a:gd name="T13" fmla="*/ 0 h 92"/>
                <a:gd name="T14" fmla="*/ 22 w 137"/>
                <a:gd name="T15" fmla="*/ 0 h 92"/>
                <a:gd name="T16" fmla="*/ 41 w 137"/>
                <a:gd name="T17" fmla="*/ 60 h 92"/>
                <a:gd name="T18" fmla="*/ 41 w 137"/>
                <a:gd name="T19" fmla="*/ 60 h 92"/>
                <a:gd name="T20" fmla="*/ 60 w 137"/>
                <a:gd name="T21" fmla="*/ 0 h 92"/>
                <a:gd name="T22" fmla="*/ 77 w 137"/>
                <a:gd name="T23" fmla="*/ 0 h 92"/>
                <a:gd name="T24" fmla="*/ 97 w 137"/>
                <a:gd name="T25" fmla="*/ 60 h 92"/>
                <a:gd name="T26" fmla="*/ 97 w 137"/>
                <a:gd name="T27" fmla="*/ 60 h 92"/>
                <a:gd name="T28" fmla="*/ 115 w 137"/>
                <a:gd name="T29" fmla="*/ 0 h 92"/>
                <a:gd name="T30" fmla="*/ 137 w 137"/>
                <a:gd name="T31" fmla="*/ 0 h 92"/>
                <a:gd name="T32" fmla="*/ 111 w 137"/>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 h="92">
                  <a:moveTo>
                    <a:pt x="111" y="72"/>
                  </a:moveTo>
                  <a:cubicBezTo>
                    <a:pt x="104" y="92"/>
                    <a:pt x="88" y="88"/>
                    <a:pt x="88" y="88"/>
                  </a:cubicBezTo>
                  <a:cubicBezTo>
                    <a:pt x="68" y="28"/>
                    <a:pt x="68" y="28"/>
                    <a:pt x="68" y="28"/>
                  </a:cubicBezTo>
                  <a:cubicBezTo>
                    <a:pt x="68" y="28"/>
                    <a:pt x="68" y="28"/>
                    <a:pt x="68" y="28"/>
                  </a:cubicBezTo>
                  <a:cubicBezTo>
                    <a:pt x="68" y="28"/>
                    <a:pt x="59"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7" y="60"/>
                    <a:pt x="97" y="60"/>
                    <a:pt x="97" y="60"/>
                  </a:cubicBezTo>
                  <a:cubicBezTo>
                    <a:pt x="97" y="60"/>
                    <a:pt x="97" y="60"/>
                    <a:pt x="97" y="60"/>
                  </a:cubicBezTo>
                  <a:cubicBezTo>
                    <a:pt x="115" y="0"/>
                    <a:pt x="115" y="0"/>
                    <a:pt x="115" y="0"/>
                  </a:cubicBezTo>
                  <a:cubicBezTo>
                    <a:pt x="137" y="0"/>
                    <a:pt x="137" y="0"/>
                    <a:pt x="137" y="0"/>
                  </a:cubicBezTo>
                  <a:cubicBezTo>
                    <a:pt x="137"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30" name="Freeform 16"/>
            <p:cNvSpPr>
              <a:spLocks noEditPoints="1"/>
            </p:cNvSpPr>
            <p:nvPr userDrawn="1"/>
          </p:nvSpPr>
          <p:spPr bwMode="auto">
            <a:xfrm>
              <a:off x="8423168" y="4892699"/>
              <a:ext cx="65844" cy="95129"/>
            </a:xfrm>
            <a:custGeom>
              <a:avLst/>
              <a:gdLst>
                <a:gd name="T0" fmla="*/ 1 w 87"/>
                <a:gd name="T1" fmla="*/ 0 h 131"/>
                <a:gd name="T2" fmla="*/ 0 w 87"/>
                <a:gd name="T3" fmla="*/ 131 h 131"/>
                <a:gd name="T4" fmla="*/ 41 w 87"/>
                <a:gd name="T5" fmla="*/ 131 h 131"/>
                <a:gd name="T6" fmla="*/ 87 w 87"/>
                <a:gd name="T7" fmla="*/ 92 h 131"/>
                <a:gd name="T8" fmla="*/ 65 w 87"/>
                <a:gd name="T9" fmla="*/ 61 h 131"/>
                <a:gd name="T10" fmla="*/ 62 w 87"/>
                <a:gd name="T11" fmla="*/ 60 h 131"/>
                <a:gd name="T12" fmla="*/ 64 w 87"/>
                <a:gd name="T13" fmla="*/ 59 h 131"/>
                <a:gd name="T14" fmla="*/ 79 w 87"/>
                <a:gd name="T15" fmla="*/ 32 h 131"/>
                <a:gd name="T16" fmla="*/ 42 w 87"/>
                <a:gd name="T17" fmla="*/ 0 h 131"/>
                <a:gd name="T18" fmla="*/ 1 w 87"/>
                <a:gd name="T19" fmla="*/ 0 h 131"/>
                <a:gd name="T20" fmla="*/ 23 w 87"/>
                <a:gd name="T21" fmla="*/ 17 h 131"/>
                <a:gd name="T22" fmla="*/ 36 w 87"/>
                <a:gd name="T23" fmla="*/ 17 h 131"/>
                <a:gd name="T24" fmla="*/ 56 w 87"/>
                <a:gd name="T25" fmla="*/ 35 h 131"/>
                <a:gd name="T26" fmla="*/ 38 w 87"/>
                <a:gd name="T27" fmla="*/ 55 h 131"/>
                <a:gd name="T28" fmla="*/ 22 w 87"/>
                <a:gd name="T29" fmla="*/ 55 h 131"/>
                <a:gd name="T30" fmla="*/ 23 w 87"/>
                <a:gd name="T31" fmla="*/ 17 h 131"/>
                <a:gd name="T32" fmla="*/ 22 w 87"/>
                <a:gd name="T33" fmla="*/ 74 h 131"/>
                <a:gd name="T34" fmla="*/ 40 w 87"/>
                <a:gd name="T35" fmla="*/ 74 h 131"/>
                <a:gd name="T36" fmla="*/ 64 w 87"/>
                <a:gd name="T37" fmla="*/ 92 h 131"/>
                <a:gd name="T38" fmla="*/ 39 w 87"/>
                <a:gd name="T39" fmla="*/ 113 h 131"/>
                <a:gd name="T40" fmla="*/ 22 w 87"/>
                <a:gd name="T41" fmla="*/ 113 h 131"/>
                <a:gd name="T42" fmla="*/ 22 w 87"/>
                <a:gd name="T43" fmla="*/ 7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131">
                  <a:moveTo>
                    <a:pt x="1" y="0"/>
                  </a:moveTo>
                  <a:cubicBezTo>
                    <a:pt x="1" y="3"/>
                    <a:pt x="0" y="129"/>
                    <a:pt x="0" y="131"/>
                  </a:cubicBezTo>
                  <a:cubicBezTo>
                    <a:pt x="2" y="131"/>
                    <a:pt x="41" y="131"/>
                    <a:pt x="41" y="131"/>
                  </a:cubicBezTo>
                  <a:cubicBezTo>
                    <a:pt x="73" y="131"/>
                    <a:pt x="87" y="111"/>
                    <a:pt x="87" y="92"/>
                  </a:cubicBezTo>
                  <a:cubicBezTo>
                    <a:pt x="87" y="77"/>
                    <a:pt x="79" y="65"/>
                    <a:pt x="65" y="61"/>
                  </a:cubicBezTo>
                  <a:cubicBezTo>
                    <a:pt x="62" y="60"/>
                    <a:pt x="62" y="60"/>
                    <a:pt x="62" y="60"/>
                  </a:cubicBezTo>
                  <a:cubicBezTo>
                    <a:pt x="64" y="59"/>
                    <a:pt x="64" y="59"/>
                    <a:pt x="64" y="59"/>
                  </a:cubicBezTo>
                  <a:cubicBezTo>
                    <a:pt x="74" y="54"/>
                    <a:pt x="79" y="44"/>
                    <a:pt x="79" y="32"/>
                  </a:cubicBezTo>
                  <a:cubicBezTo>
                    <a:pt x="79" y="17"/>
                    <a:pt x="68" y="0"/>
                    <a:pt x="42" y="0"/>
                  </a:cubicBezTo>
                  <a:cubicBezTo>
                    <a:pt x="42" y="0"/>
                    <a:pt x="3" y="0"/>
                    <a:pt x="1" y="0"/>
                  </a:cubicBezTo>
                  <a:close/>
                  <a:moveTo>
                    <a:pt x="23" y="17"/>
                  </a:moveTo>
                  <a:cubicBezTo>
                    <a:pt x="36" y="17"/>
                    <a:pt x="36" y="17"/>
                    <a:pt x="36" y="17"/>
                  </a:cubicBezTo>
                  <a:cubicBezTo>
                    <a:pt x="49" y="17"/>
                    <a:pt x="56" y="24"/>
                    <a:pt x="56" y="35"/>
                  </a:cubicBezTo>
                  <a:cubicBezTo>
                    <a:pt x="56" y="47"/>
                    <a:pt x="47" y="55"/>
                    <a:pt x="38" y="55"/>
                  </a:cubicBezTo>
                  <a:cubicBezTo>
                    <a:pt x="22" y="55"/>
                    <a:pt x="22" y="55"/>
                    <a:pt x="22" y="55"/>
                  </a:cubicBezTo>
                  <a:lnTo>
                    <a:pt x="23" y="17"/>
                  </a:lnTo>
                  <a:close/>
                  <a:moveTo>
                    <a:pt x="22" y="74"/>
                  </a:moveTo>
                  <a:cubicBezTo>
                    <a:pt x="40" y="74"/>
                    <a:pt x="40" y="74"/>
                    <a:pt x="40" y="74"/>
                  </a:cubicBezTo>
                  <a:cubicBezTo>
                    <a:pt x="55" y="74"/>
                    <a:pt x="64" y="81"/>
                    <a:pt x="64" y="92"/>
                  </a:cubicBezTo>
                  <a:cubicBezTo>
                    <a:pt x="64" y="105"/>
                    <a:pt x="55" y="113"/>
                    <a:pt x="39" y="113"/>
                  </a:cubicBezTo>
                  <a:cubicBezTo>
                    <a:pt x="22" y="113"/>
                    <a:pt x="22" y="113"/>
                    <a:pt x="22" y="113"/>
                  </a:cubicBezTo>
                  <a:lnTo>
                    <a:pt x="22" y="74"/>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31" name="Freeform 17"/>
            <p:cNvSpPr>
              <a:spLocks noEditPoints="1"/>
            </p:cNvSpPr>
            <p:nvPr userDrawn="1"/>
          </p:nvSpPr>
          <p:spPr bwMode="auto">
            <a:xfrm>
              <a:off x="8546184" y="4923177"/>
              <a:ext cx="66486" cy="66190"/>
            </a:xfrm>
            <a:custGeom>
              <a:avLst/>
              <a:gdLst>
                <a:gd name="T0" fmla="*/ 75 w 88"/>
                <a:gd name="T1" fmla="*/ 78 h 91"/>
                <a:gd name="T2" fmla="*/ 44 w 88"/>
                <a:gd name="T3" fmla="*/ 91 h 91"/>
                <a:gd name="T4" fmla="*/ 14 w 88"/>
                <a:gd name="T5" fmla="*/ 80 h 91"/>
                <a:gd name="T6" fmla="*/ 0 w 88"/>
                <a:gd name="T7" fmla="*/ 46 h 91"/>
                <a:gd name="T8" fmla="*/ 13 w 88"/>
                <a:gd name="T9" fmla="*/ 12 h 91"/>
                <a:gd name="T10" fmla="*/ 44 w 88"/>
                <a:gd name="T11" fmla="*/ 0 h 91"/>
                <a:gd name="T12" fmla="*/ 76 w 88"/>
                <a:gd name="T13" fmla="*/ 12 h 91"/>
                <a:gd name="T14" fmla="*/ 88 w 88"/>
                <a:gd name="T15" fmla="*/ 45 h 91"/>
                <a:gd name="T16" fmla="*/ 75 w 88"/>
                <a:gd name="T17" fmla="*/ 78 h 91"/>
                <a:gd name="T18" fmla="*/ 44 w 88"/>
                <a:gd name="T19" fmla="*/ 17 h 91"/>
                <a:gd name="T20" fmla="*/ 23 w 88"/>
                <a:gd name="T21" fmla="*/ 45 h 91"/>
                <a:gd name="T22" fmla="*/ 44 w 88"/>
                <a:gd name="T23" fmla="*/ 73 h 91"/>
                <a:gd name="T24" fmla="*/ 65 w 88"/>
                <a:gd name="T25" fmla="*/ 45 h 91"/>
                <a:gd name="T26" fmla="*/ 44 w 88"/>
                <a:gd name="T27"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91">
                  <a:moveTo>
                    <a:pt x="75" y="78"/>
                  </a:moveTo>
                  <a:cubicBezTo>
                    <a:pt x="68" y="86"/>
                    <a:pt x="57" y="91"/>
                    <a:pt x="44" y="91"/>
                  </a:cubicBezTo>
                  <a:cubicBezTo>
                    <a:pt x="32" y="91"/>
                    <a:pt x="21" y="87"/>
                    <a:pt x="14" y="80"/>
                  </a:cubicBezTo>
                  <a:cubicBezTo>
                    <a:pt x="5" y="72"/>
                    <a:pt x="0" y="60"/>
                    <a:pt x="0" y="46"/>
                  </a:cubicBezTo>
                  <a:cubicBezTo>
                    <a:pt x="0" y="32"/>
                    <a:pt x="5" y="20"/>
                    <a:pt x="13" y="12"/>
                  </a:cubicBezTo>
                  <a:cubicBezTo>
                    <a:pt x="21" y="4"/>
                    <a:pt x="31" y="0"/>
                    <a:pt x="44" y="0"/>
                  </a:cubicBezTo>
                  <a:cubicBezTo>
                    <a:pt x="57" y="0"/>
                    <a:pt x="68" y="4"/>
                    <a:pt x="76" y="12"/>
                  </a:cubicBezTo>
                  <a:cubicBezTo>
                    <a:pt x="84" y="20"/>
                    <a:pt x="88" y="32"/>
                    <a:pt x="88" y="45"/>
                  </a:cubicBezTo>
                  <a:cubicBezTo>
                    <a:pt x="88" y="58"/>
                    <a:pt x="83" y="70"/>
                    <a:pt x="75" y="78"/>
                  </a:cubicBezTo>
                  <a:close/>
                  <a:moveTo>
                    <a:pt x="44" y="17"/>
                  </a:moveTo>
                  <a:cubicBezTo>
                    <a:pt x="30" y="17"/>
                    <a:pt x="23" y="29"/>
                    <a:pt x="23" y="45"/>
                  </a:cubicBezTo>
                  <a:cubicBezTo>
                    <a:pt x="23" y="62"/>
                    <a:pt x="31" y="73"/>
                    <a:pt x="44" y="73"/>
                  </a:cubicBezTo>
                  <a:cubicBezTo>
                    <a:pt x="58" y="73"/>
                    <a:pt x="65" y="61"/>
                    <a:pt x="65" y="45"/>
                  </a:cubicBezTo>
                  <a:cubicBezTo>
                    <a:pt x="65" y="28"/>
                    <a:pt x="57" y="17"/>
                    <a:pt x="44" y="1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32" name="Freeform 18"/>
            <p:cNvSpPr>
              <a:spLocks/>
            </p:cNvSpPr>
            <p:nvPr userDrawn="1"/>
          </p:nvSpPr>
          <p:spPr bwMode="auto">
            <a:xfrm>
              <a:off x="8728298" y="4923177"/>
              <a:ext cx="60705" cy="65574"/>
            </a:xfrm>
            <a:custGeom>
              <a:avLst/>
              <a:gdLst>
                <a:gd name="T0" fmla="*/ 58 w 80"/>
                <a:gd name="T1" fmla="*/ 90 h 90"/>
                <a:gd name="T2" fmla="*/ 58 w 80"/>
                <a:gd name="T3" fmla="*/ 38 h 90"/>
                <a:gd name="T4" fmla="*/ 45 w 80"/>
                <a:gd name="T5" fmla="*/ 19 h 90"/>
                <a:gd name="T6" fmla="*/ 23 w 80"/>
                <a:gd name="T7" fmla="*/ 28 h 90"/>
                <a:gd name="T8" fmla="*/ 23 w 80"/>
                <a:gd name="T9" fmla="*/ 74 h 90"/>
                <a:gd name="T10" fmla="*/ 0 w 80"/>
                <a:gd name="T11" fmla="*/ 90 h 90"/>
                <a:gd name="T12" fmla="*/ 0 w 80"/>
                <a:gd name="T13" fmla="*/ 2 h 90"/>
                <a:gd name="T14" fmla="*/ 19 w 80"/>
                <a:gd name="T15" fmla="*/ 2 h 90"/>
                <a:gd name="T16" fmla="*/ 22 w 80"/>
                <a:gd name="T17" fmla="*/ 11 h 90"/>
                <a:gd name="T18" fmla="*/ 52 w 80"/>
                <a:gd name="T19" fmla="*/ 0 h 90"/>
                <a:gd name="T20" fmla="*/ 80 w 80"/>
                <a:gd name="T21" fmla="*/ 31 h 90"/>
                <a:gd name="T22" fmla="*/ 80 w 80"/>
                <a:gd name="T23" fmla="*/ 74 h 90"/>
                <a:gd name="T24" fmla="*/ 58 w 80"/>
                <a:gd name="T2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90">
                  <a:moveTo>
                    <a:pt x="58" y="90"/>
                  </a:moveTo>
                  <a:cubicBezTo>
                    <a:pt x="58" y="38"/>
                    <a:pt x="58" y="38"/>
                    <a:pt x="58" y="38"/>
                  </a:cubicBezTo>
                  <a:cubicBezTo>
                    <a:pt x="58" y="29"/>
                    <a:pt x="56" y="19"/>
                    <a:pt x="45" y="19"/>
                  </a:cubicBezTo>
                  <a:cubicBezTo>
                    <a:pt x="37" y="19"/>
                    <a:pt x="29" y="23"/>
                    <a:pt x="23" y="28"/>
                  </a:cubicBezTo>
                  <a:cubicBezTo>
                    <a:pt x="23" y="28"/>
                    <a:pt x="23" y="57"/>
                    <a:pt x="23" y="74"/>
                  </a:cubicBezTo>
                  <a:cubicBezTo>
                    <a:pt x="23" y="90"/>
                    <a:pt x="0" y="90"/>
                    <a:pt x="0" y="90"/>
                  </a:cubicBezTo>
                  <a:cubicBezTo>
                    <a:pt x="0" y="2"/>
                    <a:pt x="0" y="2"/>
                    <a:pt x="0" y="2"/>
                  </a:cubicBezTo>
                  <a:cubicBezTo>
                    <a:pt x="19" y="2"/>
                    <a:pt x="19" y="2"/>
                    <a:pt x="19" y="2"/>
                  </a:cubicBezTo>
                  <a:cubicBezTo>
                    <a:pt x="22" y="11"/>
                    <a:pt x="22" y="11"/>
                    <a:pt x="22" y="11"/>
                  </a:cubicBezTo>
                  <a:cubicBezTo>
                    <a:pt x="31" y="4"/>
                    <a:pt x="40" y="0"/>
                    <a:pt x="52" y="0"/>
                  </a:cubicBezTo>
                  <a:cubicBezTo>
                    <a:pt x="65" y="0"/>
                    <a:pt x="80" y="8"/>
                    <a:pt x="80" y="31"/>
                  </a:cubicBezTo>
                  <a:cubicBezTo>
                    <a:pt x="80" y="31"/>
                    <a:pt x="80" y="57"/>
                    <a:pt x="80" y="74"/>
                  </a:cubicBezTo>
                  <a:cubicBezTo>
                    <a:pt x="80" y="90"/>
                    <a:pt x="58" y="90"/>
                    <a:pt x="58" y="9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33" name="Freeform 19"/>
            <p:cNvSpPr>
              <a:spLocks/>
            </p:cNvSpPr>
            <p:nvPr userDrawn="1"/>
          </p:nvSpPr>
          <p:spPr bwMode="auto">
            <a:xfrm>
              <a:off x="8501217" y="4923177"/>
              <a:ext cx="43361" cy="65574"/>
            </a:xfrm>
            <a:custGeom>
              <a:avLst/>
              <a:gdLst>
                <a:gd name="T0" fmla="*/ 49 w 57"/>
                <a:gd name="T1" fmla="*/ 22 h 90"/>
                <a:gd name="T2" fmla="*/ 39 w 57"/>
                <a:gd name="T3" fmla="*/ 20 h 90"/>
                <a:gd name="T4" fmla="*/ 22 w 57"/>
                <a:gd name="T5" fmla="*/ 27 h 90"/>
                <a:gd name="T6" fmla="*/ 22 w 57"/>
                <a:gd name="T7" fmla="*/ 74 h 90"/>
                <a:gd name="T8" fmla="*/ 0 w 57"/>
                <a:gd name="T9" fmla="*/ 90 h 90"/>
                <a:gd name="T10" fmla="*/ 0 w 57"/>
                <a:gd name="T11" fmla="*/ 2 h 90"/>
                <a:gd name="T12" fmla="*/ 19 w 57"/>
                <a:gd name="T13" fmla="*/ 2 h 90"/>
                <a:gd name="T14" fmla="*/ 21 w 57"/>
                <a:gd name="T15" fmla="*/ 11 h 90"/>
                <a:gd name="T16" fmla="*/ 45 w 57"/>
                <a:gd name="T17" fmla="*/ 0 h 90"/>
                <a:gd name="T18" fmla="*/ 57 w 57"/>
                <a:gd name="T19" fmla="*/ 4 h 90"/>
                <a:gd name="T20" fmla="*/ 49 w 57"/>
                <a:gd name="T21" fmla="*/ 2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0">
                  <a:moveTo>
                    <a:pt x="49" y="22"/>
                  </a:moveTo>
                  <a:cubicBezTo>
                    <a:pt x="46" y="20"/>
                    <a:pt x="42" y="20"/>
                    <a:pt x="39" y="20"/>
                  </a:cubicBezTo>
                  <a:cubicBezTo>
                    <a:pt x="34" y="20"/>
                    <a:pt x="28" y="22"/>
                    <a:pt x="22" y="27"/>
                  </a:cubicBezTo>
                  <a:cubicBezTo>
                    <a:pt x="22" y="27"/>
                    <a:pt x="22" y="57"/>
                    <a:pt x="22" y="74"/>
                  </a:cubicBezTo>
                  <a:cubicBezTo>
                    <a:pt x="22" y="90"/>
                    <a:pt x="0" y="90"/>
                    <a:pt x="0" y="90"/>
                  </a:cubicBezTo>
                  <a:cubicBezTo>
                    <a:pt x="0" y="2"/>
                    <a:pt x="0" y="2"/>
                    <a:pt x="0" y="2"/>
                  </a:cubicBezTo>
                  <a:cubicBezTo>
                    <a:pt x="19" y="2"/>
                    <a:pt x="19" y="2"/>
                    <a:pt x="19"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34" name="Freeform 20"/>
            <p:cNvSpPr>
              <a:spLocks/>
            </p:cNvSpPr>
            <p:nvPr userDrawn="1"/>
          </p:nvSpPr>
          <p:spPr bwMode="auto">
            <a:xfrm>
              <a:off x="7766657" y="4864376"/>
              <a:ext cx="100211" cy="148389"/>
            </a:xfrm>
            <a:custGeom>
              <a:avLst/>
              <a:gdLst>
                <a:gd name="T0" fmla="*/ 0 w 132"/>
                <a:gd name="T1" fmla="*/ 23 h 204"/>
                <a:gd name="T2" fmla="*/ 1 w 132"/>
                <a:gd name="T3" fmla="*/ 22 h 204"/>
                <a:gd name="T4" fmla="*/ 67 w 132"/>
                <a:gd name="T5" fmla="*/ 20 h 204"/>
                <a:gd name="T6" fmla="*/ 80 w 132"/>
                <a:gd name="T7" fmla="*/ 52 h 204"/>
                <a:gd name="T8" fmla="*/ 113 w 132"/>
                <a:gd name="T9" fmla="*/ 65 h 204"/>
                <a:gd name="T10" fmla="*/ 111 w 132"/>
                <a:gd name="T11" fmla="*/ 132 h 204"/>
                <a:gd name="T12" fmla="*/ 38 w 132"/>
                <a:gd name="T13" fmla="*/ 204 h 204"/>
                <a:gd name="T14" fmla="*/ 16 w 132"/>
                <a:gd name="T15" fmla="*/ 182 h 204"/>
                <a:gd name="T16" fmla="*/ 88 w 132"/>
                <a:gd name="T17" fmla="*/ 110 h 204"/>
                <a:gd name="T18" fmla="*/ 91 w 132"/>
                <a:gd name="T19" fmla="*/ 86 h 204"/>
                <a:gd name="T20" fmla="*/ 67 w 132"/>
                <a:gd name="T21" fmla="*/ 88 h 204"/>
                <a:gd name="T22" fmla="*/ 0 w 132"/>
                <a:gd name="T23" fmla="*/ 155 h 204"/>
                <a:gd name="T24" fmla="*/ 0 w 132"/>
                <a:gd name="T25" fmla="*/ 111 h 204"/>
                <a:gd name="T26" fmla="*/ 45 w 132"/>
                <a:gd name="T27" fmla="*/ 66 h 204"/>
                <a:gd name="T28" fmla="*/ 46 w 132"/>
                <a:gd name="T29" fmla="*/ 42 h 204"/>
                <a:gd name="T30" fmla="*/ 22 w 132"/>
                <a:gd name="T31" fmla="*/ 44 h 204"/>
                <a:gd name="T32" fmla="*/ 0 w 132"/>
                <a:gd name="T33" fmla="*/ 66 h 204"/>
                <a:gd name="T34" fmla="*/ 0 w 132"/>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204">
                  <a:moveTo>
                    <a:pt x="0" y="23"/>
                  </a:moveTo>
                  <a:cubicBezTo>
                    <a:pt x="1" y="22"/>
                    <a:pt x="1" y="22"/>
                    <a:pt x="1" y="22"/>
                  </a:cubicBezTo>
                  <a:cubicBezTo>
                    <a:pt x="23" y="0"/>
                    <a:pt x="50" y="2"/>
                    <a:pt x="67" y="20"/>
                  </a:cubicBezTo>
                  <a:cubicBezTo>
                    <a:pt x="80" y="32"/>
                    <a:pt x="81" y="46"/>
                    <a:pt x="80" y="52"/>
                  </a:cubicBezTo>
                  <a:cubicBezTo>
                    <a:pt x="86" y="51"/>
                    <a:pt x="100" y="52"/>
                    <a:pt x="113" y="65"/>
                  </a:cubicBezTo>
                  <a:cubicBezTo>
                    <a:pt x="130" y="82"/>
                    <a:pt x="132" y="110"/>
                    <a:pt x="111" y="132"/>
                  </a:cubicBezTo>
                  <a:cubicBezTo>
                    <a:pt x="38" y="204"/>
                    <a:pt x="38" y="204"/>
                    <a:pt x="38" y="204"/>
                  </a:cubicBezTo>
                  <a:cubicBezTo>
                    <a:pt x="16" y="182"/>
                    <a:pt x="16" y="182"/>
                    <a:pt x="16" y="182"/>
                  </a:cubicBezTo>
                  <a:cubicBezTo>
                    <a:pt x="88" y="110"/>
                    <a:pt x="88" y="110"/>
                    <a:pt x="88" y="110"/>
                  </a:cubicBezTo>
                  <a:cubicBezTo>
                    <a:pt x="97" y="101"/>
                    <a:pt x="96" y="91"/>
                    <a:pt x="91" y="86"/>
                  </a:cubicBezTo>
                  <a:cubicBezTo>
                    <a:pt x="85" y="80"/>
                    <a:pt x="75" y="79"/>
                    <a:pt x="67" y="88"/>
                  </a:cubicBezTo>
                  <a:cubicBezTo>
                    <a:pt x="0" y="155"/>
                    <a:pt x="0" y="155"/>
                    <a:pt x="0" y="155"/>
                  </a:cubicBezTo>
                  <a:cubicBezTo>
                    <a:pt x="0" y="111"/>
                    <a:pt x="0" y="111"/>
                    <a:pt x="0" y="111"/>
                  </a:cubicBezTo>
                  <a:cubicBezTo>
                    <a:pt x="45" y="66"/>
                    <a:pt x="45" y="66"/>
                    <a:pt x="45" y="66"/>
                  </a:cubicBezTo>
                  <a:cubicBezTo>
                    <a:pt x="53" y="57"/>
                    <a:pt x="52" y="47"/>
                    <a:pt x="46" y="42"/>
                  </a:cubicBezTo>
                  <a:cubicBezTo>
                    <a:pt x="41" y="36"/>
                    <a:pt x="31" y="35"/>
                    <a:pt x="22" y="44"/>
                  </a:cubicBezTo>
                  <a:cubicBezTo>
                    <a:pt x="0" y="66"/>
                    <a:pt x="0" y="66"/>
                    <a:pt x="0" y="66"/>
                  </a:cubicBezTo>
                  <a:lnTo>
                    <a:pt x="0"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35" name="Freeform 21"/>
            <p:cNvSpPr>
              <a:spLocks noEditPoints="1"/>
            </p:cNvSpPr>
            <p:nvPr userDrawn="1"/>
          </p:nvSpPr>
          <p:spPr bwMode="auto">
            <a:xfrm>
              <a:off x="7980890" y="5040472"/>
              <a:ext cx="51390" cy="57878"/>
            </a:xfrm>
            <a:custGeom>
              <a:avLst/>
              <a:gdLst>
                <a:gd name="T0" fmla="*/ 0 w 68"/>
                <a:gd name="T1" fmla="*/ 40 h 80"/>
                <a:gd name="T2" fmla="*/ 35 w 68"/>
                <a:gd name="T3" fmla="*/ 0 h 80"/>
                <a:gd name="T4" fmla="*/ 68 w 68"/>
                <a:gd name="T5" fmla="*/ 41 h 80"/>
                <a:gd name="T6" fmla="*/ 68 w 68"/>
                <a:gd name="T7" fmla="*/ 46 h 80"/>
                <a:gd name="T8" fmla="*/ 20 w 68"/>
                <a:gd name="T9" fmla="*/ 46 h 80"/>
                <a:gd name="T10" fmla="*/ 41 w 68"/>
                <a:gd name="T11" fmla="*/ 65 h 80"/>
                <a:gd name="T12" fmla="*/ 60 w 68"/>
                <a:gd name="T13" fmla="*/ 60 h 80"/>
                <a:gd name="T14" fmla="*/ 66 w 68"/>
                <a:gd name="T15" fmla="*/ 73 h 80"/>
                <a:gd name="T16" fmla="*/ 39 w 68"/>
                <a:gd name="T17" fmla="*/ 80 h 80"/>
                <a:gd name="T18" fmla="*/ 0 w 68"/>
                <a:gd name="T19" fmla="*/ 40 h 80"/>
                <a:gd name="T20" fmla="*/ 49 w 68"/>
                <a:gd name="T21" fmla="*/ 32 h 80"/>
                <a:gd name="T22" fmla="*/ 34 w 68"/>
                <a:gd name="T23" fmla="*/ 15 h 80"/>
                <a:gd name="T24" fmla="*/ 19 w 68"/>
                <a:gd name="T25" fmla="*/ 32 h 80"/>
                <a:gd name="T26" fmla="*/ 49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3" y="0"/>
                    <a:pt x="35" y="0"/>
                  </a:cubicBezTo>
                  <a:cubicBezTo>
                    <a:pt x="56" y="0"/>
                    <a:pt x="68" y="16"/>
                    <a:pt x="68" y="41"/>
                  </a:cubicBezTo>
                  <a:cubicBezTo>
                    <a:pt x="68" y="46"/>
                    <a:pt x="68" y="46"/>
                    <a:pt x="68" y="46"/>
                  </a:cubicBezTo>
                  <a:cubicBezTo>
                    <a:pt x="20" y="46"/>
                    <a:pt x="20" y="46"/>
                    <a:pt x="20" y="46"/>
                  </a:cubicBezTo>
                  <a:cubicBezTo>
                    <a:pt x="20" y="57"/>
                    <a:pt x="28" y="65"/>
                    <a:pt x="41" y="65"/>
                  </a:cubicBezTo>
                  <a:cubicBezTo>
                    <a:pt x="49" y="65"/>
                    <a:pt x="55" y="63"/>
                    <a:pt x="60" y="60"/>
                  </a:cubicBezTo>
                  <a:cubicBezTo>
                    <a:pt x="66" y="73"/>
                    <a:pt x="66" y="73"/>
                    <a:pt x="66" y="73"/>
                  </a:cubicBezTo>
                  <a:cubicBezTo>
                    <a:pt x="58" y="78"/>
                    <a:pt x="49" y="80"/>
                    <a:pt x="39" y="80"/>
                  </a:cubicBezTo>
                  <a:cubicBezTo>
                    <a:pt x="11" y="80"/>
                    <a:pt x="0" y="61"/>
                    <a:pt x="0" y="40"/>
                  </a:cubicBezTo>
                  <a:close/>
                  <a:moveTo>
                    <a:pt x="49" y="32"/>
                  </a:moveTo>
                  <a:cubicBezTo>
                    <a:pt x="49" y="23"/>
                    <a:pt x="44" y="15"/>
                    <a:pt x="34" y="15"/>
                  </a:cubicBezTo>
                  <a:cubicBezTo>
                    <a:pt x="25" y="15"/>
                    <a:pt x="19" y="23"/>
                    <a:pt x="19" y="32"/>
                  </a:cubicBezTo>
                  <a:lnTo>
                    <a:pt x="49"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36" name="Freeform 22"/>
            <p:cNvSpPr>
              <a:spLocks/>
            </p:cNvSpPr>
            <p:nvPr userDrawn="1"/>
          </p:nvSpPr>
          <p:spPr bwMode="auto">
            <a:xfrm>
              <a:off x="8295656" y="5041088"/>
              <a:ext cx="37258" cy="56031"/>
            </a:xfrm>
            <a:custGeom>
              <a:avLst/>
              <a:gdLst>
                <a:gd name="T0" fmla="*/ 42 w 49"/>
                <a:gd name="T1" fmla="*/ 19 h 77"/>
                <a:gd name="T2" fmla="*/ 33 w 49"/>
                <a:gd name="T3" fmla="*/ 16 h 77"/>
                <a:gd name="T4" fmla="*/ 19 w 49"/>
                <a:gd name="T5" fmla="*/ 23 h 77"/>
                <a:gd name="T6" fmla="*/ 19 w 49"/>
                <a:gd name="T7" fmla="*/ 63 h 77"/>
                <a:gd name="T8" fmla="*/ 0 w 49"/>
                <a:gd name="T9" fmla="*/ 77 h 77"/>
                <a:gd name="T10" fmla="*/ 0 w 49"/>
                <a:gd name="T11" fmla="*/ 1 h 77"/>
                <a:gd name="T12" fmla="*/ 16 w 49"/>
                <a:gd name="T13" fmla="*/ 1 h 77"/>
                <a:gd name="T14" fmla="*/ 18 w 49"/>
                <a:gd name="T15" fmla="*/ 9 h 77"/>
                <a:gd name="T16" fmla="*/ 39 w 49"/>
                <a:gd name="T17" fmla="*/ 0 h 77"/>
                <a:gd name="T18" fmla="*/ 49 w 49"/>
                <a:gd name="T19" fmla="*/ 3 h 77"/>
                <a:gd name="T20" fmla="*/ 42 w 49"/>
                <a:gd name="T21"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77">
                  <a:moveTo>
                    <a:pt x="42" y="19"/>
                  </a:moveTo>
                  <a:cubicBezTo>
                    <a:pt x="39" y="17"/>
                    <a:pt x="36" y="16"/>
                    <a:pt x="33" y="16"/>
                  </a:cubicBezTo>
                  <a:cubicBezTo>
                    <a:pt x="29" y="16"/>
                    <a:pt x="24" y="18"/>
                    <a:pt x="19" y="23"/>
                  </a:cubicBezTo>
                  <a:cubicBezTo>
                    <a:pt x="19" y="2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2"/>
                    <a:pt x="32" y="0"/>
                    <a:pt x="39" y="0"/>
                  </a:cubicBezTo>
                  <a:cubicBezTo>
                    <a:pt x="42" y="0"/>
                    <a:pt x="46" y="1"/>
                    <a:pt x="49" y="3"/>
                  </a:cubicBezTo>
                  <a:lnTo>
                    <a:pt x="42" y="1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37" name="Freeform 23"/>
            <p:cNvSpPr>
              <a:spLocks noEditPoints="1"/>
            </p:cNvSpPr>
            <p:nvPr userDrawn="1"/>
          </p:nvSpPr>
          <p:spPr bwMode="auto">
            <a:xfrm>
              <a:off x="8178743" y="5040472"/>
              <a:ext cx="51712" cy="57878"/>
            </a:xfrm>
            <a:custGeom>
              <a:avLst/>
              <a:gdLst>
                <a:gd name="T0" fmla="*/ 0 w 68"/>
                <a:gd name="T1" fmla="*/ 40 h 80"/>
                <a:gd name="T2" fmla="*/ 34 w 68"/>
                <a:gd name="T3" fmla="*/ 0 h 80"/>
                <a:gd name="T4" fmla="*/ 68 w 68"/>
                <a:gd name="T5" fmla="*/ 41 h 80"/>
                <a:gd name="T6" fmla="*/ 68 w 68"/>
                <a:gd name="T7" fmla="*/ 46 h 80"/>
                <a:gd name="T8" fmla="*/ 19 w 68"/>
                <a:gd name="T9" fmla="*/ 46 h 80"/>
                <a:gd name="T10" fmla="*/ 41 w 68"/>
                <a:gd name="T11" fmla="*/ 65 h 80"/>
                <a:gd name="T12" fmla="*/ 60 w 68"/>
                <a:gd name="T13" fmla="*/ 60 h 80"/>
                <a:gd name="T14" fmla="*/ 66 w 68"/>
                <a:gd name="T15" fmla="*/ 73 h 80"/>
                <a:gd name="T16" fmla="*/ 39 w 68"/>
                <a:gd name="T17" fmla="*/ 80 h 80"/>
                <a:gd name="T18" fmla="*/ 0 w 68"/>
                <a:gd name="T19" fmla="*/ 40 h 80"/>
                <a:gd name="T20" fmla="*/ 49 w 68"/>
                <a:gd name="T21" fmla="*/ 32 h 80"/>
                <a:gd name="T22" fmla="*/ 34 w 68"/>
                <a:gd name="T23" fmla="*/ 15 h 80"/>
                <a:gd name="T24" fmla="*/ 19 w 68"/>
                <a:gd name="T25" fmla="*/ 32 h 80"/>
                <a:gd name="T26" fmla="*/ 49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3" y="0"/>
                    <a:pt x="34" y="0"/>
                  </a:cubicBezTo>
                  <a:cubicBezTo>
                    <a:pt x="56" y="0"/>
                    <a:pt x="68" y="16"/>
                    <a:pt x="68" y="41"/>
                  </a:cubicBezTo>
                  <a:cubicBezTo>
                    <a:pt x="68" y="46"/>
                    <a:pt x="68" y="46"/>
                    <a:pt x="68" y="46"/>
                  </a:cubicBezTo>
                  <a:cubicBezTo>
                    <a:pt x="19" y="46"/>
                    <a:pt x="19" y="46"/>
                    <a:pt x="19" y="46"/>
                  </a:cubicBezTo>
                  <a:cubicBezTo>
                    <a:pt x="20" y="57"/>
                    <a:pt x="28" y="65"/>
                    <a:pt x="41" y="65"/>
                  </a:cubicBezTo>
                  <a:cubicBezTo>
                    <a:pt x="49" y="65"/>
                    <a:pt x="55" y="63"/>
                    <a:pt x="60" y="60"/>
                  </a:cubicBezTo>
                  <a:cubicBezTo>
                    <a:pt x="66" y="73"/>
                    <a:pt x="66" y="73"/>
                    <a:pt x="66" y="73"/>
                  </a:cubicBezTo>
                  <a:cubicBezTo>
                    <a:pt x="58" y="78"/>
                    <a:pt x="48" y="80"/>
                    <a:pt x="39" y="80"/>
                  </a:cubicBezTo>
                  <a:cubicBezTo>
                    <a:pt x="11" y="80"/>
                    <a:pt x="0" y="61"/>
                    <a:pt x="0" y="40"/>
                  </a:cubicBezTo>
                  <a:close/>
                  <a:moveTo>
                    <a:pt x="49" y="32"/>
                  </a:moveTo>
                  <a:cubicBezTo>
                    <a:pt x="48" y="23"/>
                    <a:pt x="44" y="15"/>
                    <a:pt x="34" y="15"/>
                  </a:cubicBezTo>
                  <a:cubicBezTo>
                    <a:pt x="25" y="15"/>
                    <a:pt x="19" y="23"/>
                    <a:pt x="19" y="32"/>
                  </a:cubicBezTo>
                  <a:lnTo>
                    <a:pt x="49"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38" name="Freeform 24"/>
            <p:cNvSpPr>
              <a:spLocks noEditPoints="1"/>
            </p:cNvSpPr>
            <p:nvPr userDrawn="1"/>
          </p:nvSpPr>
          <p:spPr bwMode="auto">
            <a:xfrm>
              <a:off x="8236557" y="5040472"/>
              <a:ext cx="51390" cy="57878"/>
            </a:xfrm>
            <a:custGeom>
              <a:avLst/>
              <a:gdLst>
                <a:gd name="T0" fmla="*/ 0 w 68"/>
                <a:gd name="T1" fmla="*/ 40 h 80"/>
                <a:gd name="T2" fmla="*/ 34 w 68"/>
                <a:gd name="T3" fmla="*/ 0 h 80"/>
                <a:gd name="T4" fmla="*/ 68 w 68"/>
                <a:gd name="T5" fmla="*/ 41 h 80"/>
                <a:gd name="T6" fmla="*/ 68 w 68"/>
                <a:gd name="T7" fmla="*/ 46 h 80"/>
                <a:gd name="T8" fmla="*/ 19 w 68"/>
                <a:gd name="T9" fmla="*/ 46 h 80"/>
                <a:gd name="T10" fmla="*/ 40 w 68"/>
                <a:gd name="T11" fmla="*/ 65 h 80"/>
                <a:gd name="T12" fmla="*/ 60 w 68"/>
                <a:gd name="T13" fmla="*/ 60 h 80"/>
                <a:gd name="T14" fmla="*/ 65 w 68"/>
                <a:gd name="T15" fmla="*/ 73 h 80"/>
                <a:gd name="T16" fmla="*/ 39 w 68"/>
                <a:gd name="T17" fmla="*/ 80 h 80"/>
                <a:gd name="T18" fmla="*/ 0 w 68"/>
                <a:gd name="T19" fmla="*/ 40 h 80"/>
                <a:gd name="T20" fmla="*/ 48 w 68"/>
                <a:gd name="T21" fmla="*/ 32 h 80"/>
                <a:gd name="T22" fmla="*/ 34 w 68"/>
                <a:gd name="T23" fmla="*/ 15 h 80"/>
                <a:gd name="T24" fmla="*/ 19 w 68"/>
                <a:gd name="T25" fmla="*/ 32 h 80"/>
                <a:gd name="T26" fmla="*/ 48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2" y="0"/>
                    <a:pt x="34" y="0"/>
                  </a:cubicBezTo>
                  <a:cubicBezTo>
                    <a:pt x="55" y="0"/>
                    <a:pt x="68" y="16"/>
                    <a:pt x="68" y="41"/>
                  </a:cubicBezTo>
                  <a:cubicBezTo>
                    <a:pt x="68" y="46"/>
                    <a:pt x="68" y="46"/>
                    <a:pt x="68" y="46"/>
                  </a:cubicBezTo>
                  <a:cubicBezTo>
                    <a:pt x="19" y="46"/>
                    <a:pt x="19" y="46"/>
                    <a:pt x="19" y="46"/>
                  </a:cubicBezTo>
                  <a:cubicBezTo>
                    <a:pt x="19" y="57"/>
                    <a:pt x="28" y="65"/>
                    <a:pt x="40" y="65"/>
                  </a:cubicBezTo>
                  <a:cubicBezTo>
                    <a:pt x="48" y="65"/>
                    <a:pt x="54" y="63"/>
                    <a:pt x="60" y="60"/>
                  </a:cubicBezTo>
                  <a:cubicBezTo>
                    <a:pt x="65" y="73"/>
                    <a:pt x="65" y="73"/>
                    <a:pt x="65" y="73"/>
                  </a:cubicBezTo>
                  <a:cubicBezTo>
                    <a:pt x="57" y="78"/>
                    <a:pt x="48" y="80"/>
                    <a:pt x="39" y="80"/>
                  </a:cubicBezTo>
                  <a:cubicBezTo>
                    <a:pt x="11" y="80"/>
                    <a:pt x="0" y="61"/>
                    <a:pt x="0" y="40"/>
                  </a:cubicBezTo>
                  <a:close/>
                  <a:moveTo>
                    <a:pt x="48" y="32"/>
                  </a:moveTo>
                  <a:cubicBezTo>
                    <a:pt x="48" y="23"/>
                    <a:pt x="44" y="15"/>
                    <a:pt x="34" y="15"/>
                  </a:cubicBezTo>
                  <a:cubicBezTo>
                    <a:pt x="24" y="15"/>
                    <a:pt x="19" y="23"/>
                    <a:pt x="19" y="32"/>
                  </a:cubicBezTo>
                  <a:lnTo>
                    <a:pt x="48"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39" name="Freeform 25"/>
            <p:cNvSpPr>
              <a:spLocks/>
            </p:cNvSpPr>
            <p:nvPr userDrawn="1"/>
          </p:nvSpPr>
          <p:spPr bwMode="auto">
            <a:xfrm>
              <a:off x="8040631" y="5041088"/>
              <a:ext cx="37258" cy="56031"/>
            </a:xfrm>
            <a:custGeom>
              <a:avLst/>
              <a:gdLst>
                <a:gd name="T0" fmla="*/ 42 w 49"/>
                <a:gd name="T1" fmla="*/ 19 h 77"/>
                <a:gd name="T2" fmla="*/ 33 w 49"/>
                <a:gd name="T3" fmla="*/ 16 h 77"/>
                <a:gd name="T4" fmla="*/ 19 w 49"/>
                <a:gd name="T5" fmla="*/ 23 h 77"/>
                <a:gd name="T6" fmla="*/ 19 w 49"/>
                <a:gd name="T7" fmla="*/ 63 h 77"/>
                <a:gd name="T8" fmla="*/ 0 w 49"/>
                <a:gd name="T9" fmla="*/ 77 h 77"/>
                <a:gd name="T10" fmla="*/ 0 w 49"/>
                <a:gd name="T11" fmla="*/ 1 h 77"/>
                <a:gd name="T12" fmla="*/ 16 w 49"/>
                <a:gd name="T13" fmla="*/ 1 h 77"/>
                <a:gd name="T14" fmla="*/ 18 w 49"/>
                <a:gd name="T15" fmla="*/ 9 h 77"/>
                <a:gd name="T16" fmla="*/ 38 w 49"/>
                <a:gd name="T17" fmla="*/ 0 h 77"/>
                <a:gd name="T18" fmla="*/ 49 w 49"/>
                <a:gd name="T19" fmla="*/ 3 h 77"/>
                <a:gd name="T20" fmla="*/ 42 w 49"/>
                <a:gd name="T21"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77">
                  <a:moveTo>
                    <a:pt x="42" y="19"/>
                  </a:moveTo>
                  <a:cubicBezTo>
                    <a:pt x="39" y="17"/>
                    <a:pt x="35" y="16"/>
                    <a:pt x="33" y="16"/>
                  </a:cubicBezTo>
                  <a:cubicBezTo>
                    <a:pt x="29" y="16"/>
                    <a:pt x="24" y="18"/>
                    <a:pt x="19" y="23"/>
                  </a:cubicBezTo>
                  <a:cubicBezTo>
                    <a:pt x="19" y="2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2"/>
                    <a:pt x="31" y="0"/>
                    <a:pt x="38" y="0"/>
                  </a:cubicBezTo>
                  <a:cubicBezTo>
                    <a:pt x="42" y="0"/>
                    <a:pt x="46" y="1"/>
                    <a:pt x="49" y="3"/>
                  </a:cubicBezTo>
                  <a:lnTo>
                    <a:pt x="42" y="1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40" name="Freeform 26"/>
            <p:cNvSpPr>
              <a:spLocks/>
            </p:cNvSpPr>
            <p:nvPr userDrawn="1"/>
          </p:nvSpPr>
          <p:spPr bwMode="auto">
            <a:xfrm>
              <a:off x="8083992" y="5041088"/>
              <a:ext cx="86400" cy="56031"/>
            </a:xfrm>
            <a:custGeom>
              <a:avLst/>
              <a:gdLst>
                <a:gd name="T0" fmla="*/ 114 w 114"/>
                <a:gd name="T1" fmla="*/ 25 h 77"/>
                <a:gd name="T2" fmla="*/ 114 w 114"/>
                <a:gd name="T3" fmla="*/ 63 h 77"/>
                <a:gd name="T4" fmla="*/ 95 w 114"/>
                <a:gd name="T5" fmla="*/ 77 h 77"/>
                <a:gd name="T6" fmla="*/ 95 w 114"/>
                <a:gd name="T7" fmla="*/ 31 h 77"/>
                <a:gd name="T8" fmla="*/ 84 w 114"/>
                <a:gd name="T9" fmla="*/ 16 h 77"/>
                <a:gd name="T10" fmla="*/ 66 w 114"/>
                <a:gd name="T11" fmla="*/ 23 h 77"/>
                <a:gd name="T12" fmla="*/ 66 w 114"/>
                <a:gd name="T13" fmla="*/ 63 h 77"/>
                <a:gd name="T14" fmla="*/ 66 w 114"/>
                <a:gd name="T15" fmla="*/ 63 h 77"/>
                <a:gd name="T16" fmla="*/ 47 w 114"/>
                <a:gd name="T17" fmla="*/ 77 h 77"/>
                <a:gd name="T18" fmla="*/ 47 w 114"/>
                <a:gd name="T19" fmla="*/ 31 h 77"/>
                <a:gd name="T20" fmla="*/ 37 w 114"/>
                <a:gd name="T21" fmla="*/ 16 h 77"/>
                <a:gd name="T22" fmla="*/ 19 w 114"/>
                <a:gd name="T23" fmla="*/ 23 h 77"/>
                <a:gd name="T24" fmla="*/ 19 w 114"/>
                <a:gd name="T25" fmla="*/ 63 h 77"/>
                <a:gd name="T26" fmla="*/ 19 w 114"/>
                <a:gd name="T27" fmla="*/ 63 h 77"/>
                <a:gd name="T28" fmla="*/ 0 w 114"/>
                <a:gd name="T29" fmla="*/ 77 h 77"/>
                <a:gd name="T30" fmla="*/ 0 w 114"/>
                <a:gd name="T31" fmla="*/ 1 h 77"/>
                <a:gd name="T32" fmla="*/ 16 w 114"/>
                <a:gd name="T33" fmla="*/ 1 h 77"/>
                <a:gd name="T34" fmla="*/ 18 w 114"/>
                <a:gd name="T35" fmla="*/ 9 h 77"/>
                <a:gd name="T36" fmla="*/ 43 w 114"/>
                <a:gd name="T37" fmla="*/ 0 h 77"/>
                <a:gd name="T38" fmla="*/ 63 w 114"/>
                <a:gd name="T39" fmla="*/ 11 h 77"/>
                <a:gd name="T40" fmla="*/ 89 w 114"/>
                <a:gd name="T41" fmla="*/ 0 h 77"/>
                <a:gd name="T42" fmla="*/ 114 w 114"/>
                <a:gd name="T43" fmla="*/ 2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77">
                  <a:moveTo>
                    <a:pt x="114" y="25"/>
                  </a:moveTo>
                  <a:cubicBezTo>
                    <a:pt x="114" y="63"/>
                    <a:pt x="114" y="63"/>
                    <a:pt x="114" y="63"/>
                  </a:cubicBezTo>
                  <a:cubicBezTo>
                    <a:pt x="114" y="77"/>
                    <a:pt x="95" y="77"/>
                    <a:pt x="95" y="77"/>
                  </a:cubicBezTo>
                  <a:cubicBezTo>
                    <a:pt x="95" y="31"/>
                    <a:pt x="95" y="31"/>
                    <a:pt x="95" y="31"/>
                  </a:cubicBezTo>
                  <a:cubicBezTo>
                    <a:pt x="95" y="22"/>
                    <a:pt x="93" y="16"/>
                    <a:pt x="84" y="16"/>
                  </a:cubicBezTo>
                  <a:cubicBezTo>
                    <a:pt x="77" y="16"/>
                    <a:pt x="71" y="19"/>
                    <a:pt x="66" y="23"/>
                  </a:cubicBezTo>
                  <a:cubicBezTo>
                    <a:pt x="66" y="63"/>
                    <a:pt x="66" y="63"/>
                    <a:pt x="66" y="63"/>
                  </a:cubicBezTo>
                  <a:cubicBezTo>
                    <a:pt x="66" y="63"/>
                    <a:pt x="66" y="49"/>
                    <a:pt x="66" y="63"/>
                  </a:cubicBezTo>
                  <a:cubicBezTo>
                    <a:pt x="66" y="77"/>
                    <a:pt x="47" y="77"/>
                    <a:pt x="47" y="77"/>
                  </a:cubicBezTo>
                  <a:cubicBezTo>
                    <a:pt x="47" y="31"/>
                    <a:pt x="47" y="31"/>
                    <a:pt x="47" y="31"/>
                  </a:cubicBezTo>
                  <a:cubicBezTo>
                    <a:pt x="47" y="23"/>
                    <a:pt x="46" y="16"/>
                    <a:pt x="37" y="16"/>
                  </a:cubicBezTo>
                  <a:cubicBezTo>
                    <a:pt x="30" y="16"/>
                    <a:pt x="19" y="23"/>
                    <a:pt x="19" y="23"/>
                  </a:cubicBezTo>
                  <a:cubicBezTo>
                    <a:pt x="19" y="63"/>
                    <a:pt x="19" y="63"/>
                    <a:pt x="19" y="63"/>
                  </a:cubicBezTo>
                  <a:cubicBezTo>
                    <a:pt x="19" y="6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3"/>
                    <a:pt x="34" y="0"/>
                    <a:pt x="43" y="0"/>
                  </a:cubicBezTo>
                  <a:cubicBezTo>
                    <a:pt x="52" y="0"/>
                    <a:pt x="59" y="4"/>
                    <a:pt x="63" y="11"/>
                  </a:cubicBezTo>
                  <a:cubicBezTo>
                    <a:pt x="71" y="3"/>
                    <a:pt x="81" y="0"/>
                    <a:pt x="89" y="0"/>
                  </a:cubicBezTo>
                  <a:cubicBezTo>
                    <a:pt x="102" y="0"/>
                    <a:pt x="114" y="6"/>
                    <a:pt x="114" y="25"/>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41" name="Freeform 27"/>
            <p:cNvSpPr>
              <a:spLocks/>
            </p:cNvSpPr>
            <p:nvPr userDrawn="1"/>
          </p:nvSpPr>
          <p:spPr bwMode="auto">
            <a:xfrm>
              <a:off x="7908622" y="5019846"/>
              <a:ext cx="77407" cy="77889"/>
            </a:xfrm>
            <a:custGeom>
              <a:avLst/>
              <a:gdLst>
                <a:gd name="T0" fmla="*/ 43 w 102"/>
                <a:gd name="T1" fmla="*/ 107 h 107"/>
                <a:gd name="T2" fmla="*/ 65 w 102"/>
                <a:gd name="T3" fmla="*/ 91 h 107"/>
                <a:gd name="T4" fmla="*/ 102 w 102"/>
                <a:gd name="T5" fmla="*/ 0 h 107"/>
                <a:gd name="T6" fmla="*/ 81 w 102"/>
                <a:gd name="T7" fmla="*/ 0 h 107"/>
                <a:gd name="T8" fmla="*/ 51 w 102"/>
                <a:gd name="T9" fmla="*/ 78 h 107"/>
                <a:gd name="T10" fmla="*/ 51 w 102"/>
                <a:gd name="T11" fmla="*/ 78 h 107"/>
                <a:gd name="T12" fmla="*/ 21 w 102"/>
                <a:gd name="T13" fmla="*/ 0 h 107"/>
                <a:gd name="T14" fmla="*/ 0 w 102"/>
                <a:gd name="T15" fmla="*/ 0 h 107"/>
                <a:gd name="T16" fmla="*/ 43 w 102"/>
                <a:gd name="T17"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107">
                  <a:moveTo>
                    <a:pt x="43" y="107"/>
                  </a:moveTo>
                  <a:cubicBezTo>
                    <a:pt x="57" y="107"/>
                    <a:pt x="61" y="101"/>
                    <a:pt x="65" y="91"/>
                  </a:cubicBezTo>
                  <a:cubicBezTo>
                    <a:pt x="102" y="0"/>
                    <a:pt x="102" y="0"/>
                    <a:pt x="102" y="0"/>
                  </a:cubicBezTo>
                  <a:cubicBezTo>
                    <a:pt x="81" y="0"/>
                    <a:pt x="81" y="0"/>
                    <a:pt x="81" y="0"/>
                  </a:cubicBezTo>
                  <a:cubicBezTo>
                    <a:pt x="51" y="78"/>
                    <a:pt x="51" y="78"/>
                    <a:pt x="51" y="78"/>
                  </a:cubicBezTo>
                  <a:cubicBezTo>
                    <a:pt x="51" y="78"/>
                    <a:pt x="51" y="78"/>
                    <a:pt x="51" y="78"/>
                  </a:cubicBezTo>
                  <a:cubicBezTo>
                    <a:pt x="21" y="0"/>
                    <a:pt x="21" y="0"/>
                    <a:pt x="21" y="0"/>
                  </a:cubicBezTo>
                  <a:cubicBezTo>
                    <a:pt x="0" y="0"/>
                    <a:pt x="0" y="0"/>
                    <a:pt x="0" y="0"/>
                  </a:cubicBezTo>
                  <a:cubicBezTo>
                    <a:pt x="43" y="107"/>
                    <a:pt x="43" y="107"/>
                    <a:pt x="43" y="10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142" name="Group 141"/>
          <p:cNvGrpSpPr/>
          <p:nvPr userDrawn="1"/>
        </p:nvGrpSpPr>
        <p:grpSpPr>
          <a:xfrm>
            <a:off x="4750866" y="4846684"/>
            <a:ext cx="1123200" cy="262528"/>
            <a:chOff x="7673274" y="4343117"/>
            <a:chExt cx="1123200" cy="262528"/>
          </a:xfrm>
          <a:solidFill>
            <a:schemeClr val="bg1"/>
          </a:solidFill>
        </p:grpSpPr>
        <p:grpSp>
          <p:nvGrpSpPr>
            <p:cNvPr id="143" name="Group 142"/>
            <p:cNvGrpSpPr/>
            <p:nvPr userDrawn="1"/>
          </p:nvGrpSpPr>
          <p:grpSpPr>
            <a:xfrm>
              <a:off x="7909937" y="4494135"/>
              <a:ext cx="438357" cy="111510"/>
              <a:chOff x="7909937" y="4491754"/>
              <a:chExt cx="438357" cy="111510"/>
            </a:xfrm>
            <a:grpFill/>
          </p:grpSpPr>
          <p:sp>
            <p:nvSpPr>
              <p:cNvPr id="160" name="Freeform 21"/>
              <p:cNvSpPr>
                <a:spLocks noEditPoints="1"/>
              </p:cNvSpPr>
              <p:nvPr/>
            </p:nvSpPr>
            <p:spPr bwMode="auto">
              <a:xfrm>
                <a:off x="7909937" y="4496945"/>
                <a:ext cx="72264" cy="78286"/>
              </a:xfrm>
              <a:custGeom>
                <a:avLst/>
                <a:gdLst>
                  <a:gd name="T0" fmla="*/ 290 w 696"/>
                  <a:gd name="T1" fmla="*/ 0 h 754"/>
                  <a:gd name="T2" fmla="*/ 394 w 696"/>
                  <a:gd name="T3" fmla="*/ 0 h 754"/>
                  <a:gd name="T4" fmla="*/ 696 w 696"/>
                  <a:gd name="T5" fmla="*/ 754 h 754"/>
                  <a:gd name="T6" fmla="*/ 550 w 696"/>
                  <a:gd name="T7" fmla="*/ 754 h 754"/>
                  <a:gd name="T8" fmla="*/ 478 w 696"/>
                  <a:gd name="T9" fmla="*/ 566 h 754"/>
                  <a:gd name="T10" fmla="*/ 210 w 696"/>
                  <a:gd name="T11" fmla="*/ 566 h 754"/>
                  <a:gd name="T12" fmla="*/ 140 w 696"/>
                  <a:gd name="T13" fmla="*/ 754 h 754"/>
                  <a:gd name="T14" fmla="*/ 0 w 696"/>
                  <a:gd name="T15" fmla="*/ 754 h 754"/>
                  <a:gd name="T16" fmla="*/ 290 w 696"/>
                  <a:gd name="T17" fmla="*/ 0 h 754"/>
                  <a:gd name="T18" fmla="*/ 436 w 696"/>
                  <a:gd name="T19" fmla="*/ 456 h 754"/>
                  <a:gd name="T20" fmla="*/ 384 w 696"/>
                  <a:gd name="T21" fmla="*/ 306 h 754"/>
                  <a:gd name="T22" fmla="*/ 384 w 696"/>
                  <a:gd name="T23" fmla="*/ 306 h 754"/>
                  <a:gd name="T24" fmla="*/ 360 w 696"/>
                  <a:gd name="T25" fmla="*/ 236 h 754"/>
                  <a:gd name="T26" fmla="*/ 346 w 696"/>
                  <a:gd name="T27" fmla="*/ 190 h 754"/>
                  <a:gd name="T28" fmla="*/ 344 w 696"/>
                  <a:gd name="T29" fmla="*/ 190 h 754"/>
                  <a:gd name="T30" fmla="*/ 344 w 696"/>
                  <a:gd name="T31" fmla="*/ 190 h 754"/>
                  <a:gd name="T32" fmla="*/ 328 w 696"/>
                  <a:gd name="T33" fmla="*/ 236 h 754"/>
                  <a:gd name="T34" fmla="*/ 304 w 696"/>
                  <a:gd name="T35" fmla="*/ 306 h 754"/>
                  <a:gd name="T36" fmla="*/ 250 w 696"/>
                  <a:gd name="T37" fmla="*/ 456 h 754"/>
                  <a:gd name="T38" fmla="*/ 436 w 696"/>
                  <a:gd name="T39" fmla="*/ 456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6" h="754">
                    <a:moveTo>
                      <a:pt x="290" y="0"/>
                    </a:moveTo>
                    <a:lnTo>
                      <a:pt x="394" y="0"/>
                    </a:lnTo>
                    <a:lnTo>
                      <a:pt x="696" y="754"/>
                    </a:lnTo>
                    <a:lnTo>
                      <a:pt x="550" y="754"/>
                    </a:lnTo>
                    <a:lnTo>
                      <a:pt x="478" y="566"/>
                    </a:lnTo>
                    <a:lnTo>
                      <a:pt x="210" y="566"/>
                    </a:lnTo>
                    <a:lnTo>
                      <a:pt x="140" y="754"/>
                    </a:lnTo>
                    <a:lnTo>
                      <a:pt x="0" y="754"/>
                    </a:lnTo>
                    <a:lnTo>
                      <a:pt x="290" y="0"/>
                    </a:lnTo>
                    <a:close/>
                    <a:moveTo>
                      <a:pt x="436" y="456"/>
                    </a:moveTo>
                    <a:lnTo>
                      <a:pt x="384" y="306"/>
                    </a:lnTo>
                    <a:lnTo>
                      <a:pt x="384" y="306"/>
                    </a:lnTo>
                    <a:lnTo>
                      <a:pt x="360" y="236"/>
                    </a:lnTo>
                    <a:lnTo>
                      <a:pt x="346" y="190"/>
                    </a:lnTo>
                    <a:lnTo>
                      <a:pt x="344" y="190"/>
                    </a:lnTo>
                    <a:lnTo>
                      <a:pt x="344" y="190"/>
                    </a:lnTo>
                    <a:lnTo>
                      <a:pt x="328" y="236"/>
                    </a:lnTo>
                    <a:lnTo>
                      <a:pt x="304" y="306"/>
                    </a:lnTo>
                    <a:lnTo>
                      <a:pt x="250" y="456"/>
                    </a:lnTo>
                    <a:lnTo>
                      <a:pt x="436" y="4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1" name="Freeform 22"/>
              <p:cNvSpPr>
                <a:spLocks noEditPoints="1"/>
              </p:cNvSpPr>
              <p:nvPr/>
            </p:nvSpPr>
            <p:spPr bwMode="auto">
              <a:xfrm>
                <a:off x="8047404" y="4517918"/>
                <a:ext cx="48591" cy="58558"/>
              </a:xfrm>
              <a:custGeom>
                <a:avLst/>
                <a:gdLst>
                  <a:gd name="T0" fmla="*/ 334 w 468"/>
                  <a:gd name="T1" fmla="*/ 502 h 564"/>
                  <a:gd name="T2" fmla="*/ 302 w 468"/>
                  <a:gd name="T3" fmla="*/ 526 h 564"/>
                  <a:gd name="T4" fmla="*/ 266 w 468"/>
                  <a:gd name="T5" fmla="*/ 546 h 564"/>
                  <a:gd name="T6" fmla="*/ 226 w 468"/>
                  <a:gd name="T7" fmla="*/ 560 h 564"/>
                  <a:gd name="T8" fmla="*/ 178 w 468"/>
                  <a:gd name="T9" fmla="*/ 564 h 564"/>
                  <a:gd name="T10" fmla="*/ 160 w 468"/>
                  <a:gd name="T11" fmla="*/ 564 h 564"/>
                  <a:gd name="T12" fmla="*/ 124 w 468"/>
                  <a:gd name="T13" fmla="*/ 558 h 564"/>
                  <a:gd name="T14" fmla="*/ 92 w 468"/>
                  <a:gd name="T15" fmla="*/ 546 h 564"/>
                  <a:gd name="T16" fmla="*/ 62 w 468"/>
                  <a:gd name="T17" fmla="*/ 528 h 564"/>
                  <a:gd name="T18" fmla="*/ 38 w 468"/>
                  <a:gd name="T19" fmla="*/ 506 h 564"/>
                  <a:gd name="T20" fmla="*/ 20 w 468"/>
                  <a:gd name="T21" fmla="*/ 478 h 564"/>
                  <a:gd name="T22" fmla="*/ 6 w 468"/>
                  <a:gd name="T23" fmla="*/ 446 h 564"/>
                  <a:gd name="T24" fmla="*/ 0 w 468"/>
                  <a:gd name="T25" fmla="*/ 412 h 564"/>
                  <a:gd name="T26" fmla="*/ 0 w 468"/>
                  <a:gd name="T27" fmla="*/ 392 h 564"/>
                  <a:gd name="T28" fmla="*/ 6 w 468"/>
                  <a:gd name="T29" fmla="*/ 342 h 564"/>
                  <a:gd name="T30" fmla="*/ 24 w 468"/>
                  <a:gd name="T31" fmla="*/ 302 h 564"/>
                  <a:gd name="T32" fmla="*/ 52 w 468"/>
                  <a:gd name="T33" fmla="*/ 270 h 564"/>
                  <a:gd name="T34" fmla="*/ 90 w 468"/>
                  <a:gd name="T35" fmla="*/ 246 h 564"/>
                  <a:gd name="T36" fmla="*/ 120 w 468"/>
                  <a:gd name="T37" fmla="*/ 232 h 564"/>
                  <a:gd name="T38" fmla="*/ 190 w 468"/>
                  <a:gd name="T39" fmla="*/ 218 h 564"/>
                  <a:gd name="T40" fmla="*/ 322 w 468"/>
                  <a:gd name="T41" fmla="*/ 210 h 564"/>
                  <a:gd name="T42" fmla="*/ 322 w 468"/>
                  <a:gd name="T43" fmla="*/ 194 h 564"/>
                  <a:gd name="T44" fmla="*/ 314 w 468"/>
                  <a:gd name="T45" fmla="*/ 154 h 564"/>
                  <a:gd name="T46" fmla="*/ 294 w 468"/>
                  <a:gd name="T47" fmla="*/ 126 h 564"/>
                  <a:gd name="T48" fmla="*/ 260 w 468"/>
                  <a:gd name="T49" fmla="*/ 108 h 564"/>
                  <a:gd name="T50" fmla="*/ 218 w 468"/>
                  <a:gd name="T51" fmla="*/ 104 h 564"/>
                  <a:gd name="T52" fmla="*/ 198 w 468"/>
                  <a:gd name="T53" fmla="*/ 104 h 564"/>
                  <a:gd name="T54" fmla="*/ 160 w 468"/>
                  <a:gd name="T55" fmla="*/ 110 h 564"/>
                  <a:gd name="T56" fmla="*/ 108 w 468"/>
                  <a:gd name="T57" fmla="*/ 126 h 564"/>
                  <a:gd name="T58" fmla="*/ 32 w 468"/>
                  <a:gd name="T59" fmla="*/ 54 h 564"/>
                  <a:gd name="T60" fmla="*/ 56 w 468"/>
                  <a:gd name="T61" fmla="*/ 42 h 564"/>
                  <a:gd name="T62" fmla="*/ 106 w 468"/>
                  <a:gd name="T63" fmla="*/ 22 h 564"/>
                  <a:gd name="T64" fmla="*/ 158 w 468"/>
                  <a:gd name="T65" fmla="*/ 8 h 564"/>
                  <a:gd name="T66" fmla="*/ 212 w 468"/>
                  <a:gd name="T67" fmla="*/ 0 h 564"/>
                  <a:gd name="T68" fmla="*/ 240 w 468"/>
                  <a:gd name="T69" fmla="*/ 0 h 564"/>
                  <a:gd name="T70" fmla="*/ 292 w 468"/>
                  <a:gd name="T71" fmla="*/ 4 h 564"/>
                  <a:gd name="T72" fmla="*/ 336 w 468"/>
                  <a:gd name="T73" fmla="*/ 12 h 564"/>
                  <a:gd name="T74" fmla="*/ 372 w 468"/>
                  <a:gd name="T75" fmla="*/ 28 h 564"/>
                  <a:gd name="T76" fmla="*/ 404 w 468"/>
                  <a:gd name="T77" fmla="*/ 50 h 564"/>
                  <a:gd name="T78" fmla="*/ 426 w 468"/>
                  <a:gd name="T79" fmla="*/ 76 h 564"/>
                  <a:gd name="T80" fmla="*/ 444 w 468"/>
                  <a:gd name="T81" fmla="*/ 110 h 564"/>
                  <a:gd name="T82" fmla="*/ 454 w 468"/>
                  <a:gd name="T83" fmla="*/ 150 h 564"/>
                  <a:gd name="T84" fmla="*/ 458 w 468"/>
                  <a:gd name="T85" fmla="*/ 196 h 564"/>
                  <a:gd name="T86" fmla="*/ 458 w 468"/>
                  <a:gd name="T87" fmla="*/ 414 h 564"/>
                  <a:gd name="T88" fmla="*/ 460 w 468"/>
                  <a:gd name="T89" fmla="*/ 496 h 564"/>
                  <a:gd name="T90" fmla="*/ 468 w 468"/>
                  <a:gd name="T91" fmla="*/ 552 h 564"/>
                  <a:gd name="T92" fmla="*/ 334 w 468"/>
                  <a:gd name="T93" fmla="*/ 502 h 564"/>
                  <a:gd name="T94" fmla="*/ 248 w 468"/>
                  <a:gd name="T95" fmla="*/ 304 h 564"/>
                  <a:gd name="T96" fmla="*/ 204 w 468"/>
                  <a:gd name="T97" fmla="*/ 310 h 564"/>
                  <a:gd name="T98" fmla="*/ 170 w 468"/>
                  <a:gd name="T99" fmla="*/ 322 h 564"/>
                  <a:gd name="T100" fmla="*/ 162 w 468"/>
                  <a:gd name="T101" fmla="*/ 326 h 564"/>
                  <a:gd name="T102" fmla="*/ 150 w 468"/>
                  <a:gd name="T103" fmla="*/ 340 h 564"/>
                  <a:gd name="T104" fmla="*/ 142 w 468"/>
                  <a:gd name="T105" fmla="*/ 354 h 564"/>
                  <a:gd name="T106" fmla="*/ 138 w 468"/>
                  <a:gd name="T107" fmla="*/ 382 h 564"/>
                  <a:gd name="T108" fmla="*/ 138 w 468"/>
                  <a:gd name="T109" fmla="*/ 400 h 564"/>
                  <a:gd name="T110" fmla="*/ 150 w 468"/>
                  <a:gd name="T111" fmla="*/ 426 h 564"/>
                  <a:gd name="T112" fmla="*/ 170 w 468"/>
                  <a:gd name="T113" fmla="*/ 446 h 564"/>
                  <a:gd name="T114" fmla="*/ 200 w 468"/>
                  <a:gd name="T115" fmla="*/ 456 h 564"/>
                  <a:gd name="T116" fmla="*/ 216 w 468"/>
                  <a:gd name="T117" fmla="*/ 456 h 564"/>
                  <a:gd name="T118" fmla="*/ 252 w 468"/>
                  <a:gd name="T119" fmla="*/ 452 h 564"/>
                  <a:gd name="T120" fmla="*/ 282 w 468"/>
                  <a:gd name="T121" fmla="*/ 442 h 564"/>
                  <a:gd name="T122" fmla="*/ 322 w 468"/>
                  <a:gd name="T123" fmla="*/ 418 h 564"/>
                  <a:gd name="T124" fmla="*/ 248 w 468"/>
                  <a:gd name="T125" fmla="*/ 30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8" h="564">
                    <a:moveTo>
                      <a:pt x="334" y="502"/>
                    </a:moveTo>
                    <a:lnTo>
                      <a:pt x="334" y="502"/>
                    </a:lnTo>
                    <a:lnTo>
                      <a:pt x="318" y="514"/>
                    </a:lnTo>
                    <a:lnTo>
                      <a:pt x="302" y="526"/>
                    </a:lnTo>
                    <a:lnTo>
                      <a:pt x="284" y="536"/>
                    </a:lnTo>
                    <a:lnTo>
                      <a:pt x="266" y="546"/>
                    </a:lnTo>
                    <a:lnTo>
                      <a:pt x="246" y="554"/>
                    </a:lnTo>
                    <a:lnTo>
                      <a:pt x="226" y="560"/>
                    </a:lnTo>
                    <a:lnTo>
                      <a:pt x="202" y="562"/>
                    </a:lnTo>
                    <a:lnTo>
                      <a:pt x="178" y="564"/>
                    </a:lnTo>
                    <a:lnTo>
                      <a:pt x="178" y="564"/>
                    </a:lnTo>
                    <a:lnTo>
                      <a:pt x="160" y="564"/>
                    </a:lnTo>
                    <a:lnTo>
                      <a:pt x="140" y="560"/>
                    </a:lnTo>
                    <a:lnTo>
                      <a:pt x="124" y="558"/>
                    </a:lnTo>
                    <a:lnTo>
                      <a:pt x="106" y="552"/>
                    </a:lnTo>
                    <a:lnTo>
                      <a:pt x="92" y="546"/>
                    </a:lnTo>
                    <a:lnTo>
                      <a:pt x="76" y="538"/>
                    </a:lnTo>
                    <a:lnTo>
                      <a:pt x="62" y="528"/>
                    </a:lnTo>
                    <a:lnTo>
                      <a:pt x="50" y="516"/>
                    </a:lnTo>
                    <a:lnTo>
                      <a:pt x="38" y="506"/>
                    </a:lnTo>
                    <a:lnTo>
                      <a:pt x="28" y="492"/>
                    </a:lnTo>
                    <a:lnTo>
                      <a:pt x="20" y="478"/>
                    </a:lnTo>
                    <a:lnTo>
                      <a:pt x="12" y="462"/>
                    </a:lnTo>
                    <a:lnTo>
                      <a:pt x="6" y="446"/>
                    </a:lnTo>
                    <a:lnTo>
                      <a:pt x="2" y="430"/>
                    </a:lnTo>
                    <a:lnTo>
                      <a:pt x="0" y="412"/>
                    </a:lnTo>
                    <a:lnTo>
                      <a:pt x="0" y="392"/>
                    </a:lnTo>
                    <a:lnTo>
                      <a:pt x="0" y="392"/>
                    </a:lnTo>
                    <a:lnTo>
                      <a:pt x="0" y="366"/>
                    </a:lnTo>
                    <a:lnTo>
                      <a:pt x="6" y="342"/>
                    </a:lnTo>
                    <a:lnTo>
                      <a:pt x="14" y="320"/>
                    </a:lnTo>
                    <a:lnTo>
                      <a:pt x="24" y="302"/>
                    </a:lnTo>
                    <a:lnTo>
                      <a:pt x="36" y="284"/>
                    </a:lnTo>
                    <a:lnTo>
                      <a:pt x="52" y="270"/>
                    </a:lnTo>
                    <a:lnTo>
                      <a:pt x="70" y="256"/>
                    </a:lnTo>
                    <a:lnTo>
                      <a:pt x="90" y="246"/>
                    </a:lnTo>
                    <a:lnTo>
                      <a:pt x="90" y="246"/>
                    </a:lnTo>
                    <a:lnTo>
                      <a:pt x="120" y="232"/>
                    </a:lnTo>
                    <a:lnTo>
                      <a:pt x="154" y="224"/>
                    </a:lnTo>
                    <a:lnTo>
                      <a:pt x="190" y="218"/>
                    </a:lnTo>
                    <a:lnTo>
                      <a:pt x="230" y="214"/>
                    </a:lnTo>
                    <a:lnTo>
                      <a:pt x="322" y="210"/>
                    </a:lnTo>
                    <a:lnTo>
                      <a:pt x="322" y="194"/>
                    </a:lnTo>
                    <a:lnTo>
                      <a:pt x="322" y="194"/>
                    </a:lnTo>
                    <a:lnTo>
                      <a:pt x="320" y="172"/>
                    </a:lnTo>
                    <a:lnTo>
                      <a:pt x="314" y="154"/>
                    </a:lnTo>
                    <a:lnTo>
                      <a:pt x="306" y="138"/>
                    </a:lnTo>
                    <a:lnTo>
                      <a:pt x="294" y="126"/>
                    </a:lnTo>
                    <a:lnTo>
                      <a:pt x="278" y="116"/>
                    </a:lnTo>
                    <a:lnTo>
                      <a:pt x="260" y="108"/>
                    </a:lnTo>
                    <a:lnTo>
                      <a:pt x="240" y="106"/>
                    </a:lnTo>
                    <a:lnTo>
                      <a:pt x="218" y="104"/>
                    </a:lnTo>
                    <a:lnTo>
                      <a:pt x="218" y="104"/>
                    </a:lnTo>
                    <a:lnTo>
                      <a:pt x="198" y="104"/>
                    </a:lnTo>
                    <a:lnTo>
                      <a:pt x="178" y="106"/>
                    </a:lnTo>
                    <a:lnTo>
                      <a:pt x="160" y="110"/>
                    </a:lnTo>
                    <a:lnTo>
                      <a:pt x="142" y="114"/>
                    </a:lnTo>
                    <a:lnTo>
                      <a:pt x="108" y="126"/>
                    </a:lnTo>
                    <a:lnTo>
                      <a:pt x="76" y="142"/>
                    </a:lnTo>
                    <a:lnTo>
                      <a:pt x="32" y="54"/>
                    </a:lnTo>
                    <a:lnTo>
                      <a:pt x="32" y="54"/>
                    </a:lnTo>
                    <a:lnTo>
                      <a:pt x="56" y="42"/>
                    </a:lnTo>
                    <a:lnTo>
                      <a:pt x="82" y="30"/>
                    </a:lnTo>
                    <a:lnTo>
                      <a:pt x="106" y="22"/>
                    </a:lnTo>
                    <a:lnTo>
                      <a:pt x="132" y="14"/>
                    </a:lnTo>
                    <a:lnTo>
                      <a:pt x="158" y="8"/>
                    </a:lnTo>
                    <a:lnTo>
                      <a:pt x="186" y="4"/>
                    </a:lnTo>
                    <a:lnTo>
                      <a:pt x="212" y="0"/>
                    </a:lnTo>
                    <a:lnTo>
                      <a:pt x="240" y="0"/>
                    </a:lnTo>
                    <a:lnTo>
                      <a:pt x="240" y="0"/>
                    </a:lnTo>
                    <a:lnTo>
                      <a:pt x="268" y="0"/>
                    </a:lnTo>
                    <a:lnTo>
                      <a:pt x="292" y="4"/>
                    </a:lnTo>
                    <a:lnTo>
                      <a:pt x="314" y="6"/>
                    </a:lnTo>
                    <a:lnTo>
                      <a:pt x="336" y="12"/>
                    </a:lnTo>
                    <a:lnTo>
                      <a:pt x="356" y="20"/>
                    </a:lnTo>
                    <a:lnTo>
                      <a:pt x="372" y="28"/>
                    </a:lnTo>
                    <a:lnTo>
                      <a:pt x="388" y="38"/>
                    </a:lnTo>
                    <a:lnTo>
                      <a:pt x="404" y="50"/>
                    </a:lnTo>
                    <a:lnTo>
                      <a:pt x="416" y="62"/>
                    </a:lnTo>
                    <a:lnTo>
                      <a:pt x="426" y="76"/>
                    </a:lnTo>
                    <a:lnTo>
                      <a:pt x="436" y="94"/>
                    </a:lnTo>
                    <a:lnTo>
                      <a:pt x="444" y="110"/>
                    </a:lnTo>
                    <a:lnTo>
                      <a:pt x="450" y="130"/>
                    </a:lnTo>
                    <a:lnTo>
                      <a:pt x="454" y="150"/>
                    </a:lnTo>
                    <a:lnTo>
                      <a:pt x="456" y="172"/>
                    </a:lnTo>
                    <a:lnTo>
                      <a:pt x="458" y="196"/>
                    </a:lnTo>
                    <a:lnTo>
                      <a:pt x="458" y="414"/>
                    </a:lnTo>
                    <a:lnTo>
                      <a:pt x="458" y="414"/>
                    </a:lnTo>
                    <a:lnTo>
                      <a:pt x="458" y="458"/>
                    </a:lnTo>
                    <a:lnTo>
                      <a:pt x="460" y="496"/>
                    </a:lnTo>
                    <a:lnTo>
                      <a:pt x="462" y="528"/>
                    </a:lnTo>
                    <a:lnTo>
                      <a:pt x="468" y="552"/>
                    </a:lnTo>
                    <a:lnTo>
                      <a:pt x="354" y="552"/>
                    </a:lnTo>
                    <a:lnTo>
                      <a:pt x="334" y="502"/>
                    </a:lnTo>
                    <a:close/>
                    <a:moveTo>
                      <a:pt x="248" y="304"/>
                    </a:moveTo>
                    <a:lnTo>
                      <a:pt x="248" y="304"/>
                    </a:lnTo>
                    <a:lnTo>
                      <a:pt x="224" y="306"/>
                    </a:lnTo>
                    <a:lnTo>
                      <a:pt x="204" y="310"/>
                    </a:lnTo>
                    <a:lnTo>
                      <a:pt x="186" y="314"/>
                    </a:lnTo>
                    <a:lnTo>
                      <a:pt x="170" y="322"/>
                    </a:lnTo>
                    <a:lnTo>
                      <a:pt x="170" y="322"/>
                    </a:lnTo>
                    <a:lnTo>
                      <a:pt x="162" y="326"/>
                    </a:lnTo>
                    <a:lnTo>
                      <a:pt x="156" y="332"/>
                    </a:lnTo>
                    <a:lnTo>
                      <a:pt x="150" y="340"/>
                    </a:lnTo>
                    <a:lnTo>
                      <a:pt x="146" y="346"/>
                    </a:lnTo>
                    <a:lnTo>
                      <a:pt x="142" y="354"/>
                    </a:lnTo>
                    <a:lnTo>
                      <a:pt x="140" y="364"/>
                    </a:lnTo>
                    <a:lnTo>
                      <a:pt x="138" y="382"/>
                    </a:lnTo>
                    <a:lnTo>
                      <a:pt x="138" y="382"/>
                    </a:lnTo>
                    <a:lnTo>
                      <a:pt x="138" y="400"/>
                    </a:lnTo>
                    <a:lnTo>
                      <a:pt x="142" y="414"/>
                    </a:lnTo>
                    <a:lnTo>
                      <a:pt x="150" y="426"/>
                    </a:lnTo>
                    <a:lnTo>
                      <a:pt x="158" y="438"/>
                    </a:lnTo>
                    <a:lnTo>
                      <a:pt x="170" y="446"/>
                    </a:lnTo>
                    <a:lnTo>
                      <a:pt x="184" y="452"/>
                    </a:lnTo>
                    <a:lnTo>
                      <a:pt x="200" y="456"/>
                    </a:lnTo>
                    <a:lnTo>
                      <a:pt x="216" y="456"/>
                    </a:lnTo>
                    <a:lnTo>
                      <a:pt x="216" y="456"/>
                    </a:lnTo>
                    <a:lnTo>
                      <a:pt x="234" y="456"/>
                    </a:lnTo>
                    <a:lnTo>
                      <a:pt x="252" y="452"/>
                    </a:lnTo>
                    <a:lnTo>
                      <a:pt x="268" y="448"/>
                    </a:lnTo>
                    <a:lnTo>
                      <a:pt x="282" y="442"/>
                    </a:lnTo>
                    <a:lnTo>
                      <a:pt x="304" y="430"/>
                    </a:lnTo>
                    <a:lnTo>
                      <a:pt x="322" y="418"/>
                    </a:lnTo>
                    <a:lnTo>
                      <a:pt x="322" y="302"/>
                    </a:lnTo>
                    <a:lnTo>
                      <a:pt x="248" y="3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2" name="Freeform 23"/>
              <p:cNvSpPr>
                <a:spLocks/>
              </p:cNvSpPr>
              <p:nvPr/>
            </p:nvSpPr>
            <p:spPr bwMode="auto">
              <a:xfrm>
                <a:off x="8121536" y="4519372"/>
                <a:ext cx="62089" cy="83892"/>
              </a:xfrm>
              <a:custGeom>
                <a:avLst/>
                <a:gdLst>
                  <a:gd name="T0" fmla="*/ 34 w 598"/>
                  <a:gd name="T1" fmla="*/ 678 h 808"/>
                  <a:gd name="T2" fmla="*/ 34 w 598"/>
                  <a:gd name="T3" fmla="*/ 678 h 808"/>
                  <a:gd name="T4" fmla="*/ 54 w 598"/>
                  <a:gd name="T5" fmla="*/ 688 h 808"/>
                  <a:gd name="T6" fmla="*/ 74 w 598"/>
                  <a:gd name="T7" fmla="*/ 694 h 808"/>
                  <a:gd name="T8" fmla="*/ 94 w 598"/>
                  <a:gd name="T9" fmla="*/ 698 h 808"/>
                  <a:gd name="T10" fmla="*/ 116 w 598"/>
                  <a:gd name="T11" fmla="*/ 700 h 808"/>
                  <a:gd name="T12" fmla="*/ 116 w 598"/>
                  <a:gd name="T13" fmla="*/ 700 h 808"/>
                  <a:gd name="T14" fmla="*/ 138 w 598"/>
                  <a:gd name="T15" fmla="*/ 698 h 808"/>
                  <a:gd name="T16" fmla="*/ 158 w 598"/>
                  <a:gd name="T17" fmla="*/ 692 h 808"/>
                  <a:gd name="T18" fmla="*/ 168 w 598"/>
                  <a:gd name="T19" fmla="*/ 686 h 808"/>
                  <a:gd name="T20" fmla="*/ 178 w 598"/>
                  <a:gd name="T21" fmla="*/ 680 h 808"/>
                  <a:gd name="T22" fmla="*/ 188 w 598"/>
                  <a:gd name="T23" fmla="*/ 672 h 808"/>
                  <a:gd name="T24" fmla="*/ 198 w 598"/>
                  <a:gd name="T25" fmla="*/ 664 h 808"/>
                  <a:gd name="T26" fmla="*/ 216 w 598"/>
                  <a:gd name="T27" fmla="*/ 642 h 808"/>
                  <a:gd name="T28" fmla="*/ 234 w 598"/>
                  <a:gd name="T29" fmla="*/ 612 h 808"/>
                  <a:gd name="T30" fmla="*/ 250 w 598"/>
                  <a:gd name="T31" fmla="*/ 578 h 808"/>
                  <a:gd name="T32" fmla="*/ 266 w 598"/>
                  <a:gd name="T33" fmla="*/ 536 h 808"/>
                  <a:gd name="T34" fmla="*/ 24 w 598"/>
                  <a:gd name="T35" fmla="*/ 0 h 808"/>
                  <a:gd name="T36" fmla="*/ 164 w 598"/>
                  <a:gd name="T37" fmla="*/ 0 h 808"/>
                  <a:gd name="T38" fmla="*/ 328 w 598"/>
                  <a:gd name="T39" fmla="*/ 382 h 808"/>
                  <a:gd name="T40" fmla="*/ 330 w 598"/>
                  <a:gd name="T41" fmla="*/ 382 h 808"/>
                  <a:gd name="T42" fmla="*/ 460 w 598"/>
                  <a:gd name="T43" fmla="*/ 0 h 808"/>
                  <a:gd name="T44" fmla="*/ 598 w 598"/>
                  <a:gd name="T45" fmla="*/ 0 h 808"/>
                  <a:gd name="T46" fmla="*/ 392 w 598"/>
                  <a:gd name="T47" fmla="*/ 556 h 808"/>
                  <a:gd name="T48" fmla="*/ 392 w 598"/>
                  <a:gd name="T49" fmla="*/ 556 h 808"/>
                  <a:gd name="T50" fmla="*/ 376 w 598"/>
                  <a:gd name="T51" fmla="*/ 596 h 808"/>
                  <a:gd name="T52" fmla="*/ 360 w 598"/>
                  <a:gd name="T53" fmla="*/ 632 h 808"/>
                  <a:gd name="T54" fmla="*/ 344 w 598"/>
                  <a:gd name="T55" fmla="*/ 662 h 808"/>
                  <a:gd name="T56" fmla="*/ 326 w 598"/>
                  <a:gd name="T57" fmla="*/ 690 h 808"/>
                  <a:gd name="T58" fmla="*/ 308 w 598"/>
                  <a:gd name="T59" fmla="*/ 714 h 808"/>
                  <a:gd name="T60" fmla="*/ 292 w 598"/>
                  <a:gd name="T61" fmla="*/ 734 h 808"/>
                  <a:gd name="T62" fmla="*/ 274 w 598"/>
                  <a:gd name="T63" fmla="*/ 752 h 808"/>
                  <a:gd name="T64" fmla="*/ 256 w 598"/>
                  <a:gd name="T65" fmla="*/ 766 h 808"/>
                  <a:gd name="T66" fmla="*/ 238 w 598"/>
                  <a:gd name="T67" fmla="*/ 778 h 808"/>
                  <a:gd name="T68" fmla="*/ 220 w 598"/>
                  <a:gd name="T69" fmla="*/ 788 h 808"/>
                  <a:gd name="T70" fmla="*/ 200 w 598"/>
                  <a:gd name="T71" fmla="*/ 796 h 808"/>
                  <a:gd name="T72" fmla="*/ 182 w 598"/>
                  <a:gd name="T73" fmla="*/ 800 h 808"/>
                  <a:gd name="T74" fmla="*/ 164 w 598"/>
                  <a:gd name="T75" fmla="*/ 804 h 808"/>
                  <a:gd name="T76" fmla="*/ 146 w 598"/>
                  <a:gd name="T77" fmla="*/ 808 h 808"/>
                  <a:gd name="T78" fmla="*/ 108 w 598"/>
                  <a:gd name="T79" fmla="*/ 808 h 808"/>
                  <a:gd name="T80" fmla="*/ 108 w 598"/>
                  <a:gd name="T81" fmla="*/ 808 h 808"/>
                  <a:gd name="T82" fmla="*/ 78 w 598"/>
                  <a:gd name="T83" fmla="*/ 808 h 808"/>
                  <a:gd name="T84" fmla="*/ 52 w 598"/>
                  <a:gd name="T85" fmla="*/ 802 h 808"/>
                  <a:gd name="T86" fmla="*/ 26 w 598"/>
                  <a:gd name="T87" fmla="*/ 794 h 808"/>
                  <a:gd name="T88" fmla="*/ 0 w 598"/>
                  <a:gd name="T89" fmla="*/ 784 h 808"/>
                  <a:gd name="T90" fmla="*/ 34 w 598"/>
                  <a:gd name="T91" fmla="*/ 678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98" h="808">
                    <a:moveTo>
                      <a:pt x="34" y="678"/>
                    </a:moveTo>
                    <a:lnTo>
                      <a:pt x="34" y="678"/>
                    </a:lnTo>
                    <a:lnTo>
                      <a:pt x="54" y="688"/>
                    </a:lnTo>
                    <a:lnTo>
                      <a:pt x="74" y="694"/>
                    </a:lnTo>
                    <a:lnTo>
                      <a:pt x="94" y="698"/>
                    </a:lnTo>
                    <a:lnTo>
                      <a:pt x="116" y="700"/>
                    </a:lnTo>
                    <a:lnTo>
                      <a:pt x="116" y="700"/>
                    </a:lnTo>
                    <a:lnTo>
                      <a:pt x="138" y="698"/>
                    </a:lnTo>
                    <a:lnTo>
                      <a:pt x="158" y="692"/>
                    </a:lnTo>
                    <a:lnTo>
                      <a:pt x="168" y="686"/>
                    </a:lnTo>
                    <a:lnTo>
                      <a:pt x="178" y="680"/>
                    </a:lnTo>
                    <a:lnTo>
                      <a:pt x="188" y="672"/>
                    </a:lnTo>
                    <a:lnTo>
                      <a:pt x="198" y="664"/>
                    </a:lnTo>
                    <a:lnTo>
                      <a:pt x="216" y="642"/>
                    </a:lnTo>
                    <a:lnTo>
                      <a:pt x="234" y="612"/>
                    </a:lnTo>
                    <a:lnTo>
                      <a:pt x="250" y="578"/>
                    </a:lnTo>
                    <a:lnTo>
                      <a:pt x="266" y="536"/>
                    </a:lnTo>
                    <a:lnTo>
                      <a:pt x="24" y="0"/>
                    </a:lnTo>
                    <a:lnTo>
                      <a:pt x="164" y="0"/>
                    </a:lnTo>
                    <a:lnTo>
                      <a:pt x="328" y="382"/>
                    </a:lnTo>
                    <a:lnTo>
                      <a:pt x="330" y="382"/>
                    </a:lnTo>
                    <a:lnTo>
                      <a:pt x="460" y="0"/>
                    </a:lnTo>
                    <a:lnTo>
                      <a:pt x="598" y="0"/>
                    </a:lnTo>
                    <a:lnTo>
                      <a:pt x="392" y="556"/>
                    </a:lnTo>
                    <a:lnTo>
                      <a:pt x="392" y="556"/>
                    </a:lnTo>
                    <a:lnTo>
                      <a:pt x="376" y="596"/>
                    </a:lnTo>
                    <a:lnTo>
                      <a:pt x="360" y="632"/>
                    </a:lnTo>
                    <a:lnTo>
                      <a:pt x="344" y="662"/>
                    </a:lnTo>
                    <a:lnTo>
                      <a:pt x="326" y="690"/>
                    </a:lnTo>
                    <a:lnTo>
                      <a:pt x="308" y="714"/>
                    </a:lnTo>
                    <a:lnTo>
                      <a:pt x="292" y="734"/>
                    </a:lnTo>
                    <a:lnTo>
                      <a:pt x="274" y="752"/>
                    </a:lnTo>
                    <a:lnTo>
                      <a:pt x="256" y="766"/>
                    </a:lnTo>
                    <a:lnTo>
                      <a:pt x="238" y="778"/>
                    </a:lnTo>
                    <a:lnTo>
                      <a:pt x="220" y="788"/>
                    </a:lnTo>
                    <a:lnTo>
                      <a:pt x="200" y="796"/>
                    </a:lnTo>
                    <a:lnTo>
                      <a:pt x="182" y="800"/>
                    </a:lnTo>
                    <a:lnTo>
                      <a:pt x="164" y="804"/>
                    </a:lnTo>
                    <a:lnTo>
                      <a:pt x="146" y="808"/>
                    </a:lnTo>
                    <a:lnTo>
                      <a:pt x="108" y="808"/>
                    </a:lnTo>
                    <a:lnTo>
                      <a:pt x="108" y="808"/>
                    </a:lnTo>
                    <a:lnTo>
                      <a:pt x="78" y="808"/>
                    </a:lnTo>
                    <a:lnTo>
                      <a:pt x="52" y="802"/>
                    </a:lnTo>
                    <a:lnTo>
                      <a:pt x="26" y="794"/>
                    </a:lnTo>
                    <a:lnTo>
                      <a:pt x="0" y="784"/>
                    </a:lnTo>
                    <a:lnTo>
                      <a:pt x="34" y="6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3" name="Freeform 24"/>
              <p:cNvSpPr>
                <a:spLocks/>
              </p:cNvSpPr>
              <p:nvPr/>
            </p:nvSpPr>
            <p:spPr bwMode="auto">
              <a:xfrm>
                <a:off x="8179056" y="4502136"/>
                <a:ext cx="45269" cy="74340"/>
              </a:xfrm>
              <a:custGeom>
                <a:avLst/>
                <a:gdLst>
                  <a:gd name="T0" fmla="*/ 124 w 436"/>
                  <a:gd name="T1" fmla="*/ 572 h 716"/>
                  <a:gd name="T2" fmla="*/ 124 w 436"/>
                  <a:gd name="T3" fmla="*/ 272 h 716"/>
                  <a:gd name="T4" fmla="*/ 0 w 436"/>
                  <a:gd name="T5" fmla="*/ 272 h 716"/>
                  <a:gd name="T6" fmla="*/ 28 w 436"/>
                  <a:gd name="T7" fmla="*/ 166 h 716"/>
                  <a:gd name="T8" fmla="*/ 124 w 436"/>
                  <a:gd name="T9" fmla="*/ 166 h 716"/>
                  <a:gd name="T10" fmla="*/ 124 w 436"/>
                  <a:gd name="T11" fmla="*/ 40 h 716"/>
                  <a:gd name="T12" fmla="*/ 260 w 436"/>
                  <a:gd name="T13" fmla="*/ 0 h 716"/>
                  <a:gd name="T14" fmla="*/ 260 w 436"/>
                  <a:gd name="T15" fmla="*/ 166 h 716"/>
                  <a:gd name="T16" fmla="*/ 424 w 436"/>
                  <a:gd name="T17" fmla="*/ 166 h 716"/>
                  <a:gd name="T18" fmla="*/ 390 w 436"/>
                  <a:gd name="T19" fmla="*/ 272 h 716"/>
                  <a:gd name="T20" fmla="*/ 260 w 436"/>
                  <a:gd name="T21" fmla="*/ 272 h 716"/>
                  <a:gd name="T22" fmla="*/ 260 w 436"/>
                  <a:gd name="T23" fmla="*/ 538 h 716"/>
                  <a:gd name="T24" fmla="*/ 260 w 436"/>
                  <a:gd name="T25" fmla="*/ 538 h 716"/>
                  <a:gd name="T26" fmla="*/ 262 w 436"/>
                  <a:gd name="T27" fmla="*/ 556 h 716"/>
                  <a:gd name="T28" fmla="*/ 264 w 436"/>
                  <a:gd name="T29" fmla="*/ 570 h 716"/>
                  <a:gd name="T30" fmla="*/ 268 w 436"/>
                  <a:gd name="T31" fmla="*/ 582 h 716"/>
                  <a:gd name="T32" fmla="*/ 274 w 436"/>
                  <a:gd name="T33" fmla="*/ 592 h 716"/>
                  <a:gd name="T34" fmla="*/ 280 w 436"/>
                  <a:gd name="T35" fmla="*/ 598 h 716"/>
                  <a:gd name="T36" fmla="*/ 290 w 436"/>
                  <a:gd name="T37" fmla="*/ 604 h 716"/>
                  <a:gd name="T38" fmla="*/ 300 w 436"/>
                  <a:gd name="T39" fmla="*/ 606 h 716"/>
                  <a:gd name="T40" fmla="*/ 312 w 436"/>
                  <a:gd name="T41" fmla="*/ 606 h 716"/>
                  <a:gd name="T42" fmla="*/ 312 w 436"/>
                  <a:gd name="T43" fmla="*/ 606 h 716"/>
                  <a:gd name="T44" fmla="*/ 336 w 436"/>
                  <a:gd name="T45" fmla="*/ 604 h 716"/>
                  <a:gd name="T46" fmla="*/ 358 w 436"/>
                  <a:gd name="T47" fmla="*/ 598 h 716"/>
                  <a:gd name="T48" fmla="*/ 378 w 436"/>
                  <a:gd name="T49" fmla="*/ 590 h 716"/>
                  <a:gd name="T50" fmla="*/ 394 w 436"/>
                  <a:gd name="T51" fmla="*/ 580 h 716"/>
                  <a:gd name="T52" fmla="*/ 436 w 436"/>
                  <a:gd name="T53" fmla="*/ 674 h 716"/>
                  <a:gd name="T54" fmla="*/ 436 w 436"/>
                  <a:gd name="T55" fmla="*/ 674 h 716"/>
                  <a:gd name="T56" fmla="*/ 420 w 436"/>
                  <a:gd name="T57" fmla="*/ 684 h 716"/>
                  <a:gd name="T58" fmla="*/ 402 w 436"/>
                  <a:gd name="T59" fmla="*/ 692 h 716"/>
                  <a:gd name="T60" fmla="*/ 384 w 436"/>
                  <a:gd name="T61" fmla="*/ 698 h 716"/>
                  <a:gd name="T62" fmla="*/ 362 w 436"/>
                  <a:gd name="T63" fmla="*/ 704 h 716"/>
                  <a:gd name="T64" fmla="*/ 342 w 436"/>
                  <a:gd name="T65" fmla="*/ 710 h 716"/>
                  <a:gd name="T66" fmla="*/ 320 w 436"/>
                  <a:gd name="T67" fmla="*/ 714 h 716"/>
                  <a:gd name="T68" fmla="*/ 300 w 436"/>
                  <a:gd name="T69" fmla="*/ 716 h 716"/>
                  <a:gd name="T70" fmla="*/ 278 w 436"/>
                  <a:gd name="T71" fmla="*/ 716 h 716"/>
                  <a:gd name="T72" fmla="*/ 278 w 436"/>
                  <a:gd name="T73" fmla="*/ 716 h 716"/>
                  <a:gd name="T74" fmla="*/ 260 w 436"/>
                  <a:gd name="T75" fmla="*/ 716 h 716"/>
                  <a:gd name="T76" fmla="*/ 244 w 436"/>
                  <a:gd name="T77" fmla="*/ 714 h 716"/>
                  <a:gd name="T78" fmla="*/ 228 w 436"/>
                  <a:gd name="T79" fmla="*/ 710 h 716"/>
                  <a:gd name="T80" fmla="*/ 214 w 436"/>
                  <a:gd name="T81" fmla="*/ 706 h 716"/>
                  <a:gd name="T82" fmla="*/ 200 w 436"/>
                  <a:gd name="T83" fmla="*/ 700 h 716"/>
                  <a:gd name="T84" fmla="*/ 188 w 436"/>
                  <a:gd name="T85" fmla="*/ 694 h 716"/>
                  <a:gd name="T86" fmla="*/ 176 w 436"/>
                  <a:gd name="T87" fmla="*/ 686 h 716"/>
                  <a:gd name="T88" fmla="*/ 166 w 436"/>
                  <a:gd name="T89" fmla="*/ 678 h 716"/>
                  <a:gd name="T90" fmla="*/ 156 w 436"/>
                  <a:gd name="T91" fmla="*/ 668 h 716"/>
                  <a:gd name="T92" fmla="*/ 148 w 436"/>
                  <a:gd name="T93" fmla="*/ 656 h 716"/>
                  <a:gd name="T94" fmla="*/ 142 w 436"/>
                  <a:gd name="T95" fmla="*/ 644 h 716"/>
                  <a:gd name="T96" fmla="*/ 136 w 436"/>
                  <a:gd name="T97" fmla="*/ 632 h 716"/>
                  <a:gd name="T98" fmla="*/ 130 w 436"/>
                  <a:gd name="T99" fmla="*/ 618 h 716"/>
                  <a:gd name="T100" fmla="*/ 128 w 436"/>
                  <a:gd name="T101" fmla="*/ 604 h 716"/>
                  <a:gd name="T102" fmla="*/ 126 w 436"/>
                  <a:gd name="T103" fmla="*/ 588 h 716"/>
                  <a:gd name="T104" fmla="*/ 124 w 436"/>
                  <a:gd name="T105" fmla="*/ 572 h 716"/>
                  <a:gd name="T106" fmla="*/ 124 w 436"/>
                  <a:gd name="T107" fmla="*/ 57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6" h="716">
                    <a:moveTo>
                      <a:pt x="124" y="572"/>
                    </a:moveTo>
                    <a:lnTo>
                      <a:pt x="124" y="272"/>
                    </a:lnTo>
                    <a:lnTo>
                      <a:pt x="0" y="272"/>
                    </a:lnTo>
                    <a:lnTo>
                      <a:pt x="28" y="166"/>
                    </a:lnTo>
                    <a:lnTo>
                      <a:pt x="124" y="166"/>
                    </a:lnTo>
                    <a:lnTo>
                      <a:pt x="124" y="40"/>
                    </a:lnTo>
                    <a:lnTo>
                      <a:pt x="260" y="0"/>
                    </a:lnTo>
                    <a:lnTo>
                      <a:pt x="260" y="166"/>
                    </a:lnTo>
                    <a:lnTo>
                      <a:pt x="424" y="166"/>
                    </a:lnTo>
                    <a:lnTo>
                      <a:pt x="390" y="272"/>
                    </a:lnTo>
                    <a:lnTo>
                      <a:pt x="260" y="272"/>
                    </a:lnTo>
                    <a:lnTo>
                      <a:pt x="260" y="538"/>
                    </a:lnTo>
                    <a:lnTo>
                      <a:pt x="260" y="538"/>
                    </a:lnTo>
                    <a:lnTo>
                      <a:pt x="262" y="556"/>
                    </a:lnTo>
                    <a:lnTo>
                      <a:pt x="264" y="570"/>
                    </a:lnTo>
                    <a:lnTo>
                      <a:pt x="268" y="582"/>
                    </a:lnTo>
                    <a:lnTo>
                      <a:pt x="274" y="592"/>
                    </a:lnTo>
                    <a:lnTo>
                      <a:pt x="280" y="598"/>
                    </a:lnTo>
                    <a:lnTo>
                      <a:pt x="290" y="604"/>
                    </a:lnTo>
                    <a:lnTo>
                      <a:pt x="300" y="606"/>
                    </a:lnTo>
                    <a:lnTo>
                      <a:pt x="312" y="606"/>
                    </a:lnTo>
                    <a:lnTo>
                      <a:pt x="312" y="606"/>
                    </a:lnTo>
                    <a:lnTo>
                      <a:pt x="336" y="604"/>
                    </a:lnTo>
                    <a:lnTo>
                      <a:pt x="358" y="598"/>
                    </a:lnTo>
                    <a:lnTo>
                      <a:pt x="378" y="590"/>
                    </a:lnTo>
                    <a:lnTo>
                      <a:pt x="394" y="580"/>
                    </a:lnTo>
                    <a:lnTo>
                      <a:pt x="436" y="674"/>
                    </a:lnTo>
                    <a:lnTo>
                      <a:pt x="436" y="674"/>
                    </a:lnTo>
                    <a:lnTo>
                      <a:pt x="420" y="684"/>
                    </a:lnTo>
                    <a:lnTo>
                      <a:pt x="402" y="692"/>
                    </a:lnTo>
                    <a:lnTo>
                      <a:pt x="384" y="698"/>
                    </a:lnTo>
                    <a:lnTo>
                      <a:pt x="362" y="704"/>
                    </a:lnTo>
                    <a:lnTo>
                      <a:pt x="342" y="710"/>
                    </a:lnTo>
                    <a:lnTo>
                      <a:pt x="320" y="714"/>
                    </a:lnTo>
                    <a:lnTo>
                      <a:pt x="300" y="716"/>
                    </a:lnTo>
                    <a:lnTo>
                      <a:pt x="278" y="716"/>
                    </a:lnTo>
                    <a:lnTo>
                      <a:pt x="278" y="716"/>
                    </a:lnTo>
                    <a:lnTo>
                      <a:pt x="260" y="716"/>
                    </a:lnTo>
                    <a:lnTo>
                      <a:pt x="244" y="714"/>
                    </a:lnTo>
                    <a:lnTo>
                      <a:pt x="228" y="710"/>
                    </a:lnTo>
                    <a:lnTo>
                      <a:pt x="214" y="706"/>
                    </a:lnTo>
                    <a:lnTo>
                      <a:pt x="200" y="700"/>
                    </a:lnTo>
                    <a:lnTo>
                      <a:pt x="188" y="694"/>
                    </a:lnTo>
                    <a:lnTo>
                      <a:pt x="176" y="686"/>
                    </a:lnTo>
                    <a:lnTo>
                      <a:pt x="166" y="678"/>
                    </a:lnTo>
                    <a:lnTo>
                      <a:pt x="156" y="668"/>
                    </a:lnTo>
                    <a:lnTo>
                      <a:pt x="148" y="656"/>
                    </a:lnTo>
                    <a:lnTo>
                      <a:pt x="142" y="644"/>
                    </a:lnTo>
                    <a:lnTo>
                      <a:pt x="136" y="632"/>
                    </a:lnTo>
                    <a:lnTo>
                      <a:pt x="130" y="618"/>
                    </a:lnTo>
                    <a:lnTo>
                      <a:pt x="128" y="604"/>
                    </a:lnTo>
                    <a:lnTo>
                      <a:pt x="126" y="588"/>
                    </a:lnTo>
                    <a:lnTo>
                      <a:pt x="124" y="572"/>
                    </a:lnTo>
                    <a:lnTo>
                      <a:pt x="124" y="5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4" name="Freeform 25"/>
              <p:cNvSpPr>
                <a:spLocks/>
              </p:cNvSpPr>
              <p:nvPr/>
            </p:nvSpPr>
            <p:spPr bwMode="auto">
              <a:xfrm>
                <a:off x="8254227" y="4517918"/>
                <a:ext cx="47345" cy="58558"/>
              </a:xfrm>
              <a:custGeom>
                <a:avLst/>
                <a:gdLst>
                  <a:gd name="T0" fmla="*/ 0 w 456"/>
                  <a:gd name="T1" fmla="*/ 288 h 564"/>
                  <a:gd name="T2" fmla="*/ 4 w 456"/>
                  <a:gd name="T3" fmla="*/ 226 h 564"/>
                  <a:gd name="T4" fmla="*/ 22 w 456"/>
                  <a:gd name="T5" fmla="*/ 172 h 564"/>
                  <a:gd name="T6" fmla="*/ 48 w 456"/>
                  <a:gd name="T7" fmla="*/ 122 h 564"/>
                  <a:gd name="T8" fmla="*/ 82 w 456"/>
                  <a:gd name="T9" fmla="*/ 80 h 564"/>
                  <a:gd name="T10" fmla="*/ 124 w 456"/>
                  <a:gd name="T11" fmla="*/ 46 h 564"/>
                  <a:gd name="T12" fmla="*/ 172 w 456"/>
                  <a:gd name="T13" fmla="*/ 22 h 564"/>
                  <a:gd name="T14" fmla="*/ 226 w 456"/>
                  <a:gd name="T15" fmla="*/ 6 h 564"/>
                  <a:gd name="T16" fmla="*/ 284 w 456"/>
                  <a:gd name="T17" fmla="*/ 0 h 564"/>
                  <a:gd name="T18" fmla="*/ 308 w 456"/>
                  <a:gd name="T19" fmla="*/ 0 h 564"/>
                  <a:gd name="T20" fmla="*/ 352 w 456"/>
                  <a:gd name="T21" fmla="*/ 6 h 564"/>
                  <a:gd name="T22" fmla="*/ 388 w 456"/>
                  <a:gd name="T23" fmla="*/ 16 h 564"/>
                  <a:gd name="T24" fmla="*/ 428 w 456"/>
                  <a:gd name="T25" fmla="*/ 36 h 564"/>
                  <a:gd name="T26" fmla="*/ 428 w 456"/>
                  <a:gd name="T27" fmla="*/ 152 h 564"/>
                  <a:gd name="T28" fmla="*/ 400 w 456"/>
                  <a:gd name="T29" fmla="*/ 134 h 564"/>
                  <a:gd name="T30" fmla="*/ 368 w 456"/>
                  <a:gd name="T31" fmla="*/ 120 h 564"/>
                  <a:gd name="T32" fmla="*/ 336 w 456"/>
                  <a:gd name="T33" fmla="*/ 112 h 564"/>
                  <a:gd name="T34" fmla="*/ 298 w 456"/>
                  <a:gd name="T35" fmla="*/ 110 h 564"/>
                  <a:gd name="T36" fmla="*/ 280 w 456"/>
                  <a:gd name="T37" fmla="*/ 110 h 564"/>
                  <a:gd name="T38" fmla="*/ 246 w 456"/>
                  <a:gd name="T39" fmla="*/ 118 h 564"/>
                  <a:gd name="T40" fmla="*/ 216 w 456"/>
                  <a:gd name="T41" fmla="*/ 130 h 564"/>
                  <a:gd name="T42" fmla="*/ 192 w 456"/>
                  <a:gd name="T43" fmla="*/ 148 h 564"/>
                  <a:gd name="T44" fmla="*/ 170 w 456"/>
                  <a:gd name="T45" fmla="*/ 172 h 564"/>
                  <a:gd name="T46" fmla="*/ 156 w 456"/>
                  <a:gd name="T47" fmla="*/ 200 h 564"/>
                  <a:gd name="T48" fmla="*/ 144 w 456"/>
                  <a:gd name="T49" fmla="*/ 230 h 564"/>
                  <a:gd name="T50" fmla="*/ 140 w 456"/>
                  <a:gd name="T51" fmla="*/ 266 h 564"/>
                  <a:gd name="T52" fmla="*/ 138 w 456"/>
                  <a:gd name="T53" fmla="*/ 284 h 564"/>
                  <a:gd name="T54" fmla="*/ 142 w 456"/>
                  <a:gd name="T55" fmla="*/ 322 h 564"/>
                  <a:gd name="T56" fmla="*/ 150 w 456"/>
                  <a:gd name="T57" fmla="*/ 358 h 564"/>
                  <a:gd name="T58" fmla="*/ 162 w 456"/>
                  <a:gd name="T59" fmla="*/ 386 h 564"/>
                  <a:gd name="T60" fmla="*/ 180 w 456"/>
                  <a:gd name="T61" fmla="*/ 410 h 564"/>
                  <a:gd name="T62" fmla="*/ 202 w 456"/>
                  <a:gd name="T63" fmla="*/ 430 h 564"/>
                  <a:gd name="T64" fmla="*/ 228 w 456"/>
                  <a:gd name="T65" fmla="*/ 444 h 564"/>
                  <a:gd name="T66" fmla="*/ 258 w 456"/>
                  <a:gd name="T67" fmla="*/ 452 h 564"/>
                  <a:gd name="T68" fmla="*/ 292 w 456"/>
                  <a:gd name="T69" fmla="*/ 454 h 564"/>
                  <a:gd name="T70" fmla="*/ 310 w 456"/>
                  <a:gd name="T71" fmla="*/ 454 h 564"/>
                  <a:gd name="T72" fmla="*/ 342 w 456"/>
                  <a:gd name="T73" fmla="*/ 448 h 564"/>
                  <a:gd name="T74" fmla="*/ 388 w 456"/>
                  <a:gd name="T75" fmla="*/ 432 h 564"/>
                  <a:gd name="T76" fmla="*/ 456 w 456"/>
                  <a:gd name="T77" fmla="*/ 512 h 564"/>
                  <a:gd name="T78" fmla="*/ 438 w 456"/>
                  <a:gd name="T79" fmla="*/ 522 h 564"/>
                  <a:gd name="T80" fmla="*/ 398 w 456"/>
                  <a:gd name="T81" fmla="*/ 542 h 564"/>
                  <a:gd name="T82" fmla="*/ 352 w 456"/>
                  <a:gd name="T83" fmla="*/ 556 h 564"/>
                  <a:gd name="T84" fmla="*/ 300 w 456"/>
                  <a:gd name="T85" fmla="*/ 564 h 564"/>
                  <a:gd name="T86" fmla="*/ 272 w 456"/>
                  <a:gd name="T87" fmla="*/ 564 h 564"/>
                  <a:gd name="T88" fmla="*/ 210 w 456"/>
                  <a:gd name="T89" fmla="*/ 558 h 564"/>
                  <a:gd name="T90" fmla="*/ 156 w 456"/>
                  <a:gd name="T91" fmla="*/ 542 h 564"/>
                  <a:gd name="T92" fmla="*/ 108 w 456"/>
                  <a:gd name="T93" fmla="*/ 518 h 564"/>
                  <a:gd name="T94" fmla="*/ 70 w 456"/>
                  <a:gd name="T95" fmla="*/ 484 h 564"/>
                  <a:gd name="T96" fmla="*/ 40 w 456"/>
                  <a:gd name="T97" fmla="*/ 444 h 564"/>
                  <a:gd name="T98" fmla="*/ 18 w 456"/>
                  <a:gd name="T99" fmla="*/ 396 h 564"/>
                  <a:gd name="T100" fmla="*/ 4 w 456"/>
                  <a:gd name="T101" fmla="*/ 344 h 564"/>
                  <a:gd name="T102" fmla="*/ 0 w 456"/>
                  <a:gd name="T103" fmla="*/ 288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56" h="564">
                    <a:moveTo>
                      <a:pt x="0" y="288"/>
                    </a:moveTo>
                    <a:lnTo>
                      <a:pt x="0" y="288"/>
                    </a:lnTo>
                    <a:lnTo>
                      <a:pt x="0" y="256"/>
                    </a:lnTo>
                    <a:lnTo>
                      <a:pt x="4" y="226"/>
                    </a:lnTo>
                    <a:lnTo>
                      <a:pt x="12" y="198"/>
                    </a:lnTo>
                    <a:lnTo>
                      <a:pt x="22" y="172"/>
                    </a:lnTo>
                    <a:lnTo>
                      <a:pt x="32" y="146"/>
                    </a:lnTo>
                    <a:lnTo>
                      <a:pt x="48" y="122"/>
                    </a:lnTo>
                    <a:lnTo>
                      <a:pt x="64" y="100"/>
                    </a:lnTo>
                    <a:lnTo>
                      <a:pt x="82" y="80"/>
                    </a:lnTo>
                    <a:lnTo>
                      <a:pt x="102" y="62"/>
                    </a:lnTo>
                    <a:lnTo>
                      <a:pt x="124" y="46"/>
                    </a:lnTo>
                    <a:lnTo>
                      <a:pt x="146" y="32"/>
                    </a:lnTo>
                    <a:lnTo>
                      <a:pt x="172" y="22"/>
                    </a:lnTo>
                    <a:lnTo>
                      <a:pt x="198" y="12"/>
                    </a:lnTo>
                    <a:lnTo>
                      <a:pt x="226" y="6"/>
                    </a:lnTo>
                    <a:lnTo>
                      <a:pt x="254" y="2"/>
                    </a:lnTo>
                    <a:lnTo>
                      <a:pt x="284" y="0"/>
                    </a:lnTo>
                    <a:lnTo>
                      <a:pt x="284" y="0"/>
                    </a:lnTo>
                    <a:lnTo>
                      <a:pt x="308" y="0"/>
                    </a:lnTo>
                    <a:lnTo>
                      <a:pt x="332" y="4"/>
                    </a:lnTo>
                    <a:lnTo>
                      <a:pt x="352" y="6"/>
                    </a:lnTo>
                    <a:lnTo>
                      <a:pt x="372" y="12"/>
                    </a:lnTo>
                    <a:lnTo>
                      <a:pt x="388" y="16"/>
                    </a:lnTo>
                    <a:lnTo>
                      <a:pt x="404" y="24"/>
                    </a:lnTo>
                    <a:lnTo>
                      <a:pt x="428" y="36"/>
                    </a:lnTo>
                    <a:lnTo>
                      <a:pt x="428" y="152"/>
                    </a:lnTo>
                    <a:lnTo>
                      <a:pt x="428" y="152"/>
                    </a:lnTo>
                    <a:lnTo>
                      <a:pt x="414" y="142"/>
                    </a:lnTo>
                    <a:lnTo>
                      <a:pt x="400" y="134"/>
                    </a:lnTo>
                    <a:lnTo>
                      <a:pt x="384" y="126"/>
                    </a:lnTo>
                    <a:lnTo>
                      <a:pt x="368" y="120"/>
                    </a:lnTo>
                    <a:lnTo>
                      <a:pt x="352" y="116"/>
                    </a:lnTo>
                    <a:lnTo>
                      <a:pt x="336" y="112"/>
                    </a:lnTo>
                    <a:lnTo>
                      <a:pt x="316" y="110"/>
                    </a:lnTo>
                    <a:lnTo>
                      <a:pt x="298" y="110"/>
                    </a:lnTo>
                    <a:lnTo>
                      <a:pt x="298" y="110"/>
                    </a:lnTo>
                    <a:lnTo>
                      <a:pt x="280" y="110"/>
                    </a:lnTo>
                    <a:lnTo>
                      <a:pt x="262" y="112"/>
                    </a:lnTo>
                    <a:lnTo>
                      <a:pt x="246" y="118"/>
                    </a:lnTo>
                    <a:lnTo>
                      <a:pt x="230" y="122"/>
                    </a:lnTo>
                    <a:lnTo>
                      <a:pt x="216" y="130"/>
                    </a:lnTo>
                    <a:lnTo>
                      <a:pt x="204" y="138"/>
                    </a:lnTo>
                    <a:lnTo>
                      <a:pt x="192" y="148"/>
                    </a:lnTo>
                    <a:lnTo>
                      <a:pt x="180" y="160"/>
                    </a:lnTo>
                    <a:lnTo>
                      <a:pt x="170" y="172"/>
                    </a:lnTo>
                    <a:lnTo>
                      <a:pt x="162" y="186"/>
                    </a:lnTo>
                    <a:lnTo>
                      <a:pt x="156" y="200"/>
                    </a:lnTo>
                    <a:lnTo>
                      <a:pt x="150" y="214"/>
                    </a:lnTo>
                    <a:lnTo>
                      <a:pt x="144" y="230"/>
                    </a:lnTo>
                    <a:lnTo>
                      <a:pt x="142" y="248"/>
                    </a:lnTo>
                    <a:lnTo>
                      <a:pt x="140" y="266"/>
                    </a:lnTo>
                    <a:lnTo>
                      <a:pt x="138" y="284"/>
                    </a:lnTo>
                    <a:lnTo>
                      <a:pt x="138" y="284"/>
                    </a:lnTo>
                    <a:lnTo>
                      <a:pt x="140" y="304"/>
                    </a:lnTo>
                    <a:lnTo>
                      <a:pt x="142" y="322"/>
                    </a:lnTo>
                    <a:lnTo>
                      <a:pt x="144" y="340"/>
                    </a:lnTo>
                    <a:lnTo>
                      <a:pt x="150" y="358"/>
                    </a:lnTo>
                    <a:lnTo>
                      <a:pt x="156" y="372"/>
                    </a:lnTo>
                    <a:lnTo>
                      <a:pt x="162" y="386"/>
                    </a:lnTo>
                    <a:lnTo>
                      <a:pt x="170" y="400"/>
                    </a:lnTo>
                    <a:lnTo>
                      <a:pt x="180" y="410"/>
                    </a:lnTo>
                    <a:lnTo>
                      <a:pt x="190" y="420"/>
                    </a:lnTo>
                    <a:lnTo>
                      <a:pt x="202" y="430"/>
                    </a:lnTo>
                    <a:lnTo>
                      <a:pt x="214" y="438"/>
                    </a:lnTo>
                    <a:lnTo>
                      <a:pt x="228" y="444"/>
                    </a:lnTo>
                    <a:lnTo>
                      <a:pt x="242" y="448"/>
                    </a:lnTo>
                    <a:lnTo>
                      <a:pt x="258" y="452"/>
                    </a:lnTo>
                    <a:lnTo>
                      <a:pt x="274" y="454"/>
                    </a:lnTo>
                    <a:lnTo>
                      <a:pt x="292" y="454"/>
                    </a:lnTo>
                    <a:lnTo>
                      <a:pt x="292" y="454"/>
                    </a:lnTo>
                    <a:lnTo>
                      <a:pt x="310" y="454"/>
                    </a:lnTo>
                    <a:lnTo>
                      <a:pt x="326" y="452"/>
                    </a:lnTo>
                    <a:lnTo>
                      <a:pt x="342" y="448"/>
                    </a:lnTo>
                    <a:lnTo>
                      <a:pt x="358" y="444"/>
                    </a:lnTo>
                    <a:lnTo>
                      <a:pt x="388" y="432"/>
                    </a:lnTo>
                    <a:lnTo>
                      <a:pt x="416" y="418"/>
                    </a:lnTo>
                    <a:lnTo>
                      <a:pt x="456" y="512"/>
                    </a:lnTo>
                    <a:lnTo>
                      <a:pt x="456" y="512"/>
                    </a:lnTo>
                    <a:lnTo>
                      <a:pt x="438" y="522"/>
                    </a:lnTo>
                    <a:lnTo>
                      <a:pt x="420" y="532"/>
                    </a:lnTo>
                    <a:lnTo>
                      <a:pt x="398" y="542"/>
                    </a:lnTo>
                    <a:lnTo>
                      <a:pt x="376" y="550"/>
                    </a:lnTo>
                    <a:lnTo>
                      <a:pt x="352" y="556"/>
                    </a:lnTo>
                    <a:lnTo>
                      <a:pt x="326" y="560"/>
                    </a:lnTo>
                    <a:lnTo>
                      <a:pt x="300" y="564"/>
                    </a:lnTo>
                    <a:lnTo>
                      <a:pt x="272" y="564"/>
                    </a:lnTo>
                    <a:lnTo>
                      <a:pt x="272" y="564"/>
                    </a:lnTo>
                    <a:lnTo>
                      <a:pt x="240" y="562"/>
                    </a:lnTo>
                    <a:lnTo>
                      <a:pt x="210" y="558"/>
                    </a:lnTo>
                    <a:lnTo>
                      <a:pt x="182" y="552"/>
                    </a:lnTo>
                    <a:lnTo>
                      <a:pt x="156" y="542"/>
                    </a:lnTo>
                    <a:lnTo>
                      <a:pt x="130" y="532"/>
                    </a:lnTo>
                    <a:lnTo>
                      <a:pt x="108" y="518"/>
                    </a:lnTo>
                    <a:lnTo>
                      <a:pt x="88" y="502"/>
                    </a:lnTo>
                    <a:lnTo>
                      <a:pt x="70" y="484"/>
                    </a:lnTo>
                    <a:lnTo>
                      <a:pt x="54" y="464"/>
                    </a:lnTo>
                    <a:lnTo>
                      <a:pt x="40" y="444"/>
                    </a:lnTo>
                    <a:lnTo>
                      <a:pt x="28" y="420"/>
                    </a:lnTo>
                    <a:lnTo>
                      <a:pt x="18" y="396"/>
                    </a:lnTo>
                    <a:lnTo>
                      <a:pt x="10" y="370"/>
                    </a:lnTo>
                    <a:lnTo>
                      <a:pt x="4" y="344"/>
                    </a:lnTo>
                    <a:lnTo>
                      <a:pt x="0" y="316"/>
                    </a:lnTo>
                    <a:lnTo>
                      <a:pt x="0" y="288"/>
                    </a:lnTo>
                    <a:lnTo>
                      <a:pt x="0"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5" name="Freeform 26"/>
              <p:cNvSpPr>
                <a:spLocks/>
              </p:cNvSpPr>
              <p:nvPr/>
            </p:nvSpPr>
            <p:spPr bwMode="auto">
              <a:xfrm>
                <a:off x="8304894" y="4517918"/>
                <a:ext cx="43400" cy="58558"/>
              </a:xfrm>
              <a:custGeom>
                <a:avLst/>
                <a:gdLst>
                  <a:gd name="T0" fmla="*/ 58 w 418"/>
                  <a:gd name="T1" fmla="*/ 422 h 564"/>
                  <a:gd name="T2" fmla="*/ 112 w 418"/>
                  <a:gd name="T3" fmla="*/ 444 h 564"/>
                  <a:gd name="T4" fmla="*/ 170 w 418"/>
                  <a:gd name="T5" fmla="*/ 456 h 564"/>
                  <a:gd name="T6" fmla="*/ 210 w 418"/>
                  <a:gd name="T7" fmla="*/ 456 h 564"/>
                  <a:gd name="T8" fmla="*/ 258 w 418"/>
                  <a:gd name="T9" fmla="*/ 444 h 564"/>
                  <a:gd name="T10" fmla="*/ 282 w 418"/>
                  <a:gd name="T11" fmla="*/ 414 h 564"/>
                  <a:gd name="T12" fmla="*/ 284 w 418"/>
                  <a:gd name="T13" fmla="*/ 392 h 564"/>
                  <a:gd name="T14" fmla="*/ 274 w 418"/>
                  <a:gd name="T15" fmla="*/ 372 h 564"/>
                  <a:gd name="T16" fmla="*/ 226 w 418"/>
                  <a:gd name="T17" fmla="*/ 340 h 564"/>
                  <a:gd name="T18" fmla="*/ 134 w 418"/>
                  <a:gd name="T19" fmla="*/ 304 h 564"/>
                  <a:gd name="T20" fmla="*/ 72 w 418"/>
                  <a:gd name="T21" fmla="*/ 264 h 564"/>
                  <a:gd name="T22" fmla="*/ 48 w 418"/>
                  <a:gd name="T23" fmla="*/ 232 h 564"/>
                  <a:gd name="T24" fmla="*/ 34 w 418"/>
                  <a:gd name="T25" fmla="*/ 194 h 564"/>
                  <a:gd name="T26" fmla="*/ 32 w 418"/>
                  <a:gd name="T27" fmla="*/ 162 h 564"/>
                  <a:gd name="T28" fmla="*/ 40 w 418"/>
                  <a:gd name="T29" fmla="*/ 112 h 564"/>
                  <a:gd name="T30" fmla="*/ 62 w 418"/>
                  <a:gd name="T31" fmla="*/ 70 h 564"/>
                  <a:gd name="T32" fmla="*/ 100 w 418"/>
                  <a:gd name="T33" fmla="*/ 36 h 564"/>
                  <a:gd name="T34" fmla="*/ 150 w 418"/>
                  <a:gd name="T35" fmla="*/ 12 h 564"/>
                  <a:gd name="T36" fmla="*/ 212 w 418"/>
                  <a:gd name="T37" fmla="*/ 0 h 564"/>
                  <a:gd name="T38" fmla="*/ 280 w 418"/>
                  <a:gd name="T39" fmla="*/ 2 h 564"/>
                  <a:gd name="T40" fmla="*/ 394 w 418"/>
                  <a:gd name="T41" fmla="*/ 26 h 564"/>
                  <a:gd name="T42" fmla="*/ 358 w 418"/>
                  <a:gd name="T43" fmla="*/ 128 h 564"/>
                  <a:gd name="T44" fmla="*/ 262 w 418"/>
                  <a:gd name="T45" fmla="*/ 108 h 564"/>
                  <a:gd name="T46" fmla="*/ 224 w 418"/>
                  <a:gd name="T47" fmla="*/ 108 h 564"/>
                  <a:gd name="T48" fmla="*/ 186 w 418"/>
                  <a:gd name="T49" fmla="*/ 118 h 564"/>
                  <a:gd name="T50" fmla="*/ 166 w 418"/>
                  <a:gd name="T51" fmla="*/ 144 h 564"/>
                  <a:gd name="T52" fmla="*/ 166 w 418"/>
                  <a:gd name="T53" fmla="*/ 164 h 564"/>
                  <a:gd name="T54" fmla="*/ 176 w 418"/>
                  <a:gd name="T55" fmla="*/ 184 h 564"/>
                  <a:gd name="T56" fmla="*/ 224 w 418"/>
                  <a:gd name="T57" fmla="*/ 212 h 564"/>
                  <a:gd name="T58" fmla="*/ 314 w 418"/>
                  <a:gd name="T59" fmla="*/ 248 h 564"/>
                  <a:gd name="T60" fmla="*/ 378 w 418"/>
                  <a:gd name="T61" fmla="*/ 292 h 564"/>
                  <a:gd name="T62" fmla="*/ 402 w 418"/>
                  <a:gd name="T63" fmla="*/ 324 h 564"/>
                  <a:gd name="T64" fmla="*/ 414 w 418"/>
                  <a:gd name="T65" fmla="*/ 364 h 564"/>
                  <a:gd name="T66" fmla="*/ 418 w 418"/>
                  <a:gd name="T67" fmla="*/ 396 h 564"/>
                  <a:gd name="T68" fmla="*/ 408 w 418"/>
                  <a:gd name="T69" fmla="*/ 456 h 564"/>
                  <a:gd name="T70" fmla="*/ 380 w 418"/>
                  <a:gd name="T71" fmla="*/ 502 h 564"/>
                  <a:gd name="T72" fmla="*/ 336 w 418"/>
                  <a:gd name="T73" fmla="*/ 534 h 564"/>
                  <a:gd name="T74" fmla="*/ 282 w 418"/>
                  <a:gd name="T75" fmla="*/ 554 h 564"/>
                  <a:gd name="T76" fmla="*/ 220 w 418"/>
                  <a:gd name="T77" fmla="*/ 564 h 564"/>
                  <a:gd name="T78" fmla="*/ 168 w 418"/>
                  <a:gd name="T79" fmla="*/ 562 h 564"/>
                  <a:gd name="T80" fmla="*/ 84 w 418"/>
                  <a:gd name="T81" fmla="*/ 548 h 564"/>
                  <a:gd name="T82" fmla="*/ 18 w 418"/>
                  <a:gd name="T83" fmla="*/ 522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8" h="564">
                    <a:moveTo>
                      <a:pt x="42" y="412"/>
                    </a:moveTo>
                    <a:lnTo>
                      <a:pt x="42" y="412"/>
                    </a:lnTo>
                    <a:lnTo>
                      <a:pt x="58" y="422"/>
                    </a:lnTo>
                    <a:lnTo>
                      <a:pt x="76" y="430"/>
                    </a:lnTo>
                    <a:lnTo>
                      <a:pt x="94" y="438"/>
                    </a:lnTo>
                    <a:lnTo>
                      <a:pt x="112" y="444"/>
                    </a:lnTo>
                    <a:lnTo>
                      <a:pt x="130" y="450"/>
                    </a:lnTo>
                    <a:lnTo>
                      <a:pt x="150" y="454"/>
                    </a:lnTo>
                    <a:lnTo>
                      <a:pt x="170" y="456"/>
                    </a:lnTo>
                    <a:lnTo>
                      <a:pt x="190" y="456"/>
                    </a:lnTo>
                    <a:lnTo>
                      <a:pt x="190" y="456"/>
                    </a:lnTo>
                    <a:lnTo>
                      <a:pt x="210" y="456"/>
                    </a:lnTo>
                    <a:lnTo>
                      <a:pt x="228" y="454"/>
                    </a:lnTo>
                    <a:lnTo>
                      <a:pt x="244" y="450"/>
                    </a:lnTo>
                    <a:lnTo>
                      <a:pt x="258" y="444"/>
                    </a:lnTo>
                    <a:lnTo>
                      <a:pt x="268" y="436"/>
                    </a:lnTo>
                    <a:lnTo>
                      <a:pt x="278" y="426"/>
                    </a:lnTo>
                    <a:lnTo>
                      <a:pt x="282" y="414"/>
                    </a:lnTo>
                    <a:lnTo>
                      <a:pt x="284" y="400"/>
                    </a:lnTo>
                    <a:lnTo>
                      <a:pt x="284" y="400"/>
                    </a:lnTo>
                    <a:lnTo>
                      <a:pt x="284" y="392"/>
                    </a:lnTo>
                    <a:lnTo>
                      <a:pt x="282" y="384"/>
                    </a:lnTo>
                    <a:lnTo>
                      <a:pt x="278" y="378"/>
                    </a:lnTo>
                    <a:lnTo>
                      <a:pt x="274" y="372"/>
                    </a:lnTo>
                    <a:lnTo>
                      <a:pt x="262" y="360"/>
                    </a:lnTo>
                    <a:lnTo>
                      <a:pt x="244" y="350"/>
                    </a:lnTo>
                    <a:lnTo>
                      <a:pt x="226" y="340"/>
                    </a:lnTo>
                    <a:lnTo>
                      <a:pt x="204" y="332"/>
                    </a:lnTo>
                    <a:lnTo>
                      <a:pt x="158" y="314"/>
                    </a:lnTo>
                    <a:lnTo>
                      <a:pt x="134" y="304"/>
                    </a:lnTo>
                    <a:lnTo>
                      <a:pt x="112" y="294"/>
                    </a:lnTo>
                    <a:lnTo>
                      <a:pt x="90" y="280"/>
                    </a:lnTo>
                    <a:lnTo>
                      <a:pt x="72" y="264"/>
                    </a:lnTo>
                    <a:lnTo>
                      <a:pt x="62" y="254"/>
                    </a:lnTo>
                    <a:lnTo>
                      <a:pt x="54" y="244"/>
                    </a:lnTo>
                    <a:lnTo>
                      <a:pt x="48" y="232"/>
                    </a:lnTo>
                    <a:lnTo>
                      <a:pt x="42" y="222"/>
                    </a:lnTo>
                    <a:lnTo>
                      <a:pt x="38" y="208"/>
                    </a:lnTo>
                    <a:lnTo>
                      <a:pt x="34" y="194"/>
                    </a:lnTo>
                    <a:lnTo>
                      <a:pt x="32" y="180"/>
                    </a:lnTo>
                    <a:lnTo>
                      <a:pt x="32" y="162"/>
                    </a:lnTo>
                    <a:lnTo>
                      <a:pt x="32" y="162"/>
                    </a:lnTo>
                    <a:lnTo>
                      <a:pt x="32" y="146"/>
                    </a:lnTo>
                    <a:lnTo>
                      <a:pt x="36" y="128"/>
                    </a:lnTo>
                    <a:lnTo>
                      <a:pt x="40" y="112"/>
                    </a:lnTo>
                    <a:lnTo>
                      <a:pt x="46" y="98"/>
                    </a:lnTo>
                    <a:lnTo>
                      <a:pt x="54" y="82"/>
                    </a:lnTo>
                    <a:lnTo>
                      <a:pt x="62" y="70"/>
                    </a:lnTo>
                    <a:lnTo>
                      <a:pt x="74" y="56"/>
                    </a:lnTo>
                    <a:lnTo>
                      <a:pt x="86" y="46"/>
                    </a:lnTo>
                    <a:lnTo>
                      <a:pt x="100" y="36"/>
                    </a:lnTo>
                    <a:lnTo>
                      <a:pt x="116" y="26"/>
                    </a:lnTo>
                    <a:lnTo>
                      <a:pt x="132" y="18"/>
                    </a:lnTo>
                    <a:lnTo>
                      <a:pt x="150" y="12"/>
                    </a:lnTo>
                    <a:lnTo>
                      <a:pt x="170" y="6"/>
                    </a:lnTo>
                    <a:lnTo>
                      <a:pt x="190" y="4"/>
                    </a:lnTo>
                    <a:lnTo>
                      <a:pt x="212" y="0"/>
                    </a:lnTo>
                    <a:lnTo>
                      <a:pt x="236" y="0"/>
                    </a:lnTo>
                    <a:lnTo>
                      <a:pt x="236" y="0"/>
                    </a:lnTo>
                    <a:lnTo>
                      <a:pt x="280" y="2"/>
                    </a:lnTo>
                    <a:lnTo>
                      <a:pt x="320" y="8"/>
                    </a:lnTo>
                    <a:lnTo>
                      <a:pt x="358" y="16"/>
                    </a:lnTo>
                    <a:lnTo>
                      <a:pt x="394" y="26"/>
                    </a:lnTo>
                    <a:lnTo>
                      <a:pt x="394" y="142"/>
                    </a:lnTo>
                    <a:lnTo>
                      <a:pt x="394" y="142"/>
                    </a:lnTo>
                    <a:lnTo>
                      <a:pt x="358" y="128"/>
                    </a:lnTo>
                    <a:lnTo>
                      <a:pt x="322" y="116"/>
                    </a:lnTo>
                    <a:lnTo>
                      <a:pt x="282" y="110"/>
                    </a:lnTo>
                    <a:lnTo>
                      <a:pt x="262" y="108"/>
                    </a:lnTo>
                    <a:lnTo>
                      <a:pt x="242" y="108"/>
                    </a:lnTo>
                    <a:lnTo>
                      <a:pt x="242" y="108"/>
                    </a:lnTo>
                    <a:lnTo>
                      <a:pt x="224" y="108"/>
                    </a:lnTo>
                    <a:lnTo>
                      <a:pt x="210" y="110"/>
                    </a:lnTo>
                    <a:lnTo>
                      <a:pt x="198" y="114"/>
                    </a:lnTo>
                    <a:lnTo>
                      <a:pt x="186" y="118"/>
                    </a:lnTo>
                    <a:lnTo>
                      <a:pt x="176" y="126"/>
                    </a:lnTo>
                    <a:lnTo>
                      <a:pt x="170" y="134"/>
                    </a:lnTo>
                    <a:lnTo>
                      <a:pt x="166" y="144"/>
                    </a:lnTo>
                    <a:lnTo>
                      <a:pt x="164" y="156"/>
                    </a:lnTo>
                    <a:lnTo>
                      <a:pt x="164" y="156"/>
                    </a:lnTo>
                    <a:lnTo>
                      <a:pt x="166" y="164"/>
                    </a:lnTo>
                    <a:lnTo>
                      <a:pt x="168" y="170"/>
                    </a:lnTo>
                    <a:lnTo>
                      <a:pt x="172" y="178"/>
                    </a:lnTo>
                    <a:lnTo>
                      <a:pt x="176" y="184"/>
                    </a:lnTo>
                    <a:lnTo>
                      <a:pt x="188" y="194"/>
                    </a:lnTo>
                    <a:lnTo>
                      <a:pt x="204" y="204"/>
                    </a:lnTo>
                    <a:lnTo>
                      <a:pt x="224" y="212"/>
                    </a:lnTo>
                    <a:lnTo>
                      <a:pt x="244" y="220"/>
                    </a:lnTo>
                    <a:lnTo>
                      <a:pt x="292" y="238"/>
                    </a:lnTo>
                    <a:lnTo>
                      <a:pt x="314" y="248"/>
                    </a:lnTo>
                    <a:lnTo>
                      <a:pt x="338" y="260"/>
                    </a:lnTo>
                    <a:lnTo>
                      <a:pt x="360" y="274"/>
                    </a:lnTo>
                    <a:lnTo>
                      <a:pt x="378" y="292"/>
                    </a:lnTo>
                    <a:lnTo>
                      <a:pt x="386" y="302"/>
                    </a:lnTo>
                    <a:lnTo>
                      <a:pt x="394" y="312"/>
                    </a:lnTo>
                    <a:lnTo>
                      <a:pt x="402" y="324"/>
                    </a:lnTo>
                    <a:lnTo>
                      <a:pt x="406" y="336"/>
                    </a:lnTo>
                    <a:lnTo>
                      <a:pt x="412" y="350"/>
                    </a:lnTo>
                    <a:lnTo>
                      <a:pt x="414" y="364"/>
                    </a:lnTo>
                    <a:lnTo>
                      <a:pt x="418" y="380"/>
                    </a:lnTo>
                    <a:lnTo>
                      <a:pt x="418" y="396"/>
                    </a:lnTo>
                    <a:lnTo>
                      <a:pt x="418" y="396"/>
                    </a:lnTo>
                    <a:lnTo>
                      <a:pt x="416" y="418"/>
                    </a:lnTo>
                    <a:lnTo>
                      <a:pt x="414" y="438"/>
                    </a:lnTo>
                    <a:lnTo>
                      <a:pt x="408" y="456"/>
                    </a:lnTo>
                    <a:lnTo>
                      <a:pt x="400" y="472"/>
                    </a:lnTo>
                    <a:lnTo>
                      <a:pt x="390" y="488"/>
                    </a:lnTo>
                    <a:lnTo>
                      <a:pt x="380" y="502"/>
                    </a:lnTo>
                    <a:lnTo>
                      <a:pt x="366" y="514"/>
                    </a:lnTo>
                    <a:lnTo>
                      <a:pt x="352" y="524"/>
                    </a:lnTo>
                    <a:lnTo>
                      <a:pt x="336" y="534"/>
                    </a:lnTo>
                    <a:lnTo>
                      <a:pt x="320" y="542"/>
                    </a:lnTo>
                    <a:lnTo>
                      <a:pt x="302" y="550"/>
                    </a:lnTo>
                    <a:lnTo>
                      <a:pt x="282" y="554"/>
                    </a:lnTo>
                    <a:lnTo>
                      <a:pt x="262" y="558"/>
                    </a:lnTo>
                    <a:lnTo>
                      <a:pt x="242" y="562"/>
                    </a:lnTo>
                    <a:lnTo>
                      <a:pt x="220" y="564"/>
                    </a:lnTo>
                    <a:lnTo>
                      <a:pt x="200" y="564"/>
                    </a:lnTo>
                    <a:lnTo>
                      <a:pt x="200" y="564"/>
                    </a:lnTo>
                    <a:lnTo>
                      <a:pt x="168" y="562"/>
                    </a:lnTo>
                    <a:lnTo>
                      <a:pt x="138" y="560"/>
                    </a:lnTo>
                    <a:lnTo>
                      <a:pt x="110" y="554"/>
                    </a:lnTo>
                    <a:lnTo>
                      <a:pt x="84" y="548"/>
                    </a:lnTo>
                    <a:lnTo>
                      <a:pt x="60" y="540"/>
                    </a:lnTo>
                    <a:lnTo>
                      <a:pt x="38" y="532"/>
                    </a:lnTo>
                    <a:lnTo>
                      <a:pt x="18" y="522"/>
                    </a:lnTo>
                    <a:lnTo>
                      <a:pt x="0" y="512"/>
                    </a:lnTo>
                    <a:lnTo>
                      <a:pt x="42" y="4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6" name="Freeform 27"/>
              <p:cNvSpPr>
                <a:spLocks noEditPoints="1"/>
              </p:cNvSpPr>
              <p:nvPr/>
            </p:nvSpPr>
            <p:spPr bwMode="auto">
              <a:xfrm>
                <a:off x="8230347" y="4493623"/>
                <a:ext cx="17443" cy="81608"/>
              </a:xfrm>
              <a:custGeom>
                <a:avLst/>
                <a:gdLst>
                  <a:gd name="T0" fmla="*/ 84 w 168"/>
                  <a:gd name="T1" fmla="*/ 162 h 786"/>
                  <a:gd name="T2" fmla="*/ 84 w 168"/>
                  <a:gd name="T3" fmla="*/ 162 h 786"/>
                  <a:gd name="T4" fmla="*/ 68 w 168"/>
                  <a:gd name="T5" fmla="*/ 160 h 786"/>
                  <a:gd name="T6" fmla="*/ 52 w 168"/>
                  <a:gd name="T7" fmla="*/ 156 h 786"/>
                  <a:gd name="T8" fmla="*/ 38 w 168"/>
                  <a:gd name="T9" fmla="*/ 148 h 786"/>
                  <a:gd name="T10" fmla="*/ 26 w 168"/>
                  <a:gd name="T11" fmla="*/ 138 h 786"/>
                  <a:gd name="T12" fmla="*/ 14 w 168"/>
                  <a:gd name="T13" fmla="*/ 126 h 786"/>
                  <a:gd name="T14" fmla="*/ 8 w 168"/>
                  <a:gd name="T15" fmla="*/ 112 h 786"/>
                  <a:gd name="T16" fmla="*/ 2 w 168"/>
                  <a:gd name="T17" fmla="*/ 98 h 786"/>
                  <a:gd name="T18" fmla="*/ 0 w 168"/>
                  <a:gd name="T19" fmla="*/ 80 h 786"/>
                  <a:gd name="T20" fmla="*/ 0 w 168"/>
                  <a:gd name="T21" fmla="*/ 80 h 786"/>
                  <a:gd name="T22" fmla="*/ 2 w 168"/>
                  <a:gd name="T23" fmla="*/ 64 h 786"/>
                  <a:gd name="T24" fmla="*/ 8 w 168"/>
                  <a:gd name="T25" fmla="*/ 50 h 786"/>
                  <a:gd name="T26" fmla="*/ 14 w 168"/>
                  <a:gd name="T27" fmla="*/ 36 h 786"/>
                  <a:gd name="T28" fmla="*/ 26 w 168"/>
                  <a:gd name="T29" fmla="*/ 24 h 786"/>
                  <a:gd name="T30" fmla="*/ 38 w 168"/>
                  <a:gd name="T31" fmla="*/ 14 h 786"/>
                  <a:gd name="T32" fmla="*/ 52 w 168"/>
                  <a:gd name="T33" fmla="*/ 6 h 786"/>
                  <a:gd name="T34" fmla="*/ 68 w 168"/>
                  <a:gd name="T35" fmla="*/ 2 h 786"/>
                  <a:gd name="T36" fmla="*/ 84 w 168"/>
                  <a:gd name="T37" fmla="*/ 0 h 786"/>
                  <a:gd name="T38" fmla="*/ 84 w 168"/>
                  <a:gd name="T39" fmla="*/ 0 h 786"/>
                  <a:gd name="T40" fmla="*/ 102 w 168"/>
                  <a:gd name="T41" fmla="*/ 2 h 786"/>
                  <a:gd name="T42" fmla="*/ 118 w 168"/>
                  <a:gd name="T43" fmla="*/ 6 h 786"/>
                  <a:gd name="T44" fmla="*/ 132 w 168"/>
                  <a:gd name="T45" fmla="*/ 14 h 786"/>
                  <a:gd name="T46" fmla="*/ 144 w 168"/>
                  <a:gd name="T47" fmla="*/ 24 h 786"/>
                  <a:gd name="T48" fmla="*/ 154 w 168"/>
                  <a:gd name="T49" fmla="*/ 36 h 786"/>
                  <a:gd name="T50" fmla="*/ 162 w 168"/>
                  <a:gd name="T51" fmla="*/ 48 h 786"/>
                  <a:gd name="T52" fmla="*/ 166 w 168"/>
                  <a:gd name="T53" fmla="*/ 64 h 786"/>
                  <a:gd name="T54" fmla="*/ 168 w 168"/>
                  <a:gd name="T55" fmla="*/ 80 h 786"/>
                  <a:gd name="T56" fmla="*/ 168 w 168"/>
                  <a:gd name="T57" fmla="*/ 80 h 786"/>
                  <a:gd name="T58" fmla="*/ 166 w 168"/>
                  <a:gd name="T59" fmla="*/ 96 h 786"/>
                  <a:gd name="T60" fmla="*/ 162 w 168"/>
                  <a:gd name="T61" fmla="*/ 112 h 786"/>
                  <a:gd name="T62" fmla="*/ 154 w 168"/>
                  <a:gd name="T63" fmla="*/ 126 h 786"/>
                  <a:gd name="T64" fmla="*/ 144 w 168"/>
                  <a:gd name="T65" fmla="*/ 138 h 786"/>
                  <a:gd name="T66" fmla="*/ 132 w 168"/>
                  <a:gd name="T67" fmla="*/ 148 h 786"/>
                  <a:gd name="T68" fmla="*/ 118 w 168"/>
                  <a:gd name="T69" fmla="*/ 156 h 786"/>
                  <a:gd name="T70" fmla="*/ 102 w 168"/>
                  <a:gd name="T71" fmla="*/ 160 h 786"/>
                  <a:gd name="T72" fmla="*/ 84 w 168"/>
                  <a:gd name="T73" fmla="*/ 162 h 786"/>
                  <a:gd name="T74" fmla="*/ 84 w 168"/>
                  <a:gd name="T75" fmla="*/ 162 h 786"/>
                  <a:gd name="T76" fmla="*/ 16 w 168"/>
                  <a:gd name="T77" fmla="*/ 786 h 786"/>
                  <a:gd name="T78" fmla="*/ 16 w 168"/>
                  <a:gd name="T79" fmla="*/ 244 h 786"/>
                  <a:gd name="T80" fmla="*/ 152 w 168"/>
                  <a:gd name="T81" fmla="*/ 244 h 786"/>
                  <a:gd name="T82" fmla="*/ 152 w 168"/>
                  <a:gd name="T83" fmla="*/ 244 h 786"/>
                  <a:gd name="T84" fmla="*/ 152 w 168"/>
                  <a:gd name="T85" fmla="*/ 686 h 786"/>
                  <a:gd name="T86" fmla="*/ 152 w 168"/>
                  <a:gd name="T87" fmla="*/ 686 h 786"/>
                  <a:gd name="T88" fmla="*/ 150 w 168"/>
                  <a:gd name="T89" fmla="*/ 704 h 786"/>
                  <a:gd name="T90" fmla="*/ 146 w 168"/>
                  <a:gd name="T91" fmla="*/ 720 h 786"/>
                  <a:gd name="T92" fmla="*/ 138 w 168"/>
                  <a:gd name="T93" fmla="*/ 732 h 786"/>
                  <a:gd name="T94" fmla="*/ 130 w 168"/>
                  <a:gd name="T95" fmla="*/ 744 h 786"/>
                  <a:gd name="T96" fmla="*/ 120 w 168"/>
                  <a:gd name="T97" fmla="*/ 754 h 786"/>
                  <a:gd name="T98" fmla="*/ 108 w 168"/>
                  <a:gd name="T99" fmla="*/ 762 h 786"/>
                  <a:gd name="T100" fmla="*/ 96 w 168"/>
                  <a:gd name="T101" fmla="*/ 768 h 786"/>
                  <a:gd name="T102" fmla="*/ 84 w 168"/>
                  <a:gd name="T103" fmla="*/ 774 h 786"/>
                  <a:gd name="T104" fmla="*/ 60 w 168"/>
                  <a:gd name="T105" fmla="*/ 782 h 786"/>
                  <a:gd name="T106" fmla="*/ 38 w 168"/>
                  <a:gd name="T107" fmla="*/ 784 h 786"/>
                  <a:gd name="T108" fmla="*/ 16 w 168"/>
                  <a:gd name="T109" fmla="*/ 786 h 786"/>
                  <a:gd name="T110" fmla="*/ 16 w 168"/>
                  <a:gd name="T111" fmla="*/ 786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8" h="786">
                    <a:moveTo>
                      <a:pt x="84" y="162"/>
                    </a:moveTo>
                    <a:lnTo>
                      <a:pt x="84" y="162"/>
                    </a:lnTo>
                    <a:lnTo>
                      <a:pt x="68" y="160"/>
                    </a:lnTo>
                    <a:lnTo>
                      <a:pt x="52" y="156"/>
                    </a:lnTo>
                    <a:lnTo>
                      <a:pt x="38" y="148"/>
                    </a:lnTo>
                    <a:lnTo>
                      <a:pt x="26" y="138"/>
                    </a:lnTo>
                    <a:lnTo>
                      <a:pt x="14" y="126"/>
                    </a:lnTo>
                    <a:lnTo>
                      <a:pt x="8" y="112"/>
                    </a:lnTo>
                    <a:lnTo>
                      <a:pt x="2" y="98"/>
                    </a:lnTo>
                    <a:lnTo>
                      <a:pt x="0" y="80"/>
                    </a:lnTo>
                    <a:lnTo>
                      <a:pt x="0" y="80"/>
                    </a:lnTo>
                    <a:lnTo>
                      <a:pt x="2" y="64"/>
                    </a:lnTo>
                    <a:lnTo>
                      <a:pt x="8" y="50"/>
                    </a:lnTo>
                    <a:lnTo>
                      <a:pt x="14" y="36"/>
                    </a:lnTo>
                    <a:lnTo>
                      <a:pt x="26" y="24"/>
                    </a:lnTo>
                    <a:lnTo>
                      <a:pt x="38" y="14"/>
                    </a:lnTo>
                    <a:lnTo>
                      <a:pt x="52" y="6"/>
                    </a:lnTo>
                    <a:lnTo>
                      <a:pt x="68" y="2"/>
                    </a:lnTo>
                    <a:lnTo>
                      <a:pt x="84" y="0"/>
                    </a:lnTo>
                    <a:lnTo>
                      <a:pt x="84" y="0"/>
                    </a:lnTo>
                    <a:lnTo>
                      <a:pt x="102" y="2"/>
                    </a:lnTo>
                    <a:lnTo>
                      <a:pt x="118" y="6"/>
                    </a:lnTo>
                    <a:lnTo>
                      <a:pt x="132" y="14"/>
                    </a:lnTo>
                    <a:lnTo>
                      <a:pt x="144" y="24"/>
                    </a:lnTo>
                    <a:lnTo>
                      <a:pt x="154" y="36"/>
                    </a:lnTo>
                    <a:lnTo>
                      <a:pt x="162" y="48"/>
                    </a:lnTo>
                    <a:lnTo>
                      <a:pt x="166" y="64"/>
                    </a:lnTo>
                    <a:lnTo>
                      <a:pt x="168" y="80"/>
                    </a:lnTo>
                    <a:lnTo>
                      <a:pt x="168" y="80"/>
                    </a:lnTo>
                    <a:lnTo>
                      <a:pt x="166" y="96"/>
                    </a:lnTo>
                    <a:lnTo>
                      <a:pt x="162" y="112"/>
                    </a:lnTo>
                    <a:lnTo>
                      <a:pt x="154" y="126"/>
                    </a:lnTo>
                    <a:lnTo>
                      <a:pt x="144" y="138"/>
                    </a:lnTo>
                    <a:lnTo>
                      <a:pt x="132" y="148"/>
                    </a:lnTo>
                    <a:lnTo>
                      <a:pt x="118" y="156"/>
                    </a:lnTo>
                    <a:lnTo>
                      <a:pt x="102" y="160"/>
                    </a:lnTo>
                    <a:lnTo>
                      <a:pt x="84" y="162"/>
                    </a:lnTo>
                    <a:lnTo>
                      <a:pt x="84" y="162"/>
                    </a:lnTo>
                    <a:close/>
                    <a:moveTo>
                      <a:pt x="16" y="786"/>
                    </a:moveTo>
                    <a:lnTo>
                      <a:pt x="16" y="244"/>
                    </a:lnTo>
                    <a:lnTo>
                      <a:pt x="152" y="244"/>
                    </a:lnTo>
                    <a:lnTo>
                      <a:pt x="152" y="244"/>
                    </a:lnTo>
                    <a:lnTo>
                      <a:pt x="152" y="686"/>
                    </a:lnTo>
                    <a:lnTo>
                      <a:pt x="152" y="686"/>
                    </a:lnTo>
                    <a:lnTo>
                      <a:pt x="150" y="704"/>
                    </a:lnTo>
                    <a:lnTo>
                      <a:pt x="146" y="720"/>
                    </a:lnTo>
                    <a:lnTo>
                      <a:pt x="138" y="732"/>
                    </a:lnTo>
                    <a:lnTo>
                      <a:pt x="130" y="744"/>
                    </a:lnTo>
                    <a:lnTo>
                      <a:pt x="120" y="754"/>
                    </a:lnTo>
                    <a:lnTo>
                      <a:pt x="108" y="762"/>
                    </a:lnTo>
                    <a:lnTo>
                      <a:pt x="96" y="768"/>
                    </a:lnTo>
                    <a:lnTo>
                      <a:pt x="84" y="774"/>
                    </a:lnTo>
                    <a:lnTo>
                      <a:pt x="60" y="782"/>
                    </a:lnTo>
                    <a:lnTo>
                      <a:pt x="38" y="784"/>
                    </a:lnTo>
                    <a:lnTo>
                      <a:pt x="16" y="786"/>
                    </a:lnTo>
                    <a:lnTo>
                      <a:pt x="16" y="7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7" name="Freeform 28"/>
              <p:cNvSpPr>
                <a:spLocks/>
              </p:cNvSpPr>
              <p:nvPr/>
            </p:nvSpPr>
            <p:spPr bwMode="auto">
              <a:xfrm>
                <a:off x="7989468" y="4518126"/>
                <a:ext cx="49837" cy="57313"/>
              </a:xfrm>
              <a:custGeom>
                <a:avLst/>
                <a:gdLst>
                  <a:gd name="T0" fmla="*/ 346 w 480"/>
                  <a:gd name="T1" fmla="*/ 230 h 552"/>
                  <a:gd name="T2" fmla="*/ 344 w 480"/>
                  <a:gd name="T3" fmla="*/ 210 h 552"/>
                  <a:gd name="T4" fmla="*/ 338 w 480"/>
                  <a:gd name="T5" fmla="*/ 170 h 552"/>
                  <a:gd name="T6" fmla="*/ 322 w 480"/>
                  <a:gd name="T7" fmla="*/ 138 h 552"/>
                  <a:gd name="T8" fmla="*/ 308 w 480"/>
                  <a:gd name="T9" fmla="*/ 126 h 552"/>
                  <a:gd name="T10" fmla="*/ 290 w 480"/>
                  <a:gd name="T11" fmla="*/ 118 h 552"/>
                  <a:gd name="T12" fmla="*/ 268 w 480"/>
                  <a:gd name="T13" fmla="*/ 116 h 552"/>
                  <a:gd name="T14" fmla="*/ 250 w 480"/>
                  <a:gd name="T15" fmla="*/ 116 h 552"/>
                  <a:gd name="T16" fmla="*/ 216 w 480"/>
                  <a:gd name="T17" fmla="*/ 126 h 552"/>
                  <a:gd name="T18" fmla="*/ 182 w 480"/>
                  <a:gd name="T19" fmla="*/ 140 h 552"/>
                  <a:gd name="T20" fmla="*/ 134 w 480"/>
                  <a:gd name="T21" fmla="*/ 172 h 552"/>
                  <a:gd name="T22" fmla="*/ 134 w 480"/>
                  <a:gd name="T23" fmla="*/ 452 h 552"/>
                  <a:gd name="T24" fmla="*/ 132 w 480"/>
                  <a:gd name="T25" fmla="*/ 470 h 552"/>
                  <a:gd name="T26" fmla="*/ 120 w 480"/>
                  <a:gd name="T27" fmla="*/ 498 h 552"/>
                  <a:gd name="T28" fmla="*/ 102 w 480"/>
                  <a:gd name="T29" fmla="*/ 518 h 552"/>
                  <a:gd name="T30" fmla="*/ 78 w 480"/>
                  <a:gd name="T31" fmla="*/ 534 h 552"/>
                  <a:gd name="T32" fmla="*/ 42 w 480"/>
                  <a:gd name="T33" fmla="*/ 546 h 552"/>
                  <a:gd name="T34" fmla="*/ 0 w 480"/>
                  <a:gd name="T35" fmla="*/ 552 h 552"/>
                  <a:gd name="T36" fmla="*/ 114 w 480"/>
                  <a:gd name="T37" fmla="*/ 14 h 552"/>
                  <a:gd name="T38" fmla="*/ 128 w 480"/>
                  <a:gd name="T39" fmla="*/ 70 h 552"/>
                  <a:gd name="T40" fmla="*/ 170 w 480"/>
                  <a:gd name="T41" fmla="*/ 42 h 552"/>
                  <a:gd name="T42" fmla="*/ 214 w 480"/>
                  <a:gd name="T43" fmla="*/ 20 h 552"/>
                  <a:gd name="T44" fmla="*/ 262 w 480"/>
                  <a:gd name="T45" fmla="*/ 6 h 552"/>
                  <a:gd name="T46" fmla="*/ 314 w 480"/>
                  <a:gd name="T47" fmla="*/ 0 h 552"/>
                  <a:gd name="T48" fmla="*/ 328 w 480"/>
                  <a:gd name="T49" fmla="*/ 2 h 552"/>
                  <a:gd name="T50" fmla="*/ 358 w 480"/>
                  <a:gd name="T51" fmla="*/ 6 h 552"/>
                  <a:gd name="T52" fmla="*/ 388 w 480"/>
                  <a:gd name="T53" fmla="*/ 16 h 552"/>
                  <a:gd name="T54" fmla="*/ 414 w 480"/>
                  <a:gd name="T55" fmla="*/ 32 h 552"/>
                  <a:gd name="T56" fmla="*/ 438 w 480"/>
                  <a:gd name="T57" fmla="*/ 54 h 552"/>
                  <a:gd name="T58" fmla="*/ 458 w 480"/>
                  <a:gd name="T59" fmla="*/ 84 h 552"/>
                  <a:gd name="T60" fmla="*/ 472 w 480"/>
                  <a:gd name="T61" fmla="*/ 120 h 552"/>
                  <a:gd name="T62" fmla="*/ 478 w 480"/>
                  <a:gd name="T63" fmla="*/ 166 h 552"/>
                  <a:gd name="T64" fmla="*/ 480 w 480"/>
                  <a:gd name="T65" fmla="*/ 190 h 552"/>
                  <a:gd name="T66" fmla="*/ 480 w 480"/>
                  <a:gd name="T67" fmla="*/ 452 h 552"/>
                  <a:gd name="T68" fmla="*/ 474 w 480"/>
                  <a:gd name="T69" fmla="*/ 484 h 552"/>
                  <a:gd name="T70" fmla="*/ 458 w 480"/>
                  <a:gd name="T71" fmla="*/ 510 h 552"/>
                  <a:gd name="T72" fmla="*/ 438 w 480"/>
                  <a:gd name="T73" fmla="*/ 528 h 552"/>
                  <a:gd name="T74" fmla="*/ 412 w 480"/>
                  <a:gd name="T75" fmla="*/ 540 h 552"/>
                  <a:gd name="T76" fmla="*/ 366 w 480"/>
                  <a:gd name="T77" fmla="*/ 550 h 552"/>
                  <a:gd name="T78" fmla="*/ 346 w 480"/>
                  <a:gd name="T79" fmla="*/ 552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80" h="552">
                    <a:moveTo>
                      <a:pt x="346" y="552"/>
                    </a:moveTo>
                    <a:lnTo>
                      <a:pt x="346" y="230"/>
                    </a:lnTo>
                    <a:lnTo>
                      <a:pt x="346" y="230"/>
                    </a:lnTo>
                    <a:lnTo>
                      <a:pt x="344" y="210"/>
                    </a:lnTo>
                    <a:lnTo>
                      <a:pt x="342" y="190"/>
                    </a:lnTo>
                    <a:lnTo>
                      <a:pt x="338" y="170"/>
                    </a:lnTo>
                    <a:lnTo>
                      <a:pt x="332" y="152"/>
                    </a:lnTo>
                    <a:lnTo>
                      <a:pt x="322" y="138"/>
                    </a:lnTo>
                    <a:lnTo>
                      <a:pt x="316" y="132"/>
                    </a:lnTo>
                    <a:lnTo>
                      <a:pt x="308" y="126"/>
                    </a:lnTo>
                    <a:lnTo>
                      <a:pt x="300" y="122"/>
                    </a:lnTo>
                    <a:lnTo>
                      <a:pt x="290" y="118"/>
                    </a:lnTo>
                    <a:lnTo>
                      <a:pt x="280" y="116"/>
                    </a:lnTo>
                    <a:lnTo>
                      <a:pt x="268" y="116"/>
                    </a:lnTo>
                    <a:lnTo>
                      <a:pt x="268" y="116"/>
                    </a:lnTo>
                    <a:lnTo>
                      <a:pt x="250" y="116"/>
                    </a:lnTo>
                    <a:lnTo>
                      <a:pt x="232" y="120"/>
                    </a:lnTo>
                    <a:lnTo>
                      <a:pt x="216" y="126"/>
                    </a:lnTo>
                    <a:lnTo>
                      <a:pt x="198" y="132"/>
                    </a:lnTo>
                    <a:lnTo>
                      <a:pt x="182" y="140"/>
                    </a:lnTo>
                    <a:lnTo>
                      <a:pt x="166" y="150"/>
                    </a:lnTo>
                    <a:lnTo>
                      <a:pt x="134" y="172"/>
                    </a:lnTo>
                    <a:lnTo>
                      <a:pt x="134" y="172"/>
                    </a:lnTo>
                    <a:lnTo>
                      <a:pt x="134" y="452"/>
                    </a:lnTo>
                    <a:lnTo>
                      <a:pt x="134" y="452"/>
                    </a:lnTo>
                    <a:lnTo>
                      <a:pt x="132" y="470"/>
                    </a:lnTo>
                    <a:lnTo>
                      <a:pt x="128" y="484"/>
                    </a:lnTo>
                    <a:lnTo>
                      <a:pt x="120" y="498"/>
                    </a:lnTo>
                    <a:lnTo>
                      <a:pt x="112" y="510"/>
                    </a:lnTo>
                    <a:lnTo>
                      <a:pt x="102" y="518"/>
                    </a:lnTo>
                    <a:lnTo>
                      <a:pt x="90" y="528"/>
                    </a:lnTo>
                    <a:lnTo>
                      <a:pt x="78" y="534"/>
                    </a:lnTo>
                    <a:lnTo>
                      <a:pt x="66" y="540"/>
                    </a:lnTo>
                    <a:lnTo>
                      <a:pt x="42" y="546"/>
                    </a:lnTo>
                    <a:lnTo>
                      <a:pt x="20" y="550"/>
                    </a:lnTo>
                    <a:lnTo>
                      <a:pt x="0" y="552"/>
                    </a:lnTo>
                    <a:lnTo>
                      <a:pt x="0" y="14"/>
                    </a:lnTo>
                    <a:lnTo>
                      <a:pt x="114" y="14"/>
                    </a:lnTo>
                    <a:lnTo>
                      <a:pt x="128" y="70"/>
                    </a:lnTo>
                    <a:lnTo>
                      <a:pt x="128" y="70"/>
                    </a:lnTo>
                    <a:lnTo>
                      <a:pt x="150" y="54"/>
                    </a:lnTo>
                    <a:lnTo>
                      <a:pt x="170" y="42"/>
                    </a:lnTo>
                    <a:lnTo>
                      <a:pt x="192" y="30"/>
                    </a:lnTo>
                    <a:lnTo>
                      <a:pt x="214" y="20"/>
                    </a:lnTo>
                    <a:lnTo>
                      <a:pt x="238" y="12"/>
                    </a:lnTo>
                    <a:lnTo>
                      <a:pt x="262" y="6"/>
                    </a:lnTo>
                    <a:lnTo>
                      <a:pt x="286" y="2"/>
                    </a:lnTo>
                    <a:lnTo>
                      <a:pt x="314" y="0"/>
                    </a:lnTo>
                    <a:lnTo>
                      <a:pt x="314" y="0"/>
                    </a:lnTo>
                    <a:lnTo>
                      <a:pt x="328" y="2"/>
                    </a:lnTo>
                    <a:lnTo>
                      <a:pt x="344" y="2"/>
                    </a:lnTo>
                    <a:lnTo>
                      <a:pt x="358" y="6"/>
                    </a:lnTo>
                    <a:lnTo>
                      <a:pt x="374" y="10"/>
                    </a:lnTo>
                    <a:lnTo>
                      <a:pt x="388" y="16"/>
                    </a:lnTo>
                    <a:lnTo>
                      <a:pt x="402" y="24"/>
                    </a:lnTo>
                    <a:lnTo>
                      <a:pt x="414" y="32"/>
                    </a:lnTo>
                    <a:lnTo>
                      <a:pt x="426" y="42"/>
                    </a:lnTo>
                    <a:lnTo>
                      <a:pt x="438" y="54"/>
                    </a:lnTo>
                    <a:lnTo>
                      <a:pt x="448" y="68"/>
                    </a:lnTo>
                    <a:lnTo>
                      <a:pt x="458" y="84"/>
                    </a:lnTo>
                    <a:lnTo>
                      <a:pt x="464" y="102"/>
                    </a:lnTo>
                    <a:lnTo>
                      <a:pt x="472" y="120"/>
                    </a:lnTo>
                    <a:lnTo>
                      <a:pt x="476" y="142"/>
                    </a:lnTo>
                    <a:lnTo>
                      <a:pt x="478" y="166"/>
                    </a:lnTo>
                    <a:lnTo>
                      <a:pt x="480" y="190"/>
                    </a:lnTo>
                    <a:lnTo>
                      <a:pt x="480" y="190"/>
                    </a:lnTo>
                    <a:lnTo>
                      <a:pt x="480" y="452"/>
                    </a:lnTo>
                    <a:lnTo>
                      <a:pt x="480" y="452"/>
                    </a:lnTo>
                    <a:lnTo>
                      <a:pt x="478" y="470"/>
                    </a:lnTo>
                    <a:lnTo>
                      <a:pt x="474" y="484"/>
                    </a:lnTo>
                    <a:lnTo>
                      <a:pt x="468" y="498"/>
                    </a:lnTo>
                    <a:lnTo>
                      <a:pt x="458" y="510"/>
                    </a:lnTo>
                    <a:lnTo>
                      <a:pt x="448" y="520"/>
                    </a:lnTo>
                    <a:lnTo>
                      <a:pt x="438" y="528"/>
                    </a:lnTo>
                    <a:lnTo>
                      <a:pt x="424" y="534"/>
                    </a:lnTo>
                    <a:lnTo>
                      <a:pt x="412" y="540"/>
                    </a:lnTo>
                    <a:lnTo>
                      <a:pt x="388" y="546"/>
                    </a:lnTo>
                    <a:lnTo>
                      <a:pt x="366" y="550"/>
                    </a:lnTo>
                    <a:lnTo>
                      <a:pt x="346" y="552"/>
                    </a:lnTo>
                    <a:lnTo>
                      <a:pt x="346" y="5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8" name="Freeform 29"/>
              <p:cNvSpPr>
                <a:spLocks/>
              </p:cNvSpPr>
              <p:nvPr/>
            </p:nvSpPr>
            <p:spPr bwMode="auto">
              <a:xfrm>
                <a:off x="8106170" y="4491754"/>
                <a:ext cx="14120" cy="83477"/>
              </a:xfrm>
              <a:custGeom>
                <a:avLst/>
                <a:gdLst>
                  <a:gd name="T0" fmla="*/ 136 w 136"/>
                  <a:gd name="T1" fmla="*/ 704 h 804"/>
                  <a:gd name="T2" fmla="*/ 136 w 136"/>
                  <a:gd name="T3" fmla="*/ 704 h 804"/>
                  <a:gd name="T4" fmla="*/ 134 w 136"/>
                  <a:gd name="T5" fmla="*/ 722 h 804"/>
                  <a:gd name="T6" fmla="*/ 130 w 136"/>
                  <a:gd name="T7" fmla="*/ 738 h 804"/>
                  <a:gd name="T8" fmla="*/ 122 w 136"/>
                  <a:gd name="T9" fmla="*/ 750 h 804"/>
                  <a:gd name="T10" fmla="*/ 114 w 136"/>
                  <a:gd name="T11" fmla="*/ 762 h 804"/>
                  <a:gd name="T12" fmla="*/ 104 w 136"/>
                  <a:gd name="T13" fmla="*/ 772 h 804"/>
                  <a:gd name="T14" fmla="*/ 92 w 136"/>
                  <a:gd name="T15" fmla="*/ 780 h 804"/>
                  <a:gd name="T16" fmla="*/ 80 w 136"/>
                  <a:gd name="T17" fmla="*/ 786 h 804"/>
                  <a:gd name="T18" fmla="*/ 68 w 136"/>
                  <a:gd name="T19" fmla="*/ 792 h 804"/>
                  <a:gd name="T20" fmla="*/ 44 w 136"/>
                  <a:gd name="T21" fmla="*/ 800 h 804"/>
                  <a:gd name="T22" fmla="*/ 22 w 136"/>
                  <a:gd name="T23" fmla="*/ 802 h 804"/>
                  <a:gd name="T24" fmla="*/ 0 w 136"/>
                  <a:gd name="T25" fmla="*/ 804 h 804"/>
                  <a:gd name="T26" fmla="*/ 0 w 136"/>
                  <a:gd name="T27" fmla="*/ 0 h 804"/>
                  <a:gd name="T28" fmla="*/ 136 w 136"/>
                  <a:gd name="T29" fmla="*/ 0 h 804"/>
                  <a:gd name="T30" fmla="*/ 136 w 136"/>
                  <a:gd name="T31" fmla="*/ 0 h 804"/>
                  <a:gd name="T32" fmla="*/ 136 w 136"/>
                  <a:gd name="T33" fmla="*/ 704 h 804"/>
                  <a:gd name="T34" fmla="*/ 136 w 136"/>
                  <a:gd name="T35" fmla="*/ 70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04">
                    <a:moveTo>
                      <a:pt x="136" y="704"/>
                    </a:moveTo>
                    <a:lnTo>
                      <a:pt x="136" y="704"/>
                    </a:lnTo>
                    <a:lnTo>
                      <a:pt x="134" y="722"/>
                    </a:lnTo>
                    <a:lnTo>
                      <a:pt x="130" y="738"/>
                    </a:lnTo>
                    <a:lnTo>
                      <a:pt x="122" y="750"/>
                    </a:lnTo>
                    <a:lnTo>
                      <a:pt x="114" y="762"/>
                    </a:lnTo>
                    <a:lnTo>
                      <a:pt x="104" y="772"/>
                    </a:lnTo>
                    <a:lnTo>
                      <a:pt x="92" y="780"/>
                    </a:lnTo>
                    <a:lnTo>
                      <a:pt x="80" y="786"/>
                    </a:lnTo>
                    <a:lnTo>
                      <a:pt x="68" y="792"/>
                    </a:lnTo>
                    <a:lnTo>
                      <a:pt x="44" y="800"/>
                    </a:lnTo>
                    <a:lnTo>
                      <a:pt x="22" y="802"/>
                    </a:lnTo>
                    <a:lnTo>
                      <a:pt x="0" y="804"/>
                    </a:lnTo>
                    <a:lnTo>
                      <a:pt x="0" y="0"/>
                    </a:lnTo>
                    <a:lnTo>
                      <a:pt x="136" y="0"/>
                    </a:lnTo>
                    <a:lnTo>
                      <a:pt x="136" y="0"/>
                    </a:lnTo>
                    <a:lnTo>
                      <a:pt x="136" y="704"/>
                    </a:lnTo>
                    <a:lnTo>
                      <a:pt x="136" y="7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4" name="Group 143"/>
            <p:cNvGrpSpPr/>
            <p:nvPr userDrawn="1"/>
          </p:nvGrpSpPr>
          <p:grpSpPr>
            <a:xfrm>
              <a:off x="7673274" y="4343117"/>
              <a:ext cx="1123200" cy="148389"/>
              <a:chOff x="7665803" y="4864376"/>
              <a:chExt cx="1123200" cy="148389"/>
            </a:xfrm>
            <a:grpFill/>
          </p:grpSpPr>
          <p:sp>
            <p:nvSpPr>
              <p:cNvPr id="145" name="Freeform 6"/>
              <p:cNvSpPr>
                <a:spLocks/>
              </p:cNvSpPr>
              <p:nvPr userDrawn="1"/>
            </p:nvSpPr>
            <p:spPr bwMode="auto">
              <a:xfrm>
                <a:off x="8119644" y="4924717"/>
                <a:ext cx="103102" cy="66806"/>
              </a:xfrm>
              <a:custGeom>
                <a:avLst/>
                <a:gdLst>
                  <a:gd name="T0" fmla="*/ 111 w 136"/>
                  <a:gd name="T1" fmla="*/ 72 h 92"/>
                  <a:gd name="T2" fmla="*/ 87 w 136"/>
                  <a:gd name="T3" fmla="*/ 88 h 92"/>
                  <a:gd name="T4" fmla="*/ 68 w 136"/>
                  <a:gd name="T5" fmla="*/ 28 h 92"/>
                  <a:gd name="T6" fmla="*/ 67 w 136"/>
                  <a:gd name="T7" fmla="*/ 28 h 92"/>
                  <a:gd name="T8" fmla="*/ 53 w 136"/>
                  <a:gd name="T9" fmla="*/ 72 h 92"/>
                  <a:gd name="T10" fmla="*/ 31 w 136"/>
                  <a:gd name="T11" fmla="*/ 88 h 92"/>
                  <a:gd name="T12" fmla="*/ 0 w 136"/>
                  <a:gd name="T13" fmla="*/ 0 h 92"/>
                  <a:gd name="T14" fmla="*/ 22 w 136"/>
                  <a:gd name="T15" fmla="*/ 0 h 92"/>
                  <a:gd name="T16" fmla="*/ 41 w 136"/>
                  <a:gd name="T17" fmla="*/ 60 h 92"/>
                  <a:gd name="T18" fmla="*/ 41 w 136"/>
                  <a:gd name="T19" fmla="*/ 60 h 92"/>
                  <a:gd name="T20" fmla="*/ 60 w 136"/>
                  <a:gd name="T21" fmla="*/ 0 h 92"/>
                  <a:gd name="T22" fmla="*/ 77 w 136"/>
                  <a:gd name="T23" fmla="*/ 0 h 92"/>
                  <a:gd name="T24" fmla="*/ 96 w 136"/>
                  <a:gd name="T25" fmla="*/ 60 h 92"/>
                  <a:gd name="T26" fmla="*/ 97 w 136"/>
                  <a:gd name="T27" fmla="*/ 60 h 92"/>
                  <a:gd name="T28" fmla="*/ 115 w 136"/>
                  <a:gd name="T29" fmla="*/ 0 h 92"/>
                  <a:gd name="T30" fmla="*/ 136 w 136"/>
                  <a:gd name="T31" fmla="*/ 0 h 92"/>
                  <a:gd name="T32" fmla="*/ 111 w 136"/>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 h="92">
                    <a:moveTo>
                      <a:pt x="111" y="72"/>
                    </a:moveTo>
                    <a:cubicBezTo>
                      <a:pt x="103" y="92"/>
                      <a:pt x="87" y="88"/>
                      <a:pt x="87" y="88"/>
                    </a:cubicBezTo>
                    <a:cubicBezTo>
                      <a:pt x="68" y="28"/>
                      <a:pt x="68" y="28"/>
                      <a:pt x="68" y="28"/>
                    </a:cubicBezTo>
                    <a:cubicBezTo>
                      <a:pt x="67" y="28"/>
                      <a:pt x="67" y="28"/>
                      <a:pt x="67" y="28"/>
                    </a:cubicBezTo>
                    <a:cubicBezTo>
                      <a:pt x="67" y="28"/>
                      <a:pt x="58"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6" y="60"/>
                      <a:pt x="96" y="60"/>
                      <a:pt x="96" y="60"/>
                    </a:cubicBezTo>
                    <a:cubicBezTo>
                      <a:pt x="97" y="60"/>
                      <a:pt x="97" y="60"/>
                      <a:pt x="97" y="60"/>
                    </a:cubicBezTo>
                    <a:cubicBezTo>
                      <a:pt x="115" y="0"/>
                      <a:pt x="115" y="0"/>
                      <a:pt x="115" y="0"/>
                    </a:cubicBezTo>
                    <a:cubicBezTo>
                      <a:pt x="136" y="0"/>
                      <a:pt x="136" y="0"/>
                      <a:pt x="136" y="0"/>
                    </a:cubicBezTo>
                    <a:cubicBezTo>
                      <a:pt x="136"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46" name="Freeform 7"/>
              <p:cNvSpPr>
                <a:spLocks noEditPoints="1"/>
              </p:cNvSpPr>
              <p:nvPr userDrawn="1"/>
            </p:nvSpPr>
            <p:spPr bwMode="auto">
              <a:xfrm>
                <a:off x="8225958" y="4923177"/>
                <a:ext cx="57493" cy="66190"/>
              </a:xfrm>
              <a:custGeom>
                <a:avLst/>
                <a:gdLst>
                  <a:gd name="T0" fmla="*/ 57 w 76"/>
                  <a:gd name="T1" fmla="*/ 90 h 91"/>
                  <a:gd name="T2" fmla="*/ 53 w 76"/>
                  <a:gd name="T3" fmla="*/ 81 h 91"/>
                  <a:gd name="T4" fmla="*/ 28 w 76"/>
                  <a:gd name="T5" fmla="*/ 91 h 91"/>
                  <a:gd name="T6" fmla="*/ 0 w 76"/>
                  <a:gd name="T7" fmla="*/ 63 h 91"/>
                  <a:gd name="T8" fmla="*/ 36 w 76"/>
                  <a:gd name="T9" fmla="*/ 34 h 91"/>
                  <a:gd name="T10" fmla="*/ 51 w 76"/>
                  <a:gd name="T11" fmla="*/ 34 h 91"/>
                  <a:gd name="T12" fmla="*/ 51 w 76"/>
                  <a:gd name="T13" fmla="*/ 31 h 91"/>
                  <a:gd name="T14" fmla="*/ 35 w 76"/>
                  <a:gd name="T15" fmla="*/ 17 h 91"/>
                  <a:gd name="T16" fmla="*/ 12 w 76"/>
                  <a:gd name="T17" fmla="*/ 23 h 91"/>
                  <a:gd name="T18" fmla="*/ 5 w 76"/>
                  <a:gd name="T19" fmla="*/ 9 h 91"/>
                  <a:gd name="T20" fmla="*/ 39 w 76"/>
                  <a:gd name="T21" fmla="*/ 0 h 91"/>
                  <a:gd name="T22" fmla="*/ 74 w 76"/>
                  <a:gd name="T23" fmla="*/ 31 h 91"/>
                  <a:gd name="T24" fmla="*/ 74 w 76"/>
                  <a:gd name="T25" fmla="*/ 66 h 91"/>
                  <a:gd name="T26" fmla="*/ 76 w 76"/>
                  <a:gd name="T27" fmla="*/ 90 h 91"/>
                  <a:gd name="T28" fmla="*/ 57 w 76"/>
                  <a:gd name="T29" fmla="*/ 90 h 91"/>
                  <a:gd name="T30" fmla="*/ 51 w 76"/>
                  <a:gd name="T31" fmla="*/ 49 h 91"/>
                  <a:gd name="T32" fmla="*/ 39 w 76"/>
                  <a:gd name="T33" fmla="*/ 49 h 91"/>
                  <a:gd name="T34" fmla="*/ 22 w 76"/>
                  <a:gd name="T35" fmla="*/ 61 h 91"/>
                  <a:gd name="T36" fmla="*/ 36 w 76"/>
                  <a:gd name="T37" fmla="*/ 73 h 91"/>
                  <a:gd name="T38" fmla="*/ 51 w 76"/>
                  <a:gd name="T39" fmla="*/ 68 h 91"/>
                  <a:gd name="T40" fmla="*/ 51 w 76"/>
                  <a:gd name="T41" fmla="*/ 4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91">
                    <a:moveTo>
                      <a:pt x="57" y="90"/>
                    </a:moveTo>
                    <a:cubicBezTo>
                      <a:pt x="53" y="81"/>
                      <a:pt x="53" y="81"/>
                      <a:pt x="53" y="81"/>
                    </a:cubicBezTo>
                    <a:cubicBezTo>
                      <a:pt x="48" y="86"/>
                      <a:pt x="40" y="91"/>
                      <a:pt x="28" y="91"/>
                    </a:cubicBezTo>
                    <a:cubicBezTo>
                      <a:pt x="12" y="91"/>
                      <a:pt x="0" y="80"/>
                      <a:pt x="0" y="63"/>
                    </a:cubicBezTo>
                    <a:cubicBezTo>
                      <a:pt x="0" y="45"/>
                      <a:pt x="14" y="35"/>
                      <a:pt x="36" y="34"/>
                    </a:cubicBezTo>
                    <a:cubicBezTo>
                      <a:pt x="51" y="34"/>
                      <a:pt x="51" y="34"/>
                      <a:pt x="51" y="34"/>
                    </a:cubicBezTo>
                    <a:cubicBezTo>
                      <a:pt x="51" y="33"/>
                      <a:pt x="51" y="32"/>
                      <a:pt x="51" y="31"/>
                    </a:cubicBezTo>
                    <a:cubicBezTo>
                      <a:pt x="51" y="21"/>
                      <a:pt x="44" y="17"/>
                      <a:pt x="35" y="17"/>
                    </a:cubicBezTo>
                    <a:cubicBezTo>
                      <a:pt x="25" y="17"/>
                      <a:pt x="18" y="20"/>
                      <a:pt x="12" y="23"/>
                    </a:cubicBezTo>
                    <a:cubicBezTo>
                      <a:pt x="5" y="9"/>
                      <a:pt x="5" y="9"/>
                      <a:pt x="5" y="9"/>
                    </a:cubicBezTo>
                    <a:cubicBezTo>
                      <a:pt x="17" y="2"/>
                      <a:pt x="28" y="0"/>
                      <a:pt x="39" y="0"/>
                    </a:cubicBezTo>
                    <a:cubicBezTo>
                      <a:pt x="61" y="0"/>
                      <a:pt x="74" y="9"/>
                      <a:pt x="74" y="31"/>
                    </a:cubicBezTo>
                    <a:cubicBezTo>
                      <a:pt x="74" y="66"/>
                      <a:pt x="74" y="66"/>
                      <a:pt x="74" y="66"/>
                    </a:cubicBezTo>
                    <a:cubicBezTo>
                      <a:pt x="74" y="78"/>
                      <a:pt x="75" y="86"/>
                      <a:pt x="76" y="90"/>
                    </a:cubicBezTo>
                    <a:lnTo>
                      <a:pt x="57" y="90"/>
                    </a:lnTo>
                    <a:close/>
                    <a:moveTo>
                      <a:pt x="51" y="49"/>
                    </a:moveTo>
                    <a:cubicBezTo>
                      <a:pt x="39" y="49"/>
                      <a:pt x="39" y="49"/>
                      <a:pt x="39" y="49"/>
                    </a:cubicBezTo>
                    <a:cubicBezTo>
                      <a:pt x="27" y="50"/>
                      <a:pt x="22" y="54"/>
                      <a:pt x="22" y="61"/>
                    </a:cubicBezTo>
                    <a:cubicBezTo>
                      <a:pt x="22" y="68"/>
                      <a:pt x="27" y="73"/>
                      <a:pt x="36" y="73"/>
                    </a:cubicBezTo>
                    <a:cubicBezTo>
                      <a:pt x="44" y="73"/>
                      <a:pt x="49" y="70"/>
                      <a:pt x="51" y="68"/>
                    </a:cubicBezTo>
                    <a:lnTo>
                      <a:pt x="51" y="4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47" name="Freeform 8"/>
              <p:cNvSpPr>
                <a:spLocks noEditPoints="1"/>
              </p:cNvSpPr>
              <p:nvPr userDrawn="1"/>
            </p:nvSpPr>
            <p:spPr bwMode="auto">
              <a:xfrm>
                <a:off x="8342550" y="4892699"/>
                <a:ext cx="62311" cy="96668"/>
              </a:xfrm>
              <a:custGeom>
                <a:avLst/>
                <a:gdLst>
                  <a:gd name="T0" fmla="*/ 47 w 82"/>
                  <a:gd name="T1" fmla="*/ 133 h 133"/>
                  <a:gd name="T2" fmla="*/ 0 w 82"/>
                  <a:gd name="T3" fmla="*/ 88 h 133"/>
                  <a:gd name="T4" fmla="*/ 48 w 82"/>
                  <a:gd name="T5" fmla="*/ 42 h 133"/>
                  <a:gd name="T6" fmla="*/ 59 w 82"/>
                  <a:gd name="T7" fmla="*/ 42 h 133"/>
                  <a:gd name="T8" fmla="*/ 60 w 82"/>
                  <a:gd name="T9" fmla="*/ 0 h 133"/>
                  <a:gd name="T10" fmla="*/ 82 w 82"/>
                  <a:gd name="T11" fmla="*/ 0 h 133"/>
                  <a:gd name="T12" fmla="*/ 81 w 82"/>
                  <a:gd name="T13" fmla="*/ 126 h 133"/>
                  <a:gd name="T14" fmla="*/ 47 w 82"/>
                  <a:gd name="T15" fmla="*/ 133 h 133"/>
                  <a:gd name="T16" fmla="*/ 59 w 82"/>
                  <a:gd name="T17" fmla="*/ 60 h 133"/>
                  <a:gd name="T18" fmla="*/ 49 w 82"/>
                  <a:gd name="T19" fmla="*/ 59 h 133"/>
                  <a:gd name="T20" fmla="*/ 22 w 82"/>
                  <a:gd name="T21" fmla="*/ 87 h 133"/>
                  <a:gd name="T22" fmla="*/ 49 w 82"/>
                  <a:gd name="T23" fmla="*/ 114 h 133"/>
                  <a:gd name="T24" fmla="*/ 59 w 82"/>
                  <a:gd name="T25" fmla="*/ 113 h 133"/>
                  <a:gd name="T26" fmla="*/ 59 w 82"/>
                  <a:gd name="T27" fmla="*/ 6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3">
                    <a:moveTo>
                      <a:pt x="47" y="133"/>
                    </a:moveTo>
                    <a:cubicBezTo>
                      <a:pt x="21" y="133"/>
                      <a:pt x="0" y="117"/>
                      <a:pt x="0" y="88"/>
                    </a:cubicBezTo>
                    <a:cubicBezTo>
                      <a:pt x="0" y="61"/>
                      <a:pt x="20" y="42"/>
                      <a:pt x="48" y="42"/>
                    </a:cubicBezTo>
                    <a:cubicBezTo>
                      <a:pt x="52" y="42"/>
                      <a:pt x="56" y="42"/>
                      <a:pt x="59" y="42"/>
                    </a:cubicBezTo>
                    <a:cubicBezTo>
                      <a:pt x="60" y="0"/>
                      <a:pt x="60" y="0"/>
                      <a:pt x="60" y="0"/>
                    </a:cubicBezTo>
                    <a:cubicBezTo>
                      <a:pt x="82" y="0"/>
                      <a:pt x="82" y="0"/>
                      <a:pt x="82" y="0"/>
                    </a:cubicBezTo>
                    <a:cubicBezTo>
                      <a:pt x="81" y="126"/>
                      <a:pt x="81" y="126"/>
                      <a:pt x="81" y="126"/>
                    </a:cubicBezTo>
                    <a:cubicBezTo>
                      <a:pt x="73" y="130"/>
                      <a:pt x="62" y="133"/>
                      <a:pt x="47" y="133"/>
                    </a:cubicBezTo>
                    <a:close/>
                    <a:moveTo>
                      <a:pt x="59" y="60"/>
                    </a:moveTo>
                    <a:cubicBezTo>
                      <a:pt x="56" y="60"/>
                      <a:pt x="54" y="59"/>
                      <a:pt x="49" y="59"/>
                    </a:cubicBezTo>
                    <a:cubicBezTo>
                      <a:pt x="33" y="59"/>
                      <a:pt x="22" y="70"/>
                      <a:pt x="22" y="87"/>
                    </a:cubicBezTo>
                    <a:cubicBezTo>
                      <a:pt x="22" y="103"/>
                      <a:pt x="32" y="114"/>
                      <a:pt x="49" y="114"/>
                    </a:cubicBezTo>
                    <a:cubicBezTo>
                      <a:pt x="53" y="114"/>
                      <a:pt x="57" y="114"/>
                      <a:pt x="59" y="113"/>
                    </a:cubicBezTo>
                    <a:lnTo>
                      <a:pt x="59" y="60"/>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48" name="Freeform 9"/>
              <p:cNvSpPr>
                <a:spLocks/>
              </p:cNvSpPr>
              <p:nvPr userDrawn="1"/>
            </p:nvSpPr>
            <p:spPr bwMode="auto">
              <a:xfrm>
                <a:off x="8093949"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49" name="Freeform 10"/>
              <p:cNvSpPr>
                <a:spLocks/>
              </p:cNvSpPr>
              <p:nvPr userDrawn="1"/>
            </p:nvSpPr>
            <p:spPr bwMode="auto">
              <a:xfrm>
                <a:off x="8060545"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50" name="Freeform 11"/>
              <p:cNvSpPr>
                <a:spLocks/>
              </p:cNvSpPr>
              <p:nvPr userDrawn="1"/>
            </p:nvSpPr>
            <p:spPr bwMode="auto">
              <a:xfrm>
                <a:off x="8297262" y="4923177"/>
                <a:ext cx="43039" cy="66190"/>
              </a:xfrm>
              <a:custGeom>
                <a:avLst/>
                <a:gdLst>
                  <a:gd name="T0" fmla="*/ 49 w 57"/>
                  <a:gd name="T1" fmla="*/ 22 h 91"/>
                  <a:gd name="T2" fmla="*/ 39 w 57"/>
                  <a:gd name="T3" fmla="*/ 20 h 91"/>
                  <a:gd name="T4" fmla="*/ 22 w 57"/>
                  <a:gd name="T5" fmla="*/ 27 h 91"/>
                  <a:gd name="T6" fmla="*/ 22 w 57"/>
                  <a:gd name="T7" fmla="*/ 74 h 91"/>
                  <a:gd name="T8" fmla="*/ 0 w 57"/>
                  <a:gd name="T9" fmla="*/ 90 h 91"/>
                  <a:gd name="T10" fmla="*/ 0 w 57"/>
                  <a:gd name="T11" fmla="*/ 2 h 91"/>
                  <a:gd name="T12" fmla="*/ 18 w 57"/>
                  <a:gd name="T13" fmla="*/ 2 h 91"/>
                  <a:gd name="T14" fmla="*/ 21 w 57"/>
                  <a:gd name="T15" fmla="*/ 11 h 91"/>
                  <a:gd name="T16" fmla="*/ 45 w 57"/>
                  <a:gd name="T17" fmla="*/ 0 h 91"/>
                  <a:gd name="T18" fmla="*/ 57 w 57"/>
                  <a:gd name="T19" fmla="*/ 4 h 91"/>
                  <a:gd name="T20" fmla="*/ 49 w 57"/>
                  <a:gd name="T21" fmla="*/ 2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1">
                    <a:moveTo>
                      <a:pt x="49" y="22"/>
                    </a:moveTo>
                    <a:cubicBezTo>
                      <a:pt x="45" y="20"/>
                      <a:pt x="41" y="20"/>
                      <a:pt x="39" y="20"/>
                    </a:cubicBezTo>
                    <a:cubicBezTo>
                      <a:pt x="34" y="20"/>
                      <a:pt x="28" y="22"/>
                      <a:pt x="22" y="27"/>
                    </a:cubicBezTo>
                    <a:cubicBezTo>
                      <a:pt x="22" y="27"/>
                      <a:pt x="22" y="57"/>
                      <a:pt x="22" y="74"/>
                    </a:cubicBezTo>
                    <a:cubicBezTo>
                      <a:pt x="22" y="91"/>
                      <a:pt x="0" y="90"/>
                      <a:pt x="0" y="90"/>
                    </a:cubicBezTo>
                    <a:cubicBezTo>
                      <a:pt x="0" y="2"/>
                      <a:pt x="0" y="2"/>
                      <a:pt x="0" y="2"/>
                    </a:cubicBezTo>
                    <a:cubicBezTo>
                      <a:pt x="18" y="2"/>
                      <a:pt x="18" y="2"/>
                      <a:pt x="18"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51" name="Freeform 12"/>
              <p:cNvSpPr>
                <a:spLocks/>
              </p:cNvSpPr>
              <p:nvPr userDrawn="1"/>
            </p:nvSpPr>
            <p:spPr bwMode="auto">
              <a:xfrm>
                <a:off x="7907980" y="4892699"/>
                <a:ext cx="98605" cy="95129"/>
              </a:xfrm>
              <a:custGeom>
                <a:avLst/>
                <a:gdLst>
                  <a:gd name="T0" fmla="*/ 106 w 130"/>
                  <a:gd name="T1" fmla="*/ 131 h 131"/>
                  <a:gd name="T2" fmla="*/ 106 w 130"/>
                  <a:gd name="T3" fmla="*/ 53 h 131"/>
                  <a:gd name="T4" fmla="*/ 107 w 130"/>
                  <a:gd name="T5" fmla="*/ 39 h 131"/>
                  <a:gd name="T6" fmla="*/ 106 w 130"/>
                  <a:gd name="T7" fmla="*/ 39 h 131"/>
                  <a:gd name="T8" fmla="*/ 99 w 130"/>
                  <a:gd name="T9" fmla="*/ 52 h 131"/>
                  <a:gd name="T10" fmla="*/ 72 w 130"/>
                  <a:gd name="T11" fmla="*/ 93 h 131"/>
                  <a:gd name="T12" fmla="*/ 60 w 130"/>
                  <a:gd name="T13" fmla="*/ 93 h 131"/>
                  <a:gd name="T14" fmla="*/ 32 w 130"/>
                  <a:gd name="T15" fmla="*/ 51 h 131"/>
                  <a:gd name="T16" fmla="*/ 24 w 130"/>
                  <a:gd name="T17" fmla="*/ 39 h 131"/>
                  <a:gd name="T18" fmla="*/ 23 w 130"/>
                  <a:gd name="T19" fmla="*/ 39 h 131"/>
                  <a:gd name="T20" fmla="*/ 24 w 130"/>
                  <a:gd name="T21" fmla="*/ 52 h 131"/>
                  <a:gd name="T22" fmla="*/ 24 w 130"/>
                  <a:gd name="T23" fmla="*/ 131 h 131"/>
                  <a:gd name="T24" fmla="*/ 0 w 130"/>
                  <a:gd name="T25" fmla="*/ 131 h 131"/>
                  <a:gd name="T26" fmla="*/ 0 w 130"/>
                  <a:gd name="T27" fmla="*/ 0 h 131"/>
                  <a:gd name="T28" fmla="*/ 22 w 130"/>
                  <a:gd name="T29" fmla="*/ 0 h 131"/>
                  <a:gd name="T30" fmla="*/ 58 w 130"/>
                  <a:gd name="T31" fmla="*/ 52 h 131"/>
                  <a:gd name="T32" fmla="*/ 66 w 130"/>
                  <a:gd name="T33" fmla="*/ 66 h 131"/>
                  <a:gd name="T34" fmla="*/ 67 w 130"/>
                  <a:gd name="T35" fmla="*/ 66 h 131"/>
                  <a:gd name="T36" fmla="*/ 75 w 130"/>
                  <a:gd name="T37" fmla="*/ 52 h 131"/>
                  <a:gd name="T38" fmla="*/ 108 w 130"/>
                  <a:gd name="T39" fmla="*/ 0 h 131"/>
                  <a:gd name="T40" fmla="*/ 130 w 130"/>
                  <a:gd name="T41" fmla="*/ 0 h 131"/>
                  <a:gd name="T42" fmla="*/ 130 w 130"/>
                  <a:gd name="T43" fmla="*/ 131 h 131"/>
                  <a:gd name="T44" fmla="*/ 106 w 130"/>
                  <a:gd name="T45"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0" h="131">
                    <a:moveTo>
                      <a:pt x="106" y="131"/>
                    </a:moveTo>
                    <a:cubicBezTo>
                      <a:pt x="106" y="53"/>
                      <a:pt x="106" y="53"/>
                      <a:pt x="106" y="53"/>
                    </a:cubicBezTo>
                    <a:cubicBezTo>
                      <a:pt x="106" y="48"/>
                      <a:pt x="106" y="44"/>
                      <a:pt x="107" y="39"/>
                    </a:cubicBezTo>
                    <a:cubicBezTo>
                      <a:pt x="106" y="39"/>
                      <a:pt x="106" y="39"/>
                      <a:pt x="106" y="39"/>
                    </a:cubicBezTo>
                    <a:cubicBezTo>
                      <a:pt x="105" y="43"/>
                      <a:pt x="101" y="49"/>
                      <a:pt x="99" y="52"/>
                    </a:cubicBezTo>
                    <a:cubicBezTo>
                      <a:pt x="72" y="93"/>
                      <a:pt x="72" y="93"/>
                      <a:pt x="72" y="93"/>
                    </a:cubicBezTo>
                    <a:cubicBezTo>
                      <a:pt x="60" y="93"/>
                      <a:pt x="60" y="93"/>
                      <a:pt x="60" y="93"/>
                    </a:cubicBezTo>
                    <a:cubicBezTo>
                      <a:pt x="32" y="51"/>
                      <a:pt x="32" y="51"/>
                      <a:pt x="32" y="51"/>
                    </a:cubicBezTo>
                    <a:cubicBezTo>
                      <a:pt x="29" y="48"/>
                      <a:pt x="26" y="44"/>
                      <a:pt x="24" y="39"/>
                    </a:cubicBezTo>
                    <a:cubicBezTo>
                      <a:pt x="23" y="39"/>
                      <a:pt x="23" y="39"/>
                      <a:pt x="23" y="39"/>
                    </a:cubicBezTo>
                    <a:cubicBezTo>
                      <a:pt x="24" y="44"/>
                      <a:pt x="24" y="48"/>
                      <a:pt x="24" y="52"/>
                    </a:cubicBezTo>
                    <a:cubicBezTo>
                      <a:pt x="24" y="131"/>
                      <a:pt x="24" y="131"/>
                      <a:pt x="24" y="131"/>
                    </a:cubicBezTo>
                    <a:cubicBezTo>
                      <a:pt x="0" y="131"/>
                      <a:pt x="0" y="131"/>
                      <a:pt x="0" y="131"/>
                    </a:cubicBezTo>
                    <a:cubicBezTo>
                      <a:pt x="0" y="0"/>
                      <a:pt x="0" y="0"/>
                      <a:pt x="0" y="0"/>
                    </a:cubicBezTo>
                    <a:cubicBezTo>
                      <a:pt x="22" y="0"/>
                      <a:pt x="22" y="0"/>
                      <a:pt x="22" y="0"/>
                    </a:cubicBezTo>
                    <a:cubicBezTo>
                      <a:pt x="58" y="52"/>
                      <a:pt x="58" y="52"/>
                      <a:pt x="58" y="52"/>
                    </a:cubicBezTo>
                    <a:cubicBezTo>
                      <a:pt x="61" y="57"/>
                      <a:pt x="64" y="61"/>
                      <a:pt x="66" y="66"/>
                    </a:cubicBezTo>
                    <a:cubicBezTo>
                      <a:pt x="67" y="66"/>
                      <a:pt x="67" y="66"/>
                      <a:pt x="67" y="66"/>
                    </a:cubicBezTo>
                    <a:cubicBezTo>
                      <a:pt x="69" y="61"/>
                      <a:pt x="71" y="57"/>
                      <a:pt x="75" y="52"/>
                    </a:cubicBezTo>
                    <a:cubicBezTo>
                      <a:pt x="108" y="0"/>
                      <a:pt x="108" y="0"/>
                      <a:pt x="108" y="0"/>
                    </a:cubicBezTo>
                    <a:cubicBezTo>
                      <a:pt x="130" y="0"/>
                      <a:pt x="130" y="0"/>
                      <a:pt x="130" y="0"/>
                    </a:cubicBezTo>
                    <a:cubicBezTo>
                      <a:pt x="130" y="131"/>
                      <a:pt x="130" y="131"/>
                      <a:pt x="130" y="131"/>
                    </a:cubicBezTo>
                    <a:lnTo>
                      <a:pt x="106" y="131"/>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52" name="Freeform 13"/>
              <p:cNvSpPr>
                <a:spLocks/>
              </p:cNvSpPr>
              <p:nvPr userDrawn="1"/>
            </p:nvSpPr>
            <p:spPr bwMode="auto">
              <a:xfrm>
                <a:off x="7665803" y="4864376"/>
                <a:ext cx="100854" cy="148389"/>
              </a:xfrm>
              <a:custGeom>
                <a:avLst/>
                <a:gdLst>
                  <a:gd name="T0" fmla="*/ 133 w 133"/>
                  <a:gd name="T1" fmla="*/ 23 h 204"/>
                  <a:gd name="T2" fmla="*/ 132 w 133"/>
                  <a:gd name="T3" fmla="*/ 22 h 204"/>
                  <a:gd name="T4" fmla="*/ 65 w 133"/>
                  <a:gd name="T5" fmla="*/ 20 h 204"/>
                  <a:gd name="T6" fmla="*/ 52 w 133"/>
                  <a:gd name="T7" fmla="*/ 52 h 204"/>
                  <a:gd name="T8" fmla="*/ 20 w 133"/>
                  <a:gd name="T9" fmla="*/ 65 h 204"/>
                  <a:gd name="T10" fmla="*/ 22 w 133"/>
                  <a:gd name="T11" fmla="*/ 132 h 204"/>
                  <a:gd name="T12" fmla="*/ 95 w 133"/>
                  <a:gd name="T13" fmla="*/ 204 h 204"/>
                  <a:gd name="T14" fmla="*/ 117 w 133"/>
                  <a:gd name="T15" fmla="*/ 182 h 204"/>
                  <a:gd name="T16" fmla="*/ 44 w 133"/>
                  <a:gd name="T17" fmla="*/ 110 h 204"/>
                  <a:gd name="T18" fmla="*/ 42 w 133"/>
                  <a:gd name="T19" fmla="*/ 86 h 204"/>
                  <a:gd name="T20" fmla="*/ 66 w 133"/>
                  <a:gd name="T21" fmla="*/ 88 h 204"/>
                  <a:gd name="T22" fmla="*/ 133 w 133"/>
                  <a:gd name="T23" fmla="*/ 155 h 204"/>
                  <a:gd name="T24" fmla="*/ 133 w 133"/>
                  <a:gd name="T25" fmla="*/ 111 h 204"/>
                  <a:gd name="T26" fmla="*/ 88 w 133"/>
                  <a:gd name="T27" fmla="*/ 66 h 204"/>
                  <a:gd name="T28" fmla="*/ 86 w 133"/>
                  <a:gd name="T29" fmla="*/ 42 h 204"/>
                  <a:gd name="T30" fmla="*/ 110 w 133"/>
                  <a:gd name="T31" fmla="*/ 44 h 204"/>
                  <a:gd name="T32" fmla="*/ 133 w 133"/>
                  <a:gd name="T33" fmla="*/ 66 h 204"/>
                  <a:gd name="T34" fmla="*/ 133 w 133"/>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204">
                    <a:moveTo>
                      <a:pt x="133" y="23"/>
                    </a:moveTo>
                    <a:cubicBezTo>
                      <a:pt x="132" y="22"/>
                      <a:pt x="132" y="22"/>
                      <a:pt x="132" y="22"/>
                    </a:cubicBezTo>
                    <a:cubicBezTo>
                      <a:pt x="110" y="0"/>
                      <a:pt x="82" y="2"/>
                      <a:pt x="65" y="20"/>
                    </a:cubicBezTo>
                    <a:cubicBezTo>
                      <a:pt x="53" y="32"/>
                      <a:pt x="51" y="46"/>
                      <a:pt x="52" y="52"/>
                    </a:cubicBezTo>
                    <a:cubicBezTo>
                      <a:pt x="47" y="51"/>
                      <a:pt x="32" y="52"/>
                      <a:pt x="20" y="65"/>
                    </a:cubicBezTo>
                    <a:cubicBezTo>
                      <a:pt x="3" y="82"/>
                      <a:pt x="0" y="110"/>
                      <a:pt x="22" y="132"/>
                    </a:cubicBezTo>
                    <a:cubicBezTo>
                      <a:pt x="95" y="204"/>
                      <a:pt x="95" y="204"/>
                      <a:pt x="95" y="204"/>
                    </a:cubicBezTo>
                    <a:cubicBezTo>
                      <a:pt x="117" y="182"/>
                      <a:pt x="117" y="182"/>
                      <a:pt x="117" y="182"/>
                    </a:cubicBezTo>
                    <a:cubicBezTo>
                      <a:pt x="44" y="110"/>
                      <a:pt x="44" y="110"/>
                      <a:pt x="44" y="110"/>
                    </a:cubicBezTo>
                    <a:cubicBezTo>
                      <a:pt x="35" y="101"/>
                      <a:pt x="36" y="91"/>
                      <a:pt x="42" y="86"/>
                    </a:cubicBezTo>
                    <a:cubicBezTo>
                      <a:pt x="47" y="80"/>
                      <a:pt x="58" y="79"/>
                      <a:pt x="66" y="88"/>
                    </a:cubicBezTo>
                    <a:cubicBezTo>
                      <a:pt x="133" y="155"/>
                      <a:pt x="133" y="155"/>
                      <a:pt x="133" y="155"/>
                    </a:cubicBezTo>
                    <a:cubicBezTo>
                      <a:pt x="133" y="111"/>
                      <a:pt x="133" y="111"/>
                      <a:pt x="133" y="111"/>
                    </a:cubicBezTo>
                    <a:cubicBezTo>
                      <a:pt x="88" y="66"/>
                      <a:pt x="88" y="66"/>
                      <a:pt x="88" y="66"/>
                    </a:cubicBezTo>
                    <a:cubicBezTo>
                      <a:pt x="80" y="57"/>
                      <a:pt x="80" y="47"/>
                      <a:pt x="86" y="42"/>
                    </a:cubicBezTo>
                    <a:cubicBezTo>
                      <a:pt x="92" y="36"/>
                      <a:pt x="102" y="35"/>
                      <a:pt x="110" y="44"/>
                    </a:cubicBezTo>
                    <a:cubicBezTo>
                      <a:pt x="133" y="66"/>
                      <a:pt x="133" y="66"/>
                      <a:pt x="133" y="66"/>
                    </a:cubicBezTo>
                    <a:lnTo>
                      <a:pt x="133"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53" name="Freeform 14"/>
              <p:cNvSpPr>
                <a:spLocks noEditPoints="1"/>
              </p:cNvSpPr>
              <p:nvPr userDrawn="1"/>
            </p:nvSpPr>
            <p:spPr bwMode="auto">
              <a:xfrm>
                <a:off x="8023287" y="4895470"/>
                <a:ext cx="20556" cy="93282"/>
              </a:xfrm>
              <a:custGeom>
                <a:avLst/>
                <a:gdLst>
                  <a:gd name="T0" fmla="*/ 14 w 27"/>
                  <a:gd name="T1" fmla="*/ 26 h 128"/>
                  <a:gd name="T2" fmla="*/ 0 w 27"/>
                  <a:gd name="T3" fmla="*/ 13 h 128"/>
                  <a:gd name="T4" fmla="*/ 14 w 27"/>
                  <a:gd name="T5" fmla="*/ 0 h 128"/>
                  <a:gd name="T6" fmla="*/ 27 w 27"/>
                  <a:gd name="T7" fmla="*/ 13 h 128"/>
                  <a:gd name="T8" fmla="*/ 14 w 27"/>
                  <a:gd name="T9" fmla="*/ 26 h 128"/>
                  <a:gd name="T10" fmla="*/ 3 w 27"/>
                  <a:gd name="T11" fmla="*/ 128 h 128"/>
                  <a:gd name="T12" fmla="*/ 3 w 27"/>
                  <a:gd name="T13" fmla="*/ 40 h 128"/>
                  <a:gd name="T14" fmla="*/ 25 w 27"/>
                  <a:gd name="T15" fmla="*/ 40 h 128"/>
                  <a:gd name="T16" fmla="*/ 25 w 27"/>
                  <a:gd name="T17" fmla="*/ 112 h 128"/>
                  <a:gd name="T18" fmla="*/ 3 w 27"/>
                  <a:gd name="T1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128">
                    <a:moveTo>
                      <a:pt x="14" y="26"/>
                    </a:moveTo>
                    <a:cubicBezTo>
                      <a:pt x="6" y="26"/>
                      <a:pt x="0" y="20"/>
                      <a:pt x="0" y="13"/>
                    </a:cubicBezTo>
                    <a:cubicBezTo>
                      <a:pt x="0" y="6"/>
                      <a:pt x="6" y="0"/>
                      <a:pt x="14" y="0"/>
                    </a:cubicBezTo>
                    <a:cubicBezTo>
                      <a:pt x="21" y="0"/>
                      <a:pt x="27" y="5"/>
                      <a:pt x="27" y="13"/>
                    </a:cubicBezTo>
                    <a:cubicBezTo>
                      <a:pt x="27" y="20"/>
                      <a:pt x="21" y="26"/>
                      <a:pt x="14" y="26"/>
                    </a:cubicBezTo>
                    <a:close/>
                    <a:moveTo>
                      <a:pt x="3" y="128"/>
                    </a:moveTo>
                    <a:cubicBezTo>
                      <a:pt x="3" y="40"/>
                      <a:pt x="3" y="40"/>
                      <a:pt x="3" y="40"/>
                    </a:cubicBezTo>
                    <a:cubicBezTo>
                      <a:pt x="25" y="40"/>
                      <a:pt x="25" y="40"/>
                      <a:pt x="25" y="40"/>
                    </a:cubicBezTo>
                    <a:cubicBezTo>
                      <a:pt x="25" y="40"/>
                      <a:pt x="25" y="95"/>
                      <a:pt x="25" y="112"/>
                    </a:cubicBezTo>
                    <a:cubicBezTo>
                      <a:pt x="25" y="128"/>
                      <a:pt x="3" y="128"/>
                      <a:pt x="3" y="1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54" name="Freeform 15"/>
              <p:cNvSpPr>
                <a:spLocks/>
              </p:cNvSpPr>
              <p:nvPr userDrawn="1"/>
            </p:nvSpPr>
            <p:spPr bwMode="auto">
              <a:xfrm>
                <a:off x="8615239" y="4924717"/>
                <a:ext cx="103744" cy="66806"/>
              </a:xfrm>
              <a:custGeom>
                <a:avLst/>
                <a:gdLst>
                  <a:gd name="T0" fmla="*/ 111 w 137"/>
                  <a:gd name="T1" fmla="*/ 72 h 92"/>
                  <a:gd name="T2" fmla="*/ 88 w 137"/>
                  <a:gd name="T3" fmla="*/ 88 h 92"/>
                  <a:gd name="T4" fmla="*/ 68 w 137"/>
                  <a:gd name="T5" fmla="*/ 28 h 92"/>
                  <a:gd name="T6" fmla="*/ 68 w 137"/>
                  <a:gd name="T7" fmla="*/ 28 h 92"/>
                  <a:gd name="T8" fmla="*/ 53 w 137"/>
                  <a:gd name="T9" fmla="*/ 72 h 92"/>
                  <a:gd name="T10" fmla="*/ 31 w 137"/>
                  <a:gd name="T11" fmla="*/ 88 h 92"/>
                  <a:gd name="T12" fmla="*/ 0 w 137"/>
                  <a:gd name="T13" fmla="*/ 0 h 92"/>
                  <a:gd name="T14" fmla="*/ 22 w 137"/>
                  <a:gd name="T15" fmla="*/ 0 h 92"/>
                  <a:gd name="T16" fmla="*/ 41 w 137"/>
                  <a:gd name="T17" fmla="*/ 60 h 92"/>
                  <a:gd name="T18" fmla="*/ 41 w 137"/>
                  <a:gd name="T19" fmla="*/ 60 h 92"/>
                  <a:gd name="T20" fmla="*/ 60 w 137"/>
                  <a:gd name="T21" fmla="*/ 0 h 92"/>
                  <a:gd name="T22" fmla="*/ 77 w 137"/>
                  <a:gd name="T23" fmla="*/ 0 h 92"/>
                  <a:gd name="T24" fmla="*/ 97 w 137"/>
                  <a:gd name="T25" fmla="*/ 60 h 92"/>
                  <a:gd name="T26" fmla="*/ 97 w 137"/>
                  <a:gd name="T27" fmla="*/ 60 h 92"/>
                  <a:gd name="T28" fmla="*/ 115 w 137"/>
                  <a:gd name="T29" fmla="*/ 0 h 92"/>
                  <a:gd name="T30" fmla="*/ 137 w 137"/>
                  <a:gd name="T31" fmla="*/ 0 h 92"/>
                  <a:gd name="T32" fmla="*/ 111 w 137"/>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 h="92">
                    <a:moveTo>
                      <a:pt x="111" y="72"/>
                    </a:moveTo>
                    <a:cubicBezTo>
                      <a:pt x="104" y="92"/>
                      <a:pt x="88" y="88"/>
                      <a:pt x="88" y="88"/>
                    </a:cubicBezTo>
                    <a:cubicBezTo>
                      <a:pt x="68" y="28"/>
                      <a:pt x="68" y="28"/>
                      <a:pt x="68" y="28"/>
                    </a:cubicBezTo>
                    <a:cubicBezTo>
                      <a:pt x="68" y="28"/>
                      <a:pt x="68" y="28"/>
                      <a:pt x="68" y="28"/>
                    </a:cubicBezTo>
                    <a:cubicBezTo>
                      <a:pt x="68" y="28"/>
                      <a:pt x="59"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7" y="60"/>
                      <a:pt x="97" y="60"/>
                      <a:pt x="97" y="60"/>
                    </a:cubicBezTo>
                    <a:cubicBezTo>
                      <a:pt x="97" y="60"/>
                      <a:pt x="97" y="60"/>
                      <a:pt x="97" y="60"/>
                    </a:cubicBezTo>
                    <a:cubicBezTo>
                      <a:pt x="115" y="0"/>
                      <a:pt x="115" y="0"/>
                      <a:pt x="115" y="0"/>
                    </a:cubicBezTo>
                    <a:cubicBezTo>
                      <a:pt x="137" y="0"/>
                      <a:pt x="137" y="0"/>
                      <a:pt x="137" y="0"/>
                    </a:cubicBezTo>
                    <a:cubicBezTo>
                      <a:pt x="137"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55" name="Freeform 16"/>
              <p:cNvSpPr>
                <a:spLocks noEditPoints="1"/>
              </p:cNvSpPr>
              <p:nvPr userDrawn="1"/>
            </p:nvSpPr>
            <p:spPr bwMode="auto">
              <a:xfrm>
                <a:off x="8423168" y="4892699"/>
                <a:ext cx="65844" cy="95129"/>
              </a:xfrm>
              <a:custGeom>
                <a:avLst/>
                <a:gdLst>
                  <a:gd name="T0" fmla="*/ 1 w 87"/>
                  <a:gd name="T1" fmla="*/ 0 h 131"/>
                  <a:gd name="T2" fmla="*/ 0 w 87"/>
                  <a:gd name="T3" fmla="*/ 131 h 131"/>
                  <a:gd name="T4" fmla="*/ 41 w 87"/>
                  <a:gd name="T5" fmla="*/ 131 h 131"/>
                  <a:gd name="T6" fmla="*/ 87 w 87"/>
                  <a:gd name="T7" fmla="*/ 92 h 131"/>
                  <a:gd name="T8" fmla="*/ 65 w 87"/>
                  <a:gd name="T9" fmla="*/ 61 h 131"/>
                  <a:gd name="T10" fmla="*/ 62 w 87"/>
                  <a:gd name="T11" fmla="*/ 60 h 131"/>
                  <a:gd name="T12" fmla="*/ 64 w 87"/>
                  <a:gd name="T13" fmla="*/ 59 h 131"/>
                  <a:gd name="T14" fmla="*/ 79 w 87"/>
                  <a:gd name="T15" fmla="*/ 32 h 131"/>
                  <a:gd name="T16" fmla="*/ 42 w 87"/>
                  <a:gd name="T17" fmla="*/ 0 h 131"/>
                  <a:gd name="T18" fmla="*/ 1 w 87"/>
                  <a:gd name="T19" fmla="*/ 0 h 131"/>
                  <a:gd name="T20" fmla="*/ 23 w 87"/>
                  <a:gd name="T21" fmla="*/ 17 h 131"/>
                  <a:gd name="T22" fmla="*/ 36 w 87"/>
                  <a:gd name="T23" fmla="*/ 17 h 131"/>
                  <a:gd name="T24" fmla="*/ 56 w 87"/>
                  <a:gd name="T25" fmla="*/ 35 h 131"/>
                  <a:gd name="T26" fmla="*/ 38 w 87"/>
                  <a:gd name="T27" fmla="*/ 55 h 131"/>
                  <a:gd name="T28" fmla="*/ 22 w 87"/>
                  <a:gd name="T29" fmla="*/ 55 h 131"/>
                  <a:gd name="T30" fmla="*/ 23 w 87"/>
                  <a:gd name="T31" fmla="*/ 17 h 131"/>
                  <a:gd name="T32" fmla="*/ 22 w 87"/>
                  <a:gd name="T33" fmla="*/ 74 h 131"/>
                  <a:gd name="T34" fmla="*/ 40 w 87"/>
                  <a:gd name="T35" fmla="*/ 74 h 131"/>
                  <a:gd name="T36" fmla="*/ 64 w 87"/>
                  <a:gd name="T37" fmla="*/ 92 h 131"/>
                  <a:gd name="T38" fmla="*/ 39 w 87"/>
                  <a:gd name="T39" fmla="*/ 113 h 131"/>
                  <a:gd name="T40" fmla="*/ 22 w 87"/>
                  <a:gd name="T41" fmla="*/ 113 h 131"/>
                  <a:gd name="T42" fmla="*/ 22 w 87"/>
                  <a:gd name="T43" fmla="*/ 7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131">
                    <a:moveTo>
                      <a:pt x="1" y="0"/>
                    </a:moveTo>
                    <a:cubicBezTo>
                      <a:pt x="1" y="3"/>
                      <a:pt x="0" y="129"/>
                      <a:pt x="0" y="131"/>
                    </a:cubicBezTo>
                    <a:cubicBezTo>
                      <a:pt x="2" y="131"/>
                      <a:pt x="41" y="131"/>
                      <a:pt x="41" y="131"/>
                    </a:cubicBezTo>
                    <a:cubicBezTo>
                      <a:pt x="73" y="131"/>
                      <a:pt x="87" y="111"/>
                      <a:pt x="87" y="92"/>
                    </a:cubicBezTo>
                    <a:cubicBezTo>
                      <a:pt x="87" y="77"/>
                      <a:pt x="79" y="65"/>
                      <a:pt x="65" y="61"/>
                    </a:cubicBezTo>
                    <a:cubicBezTo>
                      <a:pt x="62" y="60"/>
                      <a:pt x="62" y="60"/>
                      <a:pt x="62" y="60"/>
                    </a:cubicBezTo>
                    <a:cubicBezTo>
                      <a:pt x="64" y="59"/>
                      <a:pt x="64" y="59"/>
                      <a:pt x="64" y="59"/>
                    </a:cubicBezTo>
                    <a:cubicBezTo>
                      <a:pt x="74" y="54"/>
                      <a:pt x="79" y="44"/>
                      <a:pt x="79" y="32"/>
                    </a:cubicBezTo>
                    <a:cubicBezTo>
                      <a:pt x="79" y="17"/>
                      <a:pt x="68" y="0"/>
                      <a:pt x="42" y="0"/>
                    </a:cubicBezTo>
                    <a:cubicBezTo>
                      <a:pt x="42" y="0"/>
                      <a:pt x="3" y="0"/>
                      <a:pt x="1" y="0"/>
                    </a:cubicBezTo>
                    <a:close/>
                    <a:moveTo>
                      <a:pt x="23" y="17"/>
                    </a:moveTo>
                    <a:cubicBezTo>
                      <a:pt x="36" y="17"/>
                      <a:pt x="36" y="17"/>
                      <a:pt x="36" y="17"/>
                    </a:cubicBezTo>
                    <a:cubicBezTo>
                      <a:pt x="49" y="17"/>
                      <a:pt x="56" y="24"/>
                      <a:pt x="56" y="35"/>
                    </a:cubicBezTo>
                    <a:cubicBezTo>
                      <a:pt x="56" y="47"/>
                      <a:pt x="47" y="55"/>
                      <a:pt x="38" y="55"/>
                    </a:cubicBezTo>
                    <a:cubicBezTo>
                      <a:pt x="22" y="55"/>
                      <a:pt x="22" y="55"/>
                      <a:pt x="22" y="55"/>
                    </a:cubicBezTo>
                    <a:lnTo>
                      <a:pt x="23" y="17"/>
                    </a:lnTo>
                    <a:close/>
                    <a:moveTo>
                      <a:pt x="22" y="74"/>
                    </a:moveTo>
                    <a:cubicBezTo>
                      <a:pt x="40" y="74"/>
                      <a:pt x="40" y="74"/>
                      <a:pt x="40" y="74"/>
                    </a:cubicBezTo>
                    <a:cubicBezTo>
                      <a:pt x="55" y="74"/>
                      <a:pt x="64" y="81"/>
                      <a:pt x="64" y="92"/>
                    </a:cubicBezTo>
                    <a:cubicBezTo>
                      <a:pt x="64" y="105"/>
                      <a:pt x="55" y="113"/>
                      <a:pt x="39" y="113"/>
                    </a:cubicBezTo>
                    <a:cubicBezTo>
                      <a:pt x="22" y="113"/>
                      <a:pt x="22" y="113"/>
                      <a:pt x="22" y="113"/>
                    </a:cubicBezTo>
                    <a:lnTo>
                      <a:pt x="22" y="74"/>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56" name="Freeform 17"/>
              <p:cNvSpPr>
                <a:spLocks noEditPoints="1"/>
              </p:cNvSpPr>
              <p:nvPr userDrawn="1"/>
            </p:nvSpPr>
            <p:spPr bwMode="auto">
              <a:xfrm>
                <a:off x="8546184" y="4923177"/>
                <a:ext cx="66486" cy="66190"/>
              </a:xfrm>
              <a:custGeom>
                <a:avLst/>
                <a:gdLst>
                  <a:gd name="T0" fmla="*/ 75 w 88"/>
                  <a:gd name="T1" fmla="*/ 78 h 91"/>
                  <a:gd name="T2" fmla="*/ 44 w 88"/>
                  <a:gd name="T3" fmla="*/ 91 h 91"/>
                  <a:gd name="T4" fmla="*/ 14 w 88"/>
                  <a:gd name="T5" fmla="*/ 80 h 91"/>
                  <a:gd name="T6" fmla="*/ 0 w 88"/>
                  <a:gd name="T7" fmla="*/ 46 h 91"/>
                  <a:gd name="T8" fmla="*/ 13 w 88"/>
                  <a:gd name="T9" fmla="*/ 12 h 91"/>
                  <a:gd name="T10" fmla="*/ 44 w 88"/>
                  <a:gd name="T11" fmla="*/ 0 h 91"/>
                  <a:gd name="T12" fmla="*/ 76 w 88"/>
                  <a:gd name="T13" fmla="*/ 12 h 91"/>
                  <a:gd name="T14" fmla="*/ 88 w 88"/>
                  <a:gd name="T15" fmla="*/ 45 h 91"/>
                  <a:gd name="T16" fmla="*/ 75 w 88"/>
                  <a:gd name="T17" fmla="*/ 78 h 91"/>
                  <a:gd name="T18" fmla="*/ 44 w 88"/>
                  <a:gd name="T19" fmla="*/ 17 h 91"/>
                  <a:gd name="T20" fmla="*/ 23 w 88"/>
                  <a:gd name="T21" fmla="*/ 45 h 91"/>
                  <a:gd name="T22" fmla="*/ 44 w 88"/>
                  <a:gd name="T23" fmla="*/ 73 h 91"/>
                  <a:gd name="T24" fmla="*/ 65 w 88"/>
                  <a:gd name="T25" fmla="*/ 45 h 91"/>
                  <a:gd name="T26" fmla="*/ 44 w 88"/>
                  <a:gd name="T27"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91">
                    <a:moveTo>
                      <a:pt x="75" y="78"/>
                    </a:moveTo>
                    <a:cubicBezTo>
                      <a:pt x="68" y="86"/>
                      <a:pt x="57" y="91"/>
                      <a:pt x="44" y="91"/>
                    </a:cubicBezTo>
                    <a:cubicBezTo>
                      <a:pt x="32" y="91"/>
                      <a:pt x="21" y="87"/>
                      <a:pt x="14" y="80"/>
                    </a:cubicBezTo>
                    <a:cubicBezTo>
                      <a:pt x="5" y="72"/>
                      <a:pt x="0" y="60"/>
                      <a:pt x="0" y="46"/>
                    </a:cubicBezTo>
                    <a:cubicBezTo>
                      <a:pt x="0" y="32"/>
                      <a:pt x="5" y="20"/>
                      <a:pt x="13" y="12"/>
                    </a:cubicBezTo>
                    <a:cubicBezTo>
                      <a:pt x="21" y="4"/>
                      <a:pt x="31" y="0"/>
                      <a:pt x="44" y="0"/>
                    </a:cubicBezTo>
                    <a:cubicBezTo>
                      <a:pt x="57" y="0"/>
                      <a:pt x="68" y="4"/>
                      <a:pt x="76" y="12"/>
                    </a:cubicBezTo>
                    <a:cubicBezTo>
                      <a:pt x="84" y="20"/>
                      <a:pt x="88" y="32"/>
                      <a:pt x="88" y="45"/>
                    </a:cubicBezTo>
                    <a:cubicBezTo>
                      <a:pt x="88" y="58"/>
                      <a:pt x="83" y="70"/>
                      <a:pt x="75" y="78"/>
                    </a:cubicBezTo>
                    <a:close/>
                    <a:moveTo>
                      <a:pt x="44" y="17"/>
                    </a:moveTo>
                    <a:cubicBezTo>
                      <a:pt x="30" y="17"/>
                      <a:pt x="23" y="29"/>
                      <a:pt x="23" y="45"/>
                    </a:cubicBezTo>
                    <a:cubicBezTo>
                      <a:pt x="23" y="62"/>
                      <a:pt x="31" y="73"/>
                      <a:pt x="44" y="73"/>
                    </a:cubicBezTo>
                    <a:cubicBezTo>
                      <a:pt x="58" y="73"/>
                      <a:pt x="65" y="61"/>
                      <a:pt x="65" y="45"/>
                    </a:cubicBezTo>
                    <a:cubicBezTo>
                      <a:pt x="65" y="28"/>
                      <a:pt x="57" y="17"/>
                      <a:pt x="44" y="1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57" name="Freeform 18"/>
              <p:cNvSpPr>
                <a:spLocks/>
              </p:cNvSpPr>
              <p:nvPr userDrawn="1"/>
            </p:nvSpPr>
            <p:spPr bwMode="auto">
              <a:xfrm>
                <a:off x="8728298" y="4923177"/>
                <a:ext cx="60705" cy="65574"/>
              </a:xfrm>
              <a:custGeom>
                <a:avLst/>
                <a:gdLst>
                  <a:gd name="T0" fmla="*/ 58 w 80"/>
                  <a:gd name="T1" fmla="*/ 90 h 90"/>
                  <a:gd name="T2" fmla="*/ 58 w 80"/>
                  <a:gd name="T3" fmla="*/ 38 h 90"/>
                  <a:gd name="T4" fmla="*/ 45 w 80"/>
                  <a:gd name="T5" fmla="*/ 19 h 90"/>
                  <a:gd name="T6" fmla="*/ 23 w 80"/>
                  <a:gd name="T7" fmla="*/ 28 h 90"/>
                  <a:gd name="T8" fmla="*/ 23 w 80"/>
                  <a:gd name="T9" fmla="*/ 74 h 90"/>
                  <a:gd name="T10" fmla="*/ 0 w 80"/>
                  <a:gd name="T11" fmla="*/ 90 h 90"/>
                  <a:gd name="T12" fmla="*/ 0 w 80"/>
                  <a:gd name="T13" fmla="*/ 2 h 90"/>
                  <a:gd name="T14" fmla="*/ 19 w 80"/>
                  <a:gd name="T15" fmla="*/ 2 h 90"/>
                  <a:gd name="T16" fmla="*/ 22 w 80"/>
                  <a:gd name="T17" fmla="*/ 11 h 90"/>
                  <a:gd name="T18" fmla="*/ 52 w 80"/>
                  <a:gd name="T19" fmla="*/ 0 h 90"/>
                  <a:gd name="T20" fmla="*/ 80 w 80"/>
                  <a:gd name="T21" fmla="*/ 31 h 90"/>
                  <a:gd name="T22" fmla="*/ 80 w 80"/>
                  <a:gd name="T23" fmla="*/ 74 h 90"/>
                  <a:gd name="T24" fmla="*/ 58 w 80"/>
                  <a:gd name="T2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90">
                    <a:moveTo>
                      <a:pt x="58" y="90"/>
                    </a:moveTo>
                    <a:cubicBezTo>
                      <a:pt x="58" y="38"/>
                      <a:pt x="58" y="38"/>
                      <a:pt x="58" y="38"/>
                    </a:cubicBezTo>
                    <a:cubicBezTo>
                      <a:pt x="58" y="29"/>
                      <a:pt x="56" y="19"/>
                      <a:pt x="45" y="19"/>
                    </a:cubicBezTo>
                    <a:cubicBezTo>
                      <a:pt x="37" y="19"/>
                      <a:pt x="29" y="23"/>
                      <a:pt x="23" y="28"/>
                    </a:cubicBezTo>
                    <a:cubicBezTo>
                      <a:pt x="23" y="28"/>
                      <a:pt x="23" y="57"/>
                      <a:pt x="23" y="74"/>
                    </a:cubicBezTo>
                    <a:cubicBezTo>
                      <a:pt x="23" y="90"/>
                      <a:pt x="0" y="90"/>
                      <a:pt x="0" y="90"/>
                    </a:cubicBezTo>
                    <a:cubicBezTo>
                      <a:pt x="0" y="2"/>
                      <a:pt x="0" y="2"/>
                      <a:pt x="0" y="2"/>
                    </a:cubicBezTo>
                    <a:cubicBezTo>
                      <a:pt x="19" y="2"/>
                      <a:pt x="19" y="2"/>
                      <a:pt x="19" y="2"/>
                    </a:cubicBezTo>
                    <a:cubicBezTo>
                      <a:pt x="22" y="11"/>
                      <a:pt x="22" y="11"/>
                      <a:pt x="22" y="11"/>
                    </a:cubicBezTo>
                    <a:cubicBezTo>
                      <a:pt x="31" y="4"/>
                      <a:pt x="40" y="0"/>
                      <a:pt x="52" y="0"/>
                    </a:cubicBezTo>
                    <a:cubicBezTo>
                      <a:pt x="65" y="0"/>
                      <a:pt x="80" y="8"/>
                      <a:pt x="80" y="31"/>
                    </a:cubicBezTo>
                    <a:cubicBezTo>
                      <a:pt x="80" y="31"/>
                      <a:pt x="80" y="57"/>
                      <a:pt x="80" y="74"/>
                    </a:cubicBezTo>
                    <a:cubicBezTo>
                      <a:pt x="80" y="90"/>
                      <a:pt x="58" y="90"/>
                      <a:pt x="58" y="9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58" name="Freeform 19"/>
              <p:cNvSpPr>
                <a:spLocks/>
              </p:cNvSpPr>
              <p:nvPr userDrawn="1"/>
            </p:nvSpPr>
            <p:spPr bwMode="auto">
              <a:xfrm>
                <a:off x="8501217" y="4923177"/>
                <a:ext cx="43361" cy="65574"/>
              </a:xfrm>
              <a:custGeom>
                <a:avLst/>
                <a:gdLst>
                  <a:gd name="T0" fmla="*/ 49 w 57"/>
                  <a:gd name="T1" fmla="*/ 22 h 90"/>
                  <a:gd name="T2" fmla="*/ 39 w 57"/>
                  <a:gd name="T3" fmla="*/ 20 h 90"/>
                  <a:gd name="T4" fmla="*/ 22 w 57"/>
                  <a:gd name="T5" fmla="*/ 27 h 90"/>
                  <a:gd name="T6" fmla="*/ 22 w 57"/>
                  <a:gd name="T7" fmla="*/ 74 h 90"/>
                  <a:gd name="T8" fmla="*/ 0 w 57"/>
                  <a:gd name="T9" fmla="*/ 90 h 90"/>
                  <a:gd name="T10" fmla="*/ 0 w 57"/>
                  <a:gd name="T11" fmla="*/ 2 h 90"/>
                  <a:gd name="T12" fmla="*/ 19 w 57"/>
                  <a:gd name="T13" fmla="*/ 2 h 90"/>
                  <a:gd name="T14" fmla="*/ 21 w 57"/>
                  <a:gd name="T15" fmla="*/ 11 h 90"/>
                  <a:gd name="T16" fmla="*/ 45 w 57"/>
                  <a:gd name="T17" fmla="*/ 0 h 90"/>
                  <a:gd name="T18" fmla="*/ 57 w 57"/>
                  <a:gd name="T19" fmla="*/ 4 h 90"/>
                  <a:gd name="T20" fmla="*/ 49 w 57"/>
                  <a:gd name="T21" fmla="*/ 2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0">
                    <a:moveTo>
                      <a:pt x="49" y="22"/>
                    </a:moveTo>
                    <a:cubicBezTo>
                      <a:pt x="46" y="20"/>
                      <a:pt x="42" y="20"/>
                      <a:pt x="39" y="20"/>
                    </a:cubicBezTo>
                    <a:cubicBezTo>
                      <a:pt x="34" y="20"/>
                      <a:pt x="28" y="22"/>
                      <a:pt x="22" y="27"/>
                    </a:cubicBezTo>
                    <a:cubicBezTo>
                      <a:pt x="22" y="27"/>
                      <a:pt x="22" y="57"/>
                      <a:pt x="22" y="74"/>
                    </a:cubicBezTo>
                    <a:cubicBezTo>
                      <a:pt x="22" y="90"/>
                      <a:pt x="0" y="90"/>
                      <a:pt x="0" y="90"/>
                    </a:cubicBezTo>
                    <a:cubicBezTo>
                      <a:pt x="0" y="2"/>
                      <a:pt x="0" y="2"/>
                      <a:pt x="0" y="2"/>
                    </a:cubicBezTo>
                    <a:cubicBezTo>
                      <a:pt x="19" y="2"/>
                      <a:pt x="19" y="2"/>
                      <a:pt x="19"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59" name="Freeform 20"/>
              <p:cNvSpPr>
                <a:spLocks/>
              </p:cNvSpPr>
              <p:nvPr userDrawn="1"/>
            </p:nvSpPr>
            <p:spPr bwMode="auto">
              <a:xfrm>
                <a:off x="7766657" y="4864376"/>
                <a:ext cx="100211" cy="148389"/>
              </a:xfrm>
              <a:custGeom>
                <a:avLst/>
                <a:gdLst>
                  <a:gd name="T0" fmla="*/ 0 w 132"/>
                  <a:gd name="T1" fmla="*/ 23 h 204"/>
                  <a:gd name="T2" fmla="*/ 1 w 132"/>
                  <a:gd name="T3" fmla="*/ 22 h 204"/>
                  <a:gd name="T4" fmla="*/ 67 w 132"/>
                  <a:gd name="T5" fmla="*/ 20 h 204"/>
                  <a:gd name="T6" fmla="*/ 80 w 132"/>
                  <a:gd name="T7" fmla="*/ 52 h 204"/>
                  <a:gd name="T8" fmla="*/ 113 w 132"/>
                  <a:gd name="T9" fmla="*/ 65 h 204"/>
                  <a:gd name="T10" fmla="*/ 111 w 132"/>
                  <a:gd name="T11" fmla="*/ 132 h 204"/>
                  <a:gd name="T12" fmla="*/ 38 w 132"/>
                  <a:gd name="T13" fmla="*/ 204 h 204"/>
                  <a:gd name="T14" fmla="*/ 16 w 132"/>
                  <a:gd name="T15" fmla="*/ 182 h 204"/>
                  <a:gd name="T16" fmla="*/ 88 w 132"/>
                  <a:gd name="T17" fmla="*/ 110 h 204"/>
                  <a:gd name="T18" fmla="*/ 91 w 132"/>
                  <a:gd name="T19" fmla="*/ 86 h 204"/>
                  <a:gd name="T20" fmla="*/ 67 w 132"/>
                  <a:gd name="T21" fmla="*/ 88 h 204"/>
                  <a:gd name="T22" fmla="*/ 0 w 132"/>
                  <a:gd name="T23" fmla="*/ 155 h 204"/>
                  <a:gd name="T24" fmla="*/ 0 w 132"/>
                  <a:gd name="T25" fmla="*/ 111 h 204"/>
                  <a:gd name="T26" fmla="*/ 45 w 132"/>
                  <a:gd name="T27" fmla="*/ 66 h 204"/>
                  <a:gd name="T28" fmla="*/ 46 w 132"/>
                  <a:gd name="T29" fmla="*/ 42 h 204"/>
                  <a:gd name="T30" fmla="*/ 22 w 132"/>
                  <a:gd name="T31" fmla="*/ 44 h 204"/>
                  <a:gd name="T32" fmla="*/ 0 w 132"/>
                  <a:gd name="T33" fmla="*/ 66 h 204"/>
                  <a:gd name="T34" fmla="*/ 0 w 132"/>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204">
                    <a:moveTo>
                      <a:pt x="0" y="23"/>
                    </a:moveTo>
                    <a:cubicBezTo>
                      <a:pt x="1" y="22"/>
                      <a:pt x="1" y="22"/>
                      <a:pt x="1" y="22"/>
                    </a:cubicBezTo>
                    <a:cubicBezTo>
                      <a:pt x="23" y="0"/>
                      <a:pt x="50" y="2"/>
                      <a:pt x="67" y="20"/>
                    </a:cubicBezTo>
                    <a:cubicBezTo>
                      <a:pt x="80" y="32"/>
                      <a:pt x="81" y="46"/>
                      <a:pt x="80" y="52"/>
                    </a:cubicBezTo>
                    <a:cubicBezTo>
                      <a:pt x="86" y="51"/>
                      <a:pt x="100" y="52"/>
                      <a:pt x="113" y="65"/>
                    </a:cubicBezTo>
                    <a:cubicBezTo>
                      <a:pt x="130" y="82"/>
                      <a:pt x="132" y="110"/>
                      <a:pt x="111" y="132"/>
                    </a:cubicBezTo>
                    <a:cubicBezTo>
                      <a:pt x="38" y="204"/>
                      <a:pt x="38" y="204"/>
                      <a:pt x="38" y="204"/>
                    </a:cubicBezTo>
                    <a:cubicBezTo>
                      <a:pt x="16" y="182"/>
                      <a:pt x="16" y="182"/>
                      <a:pt x="16" y="182"/>
                    </a:cubicBezTo>
                    <a:cubicBezTo>
                      <a:pt x="88" y="110"/>
                      <a:pt x="88" y="110"/>
                      <a:pt x="88" y="110"/>
                    </a:cubicBezTo>
                    <a:cubicBezTo>
                      <a:pt x="97" y="101"/>
                      <a:pt x="96" y="91"/>
                      <a:pt x="91" y="86"/>
                    </a:cubicBezTo>
                    <a:cubicBezTo>
                      <a:pt x="85" y="80"/>
                      <a:pt x="75" y="79"/>
                      <a:pt x="67" y="88"/>
                    </a:cubicBezTo>
                    <a:cubicBezTo>
                      <a:pt x="0" y="155"/>
                      <a:pt x="0" y="155"/>
                      <a:pt x="0" y="155"/>
                    </a:cubicBezTo>
                    <a:cubicBezTo>
                      <a:pt x="0" y="111"/>
                      <a:pt x="0" y="111"/>
                      <a:pt x="0" y="111"/>
                    </a:cubicBezTo>
                    <a:cubicBezTo>
                      <a:pt x="45" y="66"/>
                      <a:pt x="45" y="66"/>
                      <a:pt x="45" y="66"/>
                    </a:cubicBezTo>
                    <a:cubicBezTo>
                      <a:pt x="53" y="57"/>
                      <a:pt x="52" y="47"/>
                      <a:pt x="46" y="42"/>
                    </a:cubicBezTo>
                    <a:cubicBezTo>
                      <a:pt x="41" y="36"/>
                      <a:pt x="31" y="35"/>
                      <a:pt x="22" y="44"/>
                    </a:cubicBezTo>
                    <a:cubicBezTo>
                      <a:pt x="0" y="66"/>
                      <a:pt x="0" y="66"/>
                      <a:pt x="0" y="66"/>
                    </a:cubicBezTo>
                    <a:lnTo>
                      <a:pt x="0"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grpSp>
      <p:sp>
        <p:nvSpPr>
          <p:cNvPr id="169" name="Text Placeholder 2"/>
          <p:cNvSpPr>
            <a:spLocks noGrp="1"/>
          </p:cNvSpPr>
          <p:nvPr>
            <p:ph type="body" sz="quarter" idx="25" hasCustomPrompt="1"/>
          </p:nvPr>
        </p:nvSpPr>
        <p:spPr>
          <a:xfrm>
            <a:off x="3342796" y="4807465"/>
            <a:ext cx="1160462" cy="341313"/>
          </a:xfrm>
          <a:prstGeom prst="rect">
            <a:avLst/>
          </a:prstGeom>
        </p:spPr>
        <p:txBody>
          <a:bodyPr anchor="ctr"/>
          <a:lstStyle>
            <a:lvl1pPr marL="0" indent="0" algn="ctr">
              <a:buNone/>
              <a:defRPr sz="800">
                <a:solidFill>
                  <a:schemeClr val="bg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grpSp>
        <p:nvGrpSpPr>
          <p:cNvPr id="170" name="Group 169"/>
          <p:cNvGrpSpPr/>
          <p:nvPr userDrawn="1"/>
        </p:nvGrpSpPr>
        <p:grpSpPr>
          <a:xfrm>
            <a:off x="7686461" y="4906654"/>
            <a:ext cx="1124815" cy="151147"/>
            <a:chOff x="7686461" y="4581466"/>
            <a:chExt cx="1124815" cy="151147"/>
          </a:xfrm>
          <a:solidFill>
            <a:schemeClr val="bg1"/>
          </a:solidFill>
        </p:grpSpPr>
        <p:sp>
          <p:nvSpPr>
            <p:cNvPr id="171"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72"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73"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74"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75"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76"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77"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78"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79"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80"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81"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82"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83"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84"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85"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grpSp>
      <p:sp>
        <p:nvSpPr>
          <p:cNvPr id="77"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solidFill>
                  <a:schemeClr val="tx2">
                    <a:lumMod val="75000"/>
                  </a:schemeClr>
                </a:solidFill>
                <a:latin typeface="+mn-lt"/>
              </a:rPr>
              <a:t>Private and Confidental</a:t>
            </a:r>
            <a:endParaRPr lang="pt-BR" sz="500" dirty="0">
              <a:solidFill>
                <a:schemeClr val="tx2">
                  <a:lumMod val="75000"/>
                </a:schemeClr>
              </a:solidFill>
              <a:latin typeface="+mn-lt"/>
            </a:endParaRPr>
          </a:p>
        </p:txBody>
      </p:sp>
    </p:spTree>
    <p:extLst>
      <p:ext uri="{BB962C8B-B14F-4D97-AF65-F5344CB8AC3E}">
        <p14:creationId xmlns:p14="http://schemas.microsoft.com/office/powerpoint/2010/main" val="3260564827"/>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_V_MB_Orange">
    <p:bg>
      <p:bgPr>
        <a:solidFill>
          <a:schemeClr val="bg1"/>
        </a:solidFill>
        <a:effectLst/>
      </p:bgPr>
    </p:bg>
    <p:spTree>
      <p:nvGrpSpPr>
        <p:cNvPr id="1" name=""/>
        <p:cNvGrpSpPr/>
        <p:nvPr/>
      </p:nvGrpSpPr>
      <p:grpSpPr>
        <a:xfrm>
          <a:off x="0" y="0"/>
          <a:ext cx="0" cy="0"/>
          <a:chOff x="0" y="0"/>
          <a:chExt cx="0" cy="0"/>
        </a:xfrm>
      </p:grpSpPr>
      <p:sp>
        <p:nvSpPr>
          <p:cNvPr id="31" name="Rectangle 30"/>
          <p:cNvSpPr/>
          <p:nvPr userDrawn="1"/>
        </p:nvSpPr>
        <p:spPr>
          <a:xfrm>
            <a:off x="0" y="0"/>
            <a:ext cx="9144000" cy="5148263"/>
          </a:xfrm>
          <a:prstGeom prst="rect">
            <a:avLst/>
          </a:prstGeom>
          <a:solidFill>
            <a:schemeClr val="accent4">
              <a:lumMod val="75000"/>
            </a:schemeClr>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en-GB" sz="1050" smtClean="0">
              <a:solidFill>
                <a:schemeClr val="bg1"/>
              </a:solidFill>
              <a:latin typeface="Arial" panose="020B0604020202020204" pitchFamily="34" charset="0"/>
              <a:cs typeface="Arial" panose="020B0604020202020204" pitchFamily="34" charset="0"/>
            </a:endParaRPr>
          </a:p>
        </p:txBody>
      </p:sp>
      <p:pic>
        <p:nvPicPr>
          <p:cNvPr id="33" name="Picture 32" descr="cookie_white.png"/>
          <p:cNvPicPr>
            <a:picLocks noChangeAspect="1"/>
          </p:cNvPicPr>
          <p:nvPr userDrawn="1"/>
        </p:nvPicPr>
        <p:blipFill rotWithShape="1">
          <a:blip r:embed="rId2" cstate="screen">
            <a:alphaModFix amt="16000"/>
            <a:extLst>
              <a:ext uri="{28A0092B-C50C-407E-A947-70E740481C1C}">
                <a14:useLocalDpi xmlns:a14="http://schemas.microsoft.com/office/drawing/2010/main"/>
              </a:ext>
            </a:extLst>
          </a:blip>
          <a:srcRect/>
          <a:stretch/>
        </p:blipFill>
        <p:spPr>
          <a:xfrm flipH="1">
            <a:off x="5149029" y="2289839"/>
            <a:ext cx="4020091" cy="2880000"/>
          </a:xfrm>
          <a:prstGeom prst="rect">
            <a:avLst/>
          </a:prstGeom>
        </p:spPr>
      </p:pic>
      <p:cxnSp>
        <p:nvCxnSpPr>
          <p:cNvPr id="32" name="Straight Connector 31"/>
          <p:cNvCxnSpPr/>
          <p:nvPr userDrawn="1"/>
        </p:nvCxnSpPr>
        <p:spPr>
          <a:xfrm>
            <a:off x="343365" y="470176"/>
            <a:ext cx="8460000" cy="0"/>
          </a:xfrm>
          <a:prstGeom prst="line">
            <a:avLst/>
          </a:prstGeom>
          <a:ln w="6350" cmpd="sng">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343365" y="4801146"/>
            <a:ext cx="8460000" cy="0"/>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sp>
        <p:nvSpPr>
          <p:cNvPr id="67"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rgbClr val="FFFFFF"/>
                </a:solidFill>
                <a:latin typeface="+mn-lt"/>
              </a:defRPr>
            </a:lvl1pPr>
          </a:lstStyle>
          <a:p>
            <a:fld id="{19AB4E72-7858-48F1-A40D-12FF09E4BFB8}" type="slidenum">
              <a:rPr lang="en-GB" smtClean="0"/>
              <a:pPr/>
              <a:t>‹Nº›</a:t>
            </a:fld>
            <a:endParaRPr lang="en-GB"/>
          </a:p>
        </p:txBody>
      </p:sp>
      <p:sp>
        <p:nvSpPr>
          <p:cNvPr id="36" name="Title 1"/>
          <p:cNvSpPr>
            <a:spLocks noGrp="1"/>
          </p:cNvSpPr>
          <p:nvPr>
            <p:ph type="ctrTitle" hasCustomPrompt="1"/>
          </p:nvPr>
        </p:nvSpPr>
        <p:spPr>
          <a:xfrm>
            <a:off x="343365" y="2867487"/>
            <a:ext cx="8460000" cy="443198"/>
          </a:xfrm>
          <a:prstGeom prst="rect">
            <a:avLst/>
          </a:prstGeom>
        </p:spPr>
        <p:txBody>
          <a:bodyPr lIns="0" tIns="0" rIns="0" bIns="0" anchor="b"/>
          <a:lstStyle>
            <a:lvl1pPr>
              <a:lnSpc>
                <a:spcPct val="90000"/>
              </a:lnSpc>
              <a:defRPr sz="3200" b="0">
                <a:solidFill>
                  <a:schemeClr val="bg1"/>
                </a:solidFill>
              </a:defRPr>
            </a:lvl1pPr>
          </a:lstStyle>
          <a:p>
            <a:r>
              <a:rPr lang="en-US" dirty="0" smtClean="0"/>
              <a:t>Click to edit Master title Style</a:t>
            </a:r>
            <a:endParaRPr lang="en-US" dirty="0"/>
          </a:p>
        </p:txBody>
      </p:sp>
      <p:sp>
        <p:nvSpPr>
          <p:cNvPr id="37" name="Subtitle 2"/>
          <p:cNvSpPr>
            <a:spLocks noGrp="1"/>
          </p:cNvSpPr>
          <p:nvPr>
            <p:ph type="subTitle" idx="1" hasCustomPrompt="1"/>
          </p:nvPr>
        </p:nvSpPr>
        <p:spPr>
          <a:xfrm>
            <a:off x="343364" y="3474100"/>
            <a:ext cx="8460000" cy="202165"/>
          </a:xfrm>
          <a:prstGeom prst="rect">
            <a:avLst/>
          </a:prstGeom>
        </p:spPr>
        <p:txBody>
          <a:bodyPr lIns="0" tIns="0" rIns="0" bIns="0">
            <a:noAutofit/>
          </a:bodyPr>
          <a:lstStyle>
            <a:lvl1pPr marL="0" indent="0" algn="l">
              <a:buNone/>
              <a:defRPr sz="14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cxnSp>
        <p:nvCxnSpPr>
          <p:cNvPr id="38" name="Straight Connector 37"/>
          <p:cNvCxnSpPr/>
          <p:nvPr userDrawn="1"/>
        </p:nvCxnSpPr>
        <p:spPr>
          <a:xfrm>
            <a:off x="346086" y="3395058"/>
            <a:ext cx="8460000" cy="0"/>
          </a:xfrm>
          <a:prstGeom prst="line">
            <a:avLst/>
          </a:prstGeom>
          <a:ln w="12700" cmpd="sng">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20" name="Group 119"/>
          <p:cNvGrpSpPr/>
          <p:nvPr userDrawn="1"/>
        </p:nvGrpSpPr>
        <p:grpSpPr>
          <a:xfrm>
            <a:off x="6223980" y="4840100"/>
            <a:ext cx="1123200" cy="233974"/>
            <a:chOff x="7665803" y="4864376"/>
            <a:chExt cx="1123200" cy="233974"/>
          </a:xfrm>
          <a:solidFill>
            <a:schemeClr val="bg1"/>
          </a:solidFill>
        </p:grpSpPr>
        <p:sp>
          <p:nvSpPr>
            <p:cNvPr id="121" name="Freeform 6"/>
            <p:cNvSpPr>
              <a:spLocks/>
            </p:cNvSpPr>
            <p:nvPr userDrawn="1"/>
          </p:nvSpPr>
          <p:spPr bwMode="auto">
            <a:xfrm>
              <a:off x="8119644" y="4924717"/>
              <a:ext cx="103102" cy="66806"/>
            </a:xfrm>
            <a:custGeom>
              <a:avLst/>
              <a:gdLst>
                <a:gd name="T0" fmla="*/ 111 w 136"/>
                <a:gd name="T1" fmla="*/ 72 h 92"/>
                <a:gd name="T2" fmla="*/ 87 w 136"/>
                <a:gd name="T3" fmla="*/ 88 h 92"/>
                <a:gd name="T4" fmla="*/ 68 w 136"/>
                <a:gd name="T5" fmla="*/ 28 h 92"/>
                <a:gd name="T6" fmla="*/ 67 w 136"/>
                <a:gd name="T7" fmla="*/ 28 h 92"/>
                <a:gd name="T8" fmla="*/ 53 w 136"/>
                <a:gd name="T9" fmla="*/ 72 h 92"/>
                <a:gd name="T10" fmla="*/ 31 w 136"/>
                <a:gd name="T11" fmla="*/ 88 h 92"/>
                <a:gd name="T12" fmla="*/ 0 w 136"/>
                <a:gd name="T13" fmla="*/ 0 h 92"/>
                <a:gd name="T14" fmla="*/ 22 w 136"/>
                <a:gd name="T15" fmla="*/ 0 h 92"/>
                <a:gd name="T16" fmla="*/ 41 w 136"/>
                <a:gd name="T17" fmla="*/ 60 h 92"/>
                <a:gd name="T18" fmla="*/ 41 w 136"/>
                <a:gd name="T19" fmla="*/ 60 h 92"/>
                <a:gd name="T20" fmla="*/ 60 w 136"/>
                <a:gd name="T21" fmla="*/ 0 h 92"/>
                <a:gd name="T22" fmla="*/ 77 w 136"/>
                <a:gd name="T23" fmla="*/ 0 h 92"/>
                <a:gd name="T24" fmla="*/ 96 w 136"/>
                <a:gd name="T25" fmla="*/ 60 h 92"/>
                <a:gd name="T26" fmla="*/ 97 w 136"/>
                <a:gd name="T27" fmla="*/ 60 h 92"/>
                <a:gd name="T28" fmla="*/ 115 w 136"/>
                <a:gd name="T29" fmla="*/ 0 h 92"/>
                <a:gd name="T30" fmla="*/ 136 w 136"/>
                <a:gd name="T31" fmla="*/ 0 h 92"/>
                <a:gd name="T32" fmla="*/ 111 w 136"/>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 h="92">
                  <a:moveTo>
                    <a:pt x="111" y="72"/>
                  </a:moveTo>
                  <a:cubicBezTo>
                    <a:pt x="103" y="92"/>
                    <a:pt x="87" y="88"/>
                    <a:pt x="87" y="88"/>
                  </a:cubicBezTo>
                  <a:cubicBezTo>
                    <a:pt x="68" y="28"/>
                    <a:pt x="68" y="28"/>
                    <a:pt x="68" y="28"/>
                  </a:cubicBezTo>
                  <a:cubicBezTo>
                    <a:pt x="67" y="28"/>
                    <a:pt x="67" y="28"/>
                    <a:pt x="67" y="28"/>
                  </a:cubicBezTo>
                  <a:cubicBezTo>
                    <a:pt x="67" y="28"/>
                    <a:pt x="58"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6" y="60"/>
                    <a:pt x="96" y="60"/>
                    <a:pt x="96" y="60"/>
                  </a:cubicBezTo>
                  <a:cubicBezTo>
                    <a:pt x="97" y="60"/>
                    <a:pt x="97" y="60"/>
                    <a:pt x="97" y="60"/>
                  </a:cubicBezTo>
                  <a:cubicBezTo>
                    <a:pt x="115" y="0"/>
                    <a:pt x="115" y="0"/>
                    <a:pt x="115" y="0"/>
                  </a:cubicBezTo>
                  <a:cubicBezTo>
                    <a:pt x="136" y="0"/>
                    <a:pt x="136" y="0"/>
                    <a:pt x="136" y="0"/>
                  </a:cubicBezTo>
                  <a:cubicBezTo>
                    <a:pt x="136"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22" name="Freeform 7"/>
            <p:cNvSpPr>
              <a:spLocks noEditPoints="1"/>
            </p:cNvSpPr>
            <p:nvPr userDrawn="1"/>
          </p:nvSpPr>
          <p:spPr bwMode="auto">
            <a:xfrm>
              <a:off x="8225958" y="4923177"/>
              <a:ext cx="57493" cy="66190"/>
            </a:xfrm>
            <a:custGeom>
              <a:avLst/>
              <a:gdLst>
                <a:gd name="T0" fmla="*/ 57 w 76"/>
                <a:gd name="T1" fmla="*/ 90 h 91"/>
                <a:gd name="T2" fmla="*/ 53 w 76"/>
                <a:gd name="T3" fmla="*/ 81 h 91"/>
                <a:gd name="T4" fmla="*/ 28 w 76"/>
                <a:gd name="T5" fmla="*/ 91 h 91"/>
                <a:gd name="T6" fmla="*/ 0 w 76"/>
                <a:gd name="T7" fmla="*/ 63 h 91"/>
                <a:gd name="T8" fmla="*/ 36 w 76"/>
                <a:gd name="T9" fmla="*/ 34 h 91"/>
                <a:gd name="T10" fmla="*/ 51 w 76"/>
                <a:gd name="T11" fmla="*/ 34 h 91"/>
                <a:gd name="T12" fmla="*/ 51 w 76"/>
                <a:gd name="T13" fmla="*/ 31 h 91"/>
                <a:gd name="T14" fmla="*/ 35 w 76"/>
                <a:gd name="T15" fmla="*/ 17 h 91"/>
                <a:gd name="T16" fmla="*/ 12 w 76"/>
                <a:gd name="T17" fmla="*/ 23 h 91"/>
                <a:gd name="T18" fmla="*/ 5 w 76"/>
                <a:gd name="T19" fmla="*/ 9 h 91"/>
                <a:gd name="T20" fmla="*/ 39 w 76"/>
                <a:gd name="T21" fmla="*/ 0 h 91"/>
                <a:gd name="T22" fmla="*/ 74 w 76"/>
                <a:gd name="T23" fmla="*/ 31 h 91"/>
                <a:gd name="T24" fmla="*/ 74 w 76"/>
                <a:gd name="T25" fmla="*/ 66 h 91"/>
                <a:gd name="T26" fmla="*/ 76 w 76"/>
                <a:gd name="T27" fmla="*/ 90 h 91"/>
                <a:gd name="T28" fmla="*/ 57 w 76"/>
                <a:gd name="T29" fmla="*/ 90 h 91"/>
                <a:gd name="T30" fmla="*/ 51 w 76"/>
                <a:gd name="T31" fmla="*/ 49 h 91"/>
                <a:gd name="T32" fmla="*/ 39 w 76"/>
                <a:gd name="T33" fmla="*/ 49 h 91"/>
                <a:gd name="T34" fmla="*/ 22 w 76"/>
                <a:gd name="T35" fmla="*/ 61 h 91"/>
                <a:gd name="T36" fmla="*/ 36 w 76"/>
                <a:gd name="T37" fmla="*/ 73 h 91"/>
                <a:gd name="T38" fmla="*/ 51 w 76"/>
                <a:gd name="T39" fmla="*/ 68 h 91"/>
                <a:gd name="T40" fmla="*/ 51 w 76"/>
                <a:gd name="T41" fmla="*/ 4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91">
                  <a:moveTo>
                    <a:pt x="57" y="90"/>
                  </a:moveTo>
                  <a:cubicBezTo>
                    <a:pt x="53" y="81"/>
                    <a:pt x="53" y="81"/>
                    <a:pt x="53" y="81"/>
                  </a:cubicBezTo>
                  <a:cubicBezTo>
                    <a:pt x="48" y="86"/>
                    <a:pt x="40" y="91"/>
                    <a:pt x="28" y="91"/>
                  </a:cubicBezTo>
                  <a:cubicBezTo>
                    <a:pt x="12" y="91"/>
                    <a:pt x="0" y="80"/>
                    <a:pt x="0" y="63"/>
                  </a:cubicBezTo>
                  <a:cubicBezTo>
                    <a:pt x="0" y="45"/>
                    <a:pt x="14" y="35"/>
                    <a:pt x="36" y="34"/>
                  </a:cubicBezTo>
                  <a:cubicBezTo>
                    <a:pt x="51" y="34"/>
                    <a:pt x="51" y="34"/>
                    <a:pt x="51" y="34"/>
                  </a:cubicBezTo>
                  <a:cubicBezTo>
                    <a:pt x="51" y="33"/>
                    <a:pt x="51" y="32"/>
                    <a:pt x="51" y="31"/>
                  </a:cubicBezTo>
                  <a:cubicBezTo>
                    <a:pt x="51" y="21"/>
                    <a:pt x="44" y="17"/>
                    <a:pt x="35" y="17"/>
                  </a:cubicBezTo>
                  <a:cubicBezTo>
                    <a:pt x="25" y="17"/>
                    <a:pt x="18" y="20"/>
                    <a:pt x="12" y="23"/>
                  </a:cubicBezTo>
                  <a:cubicBezTo>
                    <a:pt x="5" y="9"/>
                    <a:pt x="5" y="9"/>
                    <a:pt x="5" y="9"/>
                  </a:cubicBezTo>
                  <a:cubicBezTo>
                    <a:pt x="17" y="2"/>
                    <a:pt x="28" y="0"/>
                    <a:pt x="39" y="0"/>
                  </a:cubicBezTo>
                  <a:cubicBezTo>
                    <a:pt x="61" y="0"/>
                    <a:pt x="74" y="9"/>
                    <a:pt x="74" y="31"/>
                  </a:cubicBezTo>
                  <a:cubicBezTo>
                    <a:pt x="74" y="66"/>
                    <a:pt x="74" y="66"/>
                    <a:pt x="74" y="66"/>
                  </a:cubicBezTo>
                  <a:cubicBezTo>
                    <a:pt x="74" y="78"/>
                    <a:pt x="75" y="86"/>
                    <a:pt x="76" y="90"/>
                  </a:cubicBezTo>
                  <a:lnTo>
                    <a:pt x="57" y="90"/>
                  </a:lnTo>
                  <a:close/>
                  <a:moveTo>
                    <a:pt x="51" y="49"/>
                  </a:moveTo>
                  <a:cubicBezTo>
                    <a:pt x="39" y="49"/>
                    <a:pt x="39" y="49"/>
                    <a:pt x="39" y="49"/>
                  </a:cubicBezTo>
                  <a:cubicBezTo>
                    <a:pt x="27" y="50"/>
                    <a:pt x="22" y="54"/>
                    <a:pt x="22" y="61"/>
                  </a:cubicBezTo>
                  <a:cubicBezTo>
                    <a:pt x="22" y="68"/>
                    <a:pt x="27" y="73"/>
                    <a:pt x="36" y="73"/>
                  </a:cubicBezTo>
                  <a:cubicBezTo>
                    <a:pt x="44" y="73"/>
                    <a:pt x="49" y="70"/>
                    <a:pt x="51" y="68"/>
                  </a:cubicBezTo>
                  <a:lnTo>
                    <a:pt x="51" y="4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23" name="Freeform 8"/>
            <p:cNvSpPr>
              <a:spLocks noEditPoints="1"/>
            </p:cNvSpPr>
            <p:nvPr userDrawn="1"/>
          </p:nvSpPr>
          <p:spPr bwMode="auto">
            <a:xfrm>
              <a:off x="8342550" y="4892699"/>
              <a:ext cx="62311" cy="96668"/>
            </a:xfrm>
            <a:custGeom>
              <a:avLst/>
              <a:gdLst>
                <a:gd name="T0" fmla="*/ 47 w 82"/>
                <a:gd name="T1" fmla="*/ 133 h 133"/>
                <a:gd name="T2" fmla="*/ 0 w 82"/>
                <a:gd name="T3" fmla="*/ 88 h 133"/>
                <a:gd name="T4" fmla="*/ 48 w 82"/>
                <a:gd name="T5" fmla="*/ 42 h 133"/>
                <a:gd name="T6" fmla="*/ 59 w 82"/>
                <a:gd name="T7" fmla="*/ 42 h 133"/>
                <a:gd name="T8" fmla="*/ 60 w 82"/>
                <a:gd name="T9" fmla="*/ 0 h 133"/>
                <a:gd name="T10" fmla="*/ 82 w 82"/>
                <a:gd name="T11" fmla="*/ 0 h 133"/>
                <a:gd name="T12" fmla="*/ 81 w 82"/>
                <a:gd name="T13" fmla="*/ 126 h 133"/>
                <a:gd name="T14" fmla="*/ 47 w 82"/>
                <a:gd name="T15" fmla="*/ 133 h 133"/>
                <a:gd name="T16" fmla="*/ 59 w 82"/>
                <a:gd name="T17" fmla="*/ 60 h 133"/>
                <a:gd name="T18" fmla="*/ 49 w 82"/>
                <a:gd name="T19" fmla="*/ 59 h 133"/>
                <a:gd name="T20" fmla="*/ 22 w 82"/>
                <a:gd name="T21" fmla="*/ 87 h 133"/>
                <a:gd name="T22" fmla="*/ 49 w 82"/>
                <a:gd name="T23" fmla="*/ 114 h 133"/>
                <a:gd name="T24" fmla="*/ 59 w 82"/>
                <a:gd name="T25" fmla="*/ 113 h 133"/>
                <a:gd name="T26" fmla="*/ 59 w 82"/>
                <a:gd name="T27" fmla="*/ 6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3">
                  <a:moveTo>
                    <a:pt x="47" y="133"/>
                  </a:moveTo>
                  <a:cubicBezTo>
                    <a:pt x="21" y="133"/>
                    <a:pt x="0" y="117"/>
                    <a:pt x="0" y="88"/>
                  </a:cubicBezTo>
                  <a:cubicBezTo>
                    <a:pt x="0" y="61"/>
                    <a:pt x="20" y="42"/>
                    <a:pt x="48" y="42"/>
                  </a:cubicBezTo>
                  <a:cubicBezTo>
                    <a:pt x="52" y="42"/>
                    <a:pt x="56" y="42"/>
                    <a:pt x="59" y="42"/>
                  </a:cubicBezTo>
                  <a:cubicBezTo>
                    <a:pt x="60" y="0"/>
                    <a:pt x="60" y="0"/>
                    <a:pt x="60" y="0"/>
                  </a:cubicBezTo>
                  <a:cubicBezTo>
                    <a:pt x="82" y="0"/>
                    <a:pt x="82" y="0"/>
                    <a:pt x="82" y="0"/>
                  </a:cubicBezTo>
                  <a:cubicBezTo>
                    <a:pt x="81" y="126"/>
                    <a:pt x="81" y="126"/>
                    <a:pt x="81" y="126"/>
                  </a:cubicBezTo>
                  <a:cubicBezTo>
                    <a:pt x="73" y="130"/>
                    <a:pt x="62" y="133"/>
                    <a:pt x="47" y="133"/>
                  </a:cubicBezTo>
                  <a:close/>
                  <a:moveTo>
                    <a:pt x="59" y="60"/>
                  </a:moveTo>
                  <a:cubicBezTo>
                    <a:pt x="56" y="60"/>
                    <a:pt x="54" y="59"/>
                    <a:pt x="49" y="59"/>
                  </a:cubicBezTo>
                  <a:cubicBezTo>
                    <a:pt x="33" y="59"/>
                    <a:pt x="22" y="70"/>
                    <a:pt x="22" y="87"/>
                  </a:cubicBezTo>
                  <a:cubicBezTo>
                    <a:pt x="22" y="103"/>
                    <a:pt x="32" y="114"/>
                    <a:pt x="49" y="114"/>
                  </a:cubicBezTo>
                  <a:cubicBezTo>
                    <a:pt x="53" y="114"/>
                    <a:pt x="57" y="114"/>
                    <a:pt x="59" y="113"/>
                  </a:cubicBezTo>
                  <a:lnTo>
                    <a:pt x="59" y="60"/>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24" name="Freeform 9"/>
            <p:cNvSpPr>
              <a:spLocks/>
            </p:cNvSpPr>
            <p:nvPr userDrawn="1"/>
          </p:nvSpPr>
          <p:spPr bwMode="auto">
            <a:xfrm>
              <a:off x="8093949"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25" name="Freeform 10"/>
            <p:cNvSpPr>
              <a:spLocks/>
            </p:cNvSpPr>
            <p:nvPr userDrawn="1"/>
          </p:nvSpPr>
          <p:spPr bwMode="auto">
            <a:xfrm>
              <a:off x="8060545"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26" name="Freeform 11"/>
            <p:cNvSpPr>
              <a:spLocks/>
            </p:cNvSpPr>
            <p:nvPr userDrawn="1"/>
          </p:nvSpPr>
          <p:spPr bwMode="auto">
            <a:xfrm>
              <a:off x="8297262" y="4923177"/>
              <a:ext cx="43039" cy="66190"/>
            </a:xfrm>
            <a:custGeom>
              <a:avLst/>
              <a:gdLst>
                <a:gd name="T0" fmla="*/ 49 w 57"/>
                <a:gd name="T1" fmla="*/ 22 h 91"/>
                <a:gd name="T2" fmla="*/ 39 w 57"/>
                <a:gd name="T3" fmla="*/ 20 h 91"/>
                <a:gd name="T4" fmla="*/ 22 w 57"/>
                <a:gd name="T5" fmla="*/ 27 h 91"/>
                <a:gd name="T6" fmla="*/ 22 w 57"/>
                <a:gd name="T7" fmla="*/ 74 h 91"/>
                <a:gd name="T8" fmla="*/ 0 w 57"/>
                <a:gd name="T9" fmla="*/ 90 h 91"/>
                <a:gd name="T10" fmla="*/ 0 w 57"/>
                <a:gd name="T11" fmla="*/ 2 h 91"/>
                <a:gd name="T12" fmla="*/ 18 w 57"/>
                <a:gd name="T13" fmla="*/ 2 h 91"/>
                <a:gd name="T14" fmla="*/ 21 w 57"/>
                <a:gd name="T15" fmla="*/ 11 h 91"/>
                <a:gd name="T16" fmla="*/ 45 w 57"/>
                <a:gd name="T17" fmla="*/ 0 h 91"/>
                <a:gd name="T18" fmla="*/ 57 w 57"/>
                <a:gd name="T19" fmla="*/ 4 h 91"/>
                <a:gd name="T20" fmla="*/ 49 w 57"/>
                <a:gd name="T21" fmla="*/ 2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1">
                  <a:moveTo>
                    <a:pt x="49" y="22"/>
                  </a:moveTo>
                  <a:cubicBezTo>
                    <a:pt x="45" y="20"/>
                    <a:pt x="41" y="20"/>
                    <a:pt x="39" y="20"/>
                  </a:cubicBezTo>
                  <a:cubicBezTo>
                    <a:pt x="34" y="20"/>
                    <a:pt x="28" y="22"/>
                    <a:pt x="22" y="27"/>
                  </a:cubicBezTo>
                  <a:cubicBezTo>
                    <a:pt x="22" y="27"/>
                    <a:pt x="22" y="57"/>
                    <a:pt x="22" y="74"/>
                  </a:cubicBezTo>
                  <a:cubicBezTo>
                    <a:pt x="22" y="91"/>
                    <a:pt x="0" y="90"/>
                    <a:pt x="0" y="90"/>
                  </a:cubicBezTo>
                  <a:cubicBezTo>
                    <a:pt x="0" y="2"/>
                    <a:pt x="0" y="2"/>
                    <a:pt x="0" y="2"/>
                  </a:cubicBezTo>
                  <a:cubicBezTo>
                    <a:pt x="18" y="2"/>
                    <a:pt x="18" y="2"/>
                    <a:pt x="18"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27" name="Freeform 12"/>
            <p:cNvSpPr>
              <a:spLocks/>
            </p:cNvSpPr>
            <p:nvPr userDrawn="1"/>
          </p:nvSpPr>
          <p:spPr bwMode="auto">
            <a:xfrm>
              <a:off x="7907980" y="4892699"/>
              <a:ext cx="98605" cy="95129"/>
            </a:xfrm>
            <a:custGeom>
              <a:avLst/>
              <a:gdLst>
                <a:gd name="T0" fmla="*/ 106 w 130"/>
                <a:gd name="T1" fmla="*/ 131 h 131"/>
                <a:gd name="T2" fmla="*/ 106 w 130"/>
                <a:gd name="T3" fmla="*/ 53 h 131"/>
                <a:gd name="T4" fmla="*/ 107 w 130"/>
                <a:gd name="T5" fmla="*/ 39 h 131"/>
                <a:gd name="T6" fmla="*/ 106 w 130"/>
                <a:gd name="T7" fmla="*/ 39 h 131"/>
                <a:gd name="T8" fmla="*/ 99 w 130"/>
                <a:gd name="T9" fmla="*/ 52 h 131"/>
                <a:gd name="T10" fmla="*/ 72 w 130"/>
                <a:gd name="T11" fmla="*/ 93 h 131"/>
                <a:gd name="T12" fmla="*/ 60 w 130"/>
                <a:gd name="T13" fmla="*/ 93 h 131"/>
                <a:gd name="T14" fmla="*/ 32 w 130"/>
                <a:gd name="T15" fmla="*/ 51 h 131"/>
                <a:gd name="T16" fmla="*/ 24 w 130"/>
                <a:gd name="T17" fmla="*/ 39 h 131"/>
                <a:gd name="T18" fmla="*/ 23 w 130"/>
                <a:gd name="T19" fmla="*/ 39 h 131"/>
                <a:gd name="T20" fmla="*/ 24 w 130"/>
                <a:gd name="T21" fmla="*/ 52 h 131"/>
                <a:gd name="T22" fmla="*/ 24 w 130"/>
                <a:gd name="T23" fmla="*/ 131 h 131"/>
                <a:gd name="T24" fmla="*/ 0 w 130"/>
                <a:gd name="T25" fmla="*/ 131 h 131"/>
                <a:gd name="T26" fmla="*/ 0 w 130"/>
                <a:gd name="T27" fmla="*/ 0 h 131"/>
                <a:gd name="T28" fmla="*/ 22 w 130"/>
                <a:gd name="T29" fmla="*/ 0 h 131"/>
                <a:gd name="T30" fmla="*/ 58 w 130"/>
                <a:gd name="T31" fmla="*/ 52 h 131"/>
                <a:gd name="T32" fmla="*/ 66 w 130"/>
                <a:gd name="T33" fmla="*/ 66 h 131"/>
                <a:gd name="T34" fmla="*/ 67 w 130"/>
                <a:gd name="T35" fmla="*/ 66 h 131"/>
                <a:gd name="T36" fmla="*/ 75 w 130"/>
                <a:gd name="T37" fmla="*/ 52 h 131"/>
                <a:gd name="T38" fmla="*/ 108 w 130"/>
                <a:gd name="T39" fmla="*/ 0 h 131"/>
                <a:gd name="T40" fmla="*/ 130 w 130"/>
                <a:gd name="T41" fmla="*/ 0 h 131"/>
                <a:gd name="T42" fmla="*/ 130 w 130"/>
                <a:gd name="T43" fmla="*/ 131 h 131"/>
                <a:gd name="T44" fmla="*/ 106 w 130"/>
                <a:gd name="T45"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0" h="131">
                  <a:moveTo>
                    <a:pt x="106" y="131"/>
                  </a:moveTo>
                  <a:cubicBezTo>
                    <a:pt x="106" y="53"/>
                    <a:pt x="106" y="53"/>
                    <a:pt x="106" y="53"/>
                  </a:cubicBezTo>
                  <a:cubicBezTo>
                    <a:pt x="106" y="48"/>
                    <a:pt x="106" y="44"/>
                    <a:pt x="107" y="39"/>
                  </a:cubicBezTo>
                  <a:cubicBezTo>
                    <a:pt x="106" y="39"/>
                    <a:pt x="106" y="39"/>
                    <a:pt x="106" y="39"/>
                  </a:cubicBezTo>
                  <a:cubicBezTo>
                    <a:pt x="105" y="43"/>
                    <a:pt x="101" y="49"/>
                    <a:pt x="99" y="52"/>
                  </a:cubicBezTo>
                  <a:cubicBezTo>
                    <a:pt x="72" y="93"/>
                    <a:pt x="72" y="93"/>
                    <a:pt x="72" y="93"/>
                  </a:cubicBezTo>
                  <a:cubicBezTo>
                    <a:pt x="60" y="93"/>
                    <a:pt x="60" y="93"/>
                    <a:pt x="60" y="93"/>
                  </a:cubicBezTo>
                  <a:cubicBezTo>
                    <a:pt x="32" y="51"/>
                    <a:pt x="32" y="51"/>
                    <a:pt x="32" y="51"/>
                  </a:cubicBezTo>
                  <a:cubicBezTo>
                    <a:pt x="29" y="48"/>
                    <a:pt x="26" y="44"/>
                    <a:pt x="24" y="39"/>
                  </a:cubicBezTo>
                  <a:cubicBezTo>
                    <a:pt x="23" y="39"/>
                    <a:pt x="23" y="39"/>
                    <a:pt x="23" y="39"/>
                  </a:cubicBezTo>
                  <a:cubicBezTo>
                    <a:pt x="24" y="44"/>
                    <a:pt x="24" y="48"/>
                    <a:pt x="24" y="52"/>
                  </a:cubicBezTo>
                  <a:cubicBezTo>
                    <a:pt x="24" y="131"/>
                    <a:pt x="24" y="131"/>
                    <a:pt x="24" y="131"/>
                  </a:cubicBezTo>
                  <a:cubicBezTo>
                    <a:pt x="0" y="131"/>
                    <a:pt x="0" y="131"/>
                    <a:pt x="0" y="131"/>
                  </a:cubicBezTo>
                  <a:cubicBezTo>
                    <a:pt x="0" y="0"/>
                    <a:pt x="0" y="0"/>
                    <a:pt x="0" y="0"/>
                  </a:cubicBezTo>
                  <a:cubicBezTo>
                    <a:pt x="22" y="0"/>
                    <a:pt x="22" y="0"/>
                    <a:pt x="22" y="0"/>
                  </a:cubicBezTo>
                  <a:cubicBezTo>
                    <a:pt x="58" y="52"/>
                    <a:pt x="58" y="52"/>
                    <a:pt x="58" y="52"/>
                  </a:cubicBezTo>
                  <a:cubicBezTo>
                    <a:pt x="61" y="57"/>
                    <a:pt x="64" y="61"/>
                    <a:pt x="66" y="66"/>
                  </a:cubicBezTo>
                  <a:cubicBezTo>
                    <a:pt x="67" y="66"/>
                    <a:pt x="67" y="66"/>
                    <a:pt x="67" y="66"/>
                  </a:cubicBezTo>
                  <a:cubicBezTo>
                    <a:pt x="69" y="61"/>
                    <a:pt x="71" y="57"/>
                    <a:pt x="75" y="52"/>
                  </a:cubicBezTo>
                  <a:cubicBezTo>
                    <a:pt x="108" y="0"/>
                    <a:pt x="108" y="0"/>
                    <a:pt x="108" y="0"/>
                  </a:cubicBezTo>
                  <a:cubicBezTo>
                    <a:pt x="130" y="0"/>
                    <a:pt x="130" y="0"/>
                    <a:pt x="130" y="0"/>
                  </a:cubicBezTo>
                  <a:cubicBezTo>
                    <a:pt x="130" y="131"/>
                    <a:pt x="130" y="131"/>
                    <a:pt x="130" y="131"/>
                  </a:cubicBezTo>
                  <a:lnTo>
                    <a:pt x="106" y="131"/>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28" name="Freeform 13"/>
            <p:cNvSpPr>
              <a:spLocks/>
            </p:cNvSpPr>
            <p:nvPr userDrawn="1"/>
          </p:nvSpPr>
          <p:spPr bwMode="auto">
            <a:xfrm>
              <a:off x="7665803" y="4864376"/>
              <a:ext cx="100854" cy="148389"/>
            </a:xfrm>
            <a:custGeom>
              <a:avLst/>
              <a:gdLst>
                <a:gd name="T0" fmla="*/ 133 w 133"/>
                <a:gd name="T1" fmla="*/ 23 h 204"/>
                <a:gd name="T2" fmla="*/ 132 w 133"/>
                <a:gd name="T3" fmla="*/ 22 h 204"/>
                <a:gd name="T4" fmla="*/ 65 w 133"/>
                <a:gd name="T5" fmla="*/ 20 h 204"/>
                <a:gd name="T6" fmla="*/ 52 w 133"/>
                <a:gd name="T7" fmla="*/ 52 h 204"/>
                <a:gd name="T8" fmla="*/ 20 w 133"/>
                <a:gd name="T9" fmla="*/ 65 h 204"/>
                <a:gd name="T10" fmla="*/ 22 w 133"/>
                <a:gd name="T11" fmla="*/ 132 h 204"/>
                <a:gd name="T12" fmla="*/ 95 w 133"/>
                <a:gd name="T13" fmla="*/ 204 h 204"/>
                <a:gd name="T14" fmla="*/ 117 w 133"/>
                <a:gd name="T15" fmla="*/ 182 h 204"/>
                <a:gd name="T16" fmla="*/ 44 w 133"/>
                <a:gd name="T17" fmla="*/ 110 h 204"/>
                <a:gd name="T18" fmla="*/ 42 w 133"/>
                <a:gd name="T19" fmla="*/ 86 h 204"/>
                <a:gd name="T20" fmla="*/ 66 w 133"/>
                <a:gd name="T21" fmla="*/ 88 h 204"/>
                <a:gd name="T22" fmla="*/ 133 w 133"/>
                <a:gd name="T23" fmla="*/ 155 h 204"/>
                <a:gd name="T24" fmla="*/ 133 w 133"/>
                <a:gd name="T25" fmla="*/ 111 h 204"/>
                <a:gd name="T26" fmla="*/ 88 w 133"/>
                <a:gd name="T27" fmla="*/ 66 h 204"/>
                <a:gd name="T28" fmla="*/ 86 w 133"/>
                <a:gd name="T29" fmla="*/ 42 h 204"/>
                <a:gd name="T30" fmla="*/ 110 w 133"/>
                <a:gd name="T31" fmla="*/ 44 h 204"/>
                <a:gd name="T32" fmla="*/ 133 w 133"/>
                <a:gd name="T33" fmla="*/ 66 h 204"/>
                <a:gd name="T34" fmla="*/ 133 w 133"/>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204">
                  <a:moveTo>
                    <a:pt x="133" y="23"/>
                  </a:moveTo>
                  <a:cubicBezTo>
                    <a:pt x="132" y="22"/>
                    <a:pt x="132" y="22"/>
                    <a:pt x="132" y="22"/>
                  </a:cubicBezTo>
                  <a:cubicBezTo>
                    <a:pt x="110" y="0"/>
                    <a:pt x="82" y="2"/>
                    <a:pt x="65" y="20"/>
                  </a:cubicBezTo>
                  <a:cubicBezTo>
                    <a:pt x="53" y="32"/>
                    <a:pt x="51" y="46"/>
                    <a:pt x="52" y="52"/>
                  </a:cubicBezTo>
                  <a:cubicBezTo>
                    <a:pt x="47" y="51"/>
                    <a:pt x="32" y="52"/>
                    <a:pt x="20" y="65"/>
                  </a:cubicBezTo>
                  <a:cubicBezTo>
                    <a:pt x="3" y="82"/>
                    <a:pt x="0" y="110"/>
                    <a:pt x="22" y="132"/>
                  </a:cubicBezTo>
                  <a:cubicBezTo>
                    <a:pt x="95" y="204"/>
                    <a:pt x="95" y="204"/>
                    <a:pt x="95" y="204"/>
                  </a:cubicBezTo>
                  <a:cubicBezTo>
                    <a:pt x="117" y="182"/>
                    <a:pt x="117" y="182"/>
                    <a:pt x="117" y="182"/>
                  </a:cubicBezTo>
                  <a:cubicBezTo>
                    <a:pt x="44" y="110"/>
                    <a:pt x="44" y="110"/>
                    <a:pt x="44" y="110"/>
                  </a:cubicBezTo>
                  <a:cubicBezTo>
                    <a:pt x="35" y="101"/>
                    <a:pt x="36" y="91"/>
                    <a:pt x="42" y="86"/>
                  </a:cubicBezTo>
                  <a:cubicBezTo>
                    <a:pt x="47" y="80"/>
                    <a:pt x="58" y="79"/>
                    <a:pt x="66" y="88"/>
                  </a:cubicBezTo>
                  <a:cubicBezTo>
                    <a:pt x="133" y="155"/>
                    <a:pt x="133" y="155"/>
                    <a:pt x="133" y="155"/>
                  </a:cubicBezTo>
                  <a:cubicBezTo>
                    <a:pt x="133" y="111"/>
                    <a:pt x="133" y="111"/>
                    <a:pt x="133" y="111"/>
                  </a:cubicBezTo>
                  <a:cubicBezTo>
                    <a:pt x="88" y="66"/>
                    <a:pt x="88" y="66"/>
                    <a:pt x="88" y="66"/>
                  </a:cubicBezTo>
                  <a:cubicBezTo>
                    <a:pt x="80" y="57"/>
                    <a:pt x="80" y="47"/>
                    <a:pt x="86" y="42"/>
                  </a:cubicBezTo>
                  <a:cubicBezTo>
                    <a:pt x="92" y="36"/>
                    <a:pt x="102" y="35"/>
                    <a:pt x="110" y="44"/>
                  </a:cubicBezTo>
                  <a:cubicBezTo>
                    <a:pt x="133" y="66"/>
                    <a:pt x="133" y="66"/>
                    <a:pt x="133" y="66"/>
                  </a:cubicBezTo>
                  <a:lnTo>
                    <a:pt x="133"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29" name="Freeform 14"/>
            <p:cNvSpPr>
              <a:spLocks noEditPoints="1"/>
            </p:cNvSpPr>
            <p:nvPr userDrawn="1"/>
          </p:nvSpPr>
          <p:spPr bwMode="auto">
            <a:xfrm>
              <a:off x="8023287" y="4895470"/>
              <a:ext cx="20556" cy="93282"/>
            </a:xfrm>
            <a:custGeom>
              <a:avLst/>
              <a:gdLst>
                <a:gd name="T0" fmla="*/ 14 w 27"/>
                <a:gd name="T1" fmla="*/ 26 h 128"/>
                <a:gd name="T2" fmla="*/ 0 w 27"/>
                <a:gd name="T3" fmla="*/ 13 h 128"/>
                <a:gd name="T4" fmla="*/ 14 w 27"/>
                <a:gd name="T5" fmla="*/ 0 h 128"/>
                <a:gd name="T6" fmla="*/ 27 w 27"/>
                <a:gd name="T7" fmla="*/ 13 h 128"/>
                <a:gd name="T8" fmla="*/ 14 w 27"/>
                <a:gd name="T9" fmla="*/ 26 h 128"/>
                <a:gd name="T10" fmla="*/ 3 w 27"/>
                <a:gd name="T11" fmla="*/ 128 h 128"/>
                <a:gd name="T12" fmla="*/ 3 w 27"/>
                <a:gd name="T13" fmla="*/ 40 h 128"/>
                <a:gd name="T14" fmla="*/ 25 w 27"/>
                <a:gd name="T15" fmla="*/ 40 h 128"/>
                <a:gd name="T16" fmla="*/ 25 w 27"/>
                <a:gd name="T17" fmla="*/ 112 h 128"/>
                <a:gd name="T18" fmla="*/ 3 w 27"/>
                <a:gd name="T1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128">
                  <a:moveTo>
                    <a:pt x="14" y="26"/>
                  </a:moveTo>
                  <a:cubicBezTo>
                    <a:pt x="6" y="26"/>
                    <a:pt x="0" y="20"/>
                    <a:pt x="0" y="13"/>
                  </a:cubicBezTo>
                  <a:cubicBezTo>
                    <a:pt x="0" y="6"/>
                    <a:pt x="6" y="0"/>
                    <a:pt x="14" y="0"/>
                  </a:cubicBezTo>
                  <a:cubicBezTo>
                    <a:pt x="21" y="0"/>
                    <a:pt x="27" y="5"/>
                    <a:pt x="27" y="13"/>
                  </a:cubicBezTo>
                  <a:cubicBezTo>
                    <a:pt x="27" y="20"/>
                    <a:pt x="21" y="26"/>
                    <a:pt x="14" y="26"/>
                  </a:cubicBezTo>
                  <a:close/>
                  <a:moveTo>
                    <a:pt x="3" y="128"/>
                  </a:moveTo>
                  <a:cubicBezTo>
                    <a:pt x="3" y="40"/>
                    <a:pt x="3" y="40"/>
                    <a:pt x="3" y="40"/>
                  </a:cubicBezTo>
                  <a:cubicBezTo>
                    <a:pt x="25" y="40"/>
                    <a:pt x="25" y="40"/>
                    <a:pt x="25" y="40"/>
                  </a:cubicBezTo>
                  <a:cubicBezTo>
                    <a:pt x="25" y="40"/>
                    <a:pt x="25" y="95"/>
                    <a:pt x="25" y="112"/>
                  </a:cubicBezTo>
                  <a:cubicBezTo>
                    <a:pt x="25" y="128"/>
                    <a:pt x="3" y="128"/>
                    <a:pt x="3" y="1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30" name="Freeform 15"/>
            <p:cNvSpPr>
              <a:spLocks/>
            </p:cNvSpPr>
            <p:nvPr userDrawn="1"/>
          </p:nvSpPr>
          <p:spPr bwMode="auto">
            <a:xfrm>
              <a:off x="8615239" y="4924717"/>
              <a:ext cx="103744" cy="66806"/>
            </a:xfrm>
            <a:custGeom>
              <a:avLst/>
              <a:gdLst>
                <a:gd name="T0" fmla="*/ 111 w 137"/>
                <a:gd name="T1" fmla="*/ 72 h 92"/>
                <a:gd name="T2" fmla="*/ 88 w 137"/>
                <a:gd name="T3" fmla="*/ 88 h 92"/>
                <a:gd name="T4" fmla="*/ 68 w 137"/>
                <a:gd name="T5" fmla="*/ 28 h 92"/>
                <a:gd name="T6" fmla="*/ 68 w 137"/>
                <a:gd name="T7" fmla="*/ 28 h 92"/>
                <a:gd name="T8" fmla="*/ 53 w 137"/>
                <a:gd name="T9" fmla="*/ 72 h 92"/>
                <a:gd name="T10" fmla="*/ 31 w 137"/>
                <a:gd name="T11" fmla="*/ 88 h 92"/>
                <a:gd name="T12" fmla="*/ 0 w 137"/>
                <a:gd name="T13" fmla="*/ 0 h 92"/>
                <a:gd name="T14" fmla="*/ 22 w 137"/>
                <a:gd name="T15" fmla="*/ 0 h 92"/>
                <a:gd name="T16" fmla="*/ 41 w 137"/>
                <a:gd name="T17" fmla="*/ 60 h 92"/>
                <a:gd name="T18" fmla="*/ 41 w 137"/>
                <a:gd name="T19" fmla="*/ 60 h 92"/>
                <a:gd name="T20" fmla="*/ 60 w 137"/>
                <a:gd name="T21" fmla="*/ 0 h 92"/>
                <a:gd name="T22" fmla="*/ 77 w 137"/>
                <a:gd name="T23" fmla="*/ 0 h 92"/>
                <a:gd name="T24" fmla="*/ 97 w 137"/>
                <a:gd name="T25" fmla="*/ 60 h 92"/>
                <a:gd name="T26" fmla="*/ 97 w 137"/>
                <a:gd name="T27" fmla="*/ 60 h 92"/>
                <a:gd name="T28" fmla="*/ 115 w 137"/>
                <a:gd name="T29" fmla="*/ 0 h 92"/>
                <a:gd name="T30" fmla="*/ 137 w 137"/>
                <a:gd name="T31" fmla="*/ 0 h 92"/>
                <a:gd name="T32" fmla="*/ 111 w 137"/>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 h="92">
                  <a:moveTo>
                    <a:pt x="111" y="72"/>
                  </a:moveTo>
                  <a:cubicBezTo>
                    <a:pt x="104" y="92"/>
                    <a:pt x="88" y="88"/>
                    <a:pt x="88" y="88"/>
                  </a:cubicBezTo>
                  <a:cubicBezTo>
                    <a:pt x="68" y="28"/>
                    <a:pt x="68" y="28"/>
                    <a:pt x="68" y="28"/>
                  </a:cubicBezTo>
                  <a:cubicBezTo>
                    <a:pt x="68" y="28"/>
                    <a:pt x="68" y="28"/>
                    <a:pt x="68" y="28"/>
                  </a:cubicBezTo>
                  <a:cubicBezTo>
                    <a:pt x="68" y="28"/>
                    <a:pt x="59"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7" y="60"/>
                    <a:pt x="97" y="60"/>
                    <a:pt x="97" y="60"/>
                  </a:cubicBezTo>
                  <a:cubicBezTo>
                    <a:pt x="97" y="60"/>
                    <a:pt x="97" y="60"/>
                    <a:pt x="97" y="60"/>
                  </a:cubicBezTo>
                  <a:cubicBezTo>
                    <a:pt x="115" y="0"/>
                    <a:pt x="115" y="0"/>
                    <a:pt x="115" y="0"/>
                  </a:cubicBezTo>
                  <a:cubicBezTo>
                    <a:pt x="137" y="0"/>
                    <a:pt x="137" y="0"/>
                    <a:pt x="137" y="0"/>
                  </a:cubicBezTo>
                  <a:cubicBezTo>
                    <a:pt x="137"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31" name="Freeform 16"/>
            <p:cNvSpPr>
              <a:spLocks noEditPoints="1"/>
            </p:cNvSpPr>
            <p:nvPr userDrawn="1"/>
          </p:nvSpPr>
          <p:spPr bwMode="auto">
            <a:xfrm>
              <a:off x="8423168" y="4892699"/>
              <a:ext cx="65844" cy="95129"/>
            </a:xfrm>
            <a:custGeom>
              <a:avLst/>
              <a:gdLst>
                <a:gd name="T0" fmla="*/ 1 w 87"/>
                <a:gd name="T1" fmla="*/ 0 h 131"/>
                <a:gd name="T2" fmla="*/ 0 w 87"/>
                <a:gd name="T3" fmla="*/ 131 h 131"/>
                <a:gd name="T4" fmla="*/ 41 w 87"/>
                <a:gd name="T5" fmla="*/ 131 h 131"/>
                <a:gd name="T6" fmla="*/ 87 w 87"/>
                <a:gd name="T7" fmla="*/ 92 h 131"/>
                <a:gd name="T8" fmla="*/ 65 w 87"/>
                <a:gd name="T9" fmla="*/ 61 h 131"/>
                <a:gd name="T10" fmla="*/ 62 w 87"/>
                <a:gd name="T11" fmla="*/ 60 h 131"/>
                <a:gd name="T12" fmla="*/ 64 w 87"/>
                <a:gd name="T13" fmla="*/ 59 h 131"/>
                <a:gd name="T14" fmla="*/ 79 w 87"/>
                <a:gd name="T15" fmla="*/ 32 h 131"/>
                <a:gd name="T16" fmla="*/ 42 w 87"/>
                <a:gd name="T17" fmla="*/ 0 h 131"/>
                <a:gd name="T18" fmla="*/ 1 w 87"/>
                <a:gd name="T19" fmla="*/ 0 h 131"/>
                <a:gd name="T20" fmla="*/ 23 w 87"/>
                <a:gd name="T21" fmla="*/ 17 h 131"/>
                <a:gd name="T22" fmla="*/ 36 w 87"/>
                <a:gd name="T23" fmla="*/ 17 h 131"/>
                <a:gd name="T24" fmla="*/ 56 w 87"/>
                <a:gd name="T25" fmla="*/ 35 h 131"/>
                <a:gd name="T26" fmla="*/ 38 w 87"/>
                <a:gd name="T27" fmla="*/ 55 h 131"/>
                <a:gd name="T28" fmla="*/ 22 w 87"/>
                <a:gd name="T29" fmla="*/ 55 h 131"/>
                <a:gd name="T30" fmla="*/ 23 w 87"/>
                <a:gd name="T31" fmla="*/ 17 h 131"/>
                <a:gd name="T32" fmla="*/ 22 w 87"/>
                <a:gd name="T33" fmla="*/ 74 h 131"/>
                <a:gd name="T34" fmla="*/ 40 w 87"/>
                <a:gd name="T35" fmla="*/ 74 h 131"/>
                <a:gd name="T36" fmla="*/ 64 w 87"/>
                <a:gd name="T37" fmla="*/ 92 h 131"/>
                <a:gd name="T38" fmla="*/ 39 w 87"/>
                <a:gd name="T39" fmla="*/ 113 h 131"/>
                <a:gd name="T40" fmla="*/ 22 w 87"/>
                <a:gd name="T41" fmla="*/ 113 h 131"/>
                <a:gd name="T42" fmla="*/ 22 w 87"/>
                <a:gd name="T43" fmla="*/ 7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131">
                  <a:moveTo>
                    <a:pt x="1" y="0"/>
                  </a:moveTo>
                  <a:cubicBezTo>
                    <a:pt x="1" y="3"/>
                    <a:pt x="0" y="129"/>
                    <a:pt x="0" y="131"/>
                  </a:cubicBezTo>
                  <a:cubicBezTo>
                    <a:pt x="2" y="131"/>
                    <a:pt x="41" y="131"/>
                    <a:pt x="41" y="131"/>
                  </a:cubicBezTo>
                  <a:cubicBezTo>
                    <a:pt x="73" y="131"/>
                    <a:pt x="87" y="111"/>
                    <a:pt x="87" y="92"/>
                  </a:cubicBezTo>
                  <a:cubicBezTo>
                    <a:pt x="87" y="77"/>
                    <a:pt x="79" y="65"/>
                    <a:pt x="65" y="61"/>
                  </a:cubicBezTo>
                  <a:cubicBezTo>
                    <a:pt x="62" y="60"/>
                    <a:pt x="62" y="60"/>
                    <a:pt x="62" y="60"/>
                  </a:cubicBezTo>
                  <a:cubicBezTo>
                    <a:pt x="64" y="59"/>
                    <a:pt x="64" y="59"/>
                    <a:pt x="64" y="59"/>
                  </a:cubicBezTo>
                  <a:cubicBezTo>
                    <a:pt x="74" y="54"/>
                    <a:pt x="79" y="44"/>
                    <a:pt x="79" y="32"/>
                  </a:cubicBezTo>
                  <a:cubicBezTo>
                    <a:pt x="79" y="17"/>
                    <a:pt x="68" y="0"/>
                    <a:pt x="42" y="0"/>
                  </a:cubicBezTo>
                  <a:cubicBezTo>
                    <a:pt x="42" y="0"/>
                    <a:pt x="3" y="0"/>
                    <a:pt x="1" y="0"/>
                  </a:cubicBezTo>
                  <a:close/>
                  <a:moveTo>
                    <a:pt x="23" y="17"/>
                  </a:moveTo>
                  <a:cubicBezTo>
                    <a:pt x="36" y="17"/>
                    <a:pt x="36" y="17"/>
                    <a:pt x="36" y="17"/>
                  </a:cubicBezTo>
                  <a:cubicBezTo>
                    <a:pt x="49" y="17"/>
                    <a:pt x="56" y="24"/>
                    <a:pt x="56" y="35"/>
                  </a:cubicBezTo>
                  <a:cubicBezTo>
                    <a:pt x="56" y="47"/>
                    <a:pt x="47" y="55"/>
                    <a:pt x="38" y="55"/>
                  </a:cubicBezTo>
                  <a:cubicBezTo>
                    <a:pt x="22" y="55"/>
                    <a:pt x="22" y="55"/>
                    <a:pt x="22" y="55"/>
                  </a:cubicBezTo>
                  <a:lnTo>
                    <a:pt x="23" y="17"/>
                  </a:lnTo>
                  <a:close/>
                  <a:moveTo>
                    <a:pt x="22" y="74"/>
                  </a:moveTo>
                  <a:cubicBezTo>
                    <a:pt x="40" y="74"/>
                    <a:pt x="40" y="74"/>
                    <a:pt x="40" y="74"/>
                  </a:cubicBezTo>
                  <a:cubicBezTo>
                    <a:pt x="55" y="74"/>
                    <a:pt x="64" y="81"/>
                    <a:pt x="64" y="92"/>
                  </a:cubicBezTo>
                  <a:cubicBezTo>
                    <a:pt x="64" y="105"/>
                    <a:pt x="55" y="113"/>
                    <a:pt x="39" y="113"/>
                  </a:cubicBezTo>
                  <a:cubicBezTo>
                    <a:pt x="22" y="113"/>
                    <a:pt x="22" y="113"/>
                    <a:pt x="22" y="113"/>
                  </a:cubicBezTo>
                  <a:lnTo>
                    <a:pt x="22" y="74"/>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35" name="Freeform 17"/>
            <p:cNvSpPr>
              <a:spLocks noEditPoints="1"/>
            </p:cNvSpPr>
            <p:nvPr userDrawn="1"/>
          </p:nvSpPr>
          <p:spPr bwMode="auto">
            <a:xfrm>
              <a:off x="8546184" y="4923177"/>
              <a:ext cx="66486" cy="66190"/>
            </a:xfrm>
            <a:custGeom>
              <a:avLst/>
              <a:gdLst>
                <a:gd name="T0" fmla="*/ 75 w 88"/>
                <a:gd name="T1" fmla="*/ 78 h 91"/>
                <a:gd name="T2" fmla="*/ 44 w 88"/>
                <a:gd name="T3" fmla="*/ 91 h 91"/>
                <a:gd name="T4" fmla="*/ 14 w 88"/>
                <a:gd name="T5" fmla="*/ 80 h 91"/>
                <a:gd name="T6" fmla="*/ 0 w 88"/>
                <a:gd name="T7" fmla="*/ 46 h 91"/>
                <a:gd name="T8" fmla="*/ 13 w 88"/>
                <a:gd name="T9" fmla="*/ 12 h 91"/>
                <a:gd name="T10" fmla="*/ 44 w 88"/>
                <a:gd name="T11" fmla="*/ 0 h 91"/>
                <a:gd name="T12" fmla="*/ 76 w 88"/>
                <a:gd name="T13" fmla="*/ 12 h 91"/>
                <a:gd name="T14" fmla="*/ 88 w 88"/>
                <a:gd name="T15" fmla="*/ 45 h 91"/>
                <a:gd name="T16" fmla="*/ 75 w 88"/>
                <a:gd name="T17" fmla="*/ 78 h 91"/>
                <a:gd name="T18" fmla="*/ 44 w 88"/>
                <a:gd name="T19" fmla="*/ 17 h 91"/>
                <a:gd name="T20" fmla="*/ 23 w 88"/>
                <a:gd name="T21" fmla="*/ 45 h 91"/>
                <a:gd name="T22" fmla="*/ 44 w 88"/>
                <a:gd name="T23" fmla="*/ 73 h 91"/>
                <a:gd name="T24" fmla="*/ 65 w 88"/>
                <a:gd name="T25" fmla="*/ 45 h 91"/>
                <a:gd name="T26" fmla="*/ 44 w 88"/>
                <a:gd name="T27"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91">
                  <a:moveTo>
                    <a:pt x="75" y="78"/>
                  </a:moveTo>
                  <a:cubicBezTo>
                    <a:pt x="68" y="86"/>
                    <a:pt x="57" y="91"/>
                    <a:pt x="44" y="91"/>
                  </a:cubicBezTo>
                  <a:cubicBezTo>
                    <a:pt x="32" y="91"/>
                    <a:pt x="21" y="87"/>
                    <a:pt x="14" y="80"/>
                  </a:cubicBezTo>
                  <a:cubicBezTo>
                    <a:pt x="5" y="72"/>
                    <a:pt x="0" y="60"/>
                    <a:pt x="0" y="46"/>
                  </a:cubicBezTo>
                  <a:cubicBezTo>
                    <a:pt x="0" y="32"/>
                    <a:pt x="5" y="20"/>
                    <a:pt x="13" y="12"/>
                  </a:cubicBezTo>
                  <a:cubicBezTo>
                    <a:pt x="21" y="4"/>
                    <a:pt x="31" y="0"/>
                    <a:pt x="44" y="0"/>
                  </a:cubicBezTo>
                  <a:cubicBezTo>
                    <a:pt x="57" y="0"/>
                    <a:pt x="68" y="4"/>
                    <a:pt x="76" y="12"/>
                  </a:cubicBezTo>
                  <a:cubicBezTo>
                    <a:pt x="84" y="20"/>
                    <a:pt x="88" y="32"/>
                    <a:pt x="88" y="45"/>
                  </a:cubicBezTo>
                  <a:cubicBezTo>
                    <a:pt x="88" y="58"/>
                    <a:pt x="83" y="70"/>
                    <a:pt x="75" y="78"/>
                  </a:cubicBezTo>
                  <a:close/>
                  <a:moveTo>
                    <a:pt x="44" y="17"/>
                  </a:moveTo>
                  <a:cubicBezTo>
                    <a:pt x="30" y="17"/>
                    <a:pt x="23" y="29"/>
                    <a:pt x="23" y="45"/>
                  </a:cubicBezTo>
                  <a:cubicBezTo>
                    <a:pt x="23" y="62"/>
                    <a:pt x="31" y="73"/>
                    <a:pt x="44" y="73"/>
                  </a:cubicBezTo>
                  <a:cubicBezTo>
                    <a:pt x="58" y="73"/>
                    <a:pt x="65" y="61"/>
                    <a:pt x="65" y="45"/>
                  </a:cubicBezTo>
                  <a:cubicBezTo>
                    <a:pt x="65" y="28"/>
                    <a:pt x="57" y="17"/>
                    <a:pt x="44" y="1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36" name="Freeform 18"/>
            <p:cNvSpPr>
              <a:spLocks/>
            </p:cNvSpPr>
            <p:nvPr userDrawn="1"/>
          </p:nvSpPr>
          <p:spPr bwMode="auto">
            <a:xfrm>
              <a:off x="8728298" y="4923177"/>
              <a:ext cx="60705" cy="65574"/>
            </a:xfrm>
            <a:custGeom>
              <a:avLst/>
              <a:gdLst>
                <a:gd name="T0" fmla="*/ 58 w 80"/>
                <a:gd name="T1" fmla="*/ 90 h 90"/>
                <a:gd name="T2" fmla="*/ 58 w 80"/>
                <a:gd name="T3" fmla="*/ 38 h 90"/>
                <a:gd name="T4" fmla="*/ 45 w 80"/>
                <a:gd name="T5" fmla="*/ 19 h 90"/>
                <a:gd name="T6" fmla="*/ 23 w 80"/>
                <a:gd name="T7" fmla="*/ 28 h 90"/>
                <a:gd name="T8" fmla="*/ 23 w 80"/>
                <a:gd name="T9" fmla="*/ 74 h 90"/>
                <a:gd name="T10" fmla="*/ 0 w 80"/>
                <a:gd name="T11" fmla="*/ 90 h 90"/>
                <a:gd name="T12" fmla="*/ 0 w 80"/>
                <a:gd name="T13" fmla="*/ 2 h 90"/>
                <a:gd name="T14" fmla="*/ 19 w 80"/>
                <a:gd name="T15" fmla="*/ 2 h 90"/>
                <a:gd name="T16" fmla="*/ 22 w 80"/>
                <a:gd name="T17" fmla="*/ 11 h 90"/>
                <a:gd name="T18" fmla="*/ 52 w 80"/>
                <a:gd name="T19" fmla="*/ 0 h 90"/>
                <a:gd name="T20" fmla="*/ 80 w 80"/>
                <a:gd name="T21" fmla="*/ 31 h 90"/>
                <a:gd name="T22" fmla="*/ 80 w 80"/>
                <a:gd name="T23" fmla="*/ 74 h 90"/>
                <a:gd name="T24" fmla="*/ 58 w 80"/>
                <a:gd name="T2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90">
                  <a:moveTo>
                    <a:pt x="58" y="90"/>
                  </a:moveTo>
                  <a:cubicBezTo>
                    <a:pt x="58" y="38"/>
                    <a:pt x="58" y="38"/>
                    <a:pt x="58" y="38"/>
                  </a:cubicBezTo>
                  <a:cubicBezTo>
                    <a:pt x="58" y="29"/>
                    <a:pt x="56" y="19"/>
                    <a:pt x="45" y="19"/>
                  </a:cubicBezTo>
                  <a:cubicBezTo>
                    <a:pt x="37" y="19"/>
                    <a:pt x="29" y="23"/>
                    <a:pt x="23" y="28"/>
                  </a:cubicBezTo>
                  <a:cubicBezTo>
                    <a:pt x="23" y="28"/>
                    <a:pt x="23" y="57"/>
                    <a:pt x="23" y="74"/>
                  </a:cubicBezTo>
                  <a:cubicBezTo>
                    <a:pt x="23" y="90"/>
                    <a:pt x="0" y="90"/>
                    <a:pt x="0" y="90"/>
                  </a:cubicBezTo>
                  <a:cubicBezTo>
                    <a:pt x="0" y="2"/>
                    <a:pt x="0" y="2"/>
                    <a:pt x="0" y="2"/>
                  </a:cubicBezTo>
                  <a:cubicBezTo>
                    <a:pt x="19" y="2"/>
                    <a:pt x="19" y="2"/>
                    <a:pt x="19" y="2"/>
                  </a:cubicBezTo>
                  <a:cubicBezTo>
                    <a:pt x="22" y="11"/>
                    <a:pt x="22" y="11"/>
                    <a:pt x="22" y="11"/>
                  </a:cubicBezTo>
                  <a:cubicBezTo>
                    <a:pt x="31" y="4"/>
                    <a:pt x="40" y="0"/>
                    <a:pt x="52" y="0"/>
                  </a:cubicBezTo>
                  <a:cubicBezTo>
                    <a:pt x="65" y="0"/>
                    <a:pt x="80" y="8"/>
                    <a:pt x="80" y="31"/>
                  </a:cubicBezTo>
                  <a:cubicBezTo>
                    <a:pt x="80" y="31"/>
                    <a:pt x="80" y="57"/>
                    <a:pt x="80" y="74"/>
                  </a:cubicBezTo>
                  <a:cubicBezTo>
                    <a:pt x="80" y="90"/>
                    <a:pt x="58" y="90"/>
                    <a:pt x="58" y="9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37" name="Freeform 19"/>
            <p:cNvSpPr>
              <a:spLocks/>
            </p:cNvSpPr>
            <p:nvPr userDrawn="1"/>
          </p:nvSpPr>
          <p:spPr bwMode="auto">
            <a:xfrm>
              <a:off x="8501217" y="4923177"/>
              <a:ext cx="43361" cy="65574"/>
            </a:xfrm>
            <a:custGeom>
              <a:avLst/>
              <a:gdLst>
                <a:gd name="T0" fmla="*/ 49 w 57"/>
                <a:gd name="T1" fmla="*/ 22 h 90"/>
                <a:gd name="T2" fmla="*/ 39 w 57"/>
                <a:gd name="T3" fmla="*/ 20 h 90"/>
                <a:gd name="T4" fmla="*/ 22 w 57"/>
                <a:gd name="T5" fmla="*/ 27 h 90"/>
                <a:gd name="T6" fmla="*/ 22 w 57"/>
                <a:gd name="T7" fmla="*/ 74 h 90"/>
                <a:gd name="T8" fmla="*/ 0 w 57"/>
                <a:gd name="T9" fmla="*/ 90 h 90"/>
                <a:gd name="T10" fmla="*/ 0 w 57"/>
                <a:gd name="T11" fmla="*/ 2 h 90"/>
                <a:gd name="T12" fmla="*/ 19 w 57"/>
                <a:gd name="T13" fmla="*/ 2 h 90"/>
                <a:gd name="T14" fmla="*/ 21 w 57"/>
                <a:gd name="T15" fmla="*/ 11 h 90"/>
                <a:gd name="T16" fmla="*/ 45 w 57"/>
                <a:gd name="T17" fmla="*/ 0 h 90"/>
                <a:gd name="T18" fmla="*/ 57 w 57"/>
                <a:gd name="T19" fmla="*/ 4 h 90"/>
                <a:gd name="T20" fmla="*/ 49 w 57"/>
                <a:gd name="T21" fmla="*/ 2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0">
                  <a:moveTo>
                    <a:pt x="49" y="22"/>
                  </a:moveTo>
                  <a:cubicBezTo>
                    <a:pt x="46" y="20"/>
                    <a:pt x="42" y="20"/>
                    <a:pt x="39" y="20"/>
                  </a:cubicBezTo>
                  <a:cubicBezTo>
                    <a:pt x="34" y="20"/>
                    <a:pt x="28" y="22"/>
                    <a:pt x="22" y="27"/>
                  </a:cubicBezTo>
                  <a:cubicBezTo>
                    <a:pt x="22" y="27"/>
                    <a:pt x="22" y="57"/>
                    <a:pt x="22" y="74"/>
                  </a:cubicBezTo>
                  <a:cubicBezTo>
                    <a:pt x="22" y="90"/>
                    <a:pt x="0" y="90"/>
                    <a:pt x="0" y="90"/>
                  </a:cubicBezTo>
                  <a:cubicBezTo>
                    <a:pt x="0" y="2"/>
                    <a:pt x="0" y="2"/>
                    <a:pt x="0" y="2"/>
                  </a:cubicBezTo>
                  <a:cubicBezTo>
                    <a:pt x="19" y="2"/>
                    <a:pt x="19" y="2"/>
                    <a:pt x="19"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38" name="Freeform 20"/>
            <p:cNvSpPr>
              <a:spLocks/>
            </p:cNvSpPr>
            <p:nvPr userDrawn="1"/>
          </p:nvSpPr>
          <p:spPr bwMode="auto">
            <a:xfrm>
              <a:off x="7766657" y="4864376"/>
              <a:ext cx="100211" cy="148389"/>
            </a:xfrm>
            <a:custGeom>
              <a:avLst/>
              <a:gdLst>
                <a:gd name="T0" fmla="*/ 0 w 132"/>
                <a:gd name="T1" fmla="*/ 23 h 204"/>
                <a:gd name="T2" fmla="*/ 1 w 132"/>
                <a:gd name="T3" fmla="*/ 22 h 204"/>
                <a:gd name="T4" fmla="*/ 67 w 132"/>
                <a:gd name="T5" fmla="*/ 20 h 204"/>
                <a:gd name="T6" fmla="*/ 80 w 132"/>
                <a:gd name="T7" fmla="*/ 52 h 204"/>
                <a:gd name="T8" fmla="*/ 113 w 132"/>
                <a:gd name="T9" fmla="*/ 65 h 204"/>
                <a:gd name="T10" fmla="*/ 111 w 132"/>
                <a:gd name="T11" fmla="*/ 132 h 204"/>
                <a:gd name="T12" fmla="*/ 38 w 132"/>
                <a:gd name="T13" fmla="*/ 204 h 204"/>
                <a:gd name="T14" fmla="*/ 16 w 132"/>
                <a:gd name="T15" fmla="*/ 182 h 204"/>
                <a:gd name="T16" fmla="*/ 88 w 132"/>
                <a:gd name="T17" fmla="*/ 110 h 204"/>
                <a:gd name="T18" fmla="*/ 91 w 132"/>
                <a:gd name="T19" fmla="*/ 86 h 204"/>
                <a:gd name="T20" fmla="*/ 67 w 132"/>
                <a:gd name="T21" fmla="*/ 88 h 204"/>
                <a:gd name="T22" fmla="*/ 0 w 132"/>
                <a:gd name="T23" fmla="*/ 155 h 204"/>
                <a:gd name="T24" fmla="*/ 0 w 132"/>
                <a:gd name="T25" fmla="*/ 111 h 204"/>
                <a:gd name="T26" fmla="*/ 45 w 132"/>
                <a:gd name="T27" fmla="*/ 66 h 204"/>
                <a:gd name="T28" fmla="*/ 46 w 132"/>
                <a:gd name="T29" fmla="*/ 42 h 204"/>
                <a:gd name="T30" fmla="*/ 22 w 132"/>
                <a:gd name="T31" fmla="*/ 44 h 204"/>
                <a:gd name="T32" fmla="*/ 0 w 132"/>
                <a:gd name="T33" fmla="*/ 66 h 204"/>
                <a:gd name="T34" fmla="*/ 0 w 132"/>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204">
                  <a:moveTo>
                    <a:pt x="0" y="23"/>
                  </a:moveTo>
                  <a:cubicBezTo>
                    <a:pt x="1" y="22"/>
                    <a:pt x="1" y="22"/>
                    <a:pt x="1" y="22"/>
                  </a:cubicBezTo>
                  <a:cubicBezTo>
                    <a:pt x="23" y="0"/>
                    <a:pt x="50" y="2"/>
                    <a:pt x="67" y="20"/>
                  </a:cubicBezTo>
                  <a:cubicBezTo>
                    <a:pt x="80" y="32"/>
                    <a:pt x="81" y="46"/>
                    <a:pt x="80" y="52"/>
                  </a:cubicBezTo>
                  <a:cubicBezTo>
                    <a:pt x="86" y="51"/>
                    <a:pt x="100" y="52"/>
                    <a:pt x="113" y="65"/>
                  </a:cubicBezTo>
                  <a:cubicBezTo>
                    <a:pt x="130" y="82"/>
                    <a:pt x="132" y="110"/>
                    <a:pt x="111" y="132"/>
                  </a:cubicBezTo>
                  <a:cubicBezTo>
                    <a:pt x="38" y="204"/>
                    <a:pt x="38" y="204"/>
                    <a:pt x="38" y="204"/>
                  </a:cubicBezTo>
                  <a:cubicBezTo>
                    <a:pt x="16" y="182"/>
                    <a:pt x="16" y="182"/>
                    <a:pt x="16" y="182"/>
                  </a:cubicBezTo>
                  <a:cubicBezTo>
                    <a:pt x="88" y="110"/>
                    <a:pt x="88" y="110"/>
                    <a:pt x="88" y="110"/>
                  </a:cubicBezTo>
                  <a:cubicBezTo>
                    <a:pt x="97" y="101"/>
                    <a:pt x="96" y="91"/>
                    <a:pt x="91" y="86"/>
                  </a:cubicBezTo>
                  <a:cubicBezTo>
                    <a:pt x="85" y="80"/>
                    <a:pt x="75" y="79"/>
                    <a:pt x="67" y="88"/>
                  </a:cubicBezTo>
                  <a:cubicBezTo>
                    <a:pt x="0" y="155"/>
                    <a:pt x="0" y="155"/>
                    <a:pt x="0" y="155"/>
                  </a:cubicBezTo>
                  <a:cubicBezTo>
                    <a:pt x="0" y="111"/>
                    <a:pt x="0" y="111"/>
                    <a:pt x="0" y="111"/>
                  </a:cubicBezTo>
                  <a:cubicBezTo>
                    <a:pt x="45" y="66"/>
                    <a:pt x="45" y="66"/>
                    <a:pt x="45" y="66"/>
                  </a:cubicBezTo>
                  <a:cubicBezTo>
                    <a:pt x="53" y="57"/>
                    <a:pt x="52" y="47"/>
                    <a:pt x="46" y="42"/>
                  </a:cubicBezTo>
                  <a:cubicBezTo>
                    <a:pt x="41" y="36"/>
                    <a:pt x="31" y="35"/>
                    <a:pt x="22" y="44"/>
                  </a:cubicBezTo>
                  <a:cubicBezTo>
                    <a:pt x="0" y="66"/>
                    <a:pt x="0" y="66"/>
                    <a:pt x="0" y="66"/>
                  </a:cubicBezTo>
                  <a:lnTo>
                    <a:pt x="0"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39" name="Freeform 21"/>
            <p:cNvSpPr>
              <a:spLocks noEditPoints="1"/>
            </p:cNvSpPr>
            <p:nvPr userDrawn="1"/>
          </p:nvSpPr>
          <p:spPr bwMode="auto">
            <a:xfrm>
              <a:off x="7980890" y="5040472"/>
              <a:ext cx="51390" cy="57878"/>
            </a:xfrm>
            <a:custGeom>
              <a:avLst/>
              <a:gdLst>
                <a:gd name="T0" fmla="*/ 0 w 68"/>
                <a:gd name="T1" fmla="*/ 40 h 80"/>
                <a:gd name="T2" fmla="*/ 35 w 68"/>
                <a:gd name="T3" fmla="*/ 0 h 80"/>
                <a:gd name="T4" fmla="*/ 68 w 68"/>
                <a:gd name="T5" fmla="*/ 41 h 80"/>
                <a:gd name="T6" fmla="*/ 68 w 68"/>
                <a:gd name="T7" fmla="*/ 46 h 80"/>
                <a:gd name="T8" fmla="*/ 20 w 68"/>
                <a:gd name="T9" fmla="*/ 46 h 80"/>
                <a:gd name="T10" fmla="*/ 41 w 68"/>
                <a:gd name="T11" fmla="*/ 65 h 80"/>
                <a:gd name="T12" fmla="*/ 60 w 68"/>
                <a:gd name="T13" fmla="*/ 60 h 80"/>
                <a:gd name="T14" fmla="*/ 66 w 68"/>
                <a:gd name="T15" fmla="*/ 73 h 80"/>
                <a:gd name="T16" fmla="*/ 39 w 68"/>
                <a:gd name="T17" fmla="*/ 80 h 80"/>
                <a:gd name="T18" fmla="*/ 0 w 68"/>
                <a:gd name="T19" fmla="*/ 40 h 80"/>
                <a:gd name="T20" fmla="*/ 49 w 68"/>
                <a:gd name="T21" fmla="*/ 32 h 80"/>
                <a:gd name="T22" fmla="*/ 34 w 68"/>
                <a:gd name="T23" fmla="*/ 15 h 80"/>
                <a:gd name="T24" fmla="*/ 19 w 68"/>
                <a:gd name="T25" fmla="*/ 32 h 80"/>
                <a:gd name="T26" fmla="*/ 49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3" y="0"/>
                    <a:pt x="35" y="0"/>
                  </a:cubicBezTo>
                  <a:cubicBezTo>
                    <a:pt x="56" y="0"/>
                    <a:pt x="68" y="16"/>
                    <a:pt x="68" y="41"/>
                  </a:cubicBezTo>
                  <a:cubicBezTo>
                    <a:pt x="68" y="46"/>
                    <a:pt x="68" y="46"/>
                    <a:pt x="68" y="46"/>
                  </a:cubicBezTo>
                  <a:cubicBezTo>
                    <a:pt x="20" y="46"/>
                    <a:pt x="20" y="46"/>
                    <a:pt x="20" y="46"/>
                  </a:cubicBezTo>
                  <a:cubicBezTo>
                    <a:pt x="20" y="57"/>
                    <a:pt x="28" y="65"/>
                    <a:pt x="41" y="65"/>
                  </a:cubicBezTo>
                  <a:cubicBezTo>
                    <a:pt x="49" y="65"/>
                    <a:pt x="55" y="63"/>
                    <a:pt x="60" y="60"/>
                  </a:cubicBezTo>
                  <a:cubicBezTo>
                    <a:pt x="66" y="73"/>
                    <a:pt x="66" y="73"/>
                    <a:pt x="66" y="73"/>
                  </a:cubicBezTo>
                  <a:cubicBezTo>
                    <a:pt x="58" y="78"/>
                    <a:pt x="49" y="80"/>
                    <a:pt x="39" y="80"/>
                  </a:cubicBezTo>
                  <a:cubicBezTo>
                    <a:pt x="11" y="80"/>
                    <a:pt x="0" y="61"/>
                    <a:pt x="0" y="40"/>
                  </a:cubicBezTo>
                  <a:close/>
                  <a:moveTo>
                    <a:pt x="49" y="32"/>
                  </a:moveTo>
                  <a:cubicBezTo>
                    <a:pt x="49" y="23"/>
                    <a:pt x="44" y="15"/>
                    <a:pt x="34" y="15"/>
                  </a:cubicBezTo>
                  <a:cubicBezTo>
                    <a:pt x="25" y="15"/>
                    <a:pt x="19" y="23"/>
                    <a:pt x="19" y="32"/>
                  </a:cubicBezTo>
                  <a:lnTo>
                    <a:pt x="49"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40" name="Freeform 22"/>
            <p:cNvSpPr>
              <a:spLocks/>
            </p:cNvSpPr>
            <p:nvPr userDrawn="1"/>
          </p:nvSpPr>
          <p:spPr bwMode="auto">
            <a:xfrm>
              <a:off x="8295656" y="5041088"/>
              <a:ext cx="37258" cy="56031"/>
            </a:xfrm>
            <a:custGeom>
              <a:avLst/>
              <a:gdLst>
                <a:gd name="T0" fmla="*/ 42 w 49"/>
                <a:gd name="T1" fmla="*/ 19 h 77"/>
                <a:gd name="T2" fmla="*/ 33 w 49"/>
                <a:gd name="T3" fmla="*/ 16 h 77"/>
                <a:gd name="T4" fmla="*/ 19 w 49"/>
                <a:gd name="T5" fmla="*/ 23 h 77"/>
                <a:gd name="T6" fmla="*/ 19 w 49"/>
                <a:gd name="T7" fmla="*/ 63 h 77"/>
                <a:gd name="T8" fmla="*/ 0 w 49"/>
                <a:gd name="T9" fmla="*/ 77 h 77"/>
                <a:gd name="T10" fmla="*/ 0 w 49"/>
                <a:gd name="T11" fmla="*/ 1 h 77"/>
                <a:gd name="T12" fmla="*/ 16 w 49"/>
                <a:gd name="T13" fmla="*/ 1 h 77"/>
                <a:gd name="T14" fmla="*/ 18 w 49"/>
                <a:gd name="T15" fmla="*/ 9 h 77"/>
                <a:gd name="T16" fmla="*/ 39 w 49"/>
                <a:gd name="T17" fmla="*/ 0 h 77"/>
                <a:gd name="T18" fmla="*/ 49 w 49"/>
                <a:gd name="T19" fmla="*/ 3 h 77"/>
                <a:gd name="T20" fmla="*/ 42 w 49"/>
                <a:gd name="T21"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77">
                  <a:moveTo>
                    <a:pt x="42" y="19"/>
                  </a:moveTo>
                  <a:cubicBezTo>
                    <a:pt x="39" y="17"/>
                    <a:pt x="36" y="16"/>
                    <a:pt x="33" y="16"/>
                  </a:cubicBezTo>
                  <a:cubicBezTo>
                    <a:pt x="29" y="16"/>
                    <a:pt x="24" y="18"/>
                    <a:pt x="19" y="23"/>
                  </a:cubicBezTo>
                  <a:cubicBezTo>
                    <a:pt x="19" y="2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2"/>
                    <a:pt x="32" y="0"/>
                    <a:pt x="39" y="0"/>
                  </a:cubicBezTo>
                  <a:cubicBezTo>
                    <a:pt x="42" y="0"/>
                    <a:pt x="46" y="1"/>
                    <a:pt x="49" y="3"/>
                  </a:cubicBezTo>
                  <a:lnTo>
                    <a:pt x="42" y="1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41" name="Freeform 23"/>
            <p:cNvSpPr>
              <a:spLocks noEditPoints="1"/>
            </p:cNvSpPr>
            <p:nvPr userDrawn="1"/>
          </p:nvSpPr>
          <p:spPr bwMode="auto">
            <a:xfrm>
              <a:off x="8178743" y="5040472"/>
              <a:ext cx="51712" cy="57878"/>
            </a:xfrm>
            <a:custGeom>
              <a:avLst/>
              <a:gdLst>
                <a:gd name="T0" fmla="*/ 0 w 68"/>
                <a:gd name="T1" fmla="*/ 40 h 80"/>
                <a:gd name="T2" fmla="*/ 34 w 68"/>
                <a:gd name="T3" fmla="*/ 0 h 80"/>
                <a:gd name="T4" fmla="*/ 68 w 68"/>
                <a:gd name="T5" fmla="*/ 41 h 80"/>
                <a:gd name="T6" fmla="*/ 68 w 68"/>
                <a:gd name="T7" fmla="*/ 46 h 80"/>
                <a:gd name="T8" fmla="*/ 19 w 68"/>
                <a:gd name="T9" fmla="*/ 46 h 80"/>
                <a:gd name="T10" fmla="*/ 41 w 68"/>
                <a:gd name="T11" fmla="*/ 65 h 80"/>
                <a:gd name="T12" fmla="*/ 60 w 68"/>
                <a:gd name="T13" fmla="*/ 60 h 80"/>
                <a:gd name="T14" fmla="*/ 66 w 68"/>
                <a:gd name="T15" fmla="*/ 73 h 80"/>
                <a:gd name="T16" fmla="*/ 39 w 68"/>
                <a:gd name="T17" fmla="*/ 80 h 80"/>
                <a:gd name="T18" fmla="*/ 0 w 68"/>
                <a:gd name="T19" fmla="*/ 40 h 80"/>
                <a:gd name="T20" fmla="*/ 49 w 68"/>
                <a:gd name="T21" fmla="*/ 32 h 80"/>
                <a:gd name="T22" fmla="*/ 34 w 68"/>
                <a:gd name="T23" fmla="*/ 15 h 80"/>
                <a:gd name="T24" fmla="*/ 19 w 68"/>
                <a:gd name="T25" fmla="*/ 32 h 80"/>
                <a:gd name="T26" fmla="*/ 49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3" y="0"/>
                    <a:pt x="34" y="0"/>
                  </a:cubicBezTo>
                  <a:cubicBezTo>
                    <a:pt x="56" y="0"/>
                    <a:pt x="68" y="16"/>
                    <a:pt x="68" y="41"/>
                  </a:cubicBezTo>
                  <a:cubicBezTo>
                    <a:pt x="68" y="46"/>
                    <a:pt x="68" y="46"/>
                    <a:pt x="68" y="46"/>
                  </a:cubicBezTo>
                  <a:cubicBezTo>
                    <a:pt x="19" y="46"/>
                    <a:pt x="19" y="46"/>
                    <a:pt x="19" y="46"/>
                  </a:cubicBezTo>
                  <a:cubicBezTo>
                    <a:pt x="20" y="57"/>
                    <a:pt x="28" y="65"/>
                    <a:pt x="41" y="65"/>
                  </a:cubicBezTo>
                  <a:cubicBezTo>
                    <a:pt x="49" y="65"/>
                    <a:pt x="55" y="63"/>
                    <a:pt x="60" y="60"/>
                  </a:cubicBezTo>
                  <a:cubicBezTo>
                    <a:pt x="66" y="73"/>
                    <a:pt x="66" y="73"/>
                    <a:pt x="66" y="73"/>
                  </a:cubicBezTo>
                  <a:cubicBezTo>
                    <a:pt x="58" y="78"/>
                    <a:pt x="48" y="80"/>
                    <a:pt x="39" y="80"/>
                  </a:cubicBezTo>
                  <a:cubicBezTo>
                    <a:pt x="11" y="80"/>
                    <a:pt x="0" y="61"/>
                    <a:pt x="0" y="40"/>
                  </a:cubicBezTo>
                  <a:close/>
                  <a:moveTo>
                    <a:pt x="49" y="32"/>
                  </a:moveTo>
                  <a:cubicBezTo>
                    <a:pt x="48" y="23"/>
                    <a:pt x="44" y="15"/>
                    <a:pt x="34" y="15"/>
                  </a:cubicBezTo>
                  <a:cubicBezTo>
                    <a:pt x="25" y="15"/>
                    <a:pt x="19" y="23"/>
                    <a:pt x="19" y="32"/>
                  </a:cubicBezTo>
                  <a:lnTo>
                    <a:pt x="49"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42" name="Freeform 24"/>
            <p:cNvSpPr>
              <a:spLocks noEditPoints="1"/>
            </p:cNvSpPr>
            <p:nvPr userDrawn="1"/>
          </p:nvSpPr>
          <p:spPr bwMode="auto">
            <a:xfrm>
              <a:off x="8236557" y="5040472"/>
              <a:ext cx="51390" cy="57878"/>
            </a:xfrm>
            <a:custGeom>
              <a:avLst/>
              <a:gdLst>
                <a:gd name="T0" fmla="*/ 0 w 68"/>
                <a:gd name="T1" fmla="*/ 40 h 80"/>
                <a:gd name="T2" fmla="*/ 34 w 68"/>
                <a:gd name="T3" fmla="*/ 0 h 80"/>
                <a:gd name="T4" fmla="*/ 68 w 68"/>
                <a:gd name="T5" fmla="*/ 41 h 80"/>
                <a:gd name="T6" fmla="*/ 68 w 68"/>
                <a:gd name="T7" fmla="*/ 46 h 80"/>
                <a:gd name="T8" fmla="*/ 19 w 68"/>
                <a:gd name="T9" fmla="*/ 46 h 80"/>
                <a:gd name="T10" fmla="*/ 40 w 68"/>
                <a:gd name="T11" fmla="*/ 65 h 80"/>
                <a:gd name="T12" fmla="*/ 60 w 68"/>
                <a:gd name="T13" fmla="*/ 60 h 80"/>
                <a:gd name="T14" fmla="*/ 65 w 68"/>
                <a:gd name="T15" fmla="*/ 73 h 80"/>
                <a:gd name="T16" fmla="*/ 39 w 68"/>
                <a:gd name="T17" fmla="*/ 80 h 80"/>
                <a:gd name="T18" fmla="*/ 0 w 68"/>
                <a:gd name="T19" fmla="*/ 40 h 80"/>
                <a:gd name="T20" fmla="*/ 48 w 68"/>
                <a:gd name="T21" fmla="*/ 32 h 80"/>
                <a:gd name="T22" fmla="*/ 34 w 68"/>
                <a:gd name="T23" fmla="*/ 15 h 80"/>
                <a:gd name="T24" fmla="*/ 19 w 68"/>
                <a:gd name="T25" fmla="*/ 32 h 80"/>
                <a:gd name="T26" fmla="*/ 48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2" y="0"/>
                    <a:pt x="34" y="0"/>
                  </a:cubicBezTo>
                  <a:cubicBezTo>
                    <a:pt x="55" y="0"/>
                    <a:pt x="68" y="16"/>
                    <a:pt x="68" y="41"/>
                  </a:cubicBezTo>
                  <a:cubicBezTo>
                    <a:pt x="68" y="46"/>
                    <a:pt x="68" y="46"/>
                    <a:pt x="68" y="46"/>
                  </a:cubicBezTo>
                  <a:cubicBezTo>
                    <a:pt x="19" y="46"/>
                    <a:pt x="19" y="46"/>
                    <a:pt x="19" y="46"/>
                  </a:cubicBezTo>
                  <a:cubicBezTo>
                    <a:pt x="19" y="57"/>
                    <a:pt x="28" y="65"/>
                    <a:pt x="40" y="65"/>
                  </a:cubicBezTo>
                  <a:cubicBezTo>
                    <a:pt x="48" y="65"/>
                    <a:pt x="54" y="63"/>
                    <a:pt x="60" y="60"/>
                  </a:cubicBezTo>
                  <a:cubicBezTo>
                    <a:pt x="65" y="73"/>
                    <a:pt x="65" y="73"/>
                    <a:pt x="65" y="73"/>
                  </a:cubicBezTo>
                  <a:cubicBezTo>
                    <a:pt x="57" y="78"/>
                    <a:pt x="48" y="80"/>
                    <a:pt x="39" y="80"/>
                  </a:cubicBezTo>
                  <a:cubicBezTo>
                    <a:pt x="11" y="80"/>
                    <a:pt x="0" y="61"/>
                    <a:pt x="0" y="40"/>
                  </a:cubicBezTo>
                  <a:close/>
                  <a:moveTo>
                    <a:pt x="48" y="32"/>
                  </a:moveTo>
                  <a:cubicBezTo>
                    <a:pt x="48" y="23"/>
                    <a:pt x="44" y="15"/>
                    <a:pt x="34" y="15"/>
                  </a:cubicBezTo>
                  <a:cubicBezTo>
                    <a:pt x="24" y="15"/>
                    <a:pt x="19" y="23"/>
                    <a:pt x="19" y="32"/>
                  </a:cubicBezTo>
                  <a:lnTo>
                    <a:pt x="48"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43" name="Freeform 25"/>
            <p:cNvSpPr>
              <a:spLocks/>
            </p:cNvSpPr>
            <p:nvPr userDrawn="1"/>
          </p:nvSpPr>
          <p:spPr bwMode="auto">
            <a:xfrm>
              <a:off x="8040631" y="5041088"/>
              <a:ext cx="37258" cy="56031"/>
            </a:xfrm>
            <a:custGeom>
              <a:avLst/>
              <a:gdLst>
                <a:gd name="T0" fmla="*/ 42 w 49"/>
                <a:gd name="T1" fmla="*/ 19 h 77"/>
                <a:gd name="T2" fmla="*/ 33 w 49"/>
                <a:gd name="T3" fmla="*/ 16 h 77"/>
                <a:gd name="T4" fmla="*/ 19 w 49"/>
                <a:gd name="T5" fmla="*/ 23 h 77"/>
                <a:gd name="T6" fmla="*/ 19 w 49"/>
                <a:gd name="T7" fmla="*/ 63 h 77"/>
                <a:gd name="T8" fmla="*/ 0 w 49"/>
                <a:gd name="T9" fmla="*/ 77 h 77"/>
                <a:gd name="T10" fmla="*/ 0 w 49"/>
                <a:gd name="T11" fmla="*/ 1 h 77"/>
                <a:gd name="T12" fmla="*/ 16 w 49"/>
                <a:gd name="T13" fmla="*/ 1 h 77"/>
                <a:gd name="T14" fmla="*/ 18 w 49"/>
                <a:gd name="T15" fmla="*/ 9 h 77"/>
                <a:gd name="T16" fmla="*/ 38 w 49"/>
                <a:gd name="T17" fmla="*/ 0 h 77"/>
                <a:gd name="T18" fmla="*/ 49 w 49"/>
                <a:gd name="T19" fmla="*/ 3 h 77"/>
                <a:gd name="T20" fmla="*/ 42 w 49"/>
                <a:gd name="T21"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77">
                  <a:moveTo>
                    <a:pt x="42" y="19"/>
                  </a:moveTo>
                  <a:cubicBezTo>
                    <a:pt x="39" y="17"/>
                    <a:pt x="35" y="16"/>
                    <a:pt x="33" y="16"/>
                  </a:cubicBezTo>
                  <a:cubicBezTo>
                    <a:pt x="29" y="16"/>
                    <a:pt x="24" y="18"/>
                    <a:pt x="19" y="23"/>
                  </a:cubicBezTo>
                  <a:cubicBezTo>
                    <a:pt x="19" y="2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2"/>
                    <a:pt x="31" y="0"/>
                    <a:pt x="38" y="0"/>
                  </a:cubicBezTo>
                  <a:cubicBezTo>
                    <a:pt x="42" y="0"/>
                    <a:pt x="46" y="1"/>
                    <a:pt x="49" y="3"/>
                  </a:cubicBezTo>
                  <a:lnTo>
                    <a:pt x="42" y="1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44" name="Freeform 26"/>
            <p:cNvSpPr>
              <a:spLocks/>
            </p:cNvSpPr>
            <p:nvPr userDrawn="1"/>
          </p:nvSpPr>
          <p:spPr bwMode="auto">
            <a:xfrm>
              <a:off x="8083992" y="5041088"/>
              <a:ext cx="86400" cy="56031"/>
            </a:xfrm>
            <a:custGeom>
              <a:avLst/>
              <a:gdLst>
                <a:gd name="T0" fmla="*/ 114 w 114"/>
                <a:gd name="T1" fmla="*/ 25 h 77"/>
                <a:gd name="T2" fmla="*/ 114 w 114"/>
                <a:gd name="T3" fmla="*/ 63 h 77"/>
                <a:gd name="T4" fmla="*/ 95 w 114"/>
                <a:gd name="T5" fmla="*/ 77 h 77"/>
                <a:gd name="T6" fmla="*/ 95 w 114"/>
                <a:gd name="T7" fmla="*/ 31 h 77"/>
                <a:gd name="T8" fmla="*/ 84 w 114"/>
                <a:gd name="T9" fmla="*/ 16 h 77"/>
                <a:gd name="T10" fmla="*/ 66 w 114"/>
                <a:gd name="T11" fmla="*/ 23 h 77"/>
                <a:gd name="T12" fmla="*/ 66 w 114"/>
                <a:gd name="T13" fmla="*/ 63 h 77"/>
                <a:gd name="T14" fmla="*/ 66 w 114"/>
                <a:gd name="T15" fmla="*/ 63 h 77"/>
                <a:gd name="T16" fmla="*/ 47 w 114"/>
                <a:gd name="T17" fmla="*/ 77 h 77"/>
                <a:gd name="T18" fmla="*/ 47 w 114"/>
                <a:gd name="T19" fmla="*/ 31 h 77"/>
                <a:gd name="T20" fmla="*/ 37 w 114"/>
                <a:gd name="T21" fmla="*/ 16 h 77"/>
                <a:gd name="T22" fmla="*/ 19 w 114"/>
                <a:gd name="T23" fmla="*/ 23 h 77"/>
                <a:gd name="T24" fmla="*/ 19 w 114"/>
                <a:gd name="T25" fmla="*/ 63 h 77"/>
                <a:gd name="T26" fmla="*/ 19 w 114"/>
                <a:gd name="T27" fmla="*/ 63 h 77"/>
                <a:gd name="T28" fmla="*/ 0 w 114"/>
                <a:gd name="T29" fmla="*/ 77 h 77"/>
                <a:gd name="T30" fmla="*/ 0 w 114"/>
                <a:gd name="T31" fmla="*/ 1 h 77"/>
                <a:gd name="T32" fmla="*/ 16 w 114"/>
                <a:gd name="T33" fmla="*/ 1 h 77"/>
                <a:gd name="T34" fmla="*/ 18 w 114"/>
                <a:gd name="T35" fmla="*/ 9 h 77"/>
                <a:gd name="T36" fmla="*/ 43 w 114"/>
                <a:gd name="T37" fmla="*/ 0 h 77"/>
                <a:gd name="T38" fmla="*/ 63 w 114"/>
                <a:gd name="T39" fmla="*/ 11 h 77"/>
                <a:gd name="T40" fmla="*/ 89 w 114"/>
                <a:gd name="T41" fmla="*/ 0 h 77"/>
                <a:gd name="T42" fmla="*/ 114 w 114"/>
                <a:gd name="T43" fmla="*/ 2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77">
                  <a:moveTo>
                    <a:pt x="114" y="25"/>
                  </a:moveTo>
                  <a:cubicBezTo>
                    <a:pt x="114" y="63"/>
                    <a:pt x="114" y="63"/>
                    <a:pt x="114" y="63"/>
                  </a:cubicBezTo>
                  <a:cubicBezTo>
                    <a:pt x="114" y="77"/>
                    <a:pt x="95" y="77"/>
                    <a:pt x="95" y="77"/>
                  </a:cubicBezTo>
                  <a:cubicBezTo>
                    <a:pt x="95" y="31"/>
                    <a:pt x="95" y="31"/>
                    <a:pt x="95" y="31"/>
                  </a:cubicBezTo>
                  <a:cubicBezTo>
                    <a:pt x="95" y="22"/>
                    <a:pt x="93" y="16"/>
                    <a:pt x="84" y="16"/>
                  </a:cubicBezTo>
                  <a:cubicBezTo>
                    <a:pt x="77" y="16"/>
                    <a:pt x="71" y="19"/>
                    <a:pt x="66" y="23"/>
                  </a:cubicBezTo>
                  <a:cubicBezTo>
                    <a:pt x="66" y="63"/>
                    <a:pt x="66" y="63"/>
                    <a:pt x="66" y="63"/>
                  </a:cubicBezTo>
                  <a:cubicBezTo>
                    <a:pt x="66" y="63"/>
                    <a:pt x="66" y="49"/>
                    <a:pt x="66" y="63"/>
                  </a:cubicBezTo>
                  <a:cubicBezTo>
                    <a:pt x="66" y="77"/>
                    <a:pt x="47" y="77"/>
                    <a:pt x="47" y="77"/>
                  </a:cubicBezTo>
                  <a:cubicBezTo>
                    <a:pt x="47" y="31"/>
                    <a:pt x="47" y="31"/>
                    <a:pt x="47" y="31"/>
                  </a:cubicBezTo>
                  <a:cubicBezTo>
                    <a:pt x="47" y="23"/>
                    <a:pt x="46" y="16"/>
                    <a:pt x="37" y="16"/>
                  </a:cubicBezTo>
                  <a:cubicBezTo>
                    <a:pt x="30" y="16"/>
                    <a:pt x="19" y="23"/>
                    <a:pt x="19" y="23"/>
                  </a:cubicBezTo>
                  <a:cubicBezTo>
                    <a:pt x="19" y="63"/>
                    <a:pt x="19" y="63"/>
                    <a:pt x="19" y="63"/>
                  </a:cubicBezTo>
                  <a:cubicBezTo>
                    <a:pt x="19" y="6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3"/>
                    <a:pt x="34" y="0"/>
                    <a:pt x="43" y="0"/>
                  </a:cubicBezTo>
                  <a:cubicBezTo>
                    <a:pt x="52" y="0"/>
                    <a:pt x="59" y="4"/>
                    <a:pt x="63" y="11"/>
                  </a:cubicBezTo>
                  <a:cubicBezTo>
                    <a:pt x="71" y="3"/>
                    <a:pt x="81" y="0"/>
                    <a:pt x="89" y="0"/>
                  </a:cubicBezTo>
                  <a:cubicBezTo>
                    <a:pt x="102" y="0"/>
                    <a:pt x="114" y="6"/>
                    <a:pt x="114" y="25"/>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45" name="Freeform 27"/>
            <p:cNvSpPr>
              <a:spLocks/>
            </p:cNvSpPr>
            <p:nvPr userDrawn="1"/>
          </p:nvSpPr>
          <p:spPr bwMode="auto">
            <a:xfrm>
              <a:off x="7908622" y="5019846"/>
              <a:ext cx="77407" cy="77889"/>
            </a:xfrm>
            <a:custGeom>
              <a:avLst/>
              <a:gdLst>
                <a:gd name="T0" fmla="*/ 43 w 102"/>
                <a:gd name="T1" fmla="*/ 107 h 107"/>
                <a:gd name="T2" fmla="*/ 65 w 102"/>
                <a:gd name="T3" fmla="*/ 91 h 107"/>
                <a:gd name="T4" fmla="*/ 102 w 102"/>
                <a:gd name="T5" fmla="*/ 0 h 107"/>
                <a:gd name="T6" fmla="*/ 81 w 102"/>
                <a:gd name="T7" fmla="*/ 0 h 107"/>
                <a:gd name="T8" fmla="*/ 51 w 102"/>
                <a:gd name="T9" fmla="*/ 78 h 107"/>
                <a:gd name="T10" fmla="*/ 51 w 102"/>
                <a:gd name="T11" fmla="*/ 78 h 107"/>
                <a:gd name="T12" fmla="*/ 21 w 102"/>
                <a:gd name="T13" fmla="*/ 0 h 107"/>
                <a:gd name="T14" fmla="*/ 0 w 102"/>
                <a:gd name="T15" fmla="*/ 0 h 107"/>
                <a:gd name="T16" fmla="*/ 43 w 102"/>
                <a:gd name="T17"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107">
                  <a:moveTo>
                    <a:pt x="43" y="107"/>
                  </a:moveTo>
                  <a:cubicBezTo>
                    <a:pt x="57" y="107"/>
                    <a:pt x="61" y="101"/>
                    <a:pt x="65" y="91"/>
                  </a:cubicBezTo>
                  <a:cubicBezTo>
                    <a:pt x="102" y="0"/>
                    <a:pt x="102" y="0"/>
                    <a:pt x="102" y="0"/>
                  </a:cubicBezTo>
                  <a:cubicBezTo>
                    <a:pt x="81" y="0"/>
                    <a:pt x="81" y="0"/>
                    <a:pt x="81" y="0"/>
                  </a:cubicBezTo>
                  <a:cubicBezTo>
                    <a:pt x="51" y="78"/>
                    <a:pt x="51" y="78"/>
                    <a:pt x="51" y="78"/>
                  </a:cubicBezTo>
                  <a:cubicBezTo>
                    <a:pt x="51" y="78"/>
                    <a:pt x="51" y="78"/>
                    <a:pt x="51" y="78"/>
                  </a:cubicBezTo>
                  <a:cubicBezTo>
                    <a:pt x="21" y="0"/>
                    <a:pt x="21" y="0"/>
                    <a:pt x="21" y="0"/>
                  </a:cubicBezTo>
                  <a:cubicBezTo>
                    <a:pt x="0" y="0"/>
                    <a:pt x="0" y="0"/>
                    <a:pt x="0" y="0"/>
                  </a:cubicBezTo>
                  <a:cubicBezTo>
                    <a:pt x="43" y="107"/>
                    <a:pt x="43" y="107"/>
                    <a:pt x="43" y="10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146" name="Group 145"/>
          <p:cNvGrpSpPr/>
          <p:nvPr userDrawn="1"/>
        </p:nvGrpSpPr>
        <p:grpSpPr>
          <a:xfrm>
            <a:off x="4750866" y="4846684"/>
            <a:ext cx="1123200" cy="262528"/>
            <a:chOff x="7673274" y="4343117"/>
            <a:chExt cx="1123200" cy="262528"/>
          </a:xfrm>
          <a:solidFill>
            <a:schemeClr val="bg1"/>
          </a:solidFill>
        </p:grpSpPr>
        <p:grpSp>
          <p:nvGrpSpPr>
            <p:cNvPr id="147" name="Group 146"/>
            <p:cNvGrpSpPr/>
            <p:nvPr userDrawn="1"/>
          </p:nvGrpSpPr>
          <p:grpSpPr>
            <a:xfrm>
              <a:off x="7909937" y="4494135"/>
              <a:ext cx="438357" cy="111510"/>
              <a:chOff x="7909937" y="4491754"/>
              <a:chExt cx="438357" cy="111510"/>
            </a:xfrm>
            <a:grpFill/>
          </p:grpSpPr>
          <p:sp>
            <p:nvSpPr>
              <p:cNvPr id="164" name="Freeform 21"/>
              <p:cNvSpPr>
                <a:spLocks noEditPoints="1"/>
              </p:cNvSpPr>
              <p:nvPr/>
            </p:nvSpPr>
            <p:spPr bwMode="auto">
              <a:xfrm>
                <a:off x="7909937" y="4496945"/>
                <a:ext cx="72264" cy="78286"/>
              </a:xfrm>
              <a:custGeom>
                <a:avLst/>
                <a:gdLst>
                  <a:gd name="T0" fmla="*/ 290 w 696"/>
                  <a:gd name="T1" fmla="*/ 0 h 754"/>
                  <a:gd name="T2" fmla="*/ 394 w 696"/>
                  <a:gd name="T3" fmla="*/ 0 h 754"/>
                  <a:gd name="T4" fmla="*/ 696 w 696"/>
                  <a:gd name="T5" fmla="*/ 754 h 754"/>
                  <a:gd name="T6" fmla="*/ 550 w 696"/>
                  <a:gd name="T7" fmla="*/ 754 h 754"/>
                  <a:gd name="T8" fmla="*/ 478 w 696"/>
                  <a:gd name="T9" fmla="*/ 566 h 754"/>
                  <a:gd name="T10" fmla="*/ 210 w 696"/>
                  <a:gd name="T11" fmla="*/ 566 h 754"/>
                  <a:gd name="T12" fmla="*/ 140 w 696"/>
                  <a:gd name="T13" fmla="*/ 754 h 754"/>
                  <a:gd name="T14" fmla="*/ 0 w 696"/>
                  <a:gd name="T15" fmla="*/ 754 h 754"/>
                  <a:gd name="T16" fmla="*/ 290 w 696"/>
                  <a:gd name="T17" fmla="*/ 0 h 754"/>
                  <a:gd name="T18" fmla="*/ 436 w 696"/>
                  <a:gd name="T19" fmla="*/ 456 h 754"/>
                  <a:gd name="T20" fmla="*/ 384 w 696"/>
                  <a:gd name="T21" fmla="*/ 306 h 754"/>
                  <a:gd name="T22" fmla="*/ 384 w 696"/>
                  <a:gd name="T23" fmla="*/ 306 h 754"/>
                  <a:gd name="T24" fmla="*/ 360 w 696"/>
                  <a:gd name="T25" fmla="*/ 236 h 754"/>
                  <a:gd name="T26" fmla="*/ 346 w 696"/>
                  <a:gd name="T27" fmla="*/ 190 h 754"/>
                  <a:gd name="T28" fmla="*/ 344 w 696"/>
                  <a:gd name="T29" fmla="*/ 190 h 754"/>
                  <a:gd name="T30" fmla="*/ 344 w 696"/>
                  <a:gd name="T31" fmla="*/ 190 h 754"/>
                  <a:gd name="T32" fmla="*/ 328 w 696"/>
                  <a:gd name="T33" fmla="*/ 236 h 754"/>
                  <a:gd name="T34" fmla="*/ 304 w 696"/>
                  <a:gd name="T35" fmla="*/ 306 h 754"/>
                  <a:gd name="T36" fmla="*/ 250 w 696"/>
                  <a:gd name="T37" fmla="*/ 456 h 754"/>
                  <a:gd name="T38" fmla="*/ 436 w 696"/>
                  <a:gd name="T39" fmla="*/ 456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6" h="754">
                    <a:moveTo>
                      <a:pt x="290" y="0"/>
                    </a:moveTo>
                    <a:lnTo>
                      <a:pt x="394" y="0"/>
                    </a:lnTo>
                    <a:lnTo>
                      <a:pt x="696" y="754"/>
                    </a:lnTo>
                    <a:lnTo>
                      <a:pt x="550" y="754"/>
                    </a:lnTo>
                    <a:lnTo>
                      <a:pt x="478" y="566"/>
                    </a:lnTo>
                    <a:lnTo>
                      <a:pt x="210" y="566"/>
                    </a:lnTo>
                    <a:lnTo>
                      <a:pt x="140" y="754"/>
                    </a:lnTo>
                    <a:lnTo>
                      <a:pt x="0" y="754"/>
                    </a:lnTo>
                    <a:lnTo>
                      <a:pt x="290" y="0"/>
                    </a:lnTo>
                    <a:close/>
                    <a:moveTo>
                      <a:pt x="436" y="456"/>
                    </a:moveTo>
                    <a:lnTo>
                      <a:pt x="384" y="306"/>
                    </a:lnTo>
                    <a:lnTo>
                      <a:pt x="384" y="306"/>
                    </a:lnTo>
                    <a:lnTo>
                      <a:pt x="360" y="236"/>
                    </a:lnTo>
                    <a:lnTo>
                      <a:pt x="346" y="190"/>
                    </a:lnTo>
                    <a:lnTo>
                      <a:pt x="344" y="190"/>
                    </a:lnTo>
                    <a:lnTo>
                      <a:pt x="344" y="190"/>
                    </a:lnTo>
                    <a:lnTo>
                      <a:pt x="328" y="236"/>
                    </a:lnTo>
                    <a:lnTo>
                      <a:pt x="304" y="306"/>
                    </a:lnTo>
                    <a:lnTo>
                      <a:pt x="250" y="456"/>
                    </a:lnTo>
                    <a:lnTo>
                      <a:pt x="436" y="4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5" name="Freeform 22"/>
              <p:cNvSpPr>
                <a:spLocks noEditPoints="1"/>
              </p:cNvSpPr>
              <p:nvPr/>
            </p:nvSpPr>
            <p:spPr bwMode="auto">
              <a:xfrm>
                <a:off x="8047404" y="4517918"/>
                <a:ext cx="48591" cy="58558"/>
              </a:xfrm>
              <a:custGeom>
                <a:avLst/>
                <a:gdLst>
                  <a:gd name="T0" fmla="*/ 334 w 468"/>
                  <a:gd name="T1" fmla="*/ 502 h 564"/>
                  <a:gd name="T2" fmla="*/ 302 w 468"/>
                  <a:gd name="T3" fmla="*/ 526 h 564"/>
                  <a:gd name="T4" fmla="*/ 266 w 468"/>
                  <a:gd name="T5" fmla="*/ 546 h 564"/>
                  <a:gd name="T6" fmla="*/ 226 w 468"/>
                  <a:gd name="T7" fmla="*/ 560 h 564"/>
                  <a:gd name="T8" fmla="*/ 178 w 468"/>
                  <a:gd name="T9" fmla="*/ 564 h 564"/>
                  <a:gd name="T10" fmla="*/ 160 w 468"/>
                  <a:gd name="T11" fmla="*/ 564 h 564"/>
                  <a:gd name="T12" fmla="*/ 124 w 468"/>
                  <a:gd name="T13" fmla="*/ 558 h 564"/>
                  <a:gd name="T14" fmla="*/ 92 w 468"/>
                  <a:gd name="T15" fmla="*/ 546 h 564"/>
                  <a:gd name="T16" fmla="*/ 62 w 468"/>
                  <a:gd name="T17" fmla="*/ 528 h 564"/>
                  <a:gd name="T18" fmla="*/ 38 w 468"/>
                  <a:gd name="T19" fmla="*/ 506 h 564"/>
                  <a:gd name="T20" fmla="*/ 20 w 468"/>
                  <a:gd name="T21" fmla="*/ 478 h 564"/>
                  <a:gd name="T22" fmla="*/ 6 w 468"/>
                  <a:gd name="T23" fmla="*/ 446 h 564"/>
                  <a:gd name="T24" fmla="*/ 0 w 468"/>
                  <a:gd name="T25" fmla="*/ 412 h 564"/>
                  <a:gd name="T26" fmla="*/ 0 w 468"/>
                  <a:gd name="T27" fmla="*/ 392 h 564"/>
                  <a:gd name="T28" fmla="*/ 6 w 468"/>
                  <a:gd name="T29" fmla="*/ 342 h 564"/>
                  <a:gd name="T30" fmla="*/ 24 w 468"/>
                  <a:gd name="T31" fmla="*/ 302 h 564"/>
                  <a:gd name="T32" fmla="*/ 52 w 468"/>
                  <a:gd name="T33" fmla="*/ 270 h 564"/>
                  <a:gd name="T34" fmla="*/ 90 w 468"/>
                  <a:gd name="T35" fmla="*/ 246 h 564"/>
                  <a:gd name="T36" fmla="*/ 120 w 468"/>
                  <a:gd name="T37" fmla="*/ 232 h 564"/>
                  <a:gd name="T38" fmla="*/ 190 w 468"/>
                  <a:gd name="T39" fmla="*/ 218 h 564"/>
                  <a:gd name="T40" fmla="*/ 322 w 468"/>
                  <a:gd name="T41" fmla="*/ 210 h 564"/>
                  <a:gd name="T42" fmla="*/ 322 w 468"/>
                  <a:gd name="T43" fmla="*/ 194 h 564"/>
                  <a:gd name="T44" fmla="*/ 314 w 468"/>
                  <a:gd name="T45" fmla="*/ 154 h 564"/>
                  <a:gd name="T46" fmla="*/ 294 w 468"/>
                  <a:gd name="T47" fmla="*/ 126 h 564"/>
                  <a:gd name="T48" fmla="*/ 260 w 468"/>
                  <a:gd name="T49" fmla="*/ 108 h 564"/>
                  <a:gd name="T50" fmla="*/ 218 w 468"/>
                  <a:gd name="T51" fmla="*/ 104 h 564"/>
                  <a:gd name="T52" fmla="*/ 198 w 468"/>
                  <a:gd name="T53" fmla="*/ 104 h 564"/>
                  <a:gd name="T54" fmla="*/ 160 w 468"/>
                  <a:gd name="T55" fmla="*/ 110 h 564"/>
                  <a:gd name="T56" fmla="*/ 108 w 468"/>
                  <a:gd name="T57" fmla="*/ 126 h 564"/>
                  <a:gd name="T58" fmla="*/ 32 w 468"/>
                  <a:gd name="T59" fmla="*/ 54 h 564"/>
                  <a:gd name="T60" fmla="*/ 56 w 468"/>
                  <a:gd name="T61" fmla="*/ 42 h 564"/>
                  <a:gd name="T62" fmla="*/ 106 w 468"/>
                  <a:gd name="T63" fmla="*/ 22 h 564"/>
                  <a:gd name="T64" fmla="*/ 158 w 468"/>
                  <a:gd name="T65" fmla="*/ 8 h 564"/>
                  <a:gd name="T66" fmla="*/ 212 w 468"/>
                  <a:gd name="T67" fmla="*/ 0 h 564"/>
                  <a:gd name="T68" fmla="*/ 240 w 468"/>
                  <a:gd name="T69" fmla="*/ 0 h 564"/>
                  <a:gd name="T70" fmla="*/ 292 w 468"/>
                  <a:gd name="T71" fmla="*/ 4 h 564"/>
                  <a:gd name="T72" fmla="*/ 336 w 468"/>
                  <a:gd name="T73" fmla="*/ 12 h 564"/>
                  <a:gd name="T74" fmla="*/ 372 w 468"/>
                  <a:gd name="T75" fmla="*/ 28 h 564"/>
                  <a:gd name="T76" fmla="*/ 404 w 468"/>
                  <a:gd name="T77" fmla="*/ 50 h 564"/>
                  <a:gd name="T78" fmla="*/ 426 w 468"/>
                  <a:gd name="T79" fmla="*/ 76 h 564"/>
                  <a:gd name="T80" fmla="*/ 444 w 468"/>
                  <a:gd name="T81" fmla="*/ 110 h 564"/>
                  <a:gd name="T82" fmla="*/ 454 w 468"/>
                  <a:gd name="T83" fmla="*/ 150 h 564"/>
                  <a:gd name="T84" fmla="*/ 458 w 468"/>
                  <a:gd name="T85" fmla="*/ 196 h 564"/>
                  <a:gd name="T86" fmla="*/ 458 w 468"/>
                  <a:gd name="T87" fmla="*/ 414 h 564"/>
                  <a:gd name="T88" fmla="*/ 460 w 468"/>
                  <a:gd name="T89" fmla="*/ 496 h 564"/>
                  <a:gd name="T90" fmla="*/ 468 w 468"/>
                  <a:gd name="T91" fmla="*/ 552 h 564"/>
                  <a:gd name="T92" fmla="*/ 334 w 468"/>
                  <a:gd name="T93" fmla="*/ 502 h 564"/>
                  <a:gd name="T94" fmla="*/ 248 w 468"/>
                  <a:gd name="T95" fmla="*/ 304 h 564"/>
                  <a:gd name="T96" fmla="*/ 204 w 468"/>
                  <a:gd name="T97" fmla="*/ 310 h 564"/>
                  <a:gd name="T98" fmla="*/ 170 w 468"/>
                  <a:gd name="T99" fmla="*/ 322 h 564"/>
                  <a:gd name="T100" fmla="*/ 162 w 468"/>
                  <a:gd name="T101" fmla="*/ 326 h 564"/>
                  <a:gd name="T102" fmla="*/ 150 w 468"/>
                  <a:gd name="T103" fmla="*/ 340 h 564"/>
                  <a:gd name="T104" fmla="*/ 142 w 468"/>
                  <a:gd name="T105" fmla="*/ 354 h 564"/>
                  <a:gd name="T106" fmla="*/ 138 w 468"/>
                  <a:gd name="T107" fmla="*/ 382 h 564"/>
                  <a:gd name="T108" fmla="*/ 138 w 468"/>
                  <a:gd name="T109" fmla="*/ 400 h 564"/>
                  <a:gd name="T110" fmla="*/ 150 w 468"/>
                  <a:gd name="T111" fmla="*/ 426 h 564"/>
                  <a:gd name="T112" fmla="*/ 170 w 468"/>
                  <a:gd name="T113" fmla="*/ 446 h 564"/>
                  <a:gd name="T114" fmla="*/ 200 w 468"/>
                  <a:gd name="T115" fmla="*/ 456 h 564"/>
                  <a:gd name="T116" fmla="*/ 216 w 468"/>
                  <a:gd name="T117" fmla="*/ 456 h 564"/>
                  <a:gd name="T118" fmla="*/ 252 w 468"/>
                  <a:gd name="T119" fmla="*/ 452 h 564"/>
                  <a:gd name="T120" fmla="*/ 282 w 468"/>
                  <a:gd name="T121" fmla="*/ 442 h 564"/>
                  <a:gd name="T122" fmla="*/ 322 w 468"/>
                  <a:gd name="T123" fmla="*/ 418 h 564"/>
                  <a:gd name="T124" fmla="*/ 248 w 468"/>
                  <a:gd name="T125" fmla="*/ 30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8" h="564">
                    <a:moveTo>
                      <a:pt x="334" y="502"/>
                    </a:moveTo>
                    <a:lnTo>
                      <a:pt x="334" y="502"/>
                    </a:lnTo>
                    <a:lnTo>
                      <a:pt x="318" y="514"/>
                    </a:lnTo>
                    <a:lnTo>
                      <a:pt x="302" y="526"/>
                    </a:lnTo>
                    <a:lnTo>
                      <a:pt x="284" y="536"/>
                    </a:lnTo>
                    <a:lnTo>
                      <a:pt x="266" y="546"/>
                    </a:lnTo>
                    <a:lnTo>
                      <a:pt x="246" y="554"/>
                    </a:lnTo>
                    <a:lnTo>
                      <a:pt x="226" y="560"/>
                    </a:lnTo>
                    <a:lnTo>
                      <a:pt x="202" y="562"/>
                    </a:lnTo>
                    <a:lnTo>
                      <a:pt x="178" y="564"/>
                    </a:lnTo>
                    <a:lnTo>
                      <a:pt x="178" y="564"/>
                    </a:lnTo>
                    <a:lnTo>
                      <a:pt x="160" y="564"/>
                    </a:lnTo>
                    <a:lnTo>
                      <a:pt x="140" y="560"/>
                    </a:lnTo>
                    <a:lnTo>
                      <a:pt x="124" y="558"/>
                    </a:lnTo>
                    <a:lnTo>
                      <a:pt x="106" y="552"/>
                    </a:lnTo>
                    <a:lnTo>
                      <a:pt x="92" y="546"/>
                    </a:lnTo>
                    <a:lnTo>
                      <a:pt x="76" y="538"/>
                    </a:lnTo>
                    <a:lnTo>
                      <a:pt x="62" y="528"/>
                    </a:lnTo>
                    <a:lnTo>
                      <a:pt x="50" y="516"/>
                    </a:lnTo>
                    <a:lnTo>
                      <a:pt x="38" y="506"/>
                    </a:lnTo>
                    <a:lnTo>
                      <a:pt x="28" y="492"/>
                    </a:lnTo>
                    <a:lnTo>
                      <a:pt x="20" y="478"/>
                    </a:lnTo>
                    <a:lnTo>
                      <a:pt x="12" y="462"/>
                    </a:lnTo>
                    <a:lnTo>
                      <a:pt x="6" y="446"/>
                    </a:lnTo>
                    <a:lnTo>
                      <a:pt x="2" y="430"/>
                    </a:lnTo>
                    <a:lnTo>
                      <a:pt x="0" y="412"/>
                    </a:lnTo>
                    <a:lnTo>
                      <a:pt x="0" y="392"/>
                    </a:lnTo>
                    <a:lnTo>
                      <a:pt x="0" y="392"/>
                    </a:lnTo>
                    <a:lnTo>
                      <a:pt x="0" y="366"/>
                    </a:lnTo>
                    <a:lnTo>
                      <a:pt x="6" y="342"/>
                    </a:lnTo>
                    <a:lnTo>
                      <a:pt x="14" y="320"/>
                    </a:lnTo>
                    <a:lnTo>
                      <a:pt x="24" y="302"/>
                    </a:lnTo>
                    <a:lnTo>
                      <a:pt x="36" y="284"/>
                    </a:lnTo>
                    <a:lnTo>
                      <a:pt x="52" y="270"/>
                    </a:lnTo>
                    <a:lnTo>
                      <a:pt x="70" y="256"/>
                    </a:lnTo>
                    <a:lnTo>
                      <a:pt x="90" y="246"/>
                    </a:lnTo>
                    <a:lnTo>
                      <a:pt x="90" y="246"/>
                    </a:lnTo>
                    <a:lnTo>
                      <a:pt x="120" y="232"/>
                    </a:lnTo>
                    <a:lnTo>
                      <a:pt x="154" y="224"/>
                    </a:lnTo>
                    <a:lnTo>
                      <a:pt x="190" y="218"/>
                    </a:lnTo>
                    <a:lnTo>
                      <a:pt x="230" y="214"/>
                    </a:lnTo>
                    <a:lnTo>
                      <a:pt x="322" y="210"/>
                    </a:lnTo>
                    <a:lnTo>
                      <a:pt x="322" y="194"/>
                    </a:lnTo>
                    <a:lnTo>
                      <a:pt x="322" y="194"/>
                    </a:lnTo>
                    <a:lnTo>
                      <a:pt x="320" y="172"/>
                    </a:lnTo>
                    <a:lnTo>
                      <a:pt x="314" y="154"/>
                    </a:lnTo>
                    <a:lnTo>
                      <a:pt x="306" y="138"/>
                    </a:lnTo>
                    <a:lnTo>
                      <a:pt x="294" y="126"/>
                    </a:lnTo>
                    <a:lnTo>
                      <a:pt x="278" y="116"/>
                    </a:lnTo>
                    <a:lnTo>
                      <a:pt x="260" y="108"/>
                    </a:lnTo>
                    <a:lnTo>
                      <a:pt x="240" y="106"/>
                    </a:lnTo>
                    <a:lnTo>
                      <a:pt x="218" y="104"/>
                    </a:lnTo>
                    <a:lnTo>
                      <a:pt x="218" y="104"/>
                    </a:lnTo>
                    <a:lnTo>
                      <a:pt x="198" y="104"/>
                    </a:lnTo>
                    <a:lnTo>
                      <a:pt x="178" y="106"/>
                    </a:lnTo>
                    <a:lnTo>
                      <a:pt x="160" y="110"/>
                    </a:lnTo>
                    <a:lnTo>
                      <a:pt x="142" y="114"/>
                    </a:lnTo>
                    <a:lnTo>
                      <a:pt x="108" y="126"/>
                    </a:lnTo>
                    <a:lnTo>
                      <a:pt x="76" y="142"/>
                    </a:lnTo>
                    <a:lnTo>
                      <a:pt x="32" y="54"/>
                    </a:lnTo>
                    <a:lnTo>
                      <a:pt x="32" y="54"/>
                    </a:lnTo>
                    <a:lnTo>
                      <a:pt x="56" y="42"/>
                    </a:lnTo>
                    <a:lnTo>
                      <a:pt x="82" y="30"/>
                    </a:lnTo>
                    <a:lnTo>
                      <a:pt x="106" y="22"/>
                    </a:lnTo>
                    <a:lnTo>
                      <a:pt x="132" y="14"/>
                    </a:lnTo>
                    <a:lnTo>
                      <a:pt x="158" y="8"/>
                    </a:lnTo>
                    <a:lnTo>
                      <a:pt x="186" y="4"/>
                    </a:lnTo>
                    <a:lnTo>
                      <a:pt x="212" y="0"/>
                    </a:lnTo>
                    <a:lnTo>
                      <a:pt x="240" y="0"/>
                    </a:lnTo>
                    <a:lnTo>
                      <a:pt x="240" y="0"/>
                    </a:lnTo>
                    <a:lnTo>
                      <a:pt x="268" y="0"/>
                    </a:lnTo>
                    <a:lnTo>
                      <a:pt x="292" y="4"/>
                    </a:lnTo>
                    <a:lnTo>
                      <a:pt x="314" y="6"/>
                    </a:lnTo>
                    <a:lnTo>
                      <a:pt x="336" y="12"/>
                    </a:lnTo>
                    <a:lnTo>
                      <a:pt x="356" y="20"/>
                    </a:lnTo>
                    <a:lnTo>
                      <a:pt x="372" y="28"/>
                    </a:lnTo>
                    <a:lnTo>
                      <a:pt x="388" y="38"/>
                    </a:lnTo>
                    <a:lnTo>
                      <a:pt x="404" y="50"/>
                    </a:lnTo>
                    <a:lnTo>
                      <a:pt x="416" y="62"/>
                    </a:lnTo>
                    <a:lnTo>
                      <a:pt x="426" y="76"/>
                    </a:lnTo>
                    <a:lnTo>
                      <a:pt x="436" y="94"/>
                    </a:lnTo>
                    <a:lnTo>
                      <a:pt x="444" y="110"/>
                    </a:lnTo>
                    <a:lnTo>
                      <a:pt x="450" y="130"/>
                    </a:lnTo>
                    <a:lnTo>
                      <a:pt x="454" y="150"/>
                    </a:lnTo>
                    <a:lnTo>
                      <a:pt x="456" y="172"/>
                    </a:lnTo>
                    <a:lnTo>
                      <a:pt x="458" y="196"/>
                    </a:lnTo>
                    <a:lnTo>
                      <a:pt x="458" y="414"/>
                    </a:lnTo>
                    <a:lnTo>
                      <a:pt x="458" y="414"/>
                    </a:lnTo>
                    <a:lnTo>
                      <a:pt x="458" y="458"/>
                    </a:lnTo>
                    <a:lnTo>
                      <a:pt x="460" y="496"/>
                    </a:lnTo>
                    <a:lnTo>
                      <a:pt x="462" y="528"/>
                    </a:lnTo>
                    <a:lnTo>
                      <a:pt x="468" y="552"/>
                    </a:lnTo>
                    <a:lnTo>
                      <a:pt x="354" y="552"/>
                    </a:lnTo>
                    <a:lnTo>
                      <a:pt x="334" y="502"/>
                    </a:lnTo>
                    <a:close/>
                    <a:moveTo>
                      <a:pt x="248" y="304"/>
                    </a:moveTo>
                    <a:lnTo>
                      <a:pt x="248" y="304"/>
                    </a:lnTo>
                    <a:lnTo>
                      <a:pt x="224" y="306"/>
                    </a:lnTo>
                    <a:lnTo>
                      <a:pt x="204" y="310"/>
                    </a:lnTo>
                    <a:lnTo>
                      <a:pt x="186" y="314"/>
                    </a:lnTo>
                    <a:lnTo>
                      <a:pt x="170" y="322"/>
                    </a:lnTo>
                    <a:lnTo>
                      <a:pt x="170" y="322"/>
                    </a:lnTo>
                    <a:lnTo>
                      <a:pt x="162" y="326"/>
                    </a:lnTo>
                    <a:lnTo>
                      <a:pt x="156" y="332"/>
                    </a:lnTo>
                    <a:lnTo>
                      <a:pt x="150" y="340"/>
                    </a:lnTo>
                    <a:lnTo>
                      <a:pt x="146" y="346"/>
                    </a:lnTo>
                    <a:lnTo>
                      <a:pt x="142" y="354"/>
                    </a:lnTo>
                    <a:lnTo>
                      <a:pt x="140" y="364"/>
                    </a:lnTo>
                    <a:lnTo>
                      <a:pt x="138" y="382"/>
                    </a:lnTo>
                    <a:lnTo>
                      <a:pt x="138" y="382"/>
                    </a:lnTo>
                    <a:lnTo>
                      <a:pt x="138" y="400"/>
                    </a:lnTo>
                    <a:lnTo>
                      <a:pt x="142" y="414"/>
                    </a:lnTo>
                    <a:lnTo>
                      <a:pt x="150" y="426"/>
                    </a:lnTo>
                    <a:lnTo>
                      <a:pt x="158" y="438"/>
                    </a:lnTo>
                    <a:lnTo>
                      <a:pt x="170" y="446"/>
                    </a:lnTo>
                    <a:lnTo>
                      <a:pt x="184" y="452"/>
                    </a:lnTo>
                    <a:lnTo>
                      <a:pt x="200" y="456"/>
                    </a:lnTo>
                    <a:lnTo>
                      <a:pt x="216" y="456"/>
                    </a:lnTo>
                    <a:lnTo>
                      <a:pt x="216" y="456"/>
                    </a:lnTo>
                    <a:lnTo>
                      <a:pt x="234" y="456"/>
                    </a:lnTo>
                    <a:lnTo>
                      <a:pt x="252" y="452"/>
                    </a:lnTo>
                    <a:lnTo>
                      <a:pt x="268" y="448"/>
                    </a:lnTo>
                    <a:lnTo>
                      <a:pt x="282" y="442"/>
                    </a:lnTo>
                    <a:lnTo>
                      <a:pt x="304" y="430"/>
                    </a:lnTo>
                    <a:lnTo>
                      <a:pt x="322" y="418"/>
                    </a:lnTo>
                    <a:lnTo>
                      <a:pt x="322" y="302"/>
                    </a:lnTo>
                    <a:lnTo>
                      <a:pt x="248" y="3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3" name="Freeform 23"/>
              <p:cNvSpPr>
                <a:spLocks/>
              </p:cNvSpPr>
              <p:nvPr/>
            </p:nvSpPr>
            <p:spPr bwMode="auto">
              <a:xfrm>
                <a:off x="8121536" y="4519372"/>
                <a:ext cx="62089" cy="83892"/>
              </a:xfrm>
              <a:custGeom>
                <a:avLst/>
                <a:gdLst>
                  <a:gd name="T0" fmla="*/ 34 w 598"/>
                  <a:gd name="T1" fmla="*/ 678 h 808"/>
                  <a:gd name="T2" fmla="*/ 34 w 598"/>
                  <a:gd name="T3" fmla="*/ 678 h 808"/>
                  <a:gd name="T4" fmla="*/ 54 w 598"/>
                  <a:gd name="T5" fmla="*/ 688 h 808"/>
                  <a:gd name="T6" fmla="*/ 74 w 598"/>
                  <a:gd name="T7" fmla="*/ 694 h 808"/>
                  <a:gd name="T8" fmla="*/ 94 w 598"/>
                  <a:gd name="T9" fmla="*/ 698 h 808"/>
                  <a:gd name="T10" fmla="*/ 116 w 598"/>
                  <a:gd name="T11" fmla="*/ 700 h 808"/>
                  <a:gd name="T12" fmla="*/ 116 w 598"/>
                  <a:gd name="T13" fmla="*/ 700 h 808"/>
                  <a:gd name="T14" fmla="*/ 138 w 598"/>
                  <a:gd name="T15" fmla="*/ 698 h 808"/>
                  <a:gd name="T16" fmla="*/ 158 w 598"/>
                  <a:gd name="T17" fmla="*/ 692 h 808"/>
                  <a:gd name="T18" fmla="*/ 168 w 598"/>
                  <a:gd name="T19" fmla="*/ 686 h 808"/>
                  <a:gd name="T20" fmla="*/ 178 w 598"/>
                  <a:gd name="T21" fmla="*/ 680 h 808"/>
                  <a:gd name="T22" fmla="*/ 188 w 598"/>
                  <a:gd name="T23" fmla="*/ 672 h 808"/>
                  <a:gd name="T24" fmla="*/ 198 w 598"/>
                  <a:gd name="T25" fmla="*/ 664 h 808"/>
                  <a:gd name="T26" fmla="*/ 216 w 598"/>
                  <a:gd name="T27" fmla="*/ 642 h 808"/>
                  <a:gd name="T28" fmla="*/ 234 w 598"/>
                  <a:gd name="T29" fmla="*/ 612 h 808"/>
                  <a:gd name="T30" fmla="*/ 250 w 598"/>
                  <a:gd name="T31" fmla="*/ 578 h 808"/>
                  <a:gd name="T32" fmla="*/ 266 w 598"/>
                  <a:gd name="T33" fmla="*/ 536 h 808"/>
                  <a:gd name="T34" fmla="*/ 24 w 598"/>
                  <a:gd name="T35" fmla="*/ 0 h 808"/>
                  <a:gd name="T36" fmla="*/ 164 w 598"/>
                  <a:gd name="T37" fmla="*/ 0 h 808"/>
                  <a:gd name="T38" fmla="*/ 328 w 598"/>
                  <a:gd name="T39" fmla="*/ 382 h 808"/>
                  <a:gd name="T40" fmla="*/ 330 w 598"/>
                  <a:gd name="T41" fmla="*/ 382 h 808"/>
                  <a:gd name="T42" fmla="*/ 460 w 598"/>
                  <a:gd name="T43" fmla="*/ 0 h 808"/>
                  <a:gd name="T44" fmla="*/ 598 w 598"/>
                  <a:gd name="T45" fmla="*/ 0 h 808"/>
                  <a:gd name="T46" fmla="*/ 392 w 598"/>
                  <a:gd name="T47" fmla="*/ 556 h 808"/>
                  <a:gd name="T48" fmla="*/ 392 w 598"/>
                  <a:gd name="T49" fmla="*/ 556 h 808"/>
                  <a:gd name="T50" fmla="*/ 376 w 598"/>
                  <a:gd name="T51" fmla="*/ 596 h 808"/>
                  <a:gd name="T52" fmla="*/ 360 w 598"/>
                  <a:gd name="T53" fmla="*/ 632 h 808"/>
                  <a:gd name="T54" fmla="*/ 344 w 598"/>
                  <a:gd name="T55" fmla="*/ 662 h 808"/>
                  <a:gd name="T56" fmla="*/ 326 w 598"/>
                  <a:gd name="T57" fmla="*/ 690 h 808"/>
                  <a:gd name="T58" fmla="*/ 308 w 598"/>
                  <a:gd name="T59" fmla="*/ 714 h 808"/>
                  <a:gd name="T60" fmla="*/ 292 w 598"/>
                  <a:gd name="T61" fmla="*/ 734 h 808"/>
                  <a:gd name="T62" fmla="*/ 274 w 598"/>
                  <a:gd name="T63" fmla="*/ 752 h 808"/>
                  <a:gd name="T64" fmla="*/ 256 w 598"/>
                  <a:gd name="T65" fmla="*/ 766 h 808"/>
                  <a:gd name="T66" fmla="*/ 238 w 598"/>
                  <a:gd name="T67" fmla="*/ 778 h 808"/>
                  <a:gd name="T68" fmla="*/ 220 w 598"/>
                  <a:gd name="T69" fmla="*/ 788 h 808"/>
                  <a:gd name="T70" fmla="*/ 200 w 598"/>
                  <a:gd name="T71" fmla="*/ 796 h 808"/>
                  <a:gd name="T72" fmla="*/ 182 w 598"/>
                  <a:gd name="T73" fmla="*/ 800 h 808"/>
                  <a:gd name="T74" fmla="*/ 164 w 598"/>
                  <a:gd name="T75" fmla="*/ 804 h 808"/>
                  <a:gd name="T76" fmla="*/ 146 w 598"/>
                  <a:gd name="T77" fmla="*/ 808 h 808"/>
                  <a:gd name="T78" fmla="*/ 108 w 598"/>
                  <a:gd name="T79" fmla="*/ 808 h 808"/>
                  <a:gd name="T80" fmla="*/ 108 w 598"/>
                  <a:gd name="T81" fmla="*/ 808 h 808"/>
                  <a:gd name="T82" fmla="*/ 78 w 598"/>
                  <a:gd name="T83" fmla="*/ 808 h 808"/>
                  <a:gd name="T84" fmla="*/ 52 w 598"/>
                  <a:gd name="T85" fmla="*/ 802 h 808"/>
                  <a:gd name="T86" fmla="*/ 26 w 598"/>
                  <a:gd name="T87" fmla="*/ 794 h 808"/>
                  <a:gd name="T88" fmla="*/ 0 w 598"/>
                  <a:gd name="T89" fmla="*/ 784 h 808"/>
                  <a:gd name="T90" fmla="*/ 34 w 598"/>
                  <a:gd name="T91" fmla="*/ 678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98" h="808">
                    <a:moveTo>
                      <a:pt x="34" y="678"/>
                    </a:moveTo>
                    <a:lnTo>
                      <a:pt x="34" y="678"/>
                    </a:lnTo>
                    <a:lnTo>
                      <a:pt x="54" y="688"/>
                    </a:lnTo>
                    <a:lnTo>
                      <a:pt x="74" y="694"/>
                    </a:lnTo>
                    <a:lnTo>
                      <a:pt x="94" y="698"/>
                    </a:lnTo>
                    <a:lnTo>
                      <a:pt x="116" y="700"/>
                    </a:lnTo>
                    <a:lnTo>
                      <a:pt x="116" y="700"/>
                    </a:lnTo>
                    <a:lnTo>
                      <a:pt x="138" y="698"/>
                    </a:lnTo>
                    <a:lnTo>
                      <a:pt x="158" y="692"/>
                    </a:lnTo>
                    <a:lnTo>
                      <a:pt x="168" y="686"/>
                    </a:lnTo>
                    <a:lnTo>
                      <a:pt x="178" y="680"/>
                    </a:lnTo>
                    <a:lnTo>
                      <a:pt x="188" y="672"/>
                    </a:lnTo>
                    <a:lnTo>
                      <a:pt x="198" y="664"/>
                    </a:lnTo>
                    <a:lnTo>
                      <a:pt x="216" y="642"/>
                    </a:lnTo>
                    <a:lnTo>
                      <a:pt x="234" y="612"/>
                    </a:lnTo>
                    <a:lnTo>
                      <a:pt x="250" y="578"/>
                    </a:lnTo>
                    <a:lnTo>
                      <a:pt x="266" y="536"/>
                    </a:lnTo>
                    <a:lnTo>
                      <a:pt x="24" y="0"/>
                    </a:lnTo>
                    <a:lnTo>
                      <a:pt x="164" y="0"/>
                    </a:lnTo>
                    <a:lnTo>
                      <a:pt x="328" y="382"/>
                    </a:lnTo>
                    <a:lnTo>
                      <a:pt x="330" y="382"/>
                    </a:lnTo>
                    <a:lnTo>
                      <a:pt x="460" y="0"/>
                    </a:lnTo>
                    <a:lnTo>
                      <a:pt x="598" y="0"/>
                    </a:lnTo>
                    <a:lnTo>
                      <a:pt x="392" y="556"/>
                    </a:lnTo>
                    <a:lnTo>
                      <a:pt x="392" y="556"/>
                    </a:lnTo>
                    <a:lnTo>
                      <a:pt x="376" y="596"/>
                    </a:lnTo>
                    <a:lnTo>
                      <a:pt x="360" y="632"/>
                    </a:lnTo>
                    <a:lnTo>
                      <a:pt x="344" y="662"/>
                    </a:lnTo>
                    <a:lnTo>
                      <a:pt x="326" y="690"/>
                    </a:lnTo>
                    <a:lnTo>
                      <a:pt x="308" y="714"/>
                    </a:lnTo>
                    <a:lnTo>
                      <a:pt x="292" y="734"/>
                    </a:lnTo>
                    <a:lnTo>
                      <a:pt x="274" y="752"/>
                    </a:lnTo>
                    <a:lnTo>
                      <a:pt x="256" y="766"/>
                    </a:lnTo>
                    <a:lnTo>
                      <a:pt x="238" y="778"/>
                    </a:lnTo>
                    <a:lnTo>
                      <a:pt x="220" y="788"/>
                    </a:lnTo>
                    <a:lnTo>
                      <a:pt x="200" y="796"/>
                    </a:lnTo>
                    <a:lnTo>
                      <a:pt x="182" y="800"/>
                    </a:lnTo>
                    <a:lnTo>
                      <a:pt x="164" y="804"/>
                    </a:lnTo>
                    <a:lnTo>
                      <a:pt x="146" y="808"/>
                    </a:lnTo>
                    <a:lnTo>
                      <a:pt x="108" y="808"/>
                    </a:lnTo>
                    <a:lnTo>
                      <a:pt x="108" y="808"/>
                    </a:lnTo>
                    <a:lnTo>
                      <a:pt x="78" y="808"/>
                    </a:lnTo>
                    <a:lnTo>
                      <a:pt x="52" y="802"/>
                    </a:lnTo>
                    <a:lnTo>
                      <a:pt x="26" y="794"/>
                    </a:lnTo>
                    <a:lnTo>
                      <a:pt x="0" y="784"/>
                    </a:lnTo>
                    <a:lnTo>
                      <a:pt x="34" y="6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4" name="Freeform 24"/>
              <p:cNvSpPr>
                <a:spLocks/>
              </p:cNvSpPr>
              <p:nvPr/>
            </p:nvSpPr>
            <p:spPr bwMode="auto">
              <a:xfrm>
                <a:off x="8179056" y="4502136"/>
                <a:ext cx="45269" cy="74340"/>
              </a:xfrm>
              <a:custGeom>
                <a:avLst/>
                <a:gdLst>
                  <a:gd name="T0" fmla="*/ 124 w 436"/>
                  <a:gd name="T1" fmla="*/ 572 h 716"/>
                  <a:gd name="T2" fmla="*/ 124 w 436"/>
                  <a:gd name="T3" fmla="*/ 272 h 716"/>
                  <a:gd name="T4" fmla="*/ 0 w 436"/>
                  <a:gd name="T5" fmla="*/ 272 h 716"/>
                  <a:gd name="T6" fmla="*/ 28 w 436"/>
                  <a:gd name="T7" fmla="*/ 166 h 716"/>
                  <a:gd name="T8" fmla="*/ 124 w 436"/>
                  <a:gd name="T9" fmla="*/ 166 h 716"/>
                  <a:gd name="T10" fmla="*/ 124 w 436"/>
                  <a:gd name="T11" fmla="*/ 40 h 716"/>
                  <a:gd name="T12" fmla="*/ 260 w 436"/>
                  <a:gd name="T13" fmla="*/ 0 h 716"/>
                  <a:gd name="T14" fmla="*/ 260 w 436"/>
                  <a:gd name="T15" fmla="*/ 166 h 716"/>
                  <a:gd name="T16" fmla="*/ 424 w 436"/>
                  <a:gd name="T17" fmla="*/ 166 h 716"/>
                  <a:gd name="T18" fmla="*/ 390 w 436"/>
                  <a:gd name="T19" fmla="*/ 272 h 716"/>
                  <a:gd name="T20" fmla="*/ 260 w 436"/>
                  <a:gd name="T21" fmla="*/ 272 h 716"/>
                  <a:gd name="T22" fmla="*/ 260 w 436"/>
                  <a:gd name="T23" fmla="*/ 538 h 716"/>
                  <a:gd name="T24" fmla="*/ 260 w 436"/>
                  <a:gd name="T25" fmla="*/ 538 h 716"/>
                  <a:gd name="T26" fmla="*/ 262 w 436"/>
                  <a:gd name="T27" fmla="*/ 556 h 716"/>
                  <a:gd name="T28" fmla="*/ 264 w 436"/>
                  <a:gd name="T29" fmla="*/ 570 h 716"/>
                  <a:gd name="T30" fmla="*/ 268 w 436"/>
                  <a:gd name="T31" fmla="*/ 582 h 716"/>
                  <a:gd name="T32" fmla="*/ 274 w 436"/>
                  <a:gd name="T33" fmla="*/ 592 h 716"/>
                  <a:gd name="T34" fmla="*/ 280 w 436"/>
                  <a:gd name="T35" fmla="*/ 598 h 716"/>
                  <a:gd name="T36" fmla="*/ 290 w 436"/>
                  <a:gd name="T37" fmla="*/ 604 h 716"/>
                  <a:gd name="T38" fmla="*/ 300 w 436"/>
                  <a:gd name="T39" fmla="*/ 606 h 716"/>
                  <a:gd name="T40" fmla="*/ 312 w 436"/>
                  <a:gd name="T41" fmla="*/ 606 h 716"/>
                  <a:gd name="T42" fmla="*/ 312 w 436"/>
                  <a:gd name="T43" fmla="*/ 606 h 716"/>
                  <a:gd name="T44" fmla="*/ 336 w 436"/>
                  <a:gd name="T45" fmla="*/ 604 h 716"/>
                  <a:gd name="T46" fmla="*/ 358 w 436"/>
                  <a:gd name="T47" fmla="*/ 598 h 716"/>
                  <a:gd name="T48" fmla="*/ 378 w 436"/>
                  <a:gd name="T49" fmla="*/ 590 h 716"/>
                  <a:gd name="T50" fmla="*/ 394 w 436"/>
                  <a:gd name="T51" fmla="*/ 580 h 716"/>
                  <a:gd name="T52" fmla="*/ 436 w 436"/>
                  <a:gd name="T53" fmla="*/ 674 h 716"/>
                  <a:gd name="T54" fmla="*/ 436 w 436"/>
                  <a:gd name="T55" fmla="*/ 674 h 716"/>
                  <a:gd name="T56" fmla="*/ 420 w 436"/>
                  <a:gd name="T57" fmla="*/ 684 h 716"/>
                  <a:gd name="T58" fmla="*/ 402 w 436"/>
                  <a:gd name="T59" fmla="*/ 692 h 716"/>
                  <a:gd name="T60" fmla="*/ 384 w 436"/>
                  <a:gd name="T61" fmla="*/ 698 h 716"/>
                  <a:gd name="T62" fmla="*/ 362 w 436"/>
                  <a:gd name="T63" fmla="*/ 704 h 716"/>
                  <a:gd name="T64" fmla="*/ 342 w 436"/>
                  <a:gd name="T65" fmla="*/ 710 h 716"/>
                  <a:gd name="T66" fmla="*/ 320 w 436"/>
                  <a:gd name="T67" fmla="*/ 714 h 716"/>
                  <a:gd name="T68" fmla="*/ 300 w 436"/>
                  <a:gd name="T69" fmla="*/ 716 h 716"/>
                  <a:gd name="T70" fmla="*/ 278 w 436"/>
                  <a:gd name="T71" fmla="*/ 716 h 716"/>
                  <a:gd name="T72" fmla="*/ 278 w 436"/>
                  <a:gd name="T73" fmla="*/ 716 h 716"/>
                  <a:gd name="T74" fmla="*/ 260 w 436"/>
                  <a:gd name="T75" fmla="*/ 716 h 716"/>
                  <a:gd name="T76" fmla="*/ 244 w 436"/>
                  <a:gd name="T77" fmla="*/ 714 h 716"/>
                  <a:gd name="T78" fmla="*/ 228 w 436"/>
                  <a:gd name="T79" fmla="*/ 710 h 716"/>
                  <a:gd name="T80" fmla="*/ 214 w 436"/>
                  <a:gd name="T81" fmla="*/ 706 h 716"/>
                  <a:gd name="T82" fmla="*/ 200 w 436"/>
                  <a:gd name="T83" fmla="*/ 700 h 716"/>
                  <a:gd name="T84" fmla="*/ 188 w 436"/>
                  <a:gd name="T85" fmla="*/ 694 h 716"/>
                  <a:gd name="T86" fmla="*/ 176 w 436"/>
                  <a:gd name="T87" fmla="*/ 686 h 716"/>
                  <a:gd name="T88" fmla="*/ 166 w 436"/>
                  <a:gd name="T89" fmla="*/ 678 h 716"/>
                  <a:gd name="T90" fmla="*/ 156 w 436"/>
                  <a:gd name="T91" fmla="*/ 668 h 716"/>
                  <a:gd name="T92" fmla="*/ 148 w 436"/>
                  <a:gd name="T93" fmla="*/ 656 h 716"/>
                  <a:gd name="T94" fmla="*/ 142 w 436"/>
                  <a:gd name="T95" fmla="*/ 644 h 716"/>
                  <a:gd name="T96" fmla="*/ 136 w 436"/>
                  <a:gd name="T97" fmla="*/ 632 h 716"/>
                  <a:gd name="T98" fmla="*/ 130 w 436"/>
                  <a:gd name="T99" fmla="*/ 618 h 716"/>
                  <a:gd name="T100" fmla="*/ 128 w 436"/>
                  <a:gd name="T101" fmla="*/ 604 h 716"/>
                  <a:gd name="T102" fmla="*/ 126 w 436"/>
                  <a:gd name="T103" fmla="*/ 588 h 716"/>
                  <a:gd name="T104" fmla="*/ 124 w 436"/>
                  <a:gd name="T105" fmla="*/ 572 h 716"/>
                  <a:gd name="T106" fmla="*/ 124 w 436"/>
                  <a:gd name="T107" fmla="*/ 57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6" h="716">
                    <a:moveTo>
                      <a:pt x="124" y="572"/>
                    </a:moveTo>
                    <a:lnTo>
                      <a:pt x="124" y="272"/>
                    </a:lnTo>
                    <a:lnTo>
                      <a:pt x="0" y="272"/>
                    </a:lnTo>
                    <a:lnTo>
                      <a:pt x="28" y="166"/>
                    </a:lnTo>
                    <a:lnTo>
                      <a:pt x="124" y="166"/>
                    </a:lnTo>
                    <a:lnTo>
                      <a:pt x="124" y="40"/>
                    </a:lnTo>
                    <a:lnTo>
                      <a:pt x="260" y="0"/>
                    </a:lnTo>
                    <a:lnTo>
                      <a:pt x="260" y="166"/>
                    </a:lnTo>
                    <a:lnTo>
                      <a:pt x="424" y="166"/>
                    </a:lnTo>
                    <a:lnTo>
                      <a:pt x="390" y="272"/>
                    </a:lnTo>
                    <a:lnTo>
                      <a:pt x="260" y="272"/>
                    </a:lnTo>
                    <a:lnTo>
                      <a:pt x="260" y="538"/>
                    </a:lnTo>
                    <a:lnTo>
                      <a:pt x="260" y="538"/>
                    </a:lnTo>
                    <a:lnTo>
                      <a:pt x="262" y="556"/>
                    </a:lnTo>
                    <a:lnTo>
                      <a:pt x="264" y="570"/>
                    </a:lnTo>
                    <a:lnTo>
                      <a:pt x="268" y="582"/>
                    </a:lnTo>
                    <a:lnTo>
                      <a:pt x="274" y="592"/>
                    </a:lnTo>
                    <a:lnTo>
                      <a:pt x="280" y="598"/>
                    </a:lnTo>
                    <a:lnTo>
                      <a:pt x="290" y="604"/>
                    </a:lnTo>
                    <a:lnTo>
                      <a:pt x="300" y="606"/>
                    </a:lnTo>
                    <a:lnTo>
                      <a:pt x="312" y="606"/>
                    </a:lnTo>
                    <a:lnTo>
                      <a:pt x="312" y="606"/>
                    </a:lnTo>
                    <a:lnTo>
                      <a:pt x="336" y="604"/>
                    </a:lnTo>
                    <a:lnTo>
                      <a:pt x="358" y="598"/>
                    </a:lnTo>
                    <a:lnTo>
                      <a:pt x="378" y="590"/>
                    </a:lnTo>
                    <a:lnTo>
                      <a:pt x="394" y="580"/>
                    </a:lnTo>
                    <a:lnTo>
                      <a:pt x="436" y="674"/>
                    </a:lnTo>
                    <a:lnTo>
                      <a:pt x="436" y="674"/>
                    </a:lnTo>
                    <a:lnTo>
                      <a:pt x="420" y="684"/>
                    </a:lnTo>
                    <a:lnTo>
                      <a:pt x="402" y="692"/>
                    </a:lnTo>
                    <a:lnTo>
                      <a:pt x="384" y="698"/>
                    </a:lnTo>
                    <a:lnTo>
                      <a:pt x="362" y="704"/>
                    </a:lnTo>
                    <a:lnTo>
                      <a:pt x="342" y="710"/>
                    </a:lnTo>
                    <a:lnTo>
                      <a:pt x="320" y="714"/>
                    </a:lnTo>
                    <a:lnTo>
                      <a:pt x="300" y="716"/>
                    </a:lnTo>
                    <a:lnTo>
                      <a:pt x="278" y="716"/>
                    </a:lnTo>
                    <a:lnTo>
                      <a:pt x="278" y="716"/>
                    </a:lnTo>
                    <a:lnTo>
                      <a:pt x="260" y="716"/>
                    </a:lnTo>
                    <a:lnTo>
                      <a:pt x="244" y="714"/>
                    </a:lnTo>
                    <a:lnTo>
                      <a:pt x="228" y="710"/>
                    </a:lnTo>
                    <a:lnTo>
                      <a:pt x="214" y="706"/>
                    </a:lnTo>
                    <a:lnTo>
                      <a:pt x="200" y="700"/>
                    </a:lnTo>
                    <a:lnTo>
                      <a:pt x="188" y="694"/>
                    </a:lnTo>
                    <a:lnTo>
                      <a:pt x="176" y="686"/>
                    </a:lnTo>
                    <a:lnTo>
                      <a:pt x="166" y="678"/>
                    </a:lnTo>
                    <a:lnTo>
                      <a:pt x="156" y="668"/>
                    </a:lnTo>
                    <a:lnTo>
                      <a:pt x="148" y="656"/>
                    </a:lnTo>
                    <a:lnTo>
                      <a:pt x="142" y="644"/>
                    </a:lnTo>
                    <a:lnTo>
                      <a:pt x="136" y="632"/>
                    </a:lnTo>
                    <a:lnTo>
                      <a:pt x="130" y="618"/>
                    </a:lnTo>
                    <a:lnTo>
                      <a:pt x="128" y="604"/>
                    </a:lnTo>
                    <a:lnTo>
                      <a:pt x="126" y="588"/>
                    </a:lnTo>
                    <a:lnTo>
                      <a:pt x="124" y="572"/>
                    </a:lnTo>
                    <a:lnTo>
                      <a:pt x="124" y="5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5" name="Freeform 25"/>
              <p:cNvSpPr>
                <a:spLocks/>
              </p:cNvSpPr>
              <p:nvPr/>
            </p:nvSpPr>
            <p:spPr bwMode="auto">
              <a:xfrm>
                <a:off x="8254227" y="4517918"/>
                <a:ext cx="47345" cy="58558"/>
              </a:xfrm>
              <a:custGeom>
                <a:avLst/>
                <a:gdLst>
                  <a:gd name="T0" fmla="*/ 0 w 456"/>
                  <a:gd name="T1" fmla="*/ 288 h 564"/>
                  <a:gd name="T2" fmla="*/ 4 w 456"/>
                  <a:gd name="T3" fmla="*/ 226 h 564"/>
                  <a:gd name="T4" fmla="*/ 22 w 456"/>
                  <a:gd name="T5" fmla="*/ 172 h 564"/>
                  <a:gd name="T6" fmla="*/ 48 w 456"/>
                  <a:gd name="T7" fmla="*/ 122 h 564"/>
                  <a:gd name="T8" fmla="*/ 82 w 456"/>
                  <a:gd name="T9" fmla="*/ 80 h 564"/>
                  <a:gd name="T10" fmla="*/ 124 w 456"/>
                  <a:gd name="T11" fmla="*/ 46 h 564"/>
                  <a:gd name="T12" fmla="*/ 172 w 456"/>
                  <a:gd name="T13" fmla="*/ 22 h 564"/>
                  <a:gd name="T14" fmla="*/ 226 w 456"/>
                  <a:gd name="T15" fmla="*/ 6 h 564"/>
                  <a:gd name="T16" fmla="*/ 284 w 456"/>
                  <a:gd name="T17" fmla="*/ 0 h 564"/>
                  <a:gd name="T18" fmla="*/ 308 w 456"/>
                  <a:gd name="T19" fmla="*/ 0 h 564"/>
                  <a:gd name="T20" fmla="*/ 352 w 456"/>
                  <a:gd name="T21" fmla="*/ 6 h 564"/>
                  <a:gd name="T22" fmla="*/ 388 w 456"/>
                  <a:gd name="T23" fmla="*/ 16 h 564"/>
                  <a:gd name="T24" fmla="*/ 428 w 456"/>
                  <a:gd name="T25" fmla="*/ 36 h 564"/>
                  <a:gd name="T26" fmla="*/ 428 w 456"/>
                  <a:gd name="T27" fmla="*/ 152 h 564"/>
                  <a:gd name="T28" fmla="*/ 400 w 456"/>
                  <a:gd name="T29" fmla="*/ 134 h 564"/>
                  <a:gd name="T30" fmla="*/ 368 w 456"/>
                  <a:gd name="T31" fmla="*/ 120 h 564"/>
                  <a:gd name="T32" fmla="*/ 336 w 456"/>
                  <a:gd name="T33" fmla="*/ 112 h 564"/>
                  <a:gd name="T34" fmla="*/ 298 w 456"/>
                  <a:gd name="T35" fmla="*/ 110 h 564"/>
                  <a:gd name="T36" fmla="*/ 280 w 456"/>
                  <a:gd name="T37" fmla="*/ 110 h 564"/>
                  <a:gd name="T38" fmla="*/ 246 w 456"/>
                  <a:gd name="T39" fmla="*/ 118 h 564"/>
                  <a:gd name="T40" fmla="*/ 216 w 456"/>
                  <a:gd name="T41" fmla="*/ 130 h 564"/>
                  <a:gd name="T42" fmla="*/ 192 w 456"/>
                  <a:gd name="T43" fmla="*/ 148 h 564"/>
                  <a:gd name="T44" fmla="*/ 170 w 456"/>
                  <a:gd name="T45" fmla="*/ 172 h 564"/>
                  <a:gd name="T46" fmla="*/ 156 w 456"/>
                  <a:gd name="T47" fmla="*/ 200 h 564"/>
                  <a:gd name="T48" fmla="*/ 144 w 456"/>
                  <a:gd name="T49" fmla="*/ 230 h 564"/>
                  <a:gd name="T50" fmla="*/ 140 w 456"/>
                  <a:gd name="T51" fmla="*/ 266 h 564"/>
                  <a:gd name="T52" fmla="*/ 138 w 456"/>
                  <a:gd name="T53" fmla="*/ 284 h 564"/>
                  <a:gd name="T54" fmla="*/ 142 w 456"/>
                  <a:gd name="T55" fmla="*/ 322 h 564"/>
                  <a:gd name="T56" fmla="*/ 150 w 456"/>
                  <a:gd name="T57" fmla="*/ 358 h 564"/>
                  <a:gd name="T58" fmla="*/ 162 w 456"/>
                  <a:gd name="T59" fmla="*/ 386 h 564"/>
                  <a:gd name="T60" fmla="*/ 180 w 456"/>
                  <a:gd name="T61" fmla="*/ 410 h 564"/>
                  <a:gd name="T62" fmla="*/ 202 w 456"/>
                  <a:gd name="T63" fmla="*/ 430 h 564"/>
                  <a:gd name="T64" fmla="*/ 228 w 456"/>
                  <a:gd name="T65" fmla="*/ 444 h 564"/>
                  <a:gd name="T66" fmla="*/ 258 w 456"/>
                  <a:gd name="T67" fmla="*/ 452 h 564"/>
                  <a:gd name="T68" fmla="*/ 292 w 456"/>
                  <a:gd name="T69" fmla="*/ 454 h 564"/>
                  <a:gd name="T70" fmla="*/ 310 w 456"/>
                  <a:gd name="T71" fmla="*/ 454 h 564"/>
                  <a:gd name="T72" fmla="*/ 342 w 456"/>
                  <a:gd name="T73" fmla="*/ 448 h 564"/>
                  <a:gd name="T74" fmla="*/ 388 w 456"/>
                  <a:gd name="T75" fmla="*/ 432 h 564"/>
                  <a:gd name="T76" fmla="*/ 456 w 456"/>
                  <a:gd name="T77" fmla="*/ 512 h 564"/>
                  <a:gd name="T78" fmla="*/ 438 w 456"/>
                  <a:gd name="T79" fmla="*/ 522 h 564"/>
                  <a:gd name="T80" fmla="*/ 398 w 456"/>
                  <a:gd name="T81" fmla="*/ 542 h 564"/>
                  <a:gd name="T82" fmla="*/ 352 w 456"/>
                  <a:gd name="T83" fmla="*/ 556 h 564"/>
                  <a:gd name="T84" fmla="*/ 300 w 456"/>
                  <a:gd name="T85" fmla="*/ 564 h 564"/>
                  <a:gd name="T86" fmla="*/ 272 w 456"/>
                  <a:gd name="T87" fmla="*/ 564 h 564"/>
                  <a:gd name="T88" fmla="*/ 210 w 456"/>
                  <a:gd name="T89" fmla="*/ 558 h 564"/>
                  <a:gd name="T90" fmla="*/ 156 w 456"/>
                  <a:gd name="T91" fmla="*/ 542 h 564"/>
                  <a:gd name="T92" fmla="*/ 108 w 456"/>
                  <a:gd name="T93" fmla="*/ 518 h 564"/>
                  <a:gd name="T94" fmla="*/ 70 w 456"/>
                  <a:gd name="T95" fmla="*/ 484 h 564"/>
                  <a:gd name="T96" fmla="*/ 40 w 456"/>
                  <a:gd name="T97" fmla="*/ 444 h 564"/>
                  <a:gd name="T98" fmla="*/ 18 w 456"/>
                  <a:gd name="T99" fmla="*/ 396 h 564"/>
                  <a:gd name="T100" fmla="*/ 4 w 456"/>
                  <a:gd name="T101" fmla="*/ 344 h 564"/>
                  <a:gd name="T102" fmla="*/ 0 w 456"/>
                  <a:gd name="T103" fmla="*/ 288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56" h="564">
                    <a:moveTo>
                      <a:pt x="0" y="288"/>
                    </a:moveTo>
                    <a:lnTo>
                      <a:pt x="0" y="288"/>
                    </a:lnTo>
                    <a:lnTo>
                      <a:pt x="0" y="256"/>
                    </a:lnTo>
                    <a:lnTo>
                      <a:pt x="4" y="226"/>
                    </a:lnTo>
                    <a:lnTo>
                      <a:pt x="12" y="198"/>
                    </a:lnTo>
                    <a:lnTo>
                      <a:pt x="22" y="172"/>
                    </a:lnTo>
                    <a:lnTo>
                      <a:pt x="32" y="146"/>
                    </a:lnTo>
                    <a:lnTo>
                      <a:pt x="48" y="122"/>
                    </a:lnTo>
                    <a:lnTo>
                      <a:pt x="64" y="100"/>
                    </a:lnTo>
                    <a:lnTo>
                      <a:pt x="82" y="80"/>
                    </a:lnTo>
                    <a:lnTo>
                      <a:pt x="102" y="62"/>
                    </a:lnTo>
                    <a:lnTo>
                      <a:pt x="124" y="46"/>
                    </a:lnTo>
                    <a:lnTo>
                      <a:pt x="146" y="32"/>
                    </a:lnTo>
                    <a:lnTo>
                      <a:pt x="172" y="22"/>
                    </a:lnTo>
                    <a:lnTo>
                      <a:pt x="198" y="12"/>
                    </a:lnTo>
                    <a:lnTo>
                      <a:pt x="226" y="6"/>
                    </a:lnTo>
                    <a:lnTo>
                      <a:pt x="254" y="2"/>
                    </a:lnTo>
                    <a:lnTo>
                      <a:pt x="284" y="0"/>
                    </a:lnTo>
                    <a:lnTo>
                      <a:pt x="284" y="0"/>
                    </a:lnTo>
                    <a:lnTo>
                      <a:pt x="308" y="0"/>
                    </a:lnTo>
                    <a:lnTo>
                      <a:pt x="332" y="4"/>
                    </a:lnTo>
                    <a:lnTo>
                      <a:pt x="352" y="6"/>
                    </a:lnTo>
                    <a:lnTo>
                      <a:pt x="372" y="12"/>
                    </a:lnTo>
                    <a:lnTo>
                      <a:pt x="388" y="16"/>
                    </a:lnTo>
                    <a:lnTo>
                      <a:pt x="404" y="24"/>
                    </a:lnTo>
                    <a:lnTo>
                      <a:pt x="428" y="36"/>
                    </a:lnTo>
                    <a:lnTo>
                      <a:pt x="428" y="152"/>
                    </a:lnTo>
                    <a:lnTo>
                      <a:pt x="428" y="152"/>
                    </a:lnTo>
                    <a:lnTo>
                      <a:pt x="414" y="142"/>
                    </a:lnTo>
                    <a:lnTo>
                      <a:pt x="400" y="134"/>
                    </a:lnTo>
                    <a:lnTo>
                      <a:pt x="384" y="126"/>
                    </a:lnTo>
                    <a:lnTo>
                      <a:pt x="368" y="120"/>
                    </a:lnTo>
                    <a:lnTo>
                      <a:pt x="352" y="116"/>
                    </a:lnTo>
                    <a:lnTo>
                      <a:pt x="336" y="112"/>
                    </a:lnTo>
                    <a:lnTo>
                      <a:pt x="316" y="110"/>
                    </a:lnTo>
                    <a:lnTo>
                      <a:pt x="298" y="110"/>
                    </a:lnTo>
                    <a:lnTo>
                      <a:pt x="298" y="110"/>
                    </a:lnTo>
                    <a:lnTo>
                      <a:pt x="280" y="110"/>
                    </a:lnTo>
                    <a:lnTo>
                      <a:pt x="262" y="112"/>
                    </a:lnTo>
                    <a:lnTo>
                      <a:pt x="246" y="118"/>
                    </a:lnTo>
                    <a:lnTo>
                      <a:pt x="230" y="122"/>
                    </a:lnTo>
                    <a:lnTo>
                      <a:pt x="216" y="130"/>
                    </a:lnTo>
                    <a:lnTo>
                      <a:pt x="204" y="138"/>
                    </a:lnTo>
                    <a:lnTo>
                      <a:pt x="192" y="148"/>
                    </a:lnTo>
                    <a:lnTo>
                      <a:pt x="180" y="160"/>
                    </a:lnTo>
                    <a:lnTo>
                      <a:pt x="170" y="172"/>
                    </a:lnTo>
                    <a:lnTo>
                      <a:pt x="162" y="186"/>
                    </a:lnTo>
                    <a:lnTo>
                      <a:pt x="156" y="200"/>
                    </a:lnTo>
                    <a:lnTo>
                      <a:pt x="150" y="214"/>
                    </a:lnTo>
                    <a:lnTo>
                      <a:pt x="144" y="230"/>
                    </a:lnTo>
                    <a:lnTo>
                      <a:pt x="142" y="248"/>
                    </a:lnTo>
                    <a:lnTo>
                      <a:pt x="140" y="266"/>
                    </a:lnTo>
                    <a:lnTo>
                      <a:pt x="138" y="284"/>
                    </a:lnTo>
                    <a:lnTo>
                      <a:pt x="138" y="284"/>
                    </a:lnTo>
                    <a:lnTo>
                      <a:pt x="140" y="304"/>
                    </a:lnTo>
                    <a:lnTo>
                      <a:pt x="142" y="322"/>
                    </a:lnTo>
                    <a:lnTo>
                      <a:pt x="144" y="340"/>
                    </a:lnTo>
                    <a:lnTo>
                      <a:pt x="150" y="358"/>
                    </a:lnTo>
                    <a:lnTo>
                      <a:pt x="156" y="372"/>
                    </a:lnTo>
                    <a:lnTo>
                      <a:pt x="162" y="386"/>
                    </a:lnTo>
                    <a:lnTo>
                      <a:pt x="170" y="400"/>
                    </a:lnTo>
                    <a:lnTo>
                      <a:pt x="180" y="410"/>
                    </a:lnTo>
                    <a:lnTo>
                      <a:pt x="190" y="420"/>
                    </a:lnTo>
                    <a:lnTo>
                      <a:pt x="202" y="430"/>
                    </a:lnTo>
                    <a:lnTo>
                      <a:pt x="214" y="438"/>
                    </a:lnTo>
                    <a:lnTo>
                      <a:pt x="228" y="444"/>
                    </a:lnTo>
                    <a:lnTo>
                      <a:pt x="242" y="448"/>
                    </a:lnTo>
                    <a:lnTo>
                      <a:pt x="258" y="452"/>
                    </a:lnTo>
                    <a:lnTo>
                      <a:pt x="274" y="454"/>
                    </a:lnTo>
                    <a:lnTo>
                      <a:pt x="292" y="454"/>
                    </a:lnTo>
                    <a:lnTo>
                      <a:pt x="292" y="454"/>
                    </a:lnTo>
                    <a:lnTo>
                      <a:pt x="310" y="454"/>
                    </a:lnTo>
                    <a:lnTo>
                      <a:pt x="326" y="452"/>
                    </a:lnTo>
                    <a:lnTo>
                      <a:pt x="342" y="448"/>
                    </a:lnTo>
                    <a:lnTo>
                      <a:pt x="358" y="444"/>
                    </a:lnTo>
                    <a:lnTo>
                      <a:pt x="388" y="432"/>
                    </a:lnTo>
                    <a:lnTo>
                      <a:pt x="416" y="418"/>
                    </a:lnTo>
                    <a:lnTo>
                      <a:pt x="456" y="512"/>
                    </a:lnTo>
                    <a:lnTo>
                      <a:pt x="456" y="512"/>
                    </a:lnTo>
                    <a:lnTo>
                      <a:pt x="438" y="522"/>
                    </a:lnTo>
                    <a:lnTo>
                      <a:pt x="420" y="532"/>
                    </a:lnTo>
                    <a:lnTo>
                      <a:pt x="398" y="542"/>
                    </a:lnTo>
                    <a:lnTo>
                      <a:pt x="376" y="550"/>
                    </a:lnTo>
                    <a:lnTo>
                      <a:pt x="352" y="556"/>
                    </a:lnTo>
                    <a:lnTo>
                      <a:pt x="326" y="560"/>
                    </a:lnTo>
                    <a:lnTo>
                      <a:pt x="300" y="564"/>
                    </a:lnTo>
                    <a:lnTo>
                      <a:pt x="272" y="564"/>
                    </a:lnTo>
                    <a:lnTo>
                      <a:pt x="272" y="564"/>
                    </a:lnTo>
                    <a:lnTo>
                      <a:pt x="240" y="562"/>
                    </a:lnTo>
                    <a:lnTo>
                      <a:pt x="210" y="558"/>
                    </a:lnTo>
                    <a:lnTo>
                      <a:pt x="182" y="552"/>
                    </a:lnTo>
                    <a:lnTo>
                      <a:pt x="156" y="542"/>
                    </a:lnTo>
                    <a:lnTo>
                      <a:pt x="130" y="532"/>
                    </a:lnTo>
                    <a:lnTo>
                      <a:pt x="108" y="518"/>
                    </a:lnTo>
                    <a:lnTo>
                      <a:pt x="88" y="502"/>
                    </a:lnTo>
                    <a:lnTo>
                      <a:pt x="70" y="484"/>
                    </a:lnTo>
                    <a:lnTo>
                      <a:pt x="54" y="464"/>
                    </a:lnTo>
                    <a:lnTo>
                      <a:pt x="40" y="444"/>
                    </a:lnTo>
                    <a:lnTo>
                      <a:pt x="28" y="420"/>
                    </a:lnTo>
                    <a:lnTo>
                      <a:pt x="18" y="396"/>
                    </a:lnTo>
                    <a:lnTo>
                      <a:pt x="10" y="370"/>
                    </a:lnTo>
                    <a:lnTo>
                      <a:pt x="4" y="344"/>
                    </a:lnTo>
                    <a:lnTo>
                      <a:pt x="0" y="316"/>
                    </a:lnTo>
                    <a:lnTo>
                      <a:pt x="0" y="288"/>
                    </a:lnTo>
                    <a:lnTo>
                      <a:pt x="0"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6" name="Freeform 26"/>
              <p:cNvSpPr>
                <a:spLocks/>
              </p:cNvSpPr>
              <p:nvPr/>
            </p:nvSpPr>
            <p:spPr bwMode="auto">
              <a:xfrm>
                <a:off x="8304894" y="4517918"/>
                <a:ext cx="43400" cy="58558"/>
              </a:xfrm>
              <a:custGeom>
                <a:avLst/>
                <a:gdLst>
                  <a:gd name="T0" fmla="*/ 58 w 418"/>
                  <a:gd name="T1" fmla="*/ 422 h 564"/>
                  <a:gd name="T2" fmla="*/ 112 w 418"/>
                  <a:gd name="T3" fmla="*/ 444 h 564"/>
                  <a:gd name="T4" fmla="*/ 170 w 418"/>
                  <a:gd name="T5" fmla="*/ 456 h 564"/>
                  <a:gd name="T6" fmla="*/ 210 w 418"/>
                  <a:gd name="T7" fmla="*/ 456 h 564"/>
                  <a:gd name="T8" fmla="*/ 258 w 418"/>
                  <a:gd name="T9" fmla="*/ 444 h 564"/>
                  <a:gd name="T10" fmla="*/ 282 w 418"/>
                  <a:gd name="T11" fmla="*/ 414 h 564"/>
                  <a:gd name="T12" fmla="*/ 284 w 418"/>
                  <a:gd name="T13" fmla="*/ 392 h 564"/>
                  <a:gd name="T14" fmla="*/ 274 w 418"/>
                  <a:gd name="T15" fmla="*/ 372 h 564"/>
                  <a:gd name="T16" fmla="*/ 226 w 418"/>
                  <a:gd name="T17" fmla="*/ 340 h 564"/>
                  <a:gd name="T18" fmla="*/ 134 w 418"/>
                  <a:gd name="T19" fmla="*/ 304 h 564"/>
                  <a:gd name="T20" fmla="*/ 72 w 418"/>
                  <a:gd name="T21" fmla="*/ 264 h 564"/>
                  <a:gd name="T22" fmla="*/ 48 w 418"/>
                  <a:gd name="T23" fmla="*/ 232 h 564"/>
                  <a:gd name="T24" fmla="*/ 34 w 418"/>
                  <a:gd name="T25" fmla="*/ 194 h 564"/>
                  <a:gd name="T26" fmla="*/ 32 w 418"/>
                  <a:gd name="T27" fmla="*/ 162 h 564"/>
                  <a:gd name="T28" fmla="*/ 40 w 418"/>
                  <a:gd name="T29" fmla="*/ 112 h 564"/>
                  <a:gd name="T30" fmla="*/ 62 w 418"/>
                  <a:gd name="T31" fmla="*/ 70 h 564"/>
                  <a:gd name="T32" fmla="*/ 100 w 418"/>
                  <a:gd name="T33" fmla="*/ 36 h 564"/>
                  <a:gd name="T34" fmla="*/ 150 w 418"/>
                  <a:gd name="T35" fmla="*/ 12 h 564"/>
                  <a:gd name="T36" fmla="*/ 212 w 418"/>
                  <a:gd name="T37" fmla="*/ 0 h 564"/>
                  <a:gd name="T38" fmla="*/ 280 w 418"/>
                  <a:gd name="T39" fmla="*/ 2 h 564"/>
                  <a:gd name="T40" fmla="*/ 394 w 418"/>
                  <a:gd name="T41" fmla="*/ 26 h 564"/>
                  <a:gd name="T42" fmla="*/ 358 w 418"/>
                  <a:gd name="T43" fmla="*/ 128 h 564"/>
                  <a:gd name="T44" fmla="*/ 262 w 418"/>
                  <a:gd name="T45" fmla="*/ 108 h 564"/>
                  <a:gd name="T46" fmla="*/ 224 w 418"/>
                  <a:gd name="T47" fmla="*/ 108 h 564"/>
                  <a:gd name="T48" fmla="*/ 186 w 418"/>
                  <a:gd name="T49" fmla="*/ 118 h 564"/>
                  <a:gd name="T50" fmla="*/ 166 w 418"/>
                  <a:gd name="T51" fmla="*/ 144 h 564"/>
                  <a:gd name="T52" fmla="*/ 166 w 418"/>
                  <a:gd name="T53" fmla="*/ 164 h 564"/>
                  <a:gd name="T54" fmla="*/ 176 w 418"/>
                  <a:gd name="T55" fmla="*/ 184 h 564"/>
                  <a:gd name="T56" fmla="*/ 224 w 418"/>
                  <a:gd name="T57" fmla="*/ 212 h 564"/>
                  <a:gd name="T58" fmla="*/ 314 w 418"/>
                  <a:gd name="T59" fmla="*/ 248 h 564"/>
                  <a:gd name="T60" fmla="*/ 378 w 418"/>
                  <a:gd name="T61" fmla="*/ 292 h 564"/>
                  <a:gd name="T62" fmla="*/ 402 w 418"/>
                  <a:gd name="T63" fmla="*/ 324 h 564"/>
                  <a:gd name="T64" fmla="*/ 414 w 418"/>
                  <a:gd name="T65" fmla="*/ 364 h 564"/>
                  <a:gd name="T66" fmla="*/ 418 w 418"/>
                  <a:gd name="T67" fmla="*/ 396 h 564"/>
                  <a:gd name="T68" fmla="*/ 408 w 418"/>
                  <a:gd name="T69" fmla="*/ 456 h 564"/>
                  <a:gd name="T70" fmla="*/ 380 w 418"/>
                  <a:gd name="T71" fmla="*/ 502 h 564"/>
                  <a:gd name="T72" fmla="*/ 336 w 418"/>
                  <a:gd name="T73" fmla="*/ 534 h 564"/>
                  <a:gd name="T74" fmla="*/ 282 w 418"/>
                  <a:gd name="T75" fmla="*/ 554 h 564"/>
                  <a:gd name="T76" fmla="*/ 220 w 418"/>
                  <a:gd name="T77" fmla="*/ 564 h 564"/>
                  <a:gd name="T78" fmla="*/ 168 w 418"/>
                  <a:gd name="T79" fmla="*/ 562 h 564"/>
                  <a:gd name="T80" fmla="*/ 84 w 418"/>
                  <a:gd name="T81" fmla="*/ 548 h 564"/>
                  <a:gd name="T82" fmla="*/ 18 w 418"/>
                  <a:gd name="T83" fmla="*/ 522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8" h="564">
                    <a:moveTo>
                      <a:pt x="42" y="412"/>
                    </a:moveTo>
                    <a:lnTo>
                      <a:pt x="42" y="412"/>
                    </a:lnTo>
                    <a:lnTo>
                      <a:pt x="58" y="422"/>
                    </a:lnTo>
                    <a:lnTo>
                      <a:pt x="76" y="430"/>
                    </a:lnTo>
                    <a:lnTo>
                      <a:pt x="94" y="438"/>
                    </a:lnTo>
                    <a:lnTo>
                      <a:pt x="112" y="444"/>
                    </a:lnTo>
                    <a:lnTo>
                      <a:pt x="130" y="450"/>
                    </a:lnTo>
                    <a:lnTo>
                      <a:pt x="150" y="454"/>
                    </a:lnTo>
                    <a:lnTo>
                      <a:pt x="170" y="456"/>
                    </a:lnTo>
                    <a:lnTo>
                      <a:pt x="190" y="456"/>
                    </a:lnTo>
                    <a:lnTo>
                      <a:pt x="190" y="456"/>
                    </a:lnTo>
                    <a:lnTo>
                      <a:pt x="210" y="456"/>
                    </a:lnTo>
                    <a:lnTo>
                      <a:pt x="228" y="454"/>
                    </a:lnTo>
                    <a:lnTo>
                      <a:pt x="244" y="450"/>
                    </a:lnTo>
                    <a:lnTo>
                      <a:pt x="258" y="444"/>
                    </a:lnTo>
                    <a:lnTo>
                      <a:pt x="268" y="436"/>
                    </a:lnTo>
                    <a:lnTo>
                      <a:pt x="278" y="426"/>
                    </a:lnTo>
                    <a:lnTo>
                      <a:pt x="282" y="414"/>
                    </a:lnTo>
                    <a:lnTo>
                      <a:pt x="284" y="400"/>
                    </a:lnTo>
                    <a:lnTo>
                      <a:pt x="284" y="400"/>
                    </a:lnTo>
                    <a:lnTo>
                      <a:pt x="284" y="392"/>
                    </a:lnTo>
                    <a:lnTo>
                      <a:pt x="282" y="384"/>
                    </a:lnTo>
                    <a:lnTo>
                      <a:pt x="278" y="378"/>
                    </a:lnTo>
                    <a:lnTo>
                      <a:pt x="274" y="372"/>
                    </a:lnTo>
                    <a:lnTo>
                      <a:pt x="262" y="360"/>
                    </a:lnTo>
                    <a:lnTo>
                      <a:pt x="244" y="350"/>
                    </a:lnTo>
                    <a:lnTo>
                      <a:pt x="226" y="340"/>
                    </a:lnTo>
                    <a:lnTo>
                      <a:pt x="204" y="332"/>
                    </a:lnTo>
                    <a:lnTo>
                      <a:pt x="158" y="314"/>
                    </a:lnTo>
                    <a:lnTo>
                      <a:pt x="134" y="304"/>
                    </a:lnTo>
                    <a:lnTo>
                      <a:pt x="112" y="294"/>
                    </a:lnTo>
                    <a:lnTo>
                      <a:pt x="90" y="280"/>
                    </a:lnTo>
                    <a:lnTo>
                      <a:pt x="72" y="264"/>
                    </a:lnTo>
                    <a:lnTo>
                      <a:pt x="62" y="254"/>
                    </a:lnTo>
                    <a:lnTo>
                      <a:pt x="54" y="244"/>
                    </a:lnTo>
                    <a:lnTo>
                      <a:pt x="48" y="232"/>
                    </a:lnTo>
                    <a:lnTo>
                      <a:pt x="42" y="222"/>
                    </a:lnTo>
                    <a:lnTo>
                      <a:pt x="38" y="208"/>
                    </a:lnTo>
                    <a:lnTo>
                      <a:pt x="34" y="194"/>
                    </a:lnTo>
                    <a:lnTo>
                      <a:pt x="32" y="180"/>
                    </a:lnTo>
                    <a:lnTo>
                      <a:pt x="32" y="162"/>
                    </a:lnTo>
                    <a:lnTo>
                      <a:pt x="32" y="162"/>
                    </a:lnTo>
                    <a:lnTo>
                      <a:pt x="32" y="146"/>
                    </a:lnTo>
                    <a:lnTo>
                      <a:pt x="36" y="128"/>
                    </a:lnTo>
                    <a:lnTo>
                      <a:pt x="40" y="112"/>
                    </a:lnTo>
                    <a:lnTo>
                      <a:pt x="46" y="98"/>
                    </a:lnTo>
                    <a:lnTo>
                      <a:pt x="54" y="82"/>
                    </a:lnTo>
                    <a:lnTo>
                      <a:pt x="62" y="70"/>
                    </a:lnTo>
                    <a:lnTo>
                      <a:pt x="74" y="56"/>
                    </a:lnTo>
                    <a:lnTo>
                      <a:pt x="86" y="46"/>
                    </a:lnTo>
                    <a:lnTo>
                      <a:pt x="100" y="36"/>
                    </a:lnTo>
                    <a:lnTo>
                      <a:pt x="116" y="26"/>
                    </a:lnTo>
                    <a:lnTo>
                      <a:pt x="132" y="18"/>
                    </a:lnTo>
                    <a:lnTo>
                      <a:pt x="150" y="12"/>
                    </a:lnTo>
                    <a:lnTo>
                      <a:pt x="170" y="6"/>
                    </a:lnTo>
                    <a:lnTo>
                      <a:pt x="190" y="4"/>
                    </a:lnTo>
                    <a:lnTo>
                      <a:pt x="212" y="0"/>
                    </a:lnTo>
                    <a:lnTo>
                      <a:pt x="236" y="0"/>
                    </a:lnTo>
                    <a:lnTo>
                      <a:pt x="236" y="0"/>
                    </a:lnTo>
                    <a:lnTo>
                      <a:pt x="280" y="2"/>
                    </a:lnTo>
                    <a:lnTo>
                      <a:pt x="320" y="8"/>
                    </a:lnTo>
                    <a:lnTo>
                      <a:pt x="358" y="16"/>
                    </a:lnTo>
                    <a:lnTo>
                      <a:pt x="394" y="26"/>
                    </a:lnTo>
                    <a:lnTo>
                      <a:pt x="394" y="142"/>
                    </a:lnTo>
                    <a:lnTo>
                      <a:pt x="394" y="142"/>
                    </a:lnTo>
                    <a:lnTo>
                      <a:pt x="358" y="128"/>
                    </a:lnTo>
                    <a:lnTo>
                      <a:pt x="322" y="116"/>
                    </a:lnTo>
                    <a:lnTo>
                      <a:pt x="282" y="110"/>
                    </a:lnTo>
                    <a:lnTo>
                      <a:pt x="262" y="108"/>
                    </a:lnTo>
                    <a:lnTo>
                      <a:pt x="242" y="108"/>
                    </a:lnTo>
                    <a:lnTo>
                      <a:pt x="242" y="108"/>
                    </a:lnTo>
                    <a:lnTo>
                      <a:pt x="224" y="108"/>
                    </a:lnTo>
                    <a:lnTo>
                      <a:pt x="210" y="110"/>
                    </a:lnTo>
                    <a:lnTo>
                      <a:pt x="198" y="114"/>
                    </a:lnTo>
                    <a:lnTo>
                      <a:pt x="186" y="118"/>
                    </a:lnTo>
                    <a:lnTo>
                      <a:pt x="176" y="126"/>
                    </a:lnTo>
                    <a:lnTo>
                      <a:pt x="170" y="134"/>
                    </a:lnTo>
                    <a:lnTo>
                      <a:pt x="166" y="144"/>
                    </a:lnTo>
                    <a:lnTo>
                      <a:pt x="164" y="156"/>
                    </a:lnTo>
                    <a:lnTo>
                      <a:pt x="164" y="156"/>
                    </a:lnTo>
                    <a:lnTo>
                      <a:pt x="166" y="164"/>
                    </a:lnTo>
                    <a:lnTo>
                      <a:pt x="168" y="170"/>
                    </a:lnTo>
                    <a:lnTo>
                      <a:pt x="172" y="178"/>
                    </a:lnTo>
                    <a:lnTo>
                      <a:pt x="176" y="184"/>
                    </a:lnTo>
                    <a:lnTo>
                      <a:pt x="188" y="194"/>
                    </a:lnTo>
                    <a:lnTo>
                      <a:pt x="204" y="204"/>
                    </a:lnTo>
                    <a:lnTo>
                      <a:pt x="224" y="212"/>
                    </a:lnTo>
                    <a:lnTo>
                      <a:pt x="244" y="220"/>
                    </a:lnTo>
                    <a:lnTo>
                      <a:pt x="292" y="238"/>
                    </a:lnTo>
                    <a:lnTo>
                      <a:pt x="314" y="248"/>
                    </a:lnTo>
                    <a:lnTo>
                      <a:pt x="338" y="260"/>
                    </a:lnTo>
                    <a:lnTo>
                      <a:pt x="360" y="274"/>
                    </a:lnTo>
                    <a:lnTo>
                      <a:pt x="378" y="292"/>
                    </a:lnTo>
                    <a:lnTo>
                      <a:pt x="386" y="302"/>
                    </a:lnTo>
                    <a:lnTo>
                      <a:pt x="394" y="312"/>
                    </a:lnTo>
                    <a:lnTo>
                      <a:pt x="402" y="324"/>
                    </a:lnTo>
                    <a:lnTo>
                      <a:pt x="406" y="336"/>
                    </a:lnTo>
                    <a:lnTo>
                      <a:pt x="412" y="350"/>
                    </a:lnTo>
                    <a:lnTo>
                      <a:pt x="414" y="364"/>
                    </a:lnTo>
                    <a:lnTo>
                      <a:pt x="418" y="380"/>
                    </a:lnTo>
                    <a:lnTo>
                      <a:pt x="418" y="396"/>
                    </a:lnTo>
                    <a:lnTo>
                      <a:pt x="418" y="396"/>
                    </a:lnTo>
                    <a:lnTo>
                      <a:pt x="416" y="418"/>
                    </a:lnTo>
                    <a:lnTo>
                      <a:pt x="414" y="438"/>
                    </a:lnTo>
                    <a:lnTo>
                      <a:pt x="408" y="456"/>
                    </a:lnTo>
                    <a:lnTo>
                      <a:pt x="400" y="472"/>
                    </a:lnTo>
                    <a:lnTo>
                      <a:pt x="390" y="488"/>
                    </a:lnTo>
                    <a:lnTo>
                      <a:pt x="380" y="502"/>
                    </a:lnTo>
                    <a:lnTo>
                      <a:pt x="366" y="514"/>
                    </a:lnTo>
                    <a:lnTo>
                      <a:pt x="352" y="524"/>
                    </a:lnTo>
                    <a:lnTo>
                      <a:pt x="336" y="534"/>
                    </a:lnTo>
                    <a:lnTo>
                      <a:pt x="320" y="542"/>
                    </a:lnTo>
                    <a:lnTo>
                      <a:pt x="302" y="550"/>
                    </a:lnTo>
                    <a:lnTo>
                      <a:pt x="282" y="554"/>
                    </a:lnTo>
                    <a:lnTo>
                      <a:pt x="262" y="558"/>
                    </a:lnTo>
                    <a:lnTo>
                      <a:pt x="242" y="562"/>
                    </a:lnTo>
                    <a:lnTo>
                      <a:pt x="220" y="564"/>
                    </a:lnTo>
                    <a:lnTo>
                      <a:pt x="200" y="564"/>
                    </a:lnTo>
                    <a:lnTo>
                      <a:pt x="200" y="564"/>
                    </a:lnTo>
                    <a:lnTo>
                      <a:pt x="168" y="562"/>
                    </a:lnTo>
                    <a:lnTo>
                      <a:pt x="138" y="560"/>
                    </a:lnTo>
                    <a:lnTo>
                      <a:pt x="110" y="554"/>
                    </a:lnTo>
                    <a:lnTo>
                      <a:pt x="84" y="548"/>
                    </a:lnTo>
                    <a:lnTo>
                      <a:pt x="60" y="540"/>
                    </a:lnTo>
                    <a:lnTo>
                      <a:pt x="38" y="532"/>
                    </a:lnTo>
                    <a:lnTo>
                      <a:pt x="18" y="522"/>
                    </a:lnTo>
                    <a:lnTo>
                      <a:pt x="0" y="512"/>
                    </a:lnTo>
                    <a:lnTo>
                      <a:pt x="42" y="4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7" name="Freeform 27"/>
              <p:cNvSpPr>
                <a:spLocks noEditPoints="1"/>
              </p:cNvSpPr>
              <p:nvPr/>
            </p:nvSpPr>
            <p:spPr bwMode="auto">
              <a:xfrm>
                <a:off x="8230347" y="4493623"/>
                <a:ext cx="17443" cy="81608"/>
              </a:xfrm>
              <a:custGeom>
                <a:avLst/>
                <a:gdLst>
                  <a:gd name="T0" fmla="*/ 84 w 168"/>
                  <a:gd name="T1" fmla="*/ 162 h 786"/>
                  <a:gd name="T2" fmla="*/ 84 w 168"/>
                  <a:gd name="T3" fmla="*/ 162 h 786"/>
                  <a:gd name="T4" fmla="*/ 68 w 168"/>
                  <a:gd name="T5" fmla="*/ 160 h 786"/>
                  <a:gd name="T6" fmla="*/ 52 w 168"/>
                  <a:gd name="T7" fmla="*/ 156 h 786"/>
                  <a:gd name="T8" fmla="*/ 38 w 168"/>
                  <a:gd name="T9" fmla="*/ 148 h 786"/>
                  <a:gd name="T10" fmla="*/ 26 w 168"/>
                  <a:gd name="T11" fmla="*/ 138 h 786"/>
                  <a:gd name="T12" fmla="*/ 14 w 168"/>
                  <a:gd name="T13" fmla="*/ 126 h 786"/>
                  <a:gd name="T14" fmla="*/ 8 w 168"/>
                  <a:gd name="T15" fmla="*/ 112 h 786"/>
                  <a:gd name="T16" fmla="*/ 2 w 168"/>
                  <a:gd name="T17" fmla="*/ 98 h 786"/>
                  <a:gd name="T18" fmla="*/ 0 w 168"/>
                  <a:gd name="T19" fmla="*/ 80 h 786"/>
                  <a:gd name="T20" fmla="*/ 0 w 168"/>
                  <a:gd name="T21" fmla="*/ 80 h 786"/>
                  <a:gd name="T22" fmla="*/ 2 w 168"/>
                  <a:gd name="T23" fmla="*/ 64 h 786"/>
                  <a:gd name="T24" fmla="*/ 8 w 168"/>
                  <a:gd name="T25" fmla="*/ 50 h 786"/>
                  <a:gd name="T26" fmla="*/ 14 w 168"/>
                  <a:gd name="T27" fmla="*/ 36 h 786"/>
                  <a:gd name="T28" fmla="*/ 26 w 168"/>
                  <a:gd name="T29" fmla="*/ 24 h 786"/>
                  <a:gd name="T30" fmla="*/ 38 w 168"/>
                  <a:gd name="T31" fmla="*/ 14 h 786"/>
                  <a:gd name="T32" fmla="*/ 52 w 168"/>
                  <a:gd name="T33" fmla="*/ 6 h 786"/>
                  <a:gd name="T34" fmla="*/ 68 w 168"/>
                  <a:gd name="T35" fmla="*/ 2 h 786"/>
                  <a:gd name="T36" fmla="*/ 84 w 168"/>
                  <a:gd name="T37" fmla="*/ 0 h 786"/>
                  <a:gd name="T38" fmla="*/ 84 w 168"/>
                  <a:gd name="T39" fmla="*/ 0 h 786"/>
                  <a:gd name="T40" fmla="*/ 102 w 168"/>
                  <a:gd name="T41" fmla="*/ 2 h 786"/>
                  <a:gd name="T42" fmla="*/ 118 w 168"/>
                  <a:gd name="T43" fmla="*/ 6 h 786"/>
                  <a:gd name="T44" fmla="*/ 132 w 168"/>
                  <a:gd name="T45" fmla="*/ 14 h 786"/>
                  <a:gd name="T46" fmla="*/ 144 w 168"/>
                  <a:gd name="T47" fmla="*/ 24 h 786"/>
                  <a:gd name="T48" fmla="*/ 154 w 168"/>
                  <a:gd name="T49" fmla="*/ 36 h 786"/>
                  <a:gd name="T50" fmla="*/ 162 w 168"/>
                  <a:gd name="T51" fmla="*/ 48 h 786"/>
                  <a:gd name="T52" fmla="*/ 166 w 168"/>
                  <a:gd name="T53" fmla="*/ 64 h 786"/>
                  <a:gd name="T54" fmla="*/ 168 w 168"/>
                  <a:gd name="T55" fmla="*/ 80 h 786"/>
                  <a:gd name="T56" fmla="*/ 168 w 168"/>
                  <a:gd name="T57" fmla="*/ 80 h 786"/>
                  <a:gd name="T58" fmla="*/ 166 w 168"/>
                  <a:gd name="T59" fmla="*/ 96 h 786"/>
                  <a:gd name="T60" fmla="*/ 162 w 168"/>
                  <a:gd name="T61" fmla="*/ 112 h 786"/>
                  <a:gd name="T62" fmla="*/ 154 w 168"/>
                  <a:gd name="T63" fmla="*/ 126 h 786"/>
                  <a:gd name="T64" fmla="*/ 144 w 168"/>
                  <a:gd name="T65" fmla="*/ 138 h 786"/>
                  <a:gd name="T66" fmla="*/ 132 w 168"/>
                  <a:gd name="T67" fmla="*/ 148 h 786"/>
                  <a:gd name="T68" fmla="*/ 118 w 168"/>
                  <a:gd name="T69" fmla="*/ 156 h 786"/>
                  <a:gd name="T70" fmla="*/ 102 w 168"/>
                  <a:gd name="T71" fmla="*/ 160 h 786"/>
                  <a:gd name="T72" fmla="*/ 84 w 168"/>
                  <a:gd name="T73" fmla="*/ 162 h 786"/>
                  <a:gd name="T74" fmla="*/ 84 w 168"/>
                  <a:gd name="T75" fmla="*/ 162 h 786"/>
                  <a:gd name="T76" fmla="*/ 16 w 168"/>
                  <a:gd name="T77" fmla="*/ 786 h 786"/>
                  <a:gd name="T78" fmla="*/ 16 w 168"/>
                  <a:gd name="T79" fmla="*/ 244 h 786"/>
                  <a:gd name="T80" fmla="*/ 152 w 168"/>
                  <a:gd name="T81" fmla="*/ 244 h 786"/>
                  <a:gd name="T82" fmla="*/ 152 w 168"/>
                  <a:gd name="T83" fmla="*/ 244 h 786"/>
                  <a:gd name="T84" fmla="*/ 152 w 168"/>
                  <a:gd name="T85" fmla="*/ 686 h 786"/>
                  <a:gd name="T86" fmla="*/ 152 w 168"/>
                  <a:gd name="T87" fmla="*/ 686 h 786"/>
                  <a:gd name="T88" fmla="*/ 150 w 168"/>
                  <a:gd name="T89" fmla="*/ 704 h 786"/>
                  <a:gd name="T90" fmla="*/ 146 w 168"/>
                  <a:gd name="T91" fmla="*/ 720 h 786"/>
                  <a:gd name="T92" fmla="*/ 138 w 168"/>
                  <a:gd name="T93" fmla="*/ 732 h 786"/>
                  <a:gd name="T94" fmla="*/ 130 w 168"/>
                  <a:gd name="T95" fmla="*/ 744 h 786"/>
                  <a:gd name="T96" fmla="*/ 120 w 168"/>
                  <a:gd name="T97" fmla="*/ 754 h 786"/>
                  <a:gd name="T98" fmla="*/ 108 w 168"/>
                  <a:gd name="T99" fmla="*/ 762 h 786"/>
                  <a:gd name="T100" fmla="*/ 96 w 168"/>
                  <a:gd name="T101" fmla="*/ 768 h 786"/>
                  <a:gd name="T102" fmla="*/ 84 w 168"/>
                  <a:gd name="T103" fmla="*/ 774 h 786"/>
                  <a:gd name="T104" fmla="*/ 60 w 168"/>
                  <a:gd name="T105" fmla="*/ 782 h 786"/>
                  <a:gd name="T106" fmla="*/ 38 w 168"/>
                  <a:gd name="T107" fmla="*/ 784 h 786"/>
                  <a:gd name="T108" fmla="*/ 16 w 168"/>
                  <a:gd name="T109" fmla="*/ 786 h 786"/>
                  <a:gd name="T110" fmla="*/ 16 w 168"/>
                  <a:gd name="T111" fmla="*/ 786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8" h="786">
                    <a:moveTo>
                      <a:pt x="84" y="162"/>
                    </a:moveTo>
                    <a:lnTo>
                      <a:pt x="84" y="162"/>
                    </a:lnTo>
                    <a:lnTo>
                      <a:pt x="68" y="160"/>
                    </a:lnTo>
                    <a:lnTo>
                      <a:pt x="52" y="156"/>
                    </a:lnTo>
                    <a:lnTo>
                      <a:pt x="38" y="148"/>
                    </a:lnTo>
                    <a:lnTo>
                      <a:pt x="26" y="138"/>
                    </a:lnTo>
                    <a:lnTo>
                      <a:pt x="14" y="126"/>
                    </a:lnTo>
                    <a:lnTo>
                      <a:pt x="8" y="112"/>
                    </a:lnTo>
                    <a:lnTo>
                      <a:pt x="2" y="98"/>
                    </a:lnTo>
                    <a:lnTo>
                      <a:pt x="0" y="80"/>
                    </a:lnTo>
                    <a:lnTo>
                      <a:pt x="0" y="80"/>
                    </a:lnTo>
                    <a:lnTo>
                      <a:pt x="2" y="64"/>
                    </a:lnTo>
                    <a:lnTo>
                      <a:pt x="8" y="50"/>
                    </a:lnTo>
                    <a:lnTo>
                      <a:pt x="14" y="36"/>
                    </a:lnTo>
                    <a:lnTo>
                      <a:pt x="26" y="24"/>
                    </a:lnTo>
                    <a:lnTo>
                      <a:pt x="38" y="14"/>
                    </a:lnTo>
                    <a:lnTo>
                      <a:pt x="52" y="6"/>
                    </a:lnTo>
                    <a:lnTo>
                      <a:pt x="68" y="2"/>
                    </a:lnTo>
                    <a:lnTo>
                      <a:pt x="84" y="0"/>
                    </a:lnTo>
                    <a:lnTo>
                      <a:pt x="84" y="0"/>
                    </a:lnTo>
                    <a:lnTo>
                      <a:pt x="102" y="2"/>
                    </a:lnTo>
                    <a:lnTo>
                      <a:pt x="118" y="6"/>
                    </a:lnTo>
                    <a:lnTo>
                      <a:pt x="132" y="14"/>
                    </a:lnTo>
                    <a:lnTo>
                      <a:pt x="144" y="24"/>
                    </a:lnTo>
                    <a:lnTo>
                      <a:pt x="154" y="36"/>
                    </a:lnTo>
                    <a:lnTo>
                      <a:pt x="162" y="48"/>
                    </a:lnTo>
                    <a:lnTo>
                      <a:pt x="166" y="64"/>
                    </a:lnTo>
                    <a:lnTo>
                      <a:pt x="168" y="80"/>
                    </a:lnTo>
                    <a:lnTo>
                      <a:pt x="168" y="80"/>
                    </a:lnTo>
                    <a:lnTo>
                      <a:pt x="166" y="96"/>
                    </a:lnTo>
                    <a:lnTo>
                      <a:pt x="162" y="112"/>
                    </a:lnTo>
                    <a:lnTo>
                      <a:pt x="154" y="126"/>
                    </a:lnTo>
                    <a:lnTo>
                      <a:pt x="144" y="138"/>
                    </a:lnTo>
                    <a:lnTo>
                      <a:pt x="132" y="148"/>
                    </a:lnTo>
                    <a:lnTo>
                      <a:pt x="118" y="156"/>
                    </a:lnTo>
                    <a:lnTo>
                      <a:pt x="102" y="160"/>
                    </a:lnTo>
                    <a:lnTo>
                      <a:pt x="84" y="162"/>
                    </a:lnTo>
                    <a:lnTo>
                      <a:pt x="84" y="162"/>
                    </a:lnTo>
                    <a:close/>
                    <a:moveTo>
                      <a:pt x="16" y="786"/>
                    </a:moveTo>
                    <a:lnTo>
                      <a:pt x="16" y="244"/>
                    </a:lnTo>
                    <a:lnTo>
                      <a:pt x="152" y="244"/>
                    </a:lnTo>
                    <a:lnTo>
                      <a:pt x="152" y="244"/>
                    </a:lnTo>
                    <a:lnTo>
                      <a:pt x="152" y="686"/>
                    </a:lnTo>
                    <a:lnTo>
                      <a:pt x="152" y="686"/>
                    </a:lnTo>
                    <a:lnTo>
                      <a:pt x="150" y="704"/>
                    </a:lnTo>
                    <a:lnTo>
                      <a:pt x="146" y="720"/>
                    </a:lnTo>
                    <a:lnTo>
                      <a:pt x="138" y="732"/>
                    </a:lnTo>
                    <a:lnTo>
                      <a:pt x="130" y="744"/>
                    </a:lnTo>
                    <a:lnTo>
                      <a:pt x="120" y="754"/>
                    </a:lnTo>
                    <a:lnTo>
                      <a:pt x="108" y="762"/>
                    </a:lnTo>
                    <a:lnTo>
                      <a:pt x="96" y="768"/>
                    </a:lnTo>
                    <a:lnTo>
                      <a:pt x="84" y="774"/>
                    </a:lnTo>
                    <a:lnTo>
                      <a:pt x="60" y="782"/>
                    </a:lnTo>
                    <a:lnTo>
                      <a:pt x="38" y="784"/>
                    </a:lnTo>
                    <a:lnTo>
                      <a:pt x="16" y="786"/>
                    </a:lnTo>
                    <a:lnTo>
                      <a:pt x="16" y="7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8" name="Freeform 28"/>
              <p:cNvSpPr>
                <a:spLocks/>
              </p:cNvSpPr>
              <p:nvPr/>
            </p:nvSpPr>
            <p:spPr bwMode="auto">
              <a:xfrm>
                <a:off x="7989468" y="4518126"/>
                <a:ext cx="49837" cy="57313"/>
              </a:xfrm>
              <a:custGeom>
                <a:avLst/>
                <a:gdLst>
                  <a:gd name="T0" fmla="*/ 346 w 480"/>
                  <a:gd name="T1" fmla="*/ 230 h 552"/>
                  <a:gd name="T2" fmla="*/ 344 w 480"/>
                  <a:gd name="T3" fmla="*/ 210 h 552"/>
                  <a:gd name="T4" fmla="*/ 338 w 480"/>
                  <a:gd name="T5" fmla="*/ 170 h 552"/>
                  <a:gd name="T6" fmla="*/ 322 w 480"/>
                  <a:gd name="T7" fmla="*/ 138 h 552"/>
                  <a:gd name="T8" fmla="*/ 308 w 480"/>
                  <a:gd name="T9" fmla="*/ 126 h 552"/>
                  <a:gd name="T10" fmla="*/ 290 w 480"/>
                  <a:gd name="T11" fmla="*/ 118 h 552"/>
                  <a:gd name="T12" fmla="*/ 268 w 480"/>
                  <a:gd name="T13" fmla="*/ 116 h 552"/>
                  <a:gd name="T14" fmla="*/ 250 w 480"/>
                  <a:gd name="T15" fmla="*/ 116 h 552"/>
                  <a:gd name="T16" fmla="*/ 216 w 480"/>
                  <a:gd name="T17" fmla="*/ 126 h 552"/>
                  <a:gd name="T18" fmla="*/ 182 w 480"/>
                  <a:gd name="T19" fmla="*/ 140 h 552"/>
                  <a:gd name="T20" fmla="*/ 134 w 480"/>
                  <a:gd name="T21" fmla="*/ 172 h 552"/>
                  <a:gd name="T22" fmla="*/ 134 w 480"/>
                  <a:gd name="T23" fmla="*/ 452 h 552"/>
                  <a:gd name="T24" fmla="*/ 132 w 480"/>
                  <a:gd name="T25" fmla="*/ 470 h 552"/>
                  <a:gd name="T26" fmla="*/ 120 w 480"/>
                  <a:gd name="T27" fmla="*/ 498 h 552"/>
                  <a:gd name="T28" fmla="*/ 102 w 480"/>
                  <a:gd name="T29" fmla="*/ 518 h 552"/>
                  <a:gd name="T30" fmla="*/ 78 w 480"/>
                  <a:gd name="T31" fmla="*/ 534 h 552"/>
                  <a:gd name="T32" fmla="*/ 42 w 480"/>
                  <a:gd name="T33" fmla="*/ 546 h 552"/>
                  <a:gd name="T34" fmla="*/ 0 w 480"/>
                  <a:gd name="T35" fmla="*/ 552 h 552"/>
                  <a:gd name="T36" fmla="*/ 114 w 480"/>
                  <a:gd name="T37" fmla="*/ 14 h 552"/>
                  <a:gd name="T38" fmla="*/ 128 w 480"/>
                  <a:gd name="T39" fmla="*/ 70 h 552"/>
                  <a:gd name="T40" fmla="*/ 170 w 480"/>
                  <a:gd name="T41" fmla="*/ 42 h 552"/>
                  <a:gd name="T42" fmla="*/ 214 w 480"/>
                  <a:gd name="T43" fmla="*/ 20 h 552"/>
                  <a:gd name="T44" fmla="*/ 262 w 480"/>
                  <a:gd name="T45" fmla="*/ 6 h 552"/>
                  <a:gd name="T46" fmla="*/ 314 w 480"/>
                  <a:gd name="T47" fmla="*/ 0 h 552"/>
                  <a:gd name="T48" fmla="*/ 328 w 480"/>
                  <a:gd name="T49" fmla="*/ 2 h 552"/>
                  <a:gd name="T50" fmla="*/ 358 w 480"/>
                  <a:gd name="T51" fmla="*/ 6 h 552"/>
                  <a:gd name="T52" fmla="*/ 388 w 480"/>
                  <a:gd name="T53" fmla="*/ 16 h 552"/>
                  <a:gd name="T54" fmla="*/ 414 w 480"/>
                  <a:gd name="T55" fmla="*/ 32 h 552"/>
                  <a:gd name="T56" fmla="*/ 438 w 480"/>
                  <a:gd name="T57" fmla="*/ 54 h 552"/>
                  <a:gd name="T58" fmla="*/ 458 w 480"/>
                  <a:gd name="T59" fmla="*/ 84 h 552"/>
                  <a:gd name="T60" fmla="*/ 472 w 480"/>
                  <a:gd name="T61" fmla="*/ 120 h 552"/>
                  <a:gd name="T62" fmla="*/ 478 w 480"/>
                  <a:gd name="T63" fmla="*/ 166 h 552"/>
                  <a:gd name="T64" fmla="*/ 480 w 480"/>
                  <a:gd name="T65" fmla="*/ 190 h 552"/>
                  <a:gd name="T66" fmla="*/ 480 w 480"/>
                  <a:gd name="T67" fmla="*/ 452 h 552"/>
                  <a:gd name="T68" fmla="*/ 474 w 480"/>
                  <a:gd name="T69" fmla="*/ 484 h 552"/>
                  <a:gd name="T70" fmla="*/ 458 w 480"/>
                  <a:gd name="T71" fmla="*/ 510 h 552"/>
                  <a:gd name="T72" fmla="*/ 438 w 480"/>
                  <a:gd name="T73" fmla="*/ 528 h 552"/>
                  <a:gd name="T74" fmla="*/ 412 w 480"/>
                  <a:gd name="T75" fmla="*/ 540 h 552"/>
                  <a:gd name="T76" fmla="*/ 366 w 480"/>
                  <a:gd name="T77" fmla="*/ 550 h 552"/>
                  <a:gd name="T78" fmla="*/ 346 w 480"/>
                  <a:gd name="T79" fmla="*/ 552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80" h="552">
                    <a:moveTo>
                      <a:pt x="346" y="552"/>
                    </a:moveTo>
                    <a:lnTo>
                      <a:pt x="346" y="230"/>
                    </a:lnTo>
                    <a:lnTo>
                      <a:pt x="346" y="230"/>
                    </a:lnTo>
                    <a:lnTo>
                      <a:pt x="344" y="210"/>
                    </a:lnTo>
                    <a:lnTo>
                      <a:pt x="342" y="190"/>
                    </a:lnTo>
                    <a:lnTo>
                      <a:pt x="338" y="170"/>
                    </a:lnTo>
                    <a:lnTo>
                      <a:pt x="332" y="152"/>
                    </a:lnTo>
                    <a:lnTo>
                      <a:pt x="322" y="138"/>
                    </a:lnTo>
                    <a:lnTo>
                      <a:pt x="316" y="132"/>
                    </a:lnTo>
                    <a:lnTo>
                      <a:pt x="308" y="126"/>
                    </a:lnTo>
                    <a:lnTo>
                      <a:pt x="300" y="122"/>
                    </a:lnTo>
                    <a:lnTo>
                      <a:pt x="290" y="118"/>
                    </a:lnTo>
                    <a:lnTo>
                      <a:pt x="280" y="116"/>
                    </a:lnTo>
                    <a:lnTo>
                      <a:pt x="268" y="116"/>
                    </a:lnTo>
                    <a:lnTo>
                      <a:pt x="268" y="116"/>
                    </a:lnTo>
                    <a:lnTo>
                      <a:pt x="250" y="116"/>
                    </a:lnTo>
                    <a:lnTo>
                      <a:pt x="232" y="120"/>
                    </a:lnTo>
                    <a:lnTo>
                      <a:pt x="216" y="126"/>
                    </a:lnTo>
                    <a:lnTo>
                      <a:pt x="198" y="132"/>
                    </a:lnTo>
                    <a:lnTo>
                      <a:pt x="182" y="140"/>
                    </a:lnTo>
                    <a:lnTo>
                      <a:pt x="166" y="150"/>
                    </a:lnTo>
                    <a:lnTo>
                      <a:pt x="134" y="172"/>
                    </a:lnTo>
                    <a:lnTo>
                      <a:pt x="134" y="172"/>
                    </a:lnTo>
                    <a:lnTo>
                      <a:pt x="134" y="452"/>
                    </a:lnTo>
                    <a:lnTo>
                      <a:pt x="134" y="452"/>
                    </a:lnTo>
                    <a:lnTo>
                      <a:pt x="132" y="470"/>
                    </a:lnTo>
                    <a:lnTo>
                      <a:pt x="128" y="484"/>
                    </a:lnTo>
                    <a:lnTo>
                      <a:pt x="120" y="498"/>
                    </a:lnTo>
                    <a:lnTo>
                      <a:pt x="112" y="510"/>
                    </a:lnTo>
                    <a:lnTo>
                      <a:pt x="102" y="518"/>
                    </a:lnTo>
                    <a:lnTo>
                      <a:pt x="90" y="528"/>
                    </a:lnTo>
                    <a:lnTo>
                      <a:pt x="78" y="534"/>
                    </a:lnTo>
                    <a:lnTo>
                      <a:pt x="66" y="540"/>
                    </a:lnTo>
                    <a:lnTo>
                      <a:pt x="42" y="546"/>
                    </a:lnTo>
                    <a:lnTo>
                      <a:pt x="20" y="550"/>
                    </a:lnTo>
                    <a:lnTo>
                      <a:pt x="0" y="552"/>
                    </a:lnTo>
                    <a:lnTo>
                      <a:pt x="0" y="14"/>
                    </a:lnTo>
                    <a:lnTo>
                      <a:pt x="114" y="14"/>
                    </a:lnTo>
                    <a:lnTo>
                      <a:pt x="128" y="70"/>
                    </a:lnTo>
                    <a:lnTo>
                      <a:pt x="128" y="70"/>
                    </a:lnTo>
                    <a:lnTo>
                      <a:pt x="150" y="54"/>
                    </a:lnTo>
                    <a:lnTo>
                      <a:pt x="170" y="42"/>
                    </a:lnTo>
                    <a:lnTo>
                      <a:pt x="192" y="30"/>
                    </a:lnTo>
                    <a:lnTo>
                      <a:pt x="214" y="20"/>
                    </a:lnTo>
                    <a:lnTo>
                      <a:pt x="238" y="12"/>
                    </a:lnTo>
                    <a:lnTo>
                      <a:pt x="262" y="6"/>
                    </a:lnTo>
                    <a:lnTo>
                      <a:pt x="286" y="2"/>
                    </a:lnTo>
                    <a:lnTo>
                      <a:pt x="314" y="0"/>
                    </a:lnTo>
                    <a:lnTo>
                      <a:pt x="314" y="0"/>
                    </a:lnTo>
                    <a:lnTo>
                      <a:pt x="328" y="2"/>
                    </a:lnTo>
                    <a:lnTo>
                      <a:pt x="344" y="2"/>
                    </a:lnTo>
                    <a:lnTo>
                      <a:pt x="358" y="6"/>
                    </a:lnTo>
                    <a:lnTo>
                      <a:pt x="374" y="10"/>
                    </a:lnTo>
                    <a:lnTo>
                      <a:pt x="388" y="16"/>
                    </a:lnTo>
                    <a:lnTo>
                      <a:pt x="402" y="24"/>
                    </a:lnTo>
                    <a:lnTo>
                      <a:pt x="414" y="32"/>
                    </a:lnTo>
                    <a:lnTo>
                      <a:pt x="426" y="42"/>
                    </a:lnTo>
                    <a:lnTo>
                      <a:pt x="438" y="54"/>
                    </a:lnTo>
                    <a:lnTo>
                      <a:pt x="448" y="68"/>
                    </a:lnTo>
                    <a:lnTo>
                      <a:pt x="458" y="84"/>
                    </a:lnTo>
                    <a:lnTo>
                      <a:pt x="464" y="102"/>
                    </a:lnTo>
                    <a:lnTo>
                      <a:pt x="472" y="120"/>
                    </a:lnTo>
                    <a:lnTo>
                      <a:pt x="476" y="142"/>
                    </a:lnTo>
                    <a:lnTo>
                      <a:pt x="478" y="166"/>
                    </a:lnTo>
                    <a:lnTo>
                      <a:pt x="480" y="190"/>
                    </a:lnTo>
                    <a:lnTo>
                      <a:pt x="480" y="190"/>
                    </a:lnTo>
                    <a:lnTo>
                      <a:pt x="480" y="452"/>
                    </a:lnTo>
                    <a:lnTo>
                      <a:pt x="480" y="452"/>
                    </a:lnTo>
                    <a:lnTo>
                      <a:pt x="478" y="470"/>
                    </a:lnTo>
                    <a:lnTo>
                      <a:pt x="474" y="484"/>
                    </a:lnTo>
                    <a:lnTo>
                      <a:pt x="468" y="498"/>
                    </a:lnTo>
                    <a:lnTo>
                      <a:pt x="458" y="510"/>
                    </a:lnTo>
                    <a:lnTo>
                      <a:pt x="448" y="520"/>
                    </a:lnTo>
                    <a:lnTo>
                      <a:pt x="438" y="528"/>
                    </a:lnTo>
                    <a:lnTo>
                      <a:pt x="424" y="534"/>
                    </a:lnTo>
                    <a:lnTo>
                      <a:pt x="412" y="540"/>
                    </a:lnTo>
                    <a:lnTo>
                      <a:pt x="388" y="546"/>
                    </a:lnTo>
                    <a:lnTo>
                      <a:pt x="366" y="550"/>
                    </a:lnTo>
                    <a:lnTo>
                      <a:pt x="346" y="552"/>
                    </a:lnTo>
                    <a:lnTo>
                      <a:pt x="346" y="5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9" name="Freeform 29"/>
              <p:cNvSpPr>
                <a:spLocks/>
              </p:cNvSpPr>
              <p:nvPr/>
            </p:nvSpPr>
            <p:spPr bwMode="auto">
              <a:xfrm>
                <a:off x="8106170" y="4491754"/>
                <a:ext cx="14120" cy="83477"/>
              </a:xfrm>
              <a:custGeom>
                <a:avLst/>
                <a:gdLst>
                  <a:gd name="T0" fmla="*/ 136 w 136"/>
                  <a:gd name="T1" fmla="*/ 704 h 804"/>
                  <a:gd name="T2" fmla="*/ 136 w 136"/>
                  <a:gd name="T3" fmla="*/ 704 h 804"/>
                  <a:gd name="T4" fmla="*/ 134 w 136"/>
                  <a:gd name="T5" fmla="*/ 722 h 804"/>
                  <a:gd name="T6" fmla="*/ 130 w 136"/>
                  <a:gd name="T7" fmla="*/ 738 h 804"/>
                  <a:gd name="T8" fmla="*/ 122 w 136"/>
                  <a:gd name="T9" fmla="*/ 750 h 804"/>
                  <a:gd name="T10" fmla="*/ 114 w 136"/>
                  <a:gd name="T11" fmla="*/ 762 h 804"/>
                  <a:gd name="T12" fmla="*/ 104 w 136"/>
                  <a:gd name="T13" fmla="*/ 772 h 804"/>
                  <a:gd name="T14" fmla="*/ 92 w 136"/>
                  <a:gd name="T15" fmla="*/ 780 h 804"/>
                  <a:gd name="T16" fmla="*/ 80 w 136"/>
                  <a:gd name="T17" fmla="*/ 786 h 804"/>
                  <a:gd name="T18" fmla="*/ 68 w 136"/>
                  <a:gd name="T19" fmla="*/ 792 h 804"/>
                  <a:gd name="T20" fmla="*/ 44 w 136"/>
                  <a:gd name="T21" fmla="*/ 800 h 804"/>
                  <a:gd name="T22" fmla="*/ 22 w 136"/>
                  <a:gd name="T23" fmla="*/ 802 h 804"/>
                  <a:gd name="T24" fmla="*/ 0 w 136"/>
                  <a:gd name="T25" fmla="*/ 804 h 804"/>
                  <a:gd name="T26" fmla="*/ 0 w 136"/>
                  <a:gd name="T27" fmla="*/ 0 h 804"/>
                  <a:gd name="T28" fmla="*/ 136 w 136"/>
                  <a:gd name="T29" fmla="*/ 0 h 804"/>
                  <a:gd name="T30" fmla="*/ 136 w 136"/>
                  <a:gd name="T31" fmla="*/ 0 h 804"/>
                  <a:gd name="T32" fmla="*/ 136 w 136"/>
                  <a:gd name="T33" fmla="*/ 704 h 804"/>
                  <a:gd name="T34" fmla="*/ 136 w 136"/>
                  <a:gd name="T35" fmla="*/ 70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04">
                    <a:moveTo>
                      <a:pt x="136" y="704"/>
                    </a:moveTo>
                    <a:lnTo>
                      <a:pt x="136" y="704"/>
                    </a:lnTo>
                    <a:lnTo>
                      <a:pt x="134" y="722"/>
                    </a:lnTo>
                    <a:lnTo>
                      <a:pt x="130" y="738"/>
                    </a:lnTo>
                    <a:lnTo>
                      <a:pt x="122" y="750"/>
                    </a:lnTo>
                    <a:lnTo>
                      <a:pt x="114" y="762"/>
                    </a:lnTo>
                    <a:lnTo>
                      <a:pt x="104" y="772"/>
                    </a:lnTo>
                    <a:lnTo>
                      <a:pt x="92" y="780"/>
                    </a:lnTo>
                    <a:lnTo>
                      <a:pt x="80" y="786"/>
                    </a:lnTo>
                    <a:lnTo>
                      <a:pt x="68" y="792"/>
                    </a:lnTo>
                    <a:lnTo>
                      <a:pt x="44" y="800"/>
                    </a:lnTo>
                    <a:lnTo>
                      <a:pt x="22" y="802"/>
                    </a:lnTo>
                    <a:lnTo>
                      <a:pt x="0" y="804"/>
                    </a:lnTo>
                    <a:lnTo>
                      <a:pt x="0" y="0"/>
                    </a:lnTo>
                    <a:lnTo>
                      <a:pt x="136" y="0"/>
                    </a:lnTo>
                    <a:lnTo>
                      <a:pt x="136" y="0"/>
                    </a:lnTo>
                    <a:lnTo>
                      <a:pt x="136" y="704"/>
                    </a:lnTo>
                    <a:lnTo>
                      <a:pt x="136" y="7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8" name="Group 147"/>
            <p:cNvGrpSpPr/>
            <p:nvPr userDrawn="1"/>
          </p:nvGrpSpPr>
          <p:grpSpPr>
            <a:xfrm>
              <a:off x="7673274" y="4343117"/>
              <a:ext cx="1123200" cy="148389"/>
              <a:chOff x="7665803" y="4864376"/>
              <a:chExt cx="1123200" cy="148389"/>
            </a:xfrm>
            <a:grpFill/>
          </p:grpSpPr>
          <p:sp>
            <p:nvSpPr>
              <p:cNvPr id="149" name="Freeform 6"/>
              <p:cNvSpPr>
                <a:spLocks/>
              </p:cNvSpPr>
              <p:nvPr userDrawn="1"/>
            </p:nvSpPr>
            <p:spPr bwMode="auto">
              <a:xfrm>
                <a:off x="8119644" y="4924717"/>
                <a:ext cx="103102" cy="66806"/>
              </a:xfrm>
              <a:custGeom>
                <a:avLst/>
                <a:gdLst>
                  <a:gd name="T0" fmla="*/ 111 w 136"/>
                  <a:gd name="T1" fmla="*/ 72 h 92"/>
                  <a:gd name="T2" fmla="*/ 87 w 136"/>
                  <a:gd name="T3" fmla="*/ 88 h 92"/>
                  <a:gd name="T4" fmla="*/ 68 w 136"/>
                  <a:gd name="T5" fmla="*/ 28 h 92"/>
                  <a:gd name="T6" fmla="*/ 67 w 136"/>
                  <a:gd name="T7" fmla="*/ 28 h 92"/>
                  <a:gd name="T8" fmla="*/ 53 w 136"/>
                  <a:gd name="T9" fmla="*/ 72 h 92"/>
                  <a:gd name="T10" fmla="*/ 31 w 136"/>
                  <a:gd name="T11" fmla="*/ 88 h 92"/>
                  <a:gd name="T12" fmla="*/ 0 w 136"/>
                  <a:gd name="T13" fmla="*/ 0 h 92"/>
                  <a:gd name="T14" fmla="*/ 22 w 136"/>
                  <a:gd name="T15" fmla="*/ 0 h 92"/>
                  <a:gd name="T16" fmla="*/ 41 w 136"/>
                  <a:gd name="T17" fmla="*/ 60 h 92"/>
                  <a:gd name="T18" fmla="*/ 41 w 136"/>
                  <a:gd name="T19" fmla="*/ 60 h 92"/>
                  <a:gd name="T20" fmla="*/ 60 w 136"/>
                  <a:gd name="T21" fmla="*/ 0 h 92"/>
                  <a:gd name="T22" fmla="*/ 77 w 136"/>
                  <a:gd name="T23" fmla="*/ 0 h 92"/>
                  <a:gd name="T24" fmla="*/ 96 w 136"/>
                  <a:gd name="T25" fmla="*/ 60 h 92"/>
                  <a:gd name="T26" fmla="*/ 97 w 136"/>
                  <a:gd name="T27" fmla="*/ 60 h 92"/>
                  <a:gd name="T28" fmla="*/ 115 w 136"/>
                  <a:gd name="T29" fmla="*/ 0 h 92"/>
                  <a:gd name="T30" fmla="*/ 136 w 136"/>
                  <a:gd name="T31" fmla="*/ 0 h 92"/>
                  <a:gd name="T32" fmla="*/ 111 w 136"/>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 h="92">
                    <a:moveTo>
                      <a:pt x="111" y="72"/>
                    </a:moveTo>
                    <a:cubicBezTo>
                      <a:pt x="103" y="92"/>
                      <a:pt x="87" y="88"/>
                      <a:pt x="87" y="88"/>
                    </a:cubicBezTo>
                    <a:cubicBezTo>
                      <a:pt x="68" y="28"/>
                      <a:pt x="68" y="28"/>
                      <a:pt x="68" y="28"/>
                    </a:cubicBezTo>
                    <a:cubicBezTo>
                      <a:pt x="67" y="28"/>
                      <a:pt x="67" y="28"/>
                      <a:pt x="67" y="28"/>
                    </a:cubicBezTo>
                    <a:cubicBezTo>
                      <a:pt x="67" y="28"/>
                      <a:pt x="58"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6" y="60"/>
                      <a:pt x="96" y="60"/>
                      <a:pt x="96" y="60"/>
                    </a:cubicBezTo>
                    <a:cubicBezTo>
                      <a:pt x="97" y="60"/>
                      <a:pt x="97" y="60"/>
                      <a:pt x="97" y="60"/>
                    </a:cubicBezTo>
                    <a:cubicBezTo>
                      <a:pt x="115" y="0"/>
                      <a:pt x="115" y="0"/>
                      <a:pt x="115" y="0"/>
                    </a:cubicBezTo>
                    <a:cubicBezTo>
                      <a:pt x="136" y="0"/>
                      <a:pt x="136" y="0"/>
                      <a:pt x="136" y="0"/>
                    </a:cubicBezTo>
                    <a:cubicBezTo>
                      <a:pt x="136"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50" name="Freeform 7"/>
              <p:cNvSpPr>
                <a:spLocks noEditPoints="1"/>
              </p:cNvSpPr>
              <p:nvPr userDrawn="1"/>
            </p:nvSpPr>
            <p:spPr bwMode="auto">
              <a:xfrm>
                <a:off x="8225958" y="4923177"/>
                <a:ext cx="57493" cy="66190"/>
              </a:xfrm>
              <a:custGeom>
                <a:avLst/>
                <a:gdLst>
                  <a:gd name="T0" fmla="*/ 57 w 76"/>
                  <a:gd name="T1" fmla="*/ 90 h 91"/>
                  <a:gd name="T2" fmla="*/ 53 w 76"/>
                  <a:gd name="T3" fmla="*/ 81 h 91"/>
                  <a:gd name="T4" fmla="*/ 28 w 76"/>
                  <a:gd name="T5" fmla="*/ 91 h 91"/>
                  <a:gd name="T6" fmla="*/ 0 w 76"/>
                  <a:gd name="T7" fmla="*/ 63 h 91"/>
                  <a:gd name="T8" fmla="*/ 36 w 76"/>
                  <a:gd name="T9" fmla="*/ 34 h 91"/>
                  <a:gd name="T10" fmla="*/ 51 w 76"/>
                  <a:gd name="T11" fmla="*/ 34 h 91"/>
                  <a:gd name="T12" fmla="*/ 51 w 76"/>
                  <a:gd name="T13" fmla="*/ 31 h 91"/>
                  <a:gd name="T14" fmla="*/ 35 w 76"/>
                  <a:gd name="T15" fmla="*/ 17 h 91"/>
                  <a:gd name="T16" fmla="*/ 12 w 76"/>
                  <a:gd name="T17" fmla="*/ 23 h 91"/>
                  <a:gd name="T18" fmla="*/ 5 w 76"/>
                  <a:gd name="T19" fmla="*/ 9 h 91"/>
                  <a:gd name="T20" fmla="*/ 39 w 76"/>
                  <a:gd name="T21" fmla="*/ 0 h 91"/>
                  <a:gd name="T22" fmla="*/ 74 w 76"/>
                  <a:gd name="T23" fmla="*/ 31 h 91"/>
                  <a:gd name="T24" fmla="*/ 74 w 76"/>
                  <a:gd name="T25" fmla="*/ 66 h 91"/>
                  <a:gd name="T26" fmla="*/ 76 w 76"/>
                  <a:gd name="T27" fmla="*/ 90 h 91"/>
                  <a:gd name="T28" fmla="*/ 57 w 76"/>
                  <a:gd name="T29" fmla="*/ 90 h 91"/>
                  <a:gd name="T30" fmla="*/ 51 w 76"/>
                  <a:gd name="T31" fmla="*/ 49 h 91"/>
                  <a:gd name="T32" fmla="*/ 39 w 76"/>
                  <a:gd name="T33" fmla="*/ 49 h 91"/>
                  <a:gd name="T34" fmla="*/ 22 w 76"/>
                  <a:gd name="T35" fmla="*/ 61 h 91"/>
                  <a:gd name="T36" fmla="*/ 36 w 76"/>
                  <a:gd name="T37" fmla="*/ 73 h 91"/>
                  <a:gd name="T38" fmla="*/ 51 w 76"/>
                  <a:gd name="T39" fmla="*/ 68 h 91"/>
                  <a:gd name="T40" fmla="*/ 51 w 76"/>
                  <a:gd name="T41" fmla="*/ 4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91">
                    <a:moveTo>
                      <a:pt x="57" y="90"/>
                    </a:moveTo>
                    <a:cubicBezTo>
                      <a:pt x="53" y="81"/>
                      <a:pt x="53" y="81"/>
                      <a:pt x="53" y="81"/>
                    </a:cubicBezTo>
                    <a:cubicBezTo>
                      <a:pt x="48" y="86"/>
                      <a:pt x="40" y="91"/>
                      <a:pt x="28" y="91"/>
                    </a:cubicBezTo>
                    <a:cubicBezTo>
                      <a:pt x="12" y="91"/>
                      <a:pt x="0" y="80"/>
                      <a:pt x="0" y="63"/>
                    </a:cubicBezTo>
                    <a:cubicBezTo>
                      <a:pt x="0" y="45"/>
                      <a:pt x="14" y="35"/>
                      <a:pt x="36" y="34"/>
                    </a:cubicBezTo>
                    <a:cubicBezTo>
                      <a:pt x="51" y="34"/>
                      <a:pt x="51" y="34"/>
                      <a:pt x="51" y="34"/>
                    </a:cubicBezTo>
                    <a:cubicBezTo>
                      <a:pt x="51" y="33"/>
                      <a:pt x="51" y="32"/>
                      <a:pt x="51" y="31"/>
                    </a:cubicBezTo>
                    <a:cubicBezTo>
                      <a:pt x="51" y="21"/>
                      <a:pt x="44" y="17"/>
                      <a:pt x="35" y="17"/>
                    </a:cubicBezTo>
                    <a:cubicBezTo>
                      <a:pt x="25" y="17"/>
                      <a:pt x="18" y="20"/>
                      <a:pt x="12" y="23"/>
                    </a:cubicBezTo>
                    <a:cubicBezTo>
                      <a:pt x="5" y="9"/>
                      <a:pt x="5" y="9"/>
                      <a:pt x="5" y="9"/>
                    </a:cubicBezTo>
                    <a:cubicBezTo>
                      <a:pt x="17" y="2"/>
                      <a:pt x="28" y="0"/>
                      <a:pt x="39" y="0"/>
                    </a:cubicBezTo>
                    <a:cubicBezTo>
                      <a:pt x="61" y="0"/>
                      <a:pt x="74" y="9"/>
                      <a:pt x="74" y="31"/>
                    </a:cubicBezTo>
                    <a:cubicBezTo>
                      <a:pt x="74" y="66"/>
                      <a:pt x="74" y="66"/>
                      <a:pt x="74" y="66"/>
                    </a:cubicBezTo>
                    <a:cubicBezTo>
                      <a:pt x="74" y="78"/>
                      <a:pt x="75" y="86"/>
                      <a:pt x="76" y="90"/>
                    </a:cubicBezTo>
                    <a:lnTo>
                      <a:pt x="57" y="90"/>
                    </a:lnTo>
                    <a:close/>
                    <a:moveTo>
                      <a:pt x="51" y="49"/>
                    </a:moveTo>
                    <a:cubicBezTo>
                      <a:pt x="39" y="49"/>
                      <a:pt x="39" y="49"/>
                      <a:pt x="39" y="49"/>
                    </a:cubicBezTo>
                    <a:cubicBezTo>
                      <a:pt x="27" y="50"/>
                      <a:pt x="22" y="54"/>
                      <a:pt x="22" y="61"/>
                    </a:cubicBezTo>
                    <a:cubicBezTo>
                      <a:pt x="22" y="68"/>
                      <a:pt x="27" y="73"/>
                      <a:pt x="36" y="73"/>
                    </a:cubicBezTo>
                    <a:cubicBezTo>
                      <a:pt x="44" y="73"/>
                      <a:pt x="49" y="70"/>
                      <a:pt x="51" y="68"/>
                    </a:cubicBezTo>
                    <a:lnTo>
                      <a:pt x="51" y="4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51" name="Freeform 8"/>
              <p:cNvSpPr>
                <a:spLocks noEditPoints="1"/>
              </p:cNvSpPr>
              <p:nvPr userDrawn="1"/>
            </p:nvSpPr>
            <p:spPr bwMode="auto">
              <a:xfrm>
                <a:off x="8342550" y="4892699"/>
                <a:ext cx="62311" cy="96668"/>
              </a:xfrm>
              <a:custGeom>
                <a:avLst/>
                <a:gdLst>
                  <a:gd name="T0" fmla="*/ 47 w 82"/>
                  <a:gd name="T1" fmla="*/ 133 h 133"/>
                  <a:gd name="T2" fmla="*/ 0 w 82"/>
                  <a:gd name="T3" fmla="*/ 88 h 133"/>
                  <a:gd name="T4" fmla="*/ 48 w 82"/>
                  <a:gd name="T5" fmla="*/ 42 h 133"/>
                  <a:gd name="T6" fmla="*/ 59 w 82"/>
                  <a:gd name="T7" fmla="*/ 42 h 133"/>
                  <a:gd name="T8" fmla="*/ 60 w 82"/>
                  <a:gd name="T9" fmla="*/ 0 h 133"/>
                  <a:gd name="T10" fmla="*/ 82 w 82"/>
                  <a:gd name="T11" fmla="*/ 0 h 133"/>
                  <a:gd name="T12" fmla="*/ 81 w 82"/>
                  <a:gd name="T13" fmla="*/ 126 h 133"/>
                  <a:gd name="T14" fmla="*/ 47 w 82"/>
                  <a:gd name="T15" fmla="*/ 133 h 133"/>
                  <a:gd name="T16" fmla="*/ 59 w 82"/>
                  <a:gd name="T17" fmla="*/ 60 h 133"/>
                  <a:gd name="T18" fmla="*/ 49 w 82"/>
                  <a:gd name="T19" fmla="*/ 59 h 133"/>
                  <a:gd name="T20" fmla="*/ 22 w 82"/>
                  <a:gd name="T21" fmla="*/ 87 h 133"/>
                  <a:gd name="T22" fmla="*/ 49 w 82"/>
                  <a:gd name="T23" fmla="*/ 114 h 133"/>
                  <a:gd name="T24" fmla="*/ 59 w 82"/>
                  <a:gd name="T25" fmla="*/ 113 h 133"/>
                  <a:gd name="T26" fmla="*/ 59 w 82"/>
                  <a:gd name="T27" fmla="*/ 6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3">
                    <a:moveTo>
                      <a:pt x="47" y="133"/>
                    </a:moveTo>
                    <a:cubicBezTo>
                      <a:pt x="21" y="133"/>
                      <a:pt x="0" y="117"/>
                      <a:pt x="0" y="88"/>
                    </a:cubicBezTo>
                    <a:cubicBezTo>
                      <a:pt x="0" y="61"/>
                      <a:pt x="20" y="42"/>
                      <a:pt x="48" y="42"/>
                    </a:cubicBezTo>
                    <a:cubicBezTo>
                      <a:pt x="52" y="42"/>
                      <a:pt x="56" y="42"/>
                      <a:pt x="59" y="42"/>
                    </a:cubicBezTo>
                    <a:cubicBezTo>
                      <a:pt x="60" y="0"/>
                      <a:pt x="60" y="0"/>
                      <a:pt x="60" y="0"/>
                    </a:cubicBezTo>
                    <a:cubicBezTo>
                      <a:pt x="82" y="0"/>
                      <a:pt x="82" y="0"/>
                      <a:pt x="82" y="0"/>
                    </a:cubicBezTo>
                    <a:cubicBezTo>
                      <a:pt x="81" y="126"/>
                      <a:pt x="81" y="126"/>
                      <a:pt x="81" y="126"/>
                    </a:cubicBezTo>
                    <a:cubicBezTo>
                      <a:pt x="73" y="130"/>
                      <a:pt x="62" y="133"/>
                      <a:pt x="47" y="133"/>
                    </a:cubicBezTo>
                    <a:close/>
                    <a:moveTo>
                      <a:pt x="59" y="60"/>
                    </a:moveTo>
                    <a:cubicBezTo>
                      <a:pt x="56" y="60"/>
                      <a:pt x="54" y="59"/>
                      <a:pt x="49" y="59"/>
                    </a:cubicBezTo>
                    <a:cubicBezTo>
                      <a:pt x="33" y="59"/>
                      <a:pt x="22" y="70"/>
                      <a:pt x="22" y="87"/>
                    </a:cubicBezTo>
                    <a:cubicBezTo>
                      <a:pt x="22" y="103"/>
                      <a:pt x="32" y="114"/>
                      <a:pt x="49" y="114"/>
                    </a:cubicBezTo>
                    <a:cubicBezTo>
                      <a:pt x="53" y="114"/>
                      <a:pt x="57" y="114"/>
                      <a:pt x="59" y="113"/>
                    </a:cubicBezTo>
                    <a:lnTo>
                      <a:pt x="59" y="60"/>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52" name="Freeform 9"/>
              <p:cNvSpPr>
                <a:spLocks/>
              </p:cNvSpPr>
              <p:nvPr userDrawn="1"/>
            </p:nvSpPr>
            <p:spPr bwMode="auto">
              <a:xfrm>
                <a:off x="8093949"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53" name="Freeform 10"/>
              <p:cNvSpPr>
                <a:spLocks/>
              </p:cNvSpPr>
              <p:nvPr userDrawn="1"/>
            </p:nvSpPr>
            <p:spPr bwMode="auto">
              <a:xfrm>
                <a:off x="8060545"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54" name="Freeform 11"/>
              <p:cNvSpPr>
                <a:spLocks/>
              </p:cNvSpPr>
              <p:nvPr userDrawn="1"/>
            </p:nvSpPr>
            <p:spPr bwMode="auto">
              <a:xfrm>
                <a:off x="8297262" y="4923177"/>
                <a:ext cx="43039" cy="66190"/>
              </a:xfrm>
              <a:custGeom>
                <a:avLst/>
                <a:gdLst>
                  <a:gd name="T0" fmla="*/ 49 w 57"/>
                  <a:gd name="T1" fmla="*/ 22 h 91"/>
                  <a:gd name="T2" fmla="*/ 39 w 57"/>
                  <a:gd name="T3" fmla="*/ 20 h 91"/>
                  <a:gd name="T4" fmla="*/ 22 w 57"/>
                  <a:gd name="T5" fmla="*/ 27 h 91"/>
                  <a:gd name="T6" fmla="*/ 22 w 57"/>
                  <a:gd name="T7" fmla="*/ 74 h 91"/>
                  <a:gd name="T8" fmla="*/ 0 w 57"/>
                  <a:gd name="T9" fmla="*/ 90 h 91"/>
                  <a:gd name="T10" fmla="*/ 0 w 57"/>
                  <a:gd name="T11" fmla="*/ 2 h 91"/>
                  <a:gd name="T12" fmla="*/ 18 w 57"/>
                  <a:gd name="T13" fmla="*/ 2 h 91"/>
                  <a:gd name="T14" fmla="*/ 21 w 57"/>
                  <a:gd name="T15" fmla="*/ 11 h 91"/>
                  <a:gd name="T16" fmla="*/ 45 w 57"/>
                  <a:gd name="T17" fmla="*/ 0 h 91"/>
                  <a:gd name="T18" fmla="*/ 57 w 57"/>
                  <a:gd name="T19" fmla="*/ 4 h 91"/>
                  <a:gd name="T20" fmla="*/ 49 w 57"/>
                  <a:gd name="T21" fmla="*/ 2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1">
                    <a:moveTo>
                      <a:pt x="49" y="22"/>
                    </a:moveTo>
                    <a:cubicBezTo>
                      <a:pt x="45" y="20"/>
                      <a:pt x="41" y="20"/>
                      <a:pt x="39" y="20"/>
                    </a:cubicBezTo>
                    <a:cubicBezTo>
                      <a:pt x="34" y="20"/>
                      <a:pt x="28" y="22"/>
                      <a:pt x="22" y="27"/>
                    </a:cubicBezTo>
                    <a:cubicBezTo>
                      <a:pt x="22" y="27"/>
                      <a:pt x="22" y="57"/>
                      <a:pt x="22" y="74"/>
                    </a:cubicBezTo>
                    <a:cubicBezTo>
                      <a:pt x="22" y="91"/>
                      <a:pt x="0" y="90"/>
                      <a:pt x="0" y="90"/>
                    </a:cubicBezTo>
                    <a:cubicBezTo>
                      <a:pt x="0" y="2"/>
                      <a:pt x="0" y="2"/>
                      <a:pt x="0" y="2"/>
                    </a:cubicBezTo>
                    <a:cubicBezTo>
                      <a:pt x="18" y="2"/>
                      <a:pt x="18" y="2"/>
                      <a:pt x="18"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55" name="Freeform 12"/>
              <p:cNvSpPr>
                <a:spLocks/>
              </p:cNvSpPr>
              <p:nvPr userDrawn="1"/>
            </p:nvSpPr>
            <p:spPr bwMode="auto">
              <a:xfrm>
                <a:off x="7907980" y="4892699"/>
                <a:ext cx="98605" cy="95129"/>
              </a:xfrm>
              <a:custGeom>
                <a:avLst/>
                <a:gdLst>
                  <a:gd name="T0" fmla="*/ 106 w 130"/>
                  <a:gd name="T1" fmla="*/ 131 h 131"/>
                  <a:gd name="T2" fmla="*/ 106 w 130"/>
                  <a:gd name="T3" fmla="*/ 53 h 131"/>
                  <a:gd name="T4" fmla="*/ 107 w 130"/>
                  <a:gd name="T5" fmla="*/ 39 h 131"/>
                  <a:gd name="T6" fmla="*/ 106 w 130"/>
                  <a:gd name="T7" fmla="*/ 39 h 131"/>
                  <a:gd name="T8" fmla="*/ 99 w 130"/>
                  <a:gd name="T9" fmla="*/ 52 h 131"/>
                  <a:gd name="T10" fmla="*/ 72 w 130"/>
                  <a:gd name="T11" fmla="*/ 93 h 131"/>
                  <a:gd name="T12" fmla="*/ 60 w 130"/>
                  <a:gd name="T13" fmla="*/ 93 h 131"/>
                  <a:gd name="T14" fmla="*/ 32 w 130"/>
                  <a:gd name="T15" fmla="*/ 51 h 131"/>
                  <a:gd name="T16" fmla="*/ 24 w 130"/>
                  <a:gd name="T17" fmla="*/ 39 h 131"/>
                  <a:gd name="T18" fmla="*/ 23 w 130"/>
                  <a:gd name="T19" fmla="*/ 39 h 131"/>
                  <a:gd name="T20" fmla="*/ 24 w 130"/>
                  <a:gd name="T21" fmla="*/ 52 h 131"/>
                  <a:gd name="T22" fmla="*/ 24 w 130"/>
                  <a:gd name="T23" fmla="*/ 131 h 131"/>
                  <a:gd name="T24" fmla="*/ 0 w 130"/>
                  <a:gd name="T25" fmla="*/ 131 h 131"/>
                  <a:gd name="T26" fmla="*/ 0 w 130"/>
                  <a:gd name="T27" fmla="*/ 0 h 131"/>
                  <a:gd name="T28" fmla="*/ 22 w 130"/>
                  <a:gd name="T29" fmla="*/ 0 h 131"/>
                  <a:gd name="T30" fmla="*/ 58 w 130"/>
                  <a:gd name="T31" fmla="*/ 52 h 131"/>
                  <a:gd name="T32" fmla="*/ 66 w 130"/>
                  <a:gd name="T33" fmla="*/ 66 h 131"/>
                  <a:gd name="T34" fmla="*/ 67 w 130"/>
                  <a:gd name="T35" fmla="*/ 66 h 131"/>
                  <a:gd name="T36" fmla="*/ 75 w 130"/>
                  <a:gd name="T37" fmla="*/ 52 h 131"/>
                  <a:gd name="T38" fmla="*/ 108 w 130"/>
                  <a:gd name="T39" fmla="*/ 0 h 131"/>
                  <a:gd name="T40" fmla="*/ 130 w 130"/>
                  <a:gd name="T41" fmla="*/ 0 h 131"/>
                  <a:gd name="T42" fmla="*/ 130 w 130"/>
                  <a:gd name="T43" fmla="*/ 131 h 131"/>
                  <a:gd name="T44" fmla="*/ 106 w 130"/>
                  <a:gd name="T45"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0" h="131">
                    <a:moveTo>
                      <a:pt x="106" y="131"/>
                    </a:moveTo>
                    <a:cubicBezTo>
                      <a:pt x="106" y="53"/>
                      <a:pt x="106" y="53"/>
                      <a:pt x="106" y="53"/>
                    </a:cubicBezTo>
                    <a:cubicBezTo>
                      <a:pt x="106" y="48"/>
                      <a:pt x="106" y="44"/>
                      <a:pt x="107" y="39"/>
                    </a:cubicBezTo>
                    <a:cubicBezTo>
                      <a:pt x="106" y="39"/>
                      <a:pt x="106" y="39"/>
                      <a:pt x="106" y="39"/>
                    </a:cubicBezTo>
                    <a:cubicBezTo>
                      <a:pt x="105" y="43"/>
                      <a:pt x="101" y="49"/>
                      <a:pt x="99" y="52"/>
                    </a:cubicBezTo>
                    <a:cubicBezTo>
                      <a:pt x="72" y="93"/>
                      <a:pt x="72" y="93"/>
                      <a:pt x="72" y="93"/>
                    </a:cubicBezTo>
                    <a:cubicBezTo>
                      <a:pt x="60" y="93"/>
                      <a:pt x="60" y="93"/>
                      <a:pt x="60" y="93"/>
                    </a:cubicBezTo>
                    <a:cubicBezTo>
                      <a:pt x="32" y="51"/>
                      <a:pt x="32" y="51"/>
                      <a:pt x="32" y="51"/>
                    </a:cubicBezTo>
                    <a:cubicBezTo>
                      <a:pt x="29" y="48"/>
                      <a:pt x="26" y="44"/>
                      <a:pt x="24" y="39"/>
                    </a:cubicBezTo>
                    <a:cubicBezTo>
                      <a:pt x="23" y="39"/>
                      <a:pt x="23" y="39"/>
                      <a:pt x="23" y="39"/>
                    </a:cubicBezTo>
                    <a:cubicBezTo>
                      <a:pt x="24" y="44"/>
                      <a:pt x="24" y="48"/>
                      <a:pt x="24" y="52"/>
                    </a:cubicBezTo>
                    <a:cubicBezTo>
                      <a:pt x="24" y="131"/>
                      <a:pt x="24" y="131"/>
                      <a:pt x="24" y="131"/>
                    </a:cubicBezTo>
                    <a:cubicBezTo>
                      <a:pt x="0" y="131"/>
                      <a:pt x="0" y="131"/>
                      <a:pt x="0" y="131"/>
                    </a:cubicBezTo>
                    <a:cubicBezTo>
                      <a:pt x="0" y="0"/>
                      <a:pt x="0" y="0"/>
                      <a:pt x="0" y="0"/>
                    </a:cubicBezTo>
                    <a:cubicBezTo>
                      <a:pt x="22" y="0"/>
                      <a:pt x="22" y="0"/>
                      <a:pt x="22" y="0"/>
                    </a:cubicBezTo>
                    <a:cubicBezTo>
                      <a:pt x="58" y="52"/>
                      <a:pt x="58" y="52"/>
                      <a:pt x="58" y="52"/>
                    </a:cubicBezTo>
                    <a:cubicBezTo>
                      <a:pt x="61" y="57"/>
                      <a:pt x="64" y="61"/>
                      <a:pt x="66" y="66"/>
                    </a:cubicBezTo>
                    <a:cubicBezTo>
                      <a:pt x="67" y="66"/>
                      <a:pt x="67" y="66"/>
                      <a:pt x="67" y="66"/>
                    </a:cubicBezTo>
                    <a:cubicBezTo>
                      <a:pt x="69" y="61"/>
                      <a:pt x="71" y="57"/>
                      <a:pt x="75" y="52"/>
                    </a:cubicBezTo>
                    <a:cubicBezTo>
                      <a:pt x="108" y="0"/>
                      <a:pt x="108" y="0"/>
                      <a:pt x="108" y="0"/>
                    </a:cubicBezTo>
                    <a:cubicBezTo>
                      <a:pt x="130" y="0"/>
                      <a:pt x="130" y="0"/>
                      <a:pt x="130" y="0"/>
                    </a:cubicBezTo>
                    <a:cubicBezTo>
                      <a:pt x="130" y="131"/>
                      <a:pt x="130" y="131"/>
                      <a:pt x="130" y="131"/>
                    </a:cubicBezTo>
                    <a:lnTo>
                      <a:pt x="106" y="131"/>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56" name="Freeform 13"/>
              <p:cNvSpPr>
                <a:spLocks/>
              </p:cNvSpPr>
              <p:nvPr userDrawn="1"/>
            </p:nvSpPr>
            <p:spPr bwMode="auto">
              <a:xfrm>
                <a:off x="7665803" y="4864376"/>
                <a:ext cx="100854" cy="148389"/>
              </a:xfrm>
              <a:custGeom>
                <a:avLst/>
                <a:gdLst>
                  <a:gd name="T0" fmla="*/ 133 w 133"/>
                  <a:gd name="T1" fmla="*/ 23 h 204"/>
                  <a:gd name="T2" fmla="*/ 132 w 133"/>
                  <a:gd name="T3" fmla="*/ 22 h 204"/>
                  <a:gd name="T4" fmla="*/ 65 w 133"/>
                  <a:gd name="T5" fmla="*/ 20 h 204"/>
                  <a:gd name="T6" fmla="*/ 52 w 133"/>
                  <a:gd name="T7" fmla="*/ 52 h 204"/>
                  <a:gd name="T8" fmla="*/ 20 w 133"/>
                  <a:gd name="T9" fmla="*/ 65 h 204"/>
                  <a:gd name="T10" fmla="*/ 22 w 133"/>
                  <a:gd name="T11" fmla="*/ 132 h 204"/>
                  <a:gd name="T12" fmla="*/ 95 w 133"/>
                  <a:gd name="T13" fmla="*/ 204 h 204"/>
                  <a:gd name="T14" fmla="*/ 117 w 133"/>
                  <a:gd name="T15" fmla="*/ 182 h 204"/>
                  <a:gd name="T16" fmla="*/ 44 w 133"/>
                  <a:gd name="T17" fmla="*/ 110 h 204"/>
                  <a:gd name="T18" fmla="*/ 42 w 133"/>
                  <a:gd name="T19" fmla="*/ 86 h 204"/>
                  <a:gd name="T20" fmla="*/ 66 w 133"/>
                  <a:gd name="T21" fmla="*/ 88 h 204"/>
                  <a:gd name="T22" fmla="*/ 133 w 133"/>
                  <a:gd name="T23" fmla="*/ 155 h 204"/>
                  <a:gd name="T24" fmla="*/ 133 w 133"/>
                  <a:gd name="T25" fmla="*/ 111 h 204"/>
                  <a:gd name="T26" fmla="*/ 88 w 133"/>
                  <a:gd name="T27" fmla="*/ 66 h 204"/>
                  <a:gd name="T28" fmla="*/ 86 w 133"/>
                  <a:gd name="T29" fmla="*/ 42 h 204"/>
                  <a:gd name="T30" fmla="*/ 110 w 133"/>
                  <a:gd name="T31" fmla="*/ 44 h 204"/>
                  <a:gd name="T32" fmla="*/ 133 w 133"/>
                  <a:gd name="T33" fmla="*/ 66 h 204"/>
                  <a:gd name="T34" fmla="*/ 133 w 133"/>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204">
                    <a:moveTo>
                      <a:pt x="133" y="23"/>
                    </a:moveTo>
                    <a:cubicBezTo>
                      <a:pt x="132" y="22"/>
                      <a:pt x="132" y="22"/>
                      <a:pt x="132" y="22"/>
                    </a:cubicBezTo>
                    <a:cubicBezTo>
                      <a:pt x="110" y="0"/>
                      <a:pt x="82" y="2"/>
                      <a:pt x="65" y="20"/>
                    </a:cubicBezTo>
                    <a:cubicBezTo>
                      <a:pt x="53" y="32"/>
                      <a:pt x="51" y="46"/>
                      <a:pt x="52" y="52"/>
                    </a:cubicBezTo>
                    <a:cubicBezTo>
                      <a:pt x="47" y="51"/>
                      <a:pt x="32" y="52"/>
                      <a:pt x="20" y="65"/>
                    </a:cubicBezTo>
                    <a:cubicBezTo>
                      <a:pt x="3" y="82"/>
                      <a:pt x="0" y="110"/>
                      <a:pt x="22" y="132"/>
                    </a:cubicBezTo>
                    <a:cubicBezTo>
                      <a:pt x="95" y="204"/>
                      <a:pt x="95" y="204"/>
                      <a:pt x="95" y="204"/>
                    </a:cubicBezTo>
                    <a:cubicBezTo>
                      <a:pt x="117" y="182"/>
                      <a:pt x="117" y="182"/>
                      <a:pt x="117" y="182"/>
                    </a:cubicBezTo>
                    <a:cubicBezTo>
                      <a:pt x="44" y="110"/>
                      <a:pt x="44" y="110"/>
                      <a:pt x="44" y="110"/>
                    </a:cubicBezTo>
                    <a:cubicBezTo>
                      <a:pt x="35" y="101"/>
                      <a:pt x="36" y="91"/>
                      <a:pt x="42" y="86"/>
                    </a:cubicBezTo>
                    <a:cubicBezTo>
                      <a:pt x="47" y="80"/>
                      <a:pt x="58" y="79"/>
                      <a:pt x="66" y="88"/>
                    </a:cubicBezTo>
                    <a:cubicBezTo>
                      <a:pt x="133" y="155"/>
                      <a:pt x="133" y="155"/>
                      <a:pt x="133" y="155"/>
                    </a:cubicBezTo>
                    <a:cubicBezTo>
                      <a:pt x="133" y="111"/>
                      <a:pt x="133" y="111"/>
                      <a:pt x="133" y="111"/>
                    </a:cubicBezTo>
                    <a:cubicBezTo>
                      <a:pt x="88" y="66"/>
                      <a:pt x="88" y="66"/>
                      <a:pt x="88" y="66"/>
                    </a:cubicBezTo>
                    <a:cubicBezTo>
                      <a:pt x="80" y="57"/>
                      <a:pt x="80" y="47"/>
                      <a:pt x="86" y="42"/>
                    </a:cubicBezTo>
                    <a:cubicBezTo>
                      <a:pt x="92" y="36"/>
                      <a:pt x="102" y="35"/>
                      <a:pt x="110" y="44"/>
                    </a:cubicBezTo>
                    <a:cubicBezTo>
                      <a:pt x="133" y="66"/>
                      <a:pt x="133" y="66"/>
                      <a:pt x="133" y="66"/>
                    </a:cubicBezTo>
                    <a:lnTo>
                      <a:pt x="133"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57" name="Freeform 14"/>
              <p:cNvSpPr>
                <a:spLocks noEditPoints="1"/>
              </p:cNvSpPr>
              <p:nvPr userDrawn="1"/>
            </p:nvSpPr>
            <p:spPr bwMode="auto">
              <a:xfrm>
                <a:off x="8023287" y="4895470"/>
                <a:ext cx="20556" cy="93282"/>
              </a:xfrm>
              <a:custGeom>
                <a:avLst/>
                <a:gdLst>
                  <a:gd name="T0" fmla="*/ 14 w 27"/>
                  <a:gd name="T1" fmla="*/ 26 h 128"/>
                  <a:gd name="T2" fmla="*/ 0 w 27"/>
                  <a:gd name="T3" fmla="*/ 13 h 128"/>
                  <a:gd name="T4" fmla="*/ 14 w 27"/>
                  <a:gd name="T5" fmla="*/ 0 h 128"/>
                  <a:gd name="T6" fmla="*/ 27 w 27"/>
                  <a:gd name="T7" fmla="*/ 13 h 128"/>
                  <a:gd name="T8" fmla="*/ 14 w 27"/>
                  <a:gd name="T9" fmla="*/ 26 h 128"/>
                  <a:gd name="T10" fmla="*/ 3 w 27"/>
                  <a:gd name="T11" fmla="*/ 128 h 128"/>
                  <a:gd name="T12" fmla="*/ 3 w 27"/>
                  <a:gd name="T13" fmla="*/ 40 h 128"/>
                  <a:gd name="T14" fmla="*/ 25 w 27"/>
                  <a:gd name="T15" fmla="*/ 40 h 128"/>
                  <a:gd name="T16" fmla="*/ 25 w 27"/>
                  <a:gd name="T17" fmla="*/ 112 h 128"/>
                  <a:gd name="T18" fmla="*/ 3 w 27"/>
                  <a:gd name="T1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128">
                    <a:moveTo>
                      <a:pt x="14" y="26"/>
                    </a:moveTo>
                    <a:cubicBezTo>
                      <a:pt x="6" y="26"/>
                      <a:pt x="0" y="20"/>
                      <a:pt x="0" y="13"/>
                    </a:cubicBezTo>
                    <a:cubicBezTo>
                      <a:pt x="0" y="6"/>
                      <a:pt x="6" y="0"/>
                      <a:pt x="14" y="0"/>
                    </a:cubicBezTo>
                    <a:cubicBezTo>
                      <a:pt x="21" y="0"/>
                      <a:pt x="27" y="5"/>
                      <a:pt x="27" y="13"/>
                    </a:cubicBezTo>
                    <a:cubicBezTo>
                      <a:pt x="27" y="20"/>
                      <a:pt x="21" y="26"/>
                      <a:pt x="14" y="26"/>
                    </a:cubicBezTo>
                    <a:close/>
                    <a:moveTo>
                      <a:pt x="3" y="128"/>
                    </a:moveTo>
                    <a:cubicBezTo>
                      <a:pt x="3" y="40"/>
                      <a:pt x="3" y="40"/>
                      <a:pt x="3" y="40"/>
                    </a:cubicBezTo>
                    <a:cubicBezTo>
                      <a:pt x="25" y="40"/>
                      <a:pt x="25" y="40"/>
                      <a:pt x="25" y="40"/>
                    </a:cubicBezTo>
                    <a:cubicBezTo>
                      <a:pt x="25" y="40"/>
                      <a:pt x="25" y="95"/>
                      <a:pt x="25" y="112"/>
                    </a:cubicBezTo>
                    <a:cubicBezTo>
                      <a:pt x="25" y="128"/>
                      <a:pt x="3" y="128"/>
                      <a:pt x="3" y="1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58" name="Freeform 15"/>
              <p:cNvSpPr>
                <a:spLocks/>
              </p:cNvSpPr>
              <p:nvPr userDrawn="1"/>
            </p:nvSpPr>
            <p:spPr bwMode="auto">
              <a:xfrm>
                <a:off x="8615239" y="4924717"/>
                <a:ext cx="103744" cy="66806"/>
              </a:xfrm>
              <a:custGeom>
                <a:avLst/>
                <a:gdLst>
                  <a:gd name="T0" fmla="*/ 111 w 137"/>
                  <a:gd name="T1" fmla="*/ 72 h 92"/>
                  <a:gd name="T2" fmla="*/ 88 w 137"/>
                  <a:gd name="T3" fmla="*/ 88 h 92"/>
                  <a:gd name="T4" fmla="*/ 68 w 137"/>
                  <a:gd name="T5" fmla="*/ 28 h 92"/>
                  <a:gd name="T6" fmla="*/ 68 w 137"/>
                  <a:gd name="T7" fmla="*/ 28 h 92"/>
                  <a:gd name="T8" fmla="*/ 53 w 137"/>
                  <a:gd name="T9" fmla="*/ 72 h 92"/>
                  <a:gd name="T10" fmla="*/ 31 w 137"/>
                  <a:gd name="T11" fmla="*/ 88 h 92"/>
                  <a:gd name="T12" fmla="*/ 0 w 137"/>
                  <a:gd name="T13" fmla="*/ 0 h 92"/>
                  <a:gd name="T14" fmla="*/ 22 w 137"/>
                  <a:gd name="T15" fmla="*/ 0 h 92"/>
                  <a:gd name="T16" fmla="*/ 41 w 137"/>
                  <a:gd name="T17" fmla="*/ 60 h 92"/>
                  <a:gd name="T18" fmla="*/ 41 w 137"/>
                  <a:gd name="T19" fmla="*/ 60 h 92"/>
                  <a:gd name="T20" fmla="*/ 60 w 137"/>
                  <a:gd name="T21" fmla="*/ 0 h 92"/>
                  <a:gd name="T22" fmla="*/ 77 w 137"/>
                  <a:gd name="T23" fmla="*/ 0 h 92"/>
                  <a:gd name="T24" fmla="*/ 97 w 137"/>
                  <a:gd name="T25" fmla="*/ 60 h 92"/>
                  <a:gd name="T26" fmla="*/ 97 w 137"/>
                  <a:gd name="T27" fmla="*/ 60 h 92"/>
                  <a:gd name="T28" fmla="*/ 115 w 137"/>
                  <a:gd name="T29" fmla="*/ 0 h 92"/>
                  <a:gd name="T30" fmla="*/ 137 w 137"/>
                  <a:gd name="T31" fmla="*/ 0 h 92"/>
                  <a:gd name="T32" fmla="*/ 111 w 137"/>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 h="92">
                    <a:moveTo>
                      <a:pt x="111" y="72"/>
                    </a:moveTo>
                    <a:cubicBezTo>
                      <a:pt x="104" y="92"/>
                      <a:pt x="88" y="88"/>
                      <a:pt x="88" y="88"/>
                    </a:cubicBezTo>
                    <a:cubicBezTo>
                      <a:pt x="68" y="28"/>
                      <a:pt x="68" y="28"/>
                      <a:pt x="68" y="28"/>
                    </a:cubicBezTo>
                    <a:cubicBezTo>
                      <a:pt x="68" y="28"/>
                      <a:pt x="68" y="28"/>
                      <a:pt x="68" y="28"/>
                    </a:cubicBezTo>
                    <a:cubicBezTo>
                      <a:pt x="68" y="28"/>
                      <a:pt x="59"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7" y="60"/>
                      <a:pt x="97" y="60"/>
                      <a:pt x="97" y="60"/>
                    </a:cubicBezTo>
                    <a:cubicBezTo>
                      <a:pt x="97" y="60"/>
                      <a:pt x="97" y="60"/>
                      <a:pt x="97" y="60"/>
                    </a:cubicBezTo>
                    <a:cubicBezTo>
                      <a:pt x="115" y="0"/>
                      <a:pt x="115" y="0"/>
                      <a:pt x="115" y="0"/>
                    </a:cubicBezTo>
                    <a:cubicBezTo>
                      <a:pt x="137" y="0"/>
                      <a:pt x="137" y="0"/>
                      <a:pt x="137" y="0"/>
                    </a:cubicBezTo>
                    <a:cubicBezTo>
                      <a:pt x="137"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59" name="Freeform 16"/>
              <p:cNvSpPr>
                <a:spLocks noEditPoints="1"/>
              </p:cNvSpPr>
              <p:nvPr userDrawn="1"/>
            </p:nvSpPr>
            <p:spPr bwMode="auto">
              <a:xfrm>
                <a:off x="8423168" y="4892699"/>
                <a:ext cx="65844" cy="95129"/>
              </a:xfrm>
              <a:custGeom>
                <a:avLst/>
                <a:gdLst>
                  <a:gd name="T0" fmla="*/ 1 w 87"/>
                  <a:gd name="T1" fmla="*/ 0 h 131"/>
                  <a:gd name="T2" fmla="*/ 0 w 87"/>
                  <a:gd name="T3" fmla="*/ 131 h 131"/>
                  <a:gd name="T4" fmla="*/ 41 w 87"/>
                  <a:gd name="T5" fmla="*/ 131 h 131"/>
                  <a:gd name="T6" fmla="*/ 87 w 87"/>
                  <a:gd name="T7" fmla="*/ 92 h 131"/>
                  <a:gd name="T8" fmla="*/ 65 w 87"/>
                  <a:gd name="T9" fmla="*/ 61 h 131"/>
                  <a:gd name="T10" fmla="*/ 62 w 87"/>
                  <a:gd name="T11" fmla="*/ 60 h 131"/>
                  <a:gd name="T12" fmla="*/ 64 w 87"/>
                  <a:gd name="T13" fmla="*/ 59 h 131"/>
                  <a:gd name="T14" fmla="*/ 79 w 87"/>
                  <a:gd name="T15" fmla="*/ 32 h 131"/>
                  <a:gd name="T16" fmla="*/ 42 w 87"/>
                  <a:gd name="T17" fmla="*/ 0 h 131"/>
                  <a:gd name="T18" fmla="*/ 1 w 87"/>
                  <a:gd name="T19" fmla="*/ 0 h 131"/>
                  <a:gd name="T20" fmla="*/ 23 w 87"/>
                  <a:gd name="T21" fmla="*/ 17 h 131"/>
                  <a:gd name="T22" fmla="*/ 36 w 87"/>
                  <a:gd name="T23" fmla="*/ 17 h 131"/>
                  <a:gd name="T24" fmla="*/ 56 w 87"/>
                  <a:gd name="T25" fmla="*/ 35 h 131"/>
                  <a:gd name="T26" fmla="*/ 38 w 87"/>
                  <a:gd name="T27" fmla="*/ 55 h 131"/>
                  <a:gd name="T28" fmla="*/ 22 w 87"/>
                  <a:gd name="T29" fmla="*/ 55 h 131"/>
                  <a:gd name="T30" fmla="*/ 23 w 87"/>
                  <a:gd name="T31" fmla="*/ 17 h 131"/>
                  <a:gd name="T32" fmla="*/ 22 w 87"/>
                  <a:gd name="T33" fmla="*/ 74 h 131"/>
                  <a:gd name="T34" fmla="*/ 40 w 87"/>
                  <a:gd name="T35" fmla="*/ 74 h 131"/>
                  <a:gd name="T36" fmla="*/ 64 w 87"/>
                  <a:gd name="T37" fmla="*/ 92 h 131"/>
                  <a:gd name="T38" fmla="*/ 39 w 87"/>
                  <a:gd name="T39" fmla="*/ 113 h 131"/>
                  <a:gd name="T40" fmla="*/ 22 w 87"/>
                  <a:gd name="T41" fmla="*/ 113 h 131"/>
                  <a:gd name="T42" fmla="*/ 22 w 87"/>
                  <a:gd name="T43" fmla="*/ 7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131">
                    <a:moveTo>
                      <a:pt x="1" y="0"/>
                    </a:moveTo>
                    <a:cubicBezTo>
                      <a:pt x="1" y="3"/>
                      <a:pt x="0" y="129"/>
                      <a:pt x="0" y="131"/>
                    </a:cubicBezTo>
                    <a:cubicBezTo>
                      <a:pt x="2" y="131"/>
                      <a:pt x="41" y="131"/>
                      <a:pt x="41" y="131"/>
                    </a:cubicBezTo>
                    <a:cubicBezTo>
                      <a:pt x="73" y="131"/>
                      <a:pt x="87" y="111"/>
                      <a:pt x="87" y="92"/>
                    </a:cubicBezTo>
                    <a:cubicBezTo>
                      <a:pt x="87" y="77"/>
                      <a:pt x="79" y="65"/>
                      <a:pt x="65" y="61"/>
                    </a:cubicBezTo>
                    <a:cubicBezTo>
                      <a:pt x="62" y="60"/>
                      <a:pt x="62" y="60"/>
                      <a:pt x="62" y="60"/>
                    </a:cubicBezTo>
                    <a:cubicBezTo>
                      <a:pt x="64" y="59"/>
                      <a:pt x="64" y="59"/>
                      <a:pt x="64" y="59"/>
                    </a:cubicBezTo>
                    <a:cubicBezTo>
                      <a:pt x="74" y="54"/>
                      <a:pt x="79" y="44"/>
                      <a:pt x="79" y="32"/>
                    </a:cubicBezTo>
                    <a:cubicBezTo>
                      <a:pt x="79" y="17"/>
                      <a:pt x="68" y="0"/>
                      <a:pt x="42" y="0"/>
                    </a:cubicBezTo>
                    <a:cubicBezTo>
                      <a:pt x="42" y="0"/>
                      <a:pt x="3" y="0"/>
                      <a:pt x="1" y="0"/>
                    </a:cubicBezTo>
                    <a:close/>
                    <a:moveTo>
                      <a:pt x="23" y="17"/>
                    </a:moveTo>
                    <a:cubicBezTo>
                      <a:pt x="36" y="17"/>
                      <a:pt x="36" y="17"/>
                      <a:pt x="36" y="17"/>
                    </a:cubicBezTo>
                    <a:cubicBezTo>
                      <a:pt x="49" y="17"/>
                      <a:pt x="56" y="24"/>
                      <a:pt x="56" y="35"/>
                    </a:cubicBezTo>
                    <a:cubicBezTo>
                      <a:pt x="56" y="47"/>
                      <a:pt x="47" y="55"/>
                      <a:pt x="38" y="55"/>
                    </a:cubicBezTo>
                    <a:cubicBezTo>
                      <a:pt x="22" y="55"/>
                      <a:pt x="22" y="55"/>
                      <a:pt x="22" y="55"/>
                    </a:cubicBezTo>
                    <a:lnTo>
                      <a:pt x="23" y="17"/>
                    </a:lnTo>
                    <a:close/>
                    <a:moveTo>
                      <a:pt x="22" y="74"/>
                    </a:moveTo>
                    <a:cubicBezTo>
                      <a:pt x="40" y="74"/>
                      <a:pt x="40" y="74"/>
                      <a:pt x="40" y="74"/>
                    </a:cubicBezTo>
                    <a:cubicBezTo>
                      <a:pt x="55" y="74"/>
                      <a:pt x="64" y="81"/>
                      <a:pt x="64" y="92"/>
                    </a:cubicBezTo>
                    <a:cubicBezTo>
                      <a:pt x="64" y="105"/>
                      <a:pt x="55" y="113"/>
                      <a:pt x="39" y="113"/>
                    </a:cubicBezTo>
                    <a:cubicBezTo>
                      <a:pt x="22" y="113"/>
                      <a:pt x="22" y="113"/>
                      <a:pt x="22" y="113"/>
                    </a:cubicBezTo>
                    <a:lnTo>
                      <a:pt x="22" y="74"/>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60" name="Freeform 17"/>
              <p:cNvSpPr>
                <a:spLocks noEditPoints="1"/>
              </p:cNvSpPr>
              <p:nvPr userDrawn="1"/>
            </p:nvSpPr>
            <p:spPr bwMode="auto">
              <a:xfrm>
                <a:off x="8546184" y="4923177"/>
                <a:ext cx="66486" cy="66190"/>
              </a:xfrm>
              <a:custGeom>
                <a:avLst/>
                <a:gdLst>
                  <a:gd name="T0" fmla="*/ 75 w 88"/>
                  <a:gd name="T1" fmla="*/ 78 h 91"/>
                  <a:gd name="T2" fmla="*/ 44 w 88"/>
                  <a:gd name="T3" fmla="*/ 91 h 91"/>
                  <a:gd name="T4" fmla="*/ 14 w 88"/>
                  <a:gd name="T5" fmla="*/ 80 h 91"/>
                  <a:gd name="T6" fmla="*/ 0 w 88"/>
                  <a:gd name="T7" fmla="*/ 46 h 91"/>
                  <a:gd name="T8" fmla="*/ 13 w 88"/>
                  <a:gd name="T9" fmla="*/ 12 h 91"/>
                  <a:gd name="T10" fmla="*/ 44 w 88"/>
                  <a:gd name="T11" fmla="*/ 0 h 91"/>
                  <a:gd name="T12" fmla="*/ 76 w 88"/>
                  <a:gd name="T13" fmla="*/ 12 h 91"/>
                  <a:gd name="T14" fmla="*/ 88 w 88"/>
                  <a:gd name="T15" fmla="*/ 45 h 91"/>
                  <a:gd name="T16" fmla="*/ 75 w 88"/>
                  <a:gd name="T17" fmla="*/ 78 h 91"/>
                  <a:gd name="T18" fmla="*/ 44 w 88"/>
                  <a:gd name="T19" fmla="*/ 17 h 91"/>
                  <a:gd name="T20" fmla="*/ 23 w 88"/>
                  <a:gd name="T21" fmla="*/ 45 h 91"/>
                  <a:gd name="T22" fmla="*/ 44 w 88"/>
                  <a:gd name="T23" fmla="*/ 73 h 91"/>
                  <a:gd name="T24" fmla="*/ 65 w 88"/>
                  <a:gd name="T25" fmla="*/ 45 h 91"/>
                  <a:gd name="T26" fmla="*/ 44 w 88"/>
                  <a:gd name="T27"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91">
                    <a:moveTo>
                      <a:pt x="75" y="78"/>
                    </a:moveTo>
                    <a:cubicBezTo>
                      <a:pt x="68" y="86"/>
                      <a:pt x="57" y="91"/>
                      <a:pt x="44" y="91"/>
                    </a:cubicBezTo>
                    <a:cubicBezTo>
                      <a:pt x="32" y="91"/>
                      <a:pt x="21" y="87"/>
                      <a:pt x="14" y="80"/>
                    </a:cubicBezTo>
                    <a:cubicBezTo>
                      <a:pt x="5" y="72"/>
                      <a:pt x="0" y="60"/>
                      <a:pt x="0" y="46"/>
                    </a:cubicBezTo>
                    <a:cubicBezTo>
                      <a:pt x="0" y="32"/>
                      <a:pt x="5" y="20"/>
                      <a:pt x="13" y="12"/>
                    </a:cubicBezTo>
                    <a:cubicBezTo>
                      <a:pt x="21" y="4"/>
                      <a:pt x="31" y="0"/>
                      <a:pt x="44" y="0"/>
                    </a:cubicBezTo>
                    <a:cubicBezTo>
                      <a:pt x="57" y="0"/>
                      <a:pt x="68" y="4"/>
                      <a:pt x="76" y="12"/>
                    </a:cubicBezTo>
                    <a:cubicBezTo>
                      <a:pt x="84" y="20"/>
                      <a:pt x="88" y="32"/>
                      <a:pt x="88" y="45"/>
                    </a:cubicBezTo>
                    <a:cubicBezTo>
                      <a:pt x="88" y="58"/>
                      <a:pt x="83" y="70"/>
                      <a:pt x="75" y="78"/>
                    </a:cubicBezTo>
                    <a:close/>
                    <a:moveTo>
                      <a:pt x="44" y="17"/>
                    </a:moveTo>
                    <a:cubicBezTo>
                      <a:pt x="30" y="17"/>
                      <a:pt x="23" y="29"/>
                      <a:pt x="23" y="45"/>
                    </a:cubicBezTo>
                    <a:cubicBezTo>
                      <a:pt x="23" y="62"/>
                      <a:pt x="31" y="73"/>
                      <a:pt x="44" y="73"/>
                    </a:cubicBezTo>
                    <a:cubicBezTo>
                      <a:pt x="58" y="73"/>
                      <a:pt x="65" y="61"/>
                      <a:pt x="65" y="45"/>
                    </a:cubicBezTo>
                    <a:cubicBezTo>
                      <a:pt x="65" y="28"/>
                      <a:pt x="57" y="17"/>
                      <a:pt x="44" y="1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61" name="Freeform 18"/>
              <p:cNvSpPr>
                <a:spLocks/>
              </p:cNvSpPr>
              <p:nvPr userDrawn="1"/>
            </p:nvSpPr>
            <p:spPr bwMode="auto">
              <a:xfrm>
                <a:off x="8728298" y="4923177"/>
                <a:ext cx="60705" cy="65574"/>
              </a:xfrm>
              <a:custGeom>
                <a:avLst/>
                <a:gdLst>
                  <a:gd name="T0" fmla="*/ 58 w 80"/>
                  <a:gd name="T1" fmla="*/ 90 h 90"/>
                  <a:gd name="T2" fmla="*/ 58 w 80"/>
                  <a:gd name="T3" fmla="*/ 38 h 90"/>
                  <a:gd name="T4" fmla="*/ 45 w 80"/>
                  <a:gd name="T5" fmla="*/ 19 h 90"/>
                  <a:gd name="T6" fmla="*/ 23 w 80"/>
                  <a:gd name="T7" fmla="*/ 28 h 90"/>
                  <a:gd name="T8" fmla="*/ 23 w 80"/>
                  <a:gd name="T9" fmla="*/ 74 h 90"/>
                  <a:gd name="T10" fmla="*/ 0 w 80"/>
                  <a:gd name="T11" fmla="*/ 90 h 90"/>
                  <a:gd name="T12" fmla="*/ 0 w 80"/>
                  <a:gd name="T13" fmla="*/ 2 h 90"/>
                  <a:gd name="T14" fmla="*/ 19 w 80"/>
                  <a:gd name="T15" fmla="*/ 2 h 90"/>
                  <a:gd name="T16" fmla="*/ 22 w 80"/>
                  <a:gd name="T17" fmla="*/ 11 h 90"/>
                  <a:gd name="T18" fmla="*/ 52 w 80"/>
                  <a:gd name="T19" fmla="*/ 0 h 90"/>
                  <a:gd name="T20" fmla="*/ 80 w 80"/>
                  <a:gd name="T21" fmla="*/ 31 h 90"/>
                  <a:gd name="T22" fmla="*/ 80 w 80"/>
                  <a:gd name="T23" fmla="*/ 74 h 90"/>
                  <a:gd name="T24" fmla="*/ 58 w 80"/>
                  <a:gd name="T2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90">
                    <a:moveTo>
                      <a:pt x="58" y="90"/>
                    </a:moveTo>
                    <a:cubicBezTo>
                      <a:pt x="58" y="38"/>
                      <a:pt x="58" y="38"/>
                      <a:pt x="58" y="38"/>
                    </a:cubicBezTo>
                    <a:cubicBezTo>
                      <a:pt x="58" y="29"/>
                      <a:pt x="56" y="19"/>
                      <a:pt x="45" y="19"/>
                    </a:cubicBezTo>
                    <a:cubicBezTo>
                      <a:pt x="37" y="19"/>
                      <a:pt x="29" y="23"/>
                      <a:pt x="23" y="28"/>
                    </a:cubicBezTo>
                    <a:cubicBezTo>
                      <a:pt x="23" y="28"/>
                      <a:pt x="23" y="57"/>
                      <a:pt x="23" y="74"/>
                    </a:cubicBezTo>
                    <a:cubicBezTo>
                      <a:pt x="23" y="90"/>
                      <a:pt x="0" y="90"/>
                      <a:pt x="0" y="90"/>
                    </a:cubicBezTo>
                    <a:cubicBezTo>
                      <a:pt x="0" y="2"/>
                      <a:pt x="0" y="2"/>
                      <a:pt x="0" y="2"/>
                    </a:cubicBezTo>
                    <a:cubicBezTo>
                      <a:pt x="19" y="2"/>
                      <a:pt x="19" y="2"/>
                      <a:pt x="19" y="2"/>
                    </a:cubicBezTo>
                    <a:cubicBezTo>
                      <a:pt x="22" y="11"/>
                      <a:pt x="22" y="11"/>
                      <a:pt x="22" y="11"/>
                    </a:cubicBezTo>
                    <a:cubicBezTo>
                      <a:pt x="31" y="4"/>
                      <a:pt x="40" y="0"/>
                      <a:pt x="52" y="0"/>
                    </a:cubicBezTo>
                    <a:cubicBezTo>
                      <a:pt x="65" y="0"/>
                      <a:pt x="80" y="8"/>
                      <a:pt x="80" y="31"/>
                    </a:cubicBezTo>
                    <a:cubicBezTo>
                      <a:pt x="80" y="31"/>
                      <a:pt x="80" y="57"/>
                      <a:pt x="80" y="74"/>
                    </a:cubicBezTo>
                    <a:cubicBezTo>
                      <a:pt x="80" y="90"/>
                      <a:pt x="58" y="90"/>
                      <a:pt x="58" y="9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62" name="Freeform 19"/>
              <p:cNvSpPr>
                <a:spLocks/>
              </p:cNvSpPr>
              <p:nvPr userDrawn="1"/>
            </p:nvSpPr>
            <p:spPr bwMode="auto">
              <a:xfrm>
                <a:off x="8501217" y="4923177"/>
                <a:ext cx="43361" cy="65574"/>
              </a:xfrm>
              <a:custGeom>
                <a:avLst/>
                <a:gdLst>
                  <a:gd name="T0" fmla="*/ 49 w 57"/>
                  <a:gd name="T1" fmla="*/ 22 h 90"/>
                  <a:gd name="T2" fmla="*/ 39 w 57"/>
                  <a:gd name="T3" fmla="*/ 20 h 90"/>
                  <a:gd name="T4" fmla="*/ 22 w 57"/>
                  <a:gd name="T5" fmla="*/ 27 h 90"/>
                  <a:gd name="T6" fmla="*/ 22 w 57"/>
                  <a:gd name="T7" fmla="*/ 74 h 90"/>
                  <a:gd name="T8" fmla="*/ 0 w 57"/>
                  <a:gd name="T9" fmla="*/ 90 h 90"/>
                  <a:gd name="T10" fmla="*/ 0 w 57"/>
                  <a:gd name="T11" fmla="*/ 2 h 90"/>
                  <a:gd name="T12" fmla="*/ 19 w 57"/>
                  <a:gd name="T13" fmla="*/ 2 h 90"/>
                  <a:gd name="T14" fmla="*/ 21 w 57"/>
                  <a:gd name="T15" fmla="*/ 11 h 90"/>
                  <a:gd name="T16" fmla="*/ 45 w 57"/>
                  <a:gd name="T17" fmla="*/ 0 h 90"/>
                  <a:gd name="T18" fmla="*/ 57 w 57"/>
                  <a:gd name="T19" fmla="*/ 4 h 90"/>
                  <a:gd name="T20" fmla="*/ 49 w 57"/>
                  <a:gd name="T21" fmla="*/ 2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0">
                    <a:moveTo>
                      <a:pt x="49" y="22"/>
                    </a:moveTo>
                    <a:cubicBezTo>
                      <a:pt x="46" y="20"/>
                      <a:pt x="42" y="20"/>
                      <a:pt x="39" y="20"/>
                    </a:cubicBezTo>
                    <a:cubicBezTo>
                      <a:pt x="34" y="20"/>
                      <a:pt x="28" y="22"/>
                      <a:pt x="22" y="27"/>
                    </a:cubicBezTo>
                    <a:cubicBezTo>
                      <a:pt x="22" y="27"/>
                      <a:pt x="22" y="57"/>
                      <a:pt x="22" y="74"/>
                    </a:cubicBezTo>
                    <a:cubicBezTo>
                      <a:pt x="22" y="90"/>
                      <a:pt x="0" y="90"/>
                      <a:pt x="0" y="90"/>
                    </a:cubicBezTo>
                    <a:cubicBezTo>
                      <a:pt x="0" y="2"/>
                      <a:pt x="0" y="2"/>
                      <a:pt x="0" y="2"/>
                    </a:cubicBezTo>
                    <a:cubicBezTo>
                      <a:pt x="19" y="2"/>
                      <a:pt x="19" y="2"/>
                      <a:pt x="19"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63" name="Freeform 20"/>
              <p:cNvSpPr>
                <a:spLocks/>
              </p:cNvSpPr>
              <p:nvPr userDrawn="1"/>
            </p:nvSpPr>
            <p:spPr bwMode="auto">
              <a:xfrm>
                <a:off x="7766657" y="4864376"/>
                <a:ext cx="100211" cy="148389"/>
              </a:xfrm>
              <a:custGeom>
                <a:avLst/>
                <a:gdLst>
                  <a:gd name="T0" fmla="*/ 0 w 132"/>
                  <a:gd name="T1" fmla="*/ 23 h 204"/>
                  <a:gd name="T2" fmla="*/ 1 w 132"/>
                  <a:gd name="T3" fmla="*/ 22 h 204"/>
                  <a:gd name="T4" fmla="*/ 67 w 132"/>
                  <a:gd name="T5" fmla="*/ 20 h 204"/>
                  <a:gd name="T6" fmla="*/ 80 w 132"/>
                  <a:gd name="T7" fmla="*/ 52 h 204"/>
                  <a:gd name="T8" fmla="*/ 113 w 132"/>
                  <a:gd name="T9" fmla="*/ 65 h 204"/>
                  <a:gd name="T10" fmla="*/ 111 w 132"/>
                  <a:gd name="T11" fmla="*/ 132 h 204"/>
                  <a:gd name="T12" fmla="*/ 38 w 132"/>
                  <a:gd name="T13" fmla="*/ 204 h 204"/>
                  <a:gd name="T14" fmla="*/ 16 w 132"/>
                  <a:gd name="T15" fmla="*/ 182 h 204"/>
                  <a:gd name="T16" fmla="*/ 88 w 132"/>
                  <a:gd name="T17" fmla="*/ 110 h 204"/>
                  <a:gd name="T18" fmla="*/ 91 w 132"/>
                  <a:gd name="T19" fmla="*/ 86 h 204"/>
                  <a:gd name="T20" fmla="*/ 67 w 132"/>
                  <a:gd name="T21" fmla="*/ 88 h 204"/>
                  <a:gd name="T22" fmla="*/ 0 w 132"/>
                  <a:gd name="T23" fmla="*/ 155 h 204"/>
                  <a:gd name="T24" fmla="*/ 0 w 132"/>
                  <a:gd name="T25" fmla="*/ 111 h 204"/>
                  <a:gd name="T26" fmla="*/ 45 w 132"/>
                  <a:gd name="T27" fmla="*/ 66 h 204"/>
                  <a:gd name="T28" fmla="*/ 46 w 132"/>
                  <a:gd name="T29" fmla="*/ 42 h 204"/>
                  <a:gd name="T30" fmla="*/ 22 w 132"/>
                  <a:gd name="T31" fmla="*/ 44 h 204"/>
                  <a:gd name="T32" fmla="*/ 0 w 132"/>
                  <a:gd name="T33" fmla="*/ 66 h 204"/>
                  <a:gd name="T34" fmla="*/ 0 w 132"/>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204">
                    <a:moveTo>
                      <a:pt x="0" y="23"/>
                    </a:moveTo>
                    <a:cubicBezTo>
                      <a:pt x="1" y="22"/>
                      <a:pt x="1" y="22"/>
                      <a:pt x="1" y="22"/>
                    </a:cubicBezTo>
                    <a:cubicBezTo>
                      <a:pt x="23" y="0"/>
                      <a:pt x="50" y="2"/>
                      <a:pt x="67" y="20"/>
                    </a:cubicBezTo>
                    <a:cubicBezTo>
                      <a:pt x="80" y="32"/>
                      <a:pt x="81" y="46"/>
                      <a:pt x="80" y="52"/>
                    </a:cubicBezTo>
                    <a:cubicBezTo>
                      <a:pt x="86" y="51"/>
                      <a:pt x="100" y="52"/>
                      <a:pt x="113" y="65"/>
                    </a:cubicBezTo>
                    <a:cubicBezTo>
                      <a:pt x="130" y="82"/>
                      <a:pt x="132" y="110"/>
                      <a:pt x="111" y="132"/>
                    </a:cubicBezTo>
                    <a:cubicBezTo>
                      <a:pt x="38" y="204"/>
                      <a:pt x="38" y="204"/>
                      <a:pt x="38" y="204"/>
                    </a:cubicBezTo>
                    <a:cubicBezTo>
                      <a:pt x="16" y="182"/>
                      <a:pt x="16" y="182"/>
                      <a:pt x="16" y="182"/>
                    </a:cubicBezTo>
                    <a:cubicBezTo>
                      <a:pt x="88" y="110"/>
                      <a:pt x="88" y="110"/>
                      <a:pt x="88" y="110"/>
                    </a:cubicBezTo>
                    <a:cubicBezTo>
                      <a:pt x="97" y="101"/>
                      <a:pt x="96" y="91"/>
                      <a:pt x="91" y="86"/>
                    </a:cubicBezTo>
                    <a:cubicBezTo>
                      <a:pt x="85" y="80"/>
                      <a:pt x="75" y="79"/>
                      <a:pt x="67" y="88"/>
                    </a:cubicBezTo>
                    <a:cubicBezTo>
                      <a:pt x="0" y="155"/>
                      <a:pt x="0" y="155"/>
                      <a:pt x="0" y="155"/>
                    </a:cubicBezTo>
                    <a:cubicBezTo>
                      <a:pt x="0" y="111"/>
                      <a:pt x="0" y="111"/>
                      <a:pt x="0" y="111"/>
                    </a:cubicBezTo>
                    <a:cubicBezTo>
                      <a:pt x="45" y="66"/>
                      <a:pt x="45" y="66"/>
                      <a:pt x="45" y="66"/>
                    </a:cubicBezTo>
                    <a:cubicBezTo>
                      <a:pt x="53" y="57"/>
                      <a:pt x="52" y="47"/>
                      <a:pt x="46" y="42"/>
                    </a:cubicBezTo>
                    <a:cubicBezTo>
                      <a:pt x="41" y="36"/>
                      <a:pt x="31" y="35"/>
                      <a:pt x="22" y="44"/>
                    </a:cubicBezTo>
                    <a:cubicBezTo>
                      <a:pt x="0" y="66"/>
                      <a:pt x="0" y="66"/>
                      <a:pt x="0" y="66"/>
                    </a:cubicBezTo>
                    <a:lnTo>
                      <a:pt x="0"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grpSp>
      <p:sp>
        <p:nvSpPr>
          <p:cNvPr id="190" name="Text Placeholder 2"/>
          <p:cNvSpPr>
            <a:spLocks noGrp="1"/>
          </p:cNvSpPr>
          <p:nvPr>
            <p:ph type="body" sz="quarter" idx="25" hasCustomPrompt="1"/>
          </p:nvPr>
        </p:nvSpPr>
        <p:spPr>
          <a:xfrm>
            <a:off x="3342796" y="4807465"/>
            <a:ext cx="1160462" cy="341313"/>
          </a:xfrm>
          <a:prstGeom prst="rect">
            <a:avLst/>
          </a:prstGeom>
        </p:spPr>
        <p:txBody>
          <a:bodyPr anchor="ctr"/>
          <a:lstStyle>
            <a:lvl1pPr marL="0" indent="0" algn="ctr">
              <a:buNone/>
              <a:defRPr sz="800">
                <a:solidFill>
                  <a:schemeClr val="bg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grpSp>
        <p:nvGrpSpPr>
          <p:cNvPr id="191" name="Group 190"/>
          <p:cNvGrpSpPr/>
          <p:nvPr userDrawn="1"/>
        </p:nvGrpSpPr>
        <p:grpSpPr>
          <a:xfrm>
            <a:off x="7686461" y="4906654"/>
            <a:ext cx="1124815" cy="151147"/>
            <a:chOff x="7686461" y="4581466"/>
            <a:chExt cx="1124815" cy="151147"/>
          </a:xfrm>
          <a:solidFill>
            <a:schemeClr val="bg1"/>
          </a:solidFill>
        </p:grpSpPr>
        <p:sp>
          <p:nvSpPr>
            <p:cNvPr id="192"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93"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94"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95"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96"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97"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98"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99"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200"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201"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202"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203"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204"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205"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206"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grpSp>
      <p:sp>
        <p:nvSpPr>
          <p:cNvPr id="77"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solidFill>
                  <a:schemeClr val="accent4">
                    <a:lumMod val="50000"/>
                  </a:schemeClr>
                </a:solidFill>
                <a:latin typeface="+mn-lt"/>
              </a:rPr>
              <a:t>Private and Confidental</a:t>
            </a:r>
            <a:endParaRPr lang="pt-BR" sz="500" dirty="0">
              <a:solidFill>
                <a:schemeClr val="accent4">
                  <a:lumMod val="50000"/>
                </a:schemeClr>
              </a:solidFill>
              <a:latin typeface="+mn-lt"/>
            </a:endParaRPr>
          </a:p>
        </p:txBody>
      </p:sp>
    </p:spTree>
    <p:extLst>
      <p:ext uri="{BB962C8B-B14F-4D97-AF65-F5344CB8AC3E}">
        <p14:creationId xmlns:p14="http://schemas.microsoft.com/office/powerpoint/2010/main" val="79334462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Titles - 4 Column Text">
    <p:bg>
      <p:bgPr>
        <a:solidFill>
          <a:schemeClr val="bg1"/>
        </a:solidFill>
        <a:effectLst/>
      </p:bgPr>
    </p:bg>
    <p:spTree>
      <p:nvGrpSpPr>
        <p:cNvPr id="1" name=""/>
        <p:cNvGrpSpPr/>
        <p:nvPr/>
      </p:nvGrpSpPr>
      <p:grpSpPr>
        <a:xfrm>
          <a:off x="0" y="0"/>
          <a:ext cx="0" cy="0"/>
          <a:chOff x="0" y="0"/>
          <a:chExt cx="0" cy="0"/>
        </a:xfrm>
      </p:grpSpPr>
      <p:sp>
        <p:nvSpPr>
          <p:cNvPr id="9" name="Title Placeholder 6"/>
          <p:cNvSpPr>
            <a:spLocks noGrp="1"/>
          </p:cNvSpPr>
          <p:nvPr>
            <p:ph type="title"/>
          </p:nvPr>
        </p:nvSpPr>
        <p:spPr>
          <a:xfrm>
            <a:off x="347474" y="323727"/>
            <a:ext cx="8460000" cy="416186"/>
          </a:xfrm>
          <a:prstGeom prst="rect">
            <a:avLst/>
          </a:prstGeom>
        </p:spPr>
        <p:txBody>
          <a:bodyPr vert="horz" lIns="0" tIns="45720" rIns="0" bIns="45720" rtlCol="0" anchor="b">
            <a:noAutofit/>
          </a:bodyPr>
          <a:lstStyle>
            <a:lvl1pPr>
              <a:defRPr sz="2000">
                <a:solidFill>
                  <a:schemeClr val="tx1">
                    <a:lumMod val="75000"/>
                    <a:lumOff val="25000"/>
                  </a:schemeClr>
                </a:solidFill>
              </a:defRPr>
            </a:lvl1pPr>
          </a:lstStyle>
          <a:p>
            <a:r>
              <a:rPr lang="en-US" dirty="0" smtClean="0"/>
              <a:t>Click to edit Master title style</a:t>
            </a:r>
            <a:endParaRPr lang="en-GB" dirty="0"/>
          </a:p>
        </p:txBody>
      </p:sp>
      <p:sp>
        <p:nvSpPr>
          <p:cNvPr id="12" name="Text Placeholder 7"/>
          <p:cNvSpPr>
            <a:spLocks noGrp="1"/>
          </p:cNvSpPr>
          <p:nvPr>
            <p:ph type="body" sz="quarter" idx="20"/>
          </p:nvPr>
        </p:nvSpPr>
        <p:spPr>
          <a:xfrm>
            <a:off x="347473" y="808579"/>
            <a:ext cx="8460000" cy="393270"/>
          </a:xfrm>
          <a:prstGeom prst="rect">
            <a:avLst/>
          </a:prstGeom>
        </p:spPr>
        <p:txBody>
          <a:bodyPr lIns="0" rIns="0"/>
          <a:lstStyle>
            <a:lvl1pPr marL="0" indent="0">
              <a:spcBef>
                <a:spcPts val="0"/>
              </a:spcBef>
              <a:buNone/>
              <a:defRPr lang="en-US" sz="1100" b="1" i="1" kern="1200" dirty="0" smtClean="0">
                <a:solidFill>
                  <a:schemeClr val="tx2"/>
                </a:solidFill>
                <a:latin typeface="+mj-lt"/>
                <a:ea typeface="+mn-ea"/>
                <a:cs typeface="Arial"/>
              </a:defRPr>
            </a:lvl1pPr>
            <a:lvl2pPr marL="0" indent="0">
              <a:spcBef>
                <a:spcPts val="0"/>
              </a:spcBef>
              <a:buNone/>
              <a:defRPr lang="en-US" sz="1100" b="0" i="0" kern="1200" dirty="0" smtClean="0">
                <a:solidFill>
                  <a:schemeClr val="tx1">
                    <a:lumMod val="75000"/>
                    <a:lumOff val="25000"/>
                  </a:schemeClr>
                </a:solidFill>
                <a:latin typeface="+mj-lt"/>
                <a:ea typeface="+mn-ea"/>
                <a:cs typeface="Arial"/>
              </a:defRPr>
            </a:lvl2pPr>
          </a:lstStyle>
          <a:p>
            <a:pPr lvl="0"/>
            <a:r>
              <a:rPr lang="en-US" dirty="0" smtClean="0"/>
              <a:t>Click to edit Master text styles</a:t>
            </a:r>
          </a:p>
          <a:p>
            <a:pPr lvl="1"/>
            <a:r>
              <a:rPr lang="en-US" dirty="0" smtClean="0"/>
              <a:t>Second level</a:t>
            </a:r>
          </a:p>
        </p:txBody>
      </p:sp>
      <p:cxnSp>
        <p:nvCxnSpPr>
          <p:cNvPr id="13" name="Straight Connector 12"/>
          <p:cNvCxnSpPr/>
          <p:nvPr userDrawn="1"/>
        </p:nvCxnSpPr>
        <p:spPr>
          <a:xfrm>
            <a:off x="343366" y="739913"/>
            <a:ext cx="8460000" cy="0"/>
          </a:xfrm>
          <a:prstGeom prst="line">
            <a:avLst/>
          </a:prstGeom>
          <a:ln w="12700">
            <a:solidFill>
              <a:schemeClr val="tx1">
                <a:lumMod val="75000"/>
                <a:lumOff val="25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351670" y="1270022"/>
            <a:ext cx="8460000" cy="0"/>
          </a:xfrm>
          <a:prstGeom prst="line">
            <a:avLst/>
          </a:prstGeom>
          <a:ln w="12700" cap="rnd">
            <a:solidFill>
              <a:schemeClr val="tx1">
                <a:lumMod val="75000"/>
                <a:lumOff val="25000"/>
              </a:schemeClr>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15" name="Text Placeholder 46"/>
          <p:cNvSpPr>
            <a:spLocks noGrp="1"/>
          </p:cNvSpPr>
          <p:nvPr>
            <p:ph idx="1"/>
          </p:nvPr>
        </p:nvSpPr>
        <p:spPr>
          <a:xfrm>
            <a:off x="351670" y="1454341"/>
            <a:ext cx="1980000" cy="3240000"/>
          </a:xfrm>
          <a:prstGeom prst="rect">
            <a:avLst/>
          </a:prstGeom>
        </p:spPr>
        <p:txBody>
          <a:bodyPr vert="horz" lIns="0" tIns="45720" rIns="0" bIns="45720" rtlCol="0">
            <a:noAutofit/>
          </a:bodyPr>
          <a:lstStyle>
            <a:lvl1pPr marL="0" indent="0">
              <a:spcBef>
                <a:spcPts val="600"/>
              </a:spcBef>
              <a:buClr>
                <a:schemeClr val="tx2"/>
              </a:buClr>
              <a:buNone/>
              <a:defRPr sz="1050" b="1">
                <a:solidFill>
                  <a:schemeClr val="tx2"/>
                </a:solidFill>
                <a:latin typeface="Arial"/>
                <a:cs typeface="Arial"/>
              </a:defRPr>
            </a:lvl1pPr>
            <a:lvl2pPr marL="179388" indent="-179388">
              <a:spcBef>
                <a:spcPts val="600"/>
              </a:spcBef>
              <a:buClr>
                <a:schemeClr val="tx2"/>
              </a:buClr>
              <a:defRPr sz="1000">
                <a:latin typeface="Arial"/>
                <a:cs typeface="Arial"/>
              </a:defRPr>
            </a:lvl2pPr>
            <a:lvl3pPr marL="179388" indent="-179388">
              <a:spcBef>
                <a:spcPts val="600"/>
              </a:spcBef>
              <a:buClr>
                <a:schemeClr val="tx2"/>
              </a:buClr>
              <a:defRPr sz="1000">
                <a:latin typeface="Arial"/>
                <a:cs typeface="Arial"/>
              </a:defRPr>
            </a:lvl3pPr>
            <a:lvl4pPr marL="179388" indent="-179388">
              <a:spcBef>
                <a:spcPts val="600"/>
              </a:spcBef>
              <a:buClr>
                <a:schemeClr val="tx2"/>
              </a:buClr>
              <a:tabLst/>
              <a:defRPr sz="1000">
                <a:latin typeface="Arial"/>
                <a:cs typeface="Arial"/>
              </a:defRPr>
            </a:lvl4pPr>
            <a:lvl5pPr marL="179388" indent="-179388">
              <a:spcBef>
                <a:spcPts val="600"/>
              </a:spcBef>
              <a:buClr>
                <a:schemeClr val="tx2"/>
              </a:buClr>
              <a:defRPr sz="1000">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31" name="Text Placeholder 46"/>
          <p:cNvSpPr>
            <a:spLocks noGrp="1"/>
          </p:cNvSpPr>
          <p:nvPr>
            <p:ph idx="21"/>
          </p:nvPr>
        </p:nvSpPr>
        <p:spPr>
          <a:xfrm>
            <a:off x="2508902" y="1454341"/>
            <a:ext cx="1980000" cy="3240000"/>
          </a:xfrm>
          <a:prstGeom prst="rect">
            <a:avLst/>
          </a:prstGeom>
        </p:spPr>
        <p:txBody>
          <a:bodyPr vert="horz" lIns="0" tIns="45720" rIns="0" bIns="45720" rtlCol="0">
            <a:noAutofit/>
          </a:bodyPr>
          <a:lstStyle>
            <a:lvl1pPr marL="0" indent="0">
              <a:spcBef>
                <a:spcPts val="600"/>
              </a:spcBef>
              <a:buClr>
                <a:schemeClr val="tx2"/>
              </a:buClr>
              <a:buNone/>
              <a:defRPr sz="1050" b="1">
                <a:solidFill>
                  <a:schemeClr val="tx2"/>
                </a:solidFill>
                <a:latin typeface="Arial"/>
                <a:cs typeface="Arial"/>
              </a:defRPr>
            </a:lvl1pPr>
            <a:lvl2pPr marL="179388" indent="-179388">
              <a:spcBef>
                <a:spcPts val="600"/>
              </a:spcBef>
              <a:buClr>
                <a:schemeClr val="tx2"/>
              </a:buClr>
              <a:defRPr sz="1000">
                <a:latin typeface="Arial"/>
                <a:cs typeface="Arial"/>
              </a:defRPr>
            </a:lvl2pPr>
            <a:lvl3pPr marL="179388" indent="-179388">
              <a:spcBef>
                <a:spcPts val="600"/>
              </a:spcBef>
              <a:buClr>
                <a:schemeClr val="tx2"/>
              </a:buClr>
              <a:defRPr sz="1000">
                <a:latin typeface="Arial"/>
                <a:cs typeface="Arial"/>
              </a:defRPr>
            </a:lvl3pPr>
            <a:lvl4pPr marL="179388" indent="-179388">
              <a:spcBef>
                <a:spcPts val="600"/>
              </a:spcBef>
              <a:buClr>
                <a:schemeClr val="tx2"/>
              </a:buClr>
              <a:tabLst/>
              <a:defRPr sz="1000">
                <a:latin typeface="Arial"/>
                <a:cs typeface="Arial"/>
              </a:defRPr>
            </a:lvl4pPr>
            <a:lvl5pPr marL="179388" indent="-179388">
              <a:spcBef>
                <a:spcPts val="600"/>
              </a:spcBef>
              <a:buClr>
                <a:schemeClr val="tx2"/>
              </a:buClr>
              <a:defRPr sz="1000">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32" name="Text Placeholder 46"/>
          <p:cNvSpPr>
            <a:spLocks noGrp="1"/>
          </p:cNvSpPr>
          <p:nvPr>
            <p:ph idx="22"/>
          </p:nvPr>
        </p:nvSpPr>
        <p:spPr>
          <a:xfrm>
            <a:off x="6823366" y="1454341"/>
            <a:ext cx="1980000" cy="3240000"/>
          </a:xfrm>
          <a:prstGeom prst="rect">
            <a:avLst/>
          </a:prstGeom>
        </p:spPr>
        <p:txBody>
          <a:bodyPr vert="horz" lIns="0" tIns="45720" rIns="0" bIns="45720" rtlCol="0">
            <a:noAutofit/>
          </a:bodyPr>
          <a:lstStyle>
            <a:lvl1pPr marL="0" indent="0">
              <a:spcBef>
                <a:spcPts val="600"/>
              </a:spcBef>
              <a:buClr>
                <a:schemeClr val="tx2"/>
              </a:buClr>
              <a:buNone/>
              <a:defRPr sz="1050" b="1">
                <a:solidFill>
                  <a:schemeClr val="tx2"/>
                </a:solidFill>
                <a:latin typeface="Arial"/>
                <a:cs typeface="Arial"/>
              </a:defRPr>
            </a:lvl1pPr>
            <a:lvl2pPr marL="179388" indent="-179388">
              <a:spcBef>
                <a:spcPts val="600"/>
              </a:spcBef>
              <a:buClr>
                <a:schemeClr val="tx2"/>
              </a:buClr>
              <a:defRPr sz="1000">
                <a:latin typeface="Arial"/>
                <a:cs typeface="Arial"/>
              </a:defRPr>
            </a:lvl2pPr>
            <a:lvl3pPr marL="179388" indent="-179388">
              <a:spcBef>
                <a:spcPts val="600"/>
              </a:spcBef>
              <a:buClr>
                <a:schemeClr val="tx2"/>
              </a:buClr>
              <a:defRPr sz="1000">
                <a:latin typeface="Arial"/>
                <a:cs typeface="Arial"/>
              </a:defRPr>
            </a:lvl3pPr>
            <a:lvl4pPr marL="179388" indent="-179388">
              <a:spcBef>
                <a:spcPts val="600"/>
              </a:spcBef>
              <a:buClr>
                <a:schemeClr val="tx2"/>
              </a:buClr>
              <a:tabLst/>
              <a:defRPr sz="1000">
                <a:latin typeface="Arial"/>
                <a:cs typeface="Arial"/>
              </a:defRPr>
            </a:lvl4pPr>
            <a:lvl5pPr marL="179388" indent="-179388">
              <a:spcBef>
                <a:spcPts val="600"/>
              </a:spcBef>
              <a:buClr>
                <a:schemeClr val="tx2"/>
              </a:buClr>
              <a:defRPr sz="1000">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33" name="Text Placeholder 46"/>
          <p:cNvSpPr>
            <a:spLocks noGrp="1"/>
          </p:cNvSpPr>
          <p:nvPr>
            <p:ph idx="23"/>
          </p:nvPr>
        </p:nvSpPr>
        <p:spPr>
          <a:xfrm>
            <a:off x="4666134" y="1454341"/>
            <a:ext cx="1980000" cy="3240000"/>
          </a:xfrm>
          <a:prstGeom prst="rect">
            <a:avLst/>
          </a:prstGeom>
        </p:spPr>
        <p:txBody>
          <a:bodyPr vert="horz" lIns="0" tIns="45720" rIns="0" bIns="45720" rtlCol="0">
            <a:noAutofit/>
          </a:bodyPr>
          <a:lstStyle>
            <a:lvl1pPr marL="0" indent="0">
              <a:spcBef>
                <a:spcPts val="600"/>
              </a:spcBef>
              <a:buClr>
                <a:schemeClr val="tx2"/>
              </a:buClr>
              <a:buNone/>
              <a:defRPr sz="1050" b="1">
                <a:solidFill>
                  <a:schemeClr val="tx2"/>
                </a:solidFill>
                <a:latin typeface="Arial"/>
                <a:cs typeface="Arial"/>
              </a:defRPr>
            </a:lvl1pPr>
            <a:lvl2pPr marL="179388" indent="-179388">
              <a:spcBef>
                <a:spcPts val="600"/>
              </a:spcBef>
              <a:buClr>
                <a:schemeClr val="tx2"/>
              </a:buClr>
              <a:defRPr sz="1000">
                <a:latin typeface="Arial"/>
                <a:cs typeface="Arial"/>
              </a:defRPr>
            </a:lvl2pPr>
            <a:lvl3pPr marL="179388" indent="-179388">
              <a:spcBef>
                <a:spcPts val="600"/>
              </a:spcBef>
              <a:buClr>
                <a:schemeClr val="tx2"/>
              </a:buClr>
              <a:defRPr sz="1000">
                <a:latin typeface="Arial"/>
                <a:cs typeface="Arial"/>
              </a:defRPr>
            </a:lvl3pPr>
            <a:lvl4pPr marL="179388" indent="-179388">
              <a:spcBef>
                <a:spcPts val="600"/>
              </a:spcBef>
              <a:buClr>
                <a:schemeClr val="tx2"/>
              </a:buClr>
              <a:tabLst/>
              <a:defRPr sz="1000">
                <a:latin typeface="Arial"/>
                <a:cs typeface="Arial"/>
              </a:defRPr>
            </a:lvl4pPr>
            <a:lvl5pPr marL="179388" indent="-179388">
              <a:spcBef>
                <a:spcPts val="600"/>
              </a:spcBef>
              <a:buClr>
                <a:schemeClr val="tx2"/>
              </a:buClr>
              <a:defRPr sz="1000">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Text Placeholder 2"/>
          <p:cNvSpPr>
            <a:spLocks noGrp="1"/>
          </p:cNvSpPr>
          <p:nvPr>
            <p:ph type="body" sz="quarter" idx="25" hasCustomPrompt="1"/>
          </p:nvPr>
        </p:nvSpPr>
        <p:spPr>
          <a:xfrm>
            <a:off x="6202363" y="4807465"/>
            <a:ext cx="1160462" cy="341313"/>
          </a:xfrm>
          <a:prstGeom prst="rect">
            <a:avLst/>
          </a:prstGeom>
        </p:spPr>
        <p:txBody>
          <a:bodyPr anchor="ctr"/>
          <a:lstStyle>
            <a:lvl1pPr marL="0" indent="0" algn="ctr">
              <a:buNone/>
              <a:defRPr sz="800">
                <a:solidFill>
                  <a:schemeClr val="tx1">
                    <a:lumMod val="75000"/>
                    <a:lumOff val="25000"/>
                  </a:schemeClr>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sp>
        <p:nvSpPr>
          <p:cNvPr id="17"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chemeClr val="bg1">
                    <a:lumMod val="75000"/>
                  </a:schemeClr>
                </a:solidFill>
                <a:latin typeface="+mn-lt"/>
              </a:defRPr>
            </a:lvl1pPr>
          </a:lstStyle>
          <a:p>
            <a:fld id="{19AB4E72-7858-48F1-A40D-12FF09E4BFB8}" type="slidenum">
              <a:rPr lang="en-GB" smtClean="0"/>
              <a:pPr/>
              <a:t>‹Nº›</a:t>
            </a:fld>
            <a:endParaRPr lang="en-GB"/>
          </a:p>
        </p:txBody>
      </p:sp>
      <p:sp>
        <p:nvSpPr>
          <p:cNvPr id="18" name="Footer Placeholder 6"/>
          <p:cNvSpPr>
            <a:spLocks noGrp="1"/>
          </p:cNvSpPr>
          <p:nvPr>
            <p:ph type="ftr" sz="quarter" idx="11"/>
          </p:nvPr>
        </p:nvSpPr>
        <p:spPr>
          <a:xfrm>
            <a:off x="608553" y="4816190"/>
            <a:ext cx="5040000" cy="158419"/>
          </a:xfrm>
          <a:prstGeom prst="rect">
            <a:avLst/>
          </a:prstGeom>
        </p:spPr>
        <p:txBody>
          <a:bodyPr lIns="0" rIns="0" bIns="0"/>
          <a:lstStyle>
            <a:lvl1pPr>
              <a:defRPr sz="600">
                <a:solidFill>
                  <a:schemeClr val="bg1">
                    <a:lumMod val="75000"/>
                  </a:schemeClr>
                </a:solidFill>
                <a:latin typeface="+mj-lt"/>
              </a:defRPr>
            </a:lvl1pPr>
          </a:lstStyle>
          <a:p>
            <a:endParaRPr lang="pt-BR"/>
          </a:p>
        </p:txBody>
      </p:sp>
      <p:sp>
        <p:nvSpPr>
          <p:cNvPr id="19"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latin typeface="+mn-lt"/>
              </a:rPr>
              <a:t>Private and Confidental</a:t>
            </a:r>
            <a:endParaRPr lang="pt-BR" sz="500" dirty="0">
              <a:latin typeface="+mn-lt"/>
            </a:endParaRPr>
          </a:p>
        </p:txBody>
      </p:sp>
    </p:spTree>
    <p:extLst>
      <p:ext uri="{BB962C8B-B14F-4D97-AF65-F5344CB8AC3E}">
        <p14:creationId xmlns:p14="http://schemas.microsoft.com/office/powerpoint/2010/main" val="2327678336"/>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A_V_MB_Slate3">
    <p:bg>
      <p:bgPr>
        <a:solidFill>
          <a:schemeClr val="bg1"/>
        </a:solidFill>
        <a:effectLst/>
      </p:bgPr>
    </p:bg>
    <p:spTree>
      <p:nvGrpSpPr>
        <p:cNvPr id="1" name=""/>
        <p:cNvGrpSpPr/>
        <p:nvPr/>
      </p:nvGrpSpPr>
      <p:grpSpPr>
        <a:xfrm>
          <a:off x="0" y="0"/>
          <a:ext cx="0" cy="0"/>
          <a:chOff x="0" y="0"/>
          <a:chExt cx="0" cy="0"/>
        </a:xfrm>
      </p:grpSpPr>
      <p:sp>
        <p:nvSpPr>
          <p:cNvPr id="31" name="Rectangle 30"/>
          <p:cNvSpPr/>
          <p:nvPr userDrawn="1"/>
        </p:nvSpPr>
        <p:spPr>
          <a:xfrm>
            <a:off x="0" y="-1"/>
            <a:ext cx="9144000" cy="5148263"/>
          </a:xfrm>
          <a:prstGeom prst="rect">
            <a:avLst/>
          </a:prstGeom>
          <a:solidFill>
            <a:srgbClr val="4B4E53"/>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en-GB" sz="1050" smtClean="0">
              <a:solidFill>
                <a:schemeClr val="bg1"/>
              </a:solidFill>
              <a:latin typeface="Arial" panose="020B0604020202020204" pitchFamily="34" charset="0"/>
              <a:cs typeface="Arial" panose="020B0604020202020204" pitchFamily="34" charset="0"/>
            </a:endParaRPr>
          </a:p>
        </p:txBody>
      </p:sp>
      <p:pic>
        <p:nvPicPr>
          <p:cNvPr id="33" name="Picture 32" descr="cookie_white.png"/>
          <p:cNvPicPr>
            <a:picLocks noChangeAspect="1"/>
          </p:cNvPicPr>
          <p:nvPr userDrawn="1"/>
        </p:nvPicPr>
        <p:blipFill rotWithShape="1">
          <a:blip r:embed="rId2" cstate="screen">
            <a:alphaModFix amt="16000"/>
            <a:extLst>
              <a:ext uri="{28A0092B-C50C-407E-A947-70E740481C1C}">
                <a14:useLocalDpi xmlns:a14="http://schemas.microsoft.com/office/drawing/2010/main"/>
              </a:ext>
            </a:extLst>
          </a:blip>
          <a:srcRect/>
          <a:stretch/>
        </p:blipFill>
        <p:spPr>
          <a:xfrm flipH="1">
            <a:off x="5149029" y="2289839"/>
            <a:ext cx="4020091" cy="2880000"/>
          </a:xfrm>
          <a:prstGeom prst="rect">
            <a:avLst/>
          </a:prstGeom>
        </p:spPr>
      </p:pic>
      <p:grpSp>
        <p:nvGrpSpPr>
          <p:cNvPr id="246" name="Group 245"/>
          <p:cNvGrpSpPr/>
          <p:nvPr userDrawn="1"/>
        </p:nvGrpSpPr>
        <p:grpSpPr>
          <a:xfrm>
            <a:off x="6223980" y="4840100"/>
            <a:ext cx="1123200" cy="233974"/>
            <a:chOff x="7665803" y="4864376"/>
            <a:chExt cx="1123200" cy="233974"/>
          </a:xfrm>
          <a:solidFill>
            <a:schemeClr val="bg1"/>
          </a:solidFill>
        </p:grpSpPr>
        <p:sp>
          <p:nvSpPr>
            <p:cNvPr id="247" name="Freeform 6"/>
            <p:cNvSpPr>
              <a:spLocks/>
            </p:cNvSpPr>
            <p:nvPr userDrawn="1"/>
          </p:nvSpPr>
          <p:spPr bwMode="auto">
            <a:xfrm>
              <a:off x="8119644" y="4924717"/>
              <a:ext cx="103102" cy="66806"/>
            </a:xfrm>
            <a:custGeom>
              <a:avLst/>
              <a:gdLst>
                <a:gd name="T0" fmla="*/ 111 w 136"/>
                <a:gd name="T1" fmla="*/ 72 h 92"/>
                <a:gd name="T2" fmla="*/ 87 w 136"/>
                <a:gd name="T3" fmla="*/ 88 h 92"/>
                <a:gd name="T4" fmla="*/ 68 w 136"/>
                <a:gd name="T5" fmla="*/ 28 h 92"/>
                <a:gd name="T6" fmla="*/ 67 w 136"/>
                <a:gd name="T7" fmla="*/ 28 h 92"/>
                <a:gd name="T8" fmla="*/ 53 w 136"/>
                <a:gd name="T9" fmla="*/ 72 h 92"/>
                <a:gd name="T10" fmla="*/ 31 w 136"/>
                <a:gd name="T11" fmla="*/ 88 h 92"/>
                <a:gd name="T12" fmla="*/ 0 w 136"/>
                <a:gd name="T13" fmla="*/ 0 h 92"/>
                <a:gd name="T14" fmla="*/ 22 w 136"/>
                <a:gd name="T15" fmla="*/ 0 h 92"/>
                <a:gd name="T16" fmla="*/ 41 w 136"/>
                <a:gd name="T17" fmla="*/ 60 h 92"/>
                <a:gd name="T18" fmla="*/ 41 w 136"/>
                <a:gd name="T19" fmla="*/ 60 h 92"/>
                <a:gd name="T20" fmla="*/ 60 w 136"/>
                <a:gd name="T21" fmla="*/ 0 h 92"/>
                <a:gd name="T22" fmla="*/ 77 w 136"/>
                <a:gd name="T23" fmla="*/ 0 h 92"/>
                <a:gd name="T24" fmla="*/ 96 w 136"/>
                <a:gd name="T25" fmla="*/ 60 h 92"/>
                <a:gd name="T26" fmla="*/ 97 w 136"/>
                <a:gd name="T27" fmla="*/ 60 h 92"/>
                <a:gd name="T28" fmla="*/ 115 w 136"/>
                <a:gd name="T29" fmla="*/ 0 h 92"/>
                <a:gd name="T30" fmla="*/ 136 w 136"/>
                <a:gd name="T31" fmla="*/ 0 h 92"/>
                <a:gd name="T32" fmla="*/ 111 w 136"/>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 h="92">
                  <a:moveTo>
                    <a:pt x="111" y="72"/>
                  </a:moveTo>
                  <a:cubicBezTo>
                    <a:pt x="103" y="92"/>
                    <a:pt x="87" y="88"/>
                    <a:pt x="87" y="88"/>
                  </a:cubicBezTo>
                  <a:cubicBezTo>
                    <a:pt x="68" y="28"/>
                    <a:pt x="68" y="28"/>
                    <a:pt x="68" y="28"/>
                  </a:cubicBezTo>
                  <a:cubicBezTo>
                    <a:pt x="67" y="28"/>
                    <a:pt x="67" y="28"/>
                    <a:pt x="67" y="28"/>
                  </a:cubicBezTo>
                  <a:cubicBezTo>
                    <a:pt x="67" y="28"/>
                    <a:pt x="58"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6" y="60"/>
                    <a:pt x="96" y="60"/>
                    <a:pt x="96" y="60"/>
                  </a:cubicBezTo>
                  <a:cubicBezTo>
                    <a:pt x="97" y="60"/>
                    <a:pt x="97" y="60"/>
                    <a:pt x="97" y="60"/>
                  </a:cubicBezTo>
                  <a:cubicBezTo>
                    <a:pt x="115" y="0"/>
                    <a:pt x="115" y="0"/>
                    <a:pt x="115" y="0"/>
                  </a:cubicBezTo>
                  <a:cubicBezTo>
                    <a:pt x="136" y="0"/>
                    <a:pt x="136" y="0"/>
                    <a:pt x="136" y="0"/>
                  </a:cubicBezTo>
                  <a:cubicBezTo>
                    <a:pt x="136"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48" name="Freeform 7"/>
            <p:cNvSpPr>
              <a:spLocks noEditPoints="1"/>
            </p:cNvSpPr>
            <p:nvPr userDrawn="1"/>
          </p:nvSpPr>
          <p:spPr bwMode="auto">
            <a:xfrm>
              <a:off x="8225958" y="4923177"/>
              <a:ext cx="57493" cy="66190"/>
            </a:xfrm>
            <a:custGeom>
              <a:avLst/>
              <a:gdLst>
                <a:gd name="T0" fmla="*/ 57 w 76"/>
                <a:gd name="T1" fmla="*/ 90 h 91"/>
                <a:gd name="T2" fmla="*/ 53 w 76"/>
                <a:gd name="T3" fmla="*/ 81 h 91"/>
                <a:gd name="T4" fmla="*/ 28 w 76"/>
                <a:gd name="T5" fmla="*/ 91 h 91"/>
                <a:gd name="T6" fmla="*/ 0 w 76"/>
                <a:gd name="T7" fmla="*/ 63 h 91"/>
                <a:gd name="T8" fmla="*/ 36 w 76"/>
                <a:gd name="T9" fmla="*/ 34 h 91"/>
                <a:gd name="T10" fmla="*/ 51 w 76"/>
                <a:gd name="T11" fmla="*/ 34 h 91"/>
                <a:gd name="T12" fmla="*/ 51 w 76"/>
                <a:gd name="T13" fmla="*/ 31 h 91"/>
                <a:gd name="T14" fmla="*/ 35 w 76"/>
                <a:gd name="T15" fmla="*/ 17 h 91"/>
                <a:gd name="T16" fmla="*/ 12 w 76"/>
                <a:gd name="T17" fmla="*/ 23 h 91"/>
                <a:gd name="T18" fmla="*/ 5 w 76"/>
                <a:gd name="T19" fmla="*/ 9 h 91"/>
                <a:gd name="T20" fmla="*/ 39 w 76"/>
                <a:gd name="T21" fmla="*/ 0 h 91"/>
                <a:gd name="T22" fmla="*/ 74 w 76"/>
                <a:gd name="T23" fmla="*/ 31 h 91"/>
                <a:gd name="T24" fmla="*/ 74 w 76"/>
                <a:gd name="T25" fmla="*/ 66 h 91"/>
                <a:gd name="T26" fmla="*/ 76 w 76"/>
                <a:gd name="T27" fmla="*/ 90 h 91"/>
                <a:gd name="T28" fmla="*/ 57 w 76"/>
                <a:gd name="T29" fmla="*/ 90 h 91"/>
                <a:gd name="T30" fmla="*/ 51 w 76"/>
                <a:gd name="T31" fmla="*/ 49 h 91"/>
                <a:gd name="T32" fmla="*/ 39 w 76"/>
                <a:gd name="T33" fmla="*/ 49 h 91"/>
                <a:gd name="T34" fmla="*/ 22 w 76"/>
                <a:gd name="T35" fmla="*/ 61 h 91"/>
                <a:gd name="T36" fmla="*/ 36 w 76"/>
                <a:gd name="T37" fmla="*/ 73 h 91"/>
                <a:gd name="T38" fmla="*/ 51 w 76"/>
                <a:gd name="T39" fmla="*/ 68 h 91"/>
                <a:gd name="T40" fmla="*/ 51 w 76"/>
                <a:gd name="T41" fmla="*/ 4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91">
                  <a:moveTo>
                    <a:pt x="57" y="90"/>
                  </a:moveTo>
                  <a:cubicBezTo>
                    <a:pt x="53" y="81"/>
                    <a:pt x="53" y="81"/>
                    <a:pt x="53" y="81"/>
                  </a:cubicBezTo>
                  <a:cubicBezTo>
                    <a:pt x="48" y="86"/>
                    <a:pt x="40" y="91"/>
                    <a:pt x="28" y="91"/>
                  </a:cubicBezTo>
                  <a:cubicBezTo>
                    <a:pt x="12" y="91"/>
                    <a:pt x="0" y="80"/>
                    <a:pt x="0" y="63"/>
                  </a:cubicBezTo>
                  <a:cubicBezTo>
                    <a:pt x="0" y="45"/>
                    <a:pt x="14" y="35"/>
                    <a:pt x="36" y="34"/>
                  </a:cubicBezTo>
                  <a:cubicBezTo>
                    <a:pt x="51" y="34"/>
                    <a:pt x="51" y="34"/>
                    <a:pt x="51" y="34"/>
                  </a:cubicBezTo>
                  <a:cubicBezTo>
                    <a:pt x="51" y="33"/>
                    <a:pt x="51" y="32"/>
                    <a:pt x="51" y="31"/>
                  </a:cubicBezTo>
                  <a:cubicBezTo>
                    <a:pt x="51" y="21"/>
                    <a:pt x="44" y="17"/>
                    <a:pt x="35" y="17"/>
                  </a:cubicBezTo>
                  <a:cubicBezTo>
                    <a:pt x="25" y="17"/>
                    <a:pt x="18" y="20"/>
                    <a:pt x="12" y="23"/>
                  </a:cubicBezTo>
                  <a:cubicBezTo>
                    <a:pt x="5" y="9"/>
                    <a:pt x="5" y="9"/>
                    <a:pt x="5" y="9"/>
                  </a:cubicBezTo>
                  <a:cubicBezTo>
                    <a:pt x="17" y="2"/>
                    <a:pt x="28" y="0"/>
                    <a:pt x="39" y="0"/>
                  </a:cubicBezTo>
                  <a:cubicBezTo>
                    <a:pt x="61" y="0"/>
                    <a:pt x="74" y="9"/>
                    <a:pt x="74" y="31"/>
                  </a:cubicBezTo>
                  <a:cubicBezTo>
                    <a:pt x="74" y="66"/>
                    <a:pt x="74" y="66"/>
                    <a:pt x="74" y="66"/>
                  </a:cubicBezTo>
                  <a:cubicBezTo>
                    <a:pt x="74" y="78"/>
                    <a:pt x="75" y="86"/>
                    <a:pt x="76" y="90"/>
                  </a:cubicBezTo>
                  <a:lnTo>
                    <a:pt x="57" y="90"/>
                  </a:lnTo>
                  <a:close/>
                  <a:moveTo>
                    <a:pt x="51" y="49"/>
                  </a:moveTo>
                  <a:cubicBezTo>
                    <a:pt x="39" y="49"/>
                    <a:pt x="39" y="49"/>
                    <a:pt x="39" y="49"/>
                  </a:cubicBezTo>
                  <a:cubicBezTo>
                    <a:pt x="27" y="50"/>
                    <a:pt x="22" y="54"/>
                    <a:pt x="22" y="61"/>
                  </a:cubicBezTo>
                  <a:cubicBezTo>
                    <a:pt x="22" y="68"/>
                    <a:pt x="27" y="73"/>
                    <a:pt x="36" y="73"/>
                  </a:cubicBezTo>
                  <a:cubicBezTo>
                    <a:pt x="44" y="73"/>
                    <a:pt x="49" y="70"/>
                    <a:pt x="51" y="68"/>
                  </a:cubicBezTo>
                  <a:lnTo>
                    <a:pt x="51" y="4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49" name="Freeform 8"/>
            <p:cNvSpPr>
              <a:spLocks noEditPoints="1"/>
            </p:cNvSpPr>
            <p:nvPr userDrawn="1"/>
          </p:nvSpPr>
          <p:spPr bwMode="auto">
            <a:xfrm>
              <a:off x="8342550" y="4892699"/>
              <a:ext cx="62311" cy="96668"/>
            </a:xfrm>
            <a:custGeom>
              <a:avLst/>
              <a:gdLst>
                <a:gd name="T0" fmla="*/ 47 w 82"/>
                <a:gd name="T1" fmla="*/ 133 h 133"/>
                <a:gd name="T2" fmla="*/ 0 w 82"/>
                <a:gd name="T3" fmla="*/ 88 h 133"/>
                <a:gd name="T4" fmla="*/ 48 w 82"/>
                <a:gd name="T5" fmla="*/ 42 h 133"/>
                <a:gd name="T6" fmla="*/ 59 w 82"/>
                <a:gd name="T7" fmla="*/ 42 h 133"/>
                <a:gd name="T8" fmla="*/ 60 w 82"/>
                <a:gd name="T9" fmla="*/ 0 h 133"/>
                <a:gd name="T10" fmla="*/ 82 w 82"/>
                <a:gd name="T11" fmla="*/ 0 h 133"/>
                <a:gd name="T12" fmla="*/ 81 w 82"/>
                <a:gd name="T13" fmla="*/ 126 h 133"/>
                <a:gd name="T14" fmla="*/ 47 w 82"/>
                <a:gd name="T15" fmla="*/ 133 h 133"/>
                <a:gd name="T16" fmla="*/ 59 w 82"/>
                <a:gd name="T17" fmla="*/ 60 h 133"/>
                <a:gd name="T18" fmla="*/ 49 w 82"/>
                <a:gd name="T19" fmla="*/ 59 h 133"/>
                <a:gd name="T20" fmla="*/ 22 w 82"/>
                <a:gd name="T21" fmla="*/ 87 h 133"/>
                <a:gd name="T22" fmla="*/ 49 w 82"/>
                <a:gd name="T23" fmla="*/ 114 h 133"/>
                <a:gd name="T24" fmla="*/ 59 w 82"/>
                <a:gd name="T25" fmla="*/ 113 h 133"/>
                <a:gd name="T26" fmla="*/ 59 w 82"/>
                <a:gd name="T27" fmla="*/ 6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3">
                  <a:moveTo>
                    <a:pt x="47" y="133"/>
                  </a:moveTo>
                  <a:cubicBezTo>
                    <a:pt x="21" y="133"/>
                    <a:pt x="0" y="117"/>
                    <a:pt x="0" y="88"/>
                  </a:cubicBezTo>
                  <a:cubicBezTo>
                    <a:pt x="0" y="61"/>
                    <a:pt x="20" y="42"/>
                    <a:pt x="48" y="42"/>
                  </a:cubicBezTo>
                  <a:cubicBezTo>
                    <a:pt x="52" y="42"/>
                    <a:pt x="56" y="42"/>
                    <a:pt x="59" y="42"/>
                  </a:cubicBezTo>
                  <a:cubicBezTo>
                    <a:pt x="60" y="0"/>
                    <a:pt x="60" y="0"/>
                    <a:pt x="60" y="0"/>
                  </a:cubicBezTo>
                  <a:cubicBezTo>
                    <a:pt x="82" y="0"/>
                    <a:pt x="82" y="0"/>
                    <a:pt x="82" y="0"/>
                  </a:cubicBezTo>
                  <a:cubicBezTo>
                    <a:pt x="81" y="126"/>
                    <a:pt x="81" y="126"/>
                    <a:pt x="81" y="126"/>
                  </a:cubicBezTo>
                  <a:cubicBezTo>
                    <a:pt x="73" y="130"/>
                    <a:pt x="62" y="133"/>
                    <a:pt x="47" y="133"/>
                  </a:cubicBezTo>
                  <a:close/>
                  <a:moveTo>
                    <a:pt x="59" y="60"/>
                  </a:moveTo>
                  <a:cubicBezTo>
                    <a:pt x="56" y="60"/>
                    <a:pt x="54" y="59"/>
                    <a:pt x="49" y="59"/>
                  </a:cubicBezTo>
                  <a:cubicBezTo>
                    <a:pt x="33" y="59"/>
                    <a:pt x="22" y="70"/>
                    <a:pt x="22" y="87"/>
                  </a:cubicBezTo>
                  <a:cubicBezTo>
                    <a:pt x="22" y="103"/>
                    <a:pt x="32" y="114"/>
                    <a:pt x="49" y="114"/>
                  </a:cubicBezTo>
                  <a:cubicBezTo>
                    <a:pt x="53" y="114"/>
                    <a:pt x="57" y="114"/>
                    <a:pt x="59" y="113"/>
                  </a:cubicBezTo>
                  <a:lnTo>
                    <a:pt x="59" y="60"/>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50" name="Freeform 9"/>
            <p:cNvSpPr>
              <a:spLocks/>
            </p:cNvSpPr>
            <p:nvPr userDrawn="1"/>
          </p:nvSpPr>
          <p:spPr bwMode="auto">
            <a:xfrm>
              <a:off x="8093949"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51" name="Freeform 10"/>
            <p:cNvSpPr>
              <a:spLocks/>
            </p:cNvSpPr>
            <p:nvPr userDrawn="1"/>
          </p:nvSpPr>
          <p:spPr bwMode="auto">
            <a:xfrm>
              <a:off x="8060545"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52" name="Freeform 11"/>
            <p:cNvSpPr>
              <a:spLocks/>
            </p:cNvSpPr>
            <p:nvPr userDrawn="1"/>
          </p:nvSpPr>
          <p:spPr bwMode="auto">
            <a:xfrm>
              <a:off x="8297262" y="4923177"/>
              <a:ext cx="43039" cy="66190"/>
            </a:xfrm>
            <a:custGeom>
              <a:avLst/>
              <a:gdLst>
                <a:gd name="T0" fmla="*/ 49 w 57"/>
                <a:gd name="T1" fmla="*/ 22 h 91"/>
                <a:gd name="T2" fmla="*/ 39 w 57"/>
                <a:gd name="T3" fmla="*/ 20 h 91"/>
                <a:gd name="T4" fmla="*/ 22 w 57"/>
                <a:gd name="T5" fmla="*/ 27 h 91"/>
                <a:gd name="T6" fmla="*/ 22 w 57"/>
                <a:gd name="T7" fmla="*/ 74 h 91"/>
                <a:gd name="T8" fmla="*/ 0 w 57"/>
                <a:gd name="T9" fmla="*/ 90 h 91"/>
                <a:gd name="T10" fmla="*/ 0 w 57"/>
                <a:gd name="T11" fmla="*/ 2 h 91"/>
                <a:gd name="T12" fmla="*/ 18 w 57"/>
                <a:gd name="T13" fmla="*/ 2 h 91"/>
                <a:gd name="T14" fmla="*/ 21 w 57"/>
                <a:gd name="T15" fmla="*/ 11 h 91"/>
                <a:gd name="T16" fmla="*/ 45 w 57"/>
                <a:gd name="T17" fmla="*/ 0 h 91"/>
                <a:gd name="T18" fmla="*/ 57 w 57"/>
                <a:gd name="T19" fmla="*/ 4 h 91"/>
                <a:gd name="T20" fmla="*/ 49 w 57"/>
                <a:gd name="T21" fmla="*/ 2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1">
                  <a:moveTo>
                    <a:pt x="49" y="22"/>
                  </a:moveTo>
                  <a:cubicBezTo>
                    <a:pt x="45" y="20"/>
                    <a:pt x="41" y="20"/>
                    <a:pt x="39" y="20"/>
                  </a:cubicBezTo>
                  <a:cubicBezTo>
                    <a:pt x="34" y="20"/>
                    <a:pt x="28" y="22"/>
                    <a:pt x="22" y="27"/>
                  </a:cubicBezTo>
                  <a:cubicBezTo>
                    <a:pt x="22" y="27"/>
                    <a:pt x="22" y="57"/>
                    <a:pt x="22" y="74"/>
                  </a:cubicBezTo>
                  <a:cubicBezTo>
                    <a:pt x="22" y="91"/>
                    <a:pt x="0" y="90"/>
                    <a:pt x="0" y="90"/>
                  </a:cubicBezTo>
                  <a:cubicBezTo>
                    <a:pt x="0" y="2"/>
                    <a:pt x="0" y="2"/>
                    <a:pt x="0" y="2"/>
                  </a:cubicBezTo>
                  <a:cubicBezTo>
                    <a:pt x="18" y="2"/>
                    <a:pt x="18" y="2"/>
                    <a:pt x="18"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53" name="Freeform 12"/>
            <p:cNvSpPr>
              <a:spLocks/>
            </p:cNvSpPr>
            <p:nvPr userDrawn="1"/>
          </p:nvSpPr>
          <p:spPr bwMode="auto">
            <a:xfrm>
              <a:off x="7907980" y="4892699"/>
              <a:ext cx="98605" cy="95129"/>
            </a:xfrm>
            <a:custGeom>
              <a:avLst/>
              <a:gdLst>
                <a:gd name="T0" fmla="*/ 106 w 130"/>
                <a:gd name="T1" fmla="*/ 131 h 131"/>
                <a:gd name="T2" fmla="*/ 106 w 130"/>
                <a:gd name="T3" fmla="*/ 53 h 131"/>
                <a:gd name="T4" fmla="*/ 107 w 130"/>
                <a:gd name="T5" fmla="*/ 39 h 131"/>
                <a:gd name="T6" fmla="*/ 106 w 130"/>
                <a:gd name="T7" fmla="*/ 39 h 131"/>
                <a:gd name="T8" fmla="*/ 99 w 130"/>
                <a:gd name="T9" fmla="*/ 52 h 131"/>
                <a:gd name="T10" fmla="*/ 72 w 130"/>
                <a:gd name="T11" fmla="*/ 93 h 131"/>
                <a:gd name="T12" fmla="*/ 60 w 130"/>
                <a:gd name="T13" fmla="*/ 93 h 131"/>
                <a:gd name="T14" fmla="*/ 32 w 130"/>
                <a:gd name="T15" fmla="*/ 51 h 131"/>
                <a:gd name="T16" fmla="*/ 24 w 130"/>
                <a:gd name="T17" fmla="*/ 39 h 131"/>
                <a:gd name="T18" fmla="*/ 23 w 130"/>
                <a:gd name="T19" fmla="*/ 39 h 131"/>
                <a:gd name="T20" fmla="*/ 24 w 130"/>
                <a:gd name="T21" fmla="*/ 52 h 131"/>
                <a:gd name="T22" fmla="*/ 24 w 130"/>
                <a:gd name="T23" fmla="*/ 131 h 131"/>
                <a:gd name="T24" fmla="*/ 0 w 130"/>
                <a:gd name="T25" fmla="*/ 131 h 131"/>
                <a:gd name="T26" fmla="*/ 0 w 130"/>
                <a:gd name="T27" fmla="*/ 0 h 131"/>
                <a:gd name="T28" fmla="*/ 22 w 130"/>
                <a:gd name="T29" fmla="*/ 0 h 131"/>
                <a:gd name="T30" fmla="*/ 58 w 130"/>
                <a:gd name="T31" fmla="*/ 52 h 131"/>
                <a:gd name="T32" fmla="*/ 66 w 130"/>
                <a:gd name="T33" fmla="*/ 66 h 131"/>
                <a:gd name="T34" fmla="*/ 67 w 130"/>
                <a:gd name="T35" fmla="*/ 66 h 131"/>
                <a:gd name="T36" fmla="*/ 75 w 130"/>
                <a:gd name="T37" fmla="*/ 52 h 131"/>
                <a:gd name="T38" fmla="*/ 108 w 130"/>
                <a:gd name="T39" fmla="*/ 0 h 131"/>
                <a:gd name="T40" fmla="*/ 130 w 130"/>
                <a:gd name="T41" fmla="*/ 0 h 131"/>
                <a:gd name="T42" fmla="*/ 130 w 130"/>
                <a:gd name="T43" fmla="*/ 131 h 131"/>
                <a:gd name="T44" fmla="*/ 106 w 130"/>
                <a:gd name="T45"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0" h="131">
                  <a:moveTo>
                    <a:pt x="106" y="131"/>
                  </a:moveTo>
                  <a:cubicBezTo>
                    <a:pt x="106" y="53"/>
                    <a:pt x="106" y="53"/>
                    <a:pt x="106" y="53"/>
                  </a:cubicBezTo>
                  <a:cubicBezTo>
                    <a:pt x="106" y="48"/>
                    <a:pt x="106" y="44"/>
                    <a:pt x="107" y="39"/>
                  </a:cubicBezTo>
                  <a:cubicBezTo>
                    <a:pt x="106" y="39"/>
                    <a:pt x="106" y="39"/>
                    <a:pt x="106" y="39"/>
                  </a:cubicBezTo>
                  <a:cubicBezTo>
                    <a:pt x="105" y="43"/>
                    <a:pt x="101" y="49"/>
                    <a:pt x="99" y="52"/>
                  </a:cubicBezTo>
                  <a:cubicBezTo>
                    <a:pt x="72" y="93"/>
                    <a:pt x="72" y="93"/>
                    <a:pt x="72" y="93"/>
                  </a:cubicBezTo>
                  <a:cubicBezTo>
                    <a:pt x="60" y="93"/>
                    <a:pt x="60" y="93"/>
                    <a:pt x="60" y="93"/>
                  </a:cubicBezTo>
                  <a:cubicBezTo>
                    <a:pt x="32" y="51"/>
                    <a:pt x="32" y="51"/>
                    <a:pt x="32" y="51"/>
                  </a:cubicBezTo>
                  <a:cubicBezTo>
                    <a:pt x="29" y="48"/>
                    <a:pt x="26" y="44"/>
                    <a:pt x="24" y="39"/>
                  </a:cubicBezTo>
                  <a:cubicBezTo>
                    <a:pt x="23" y="39"/>
                    <a:pt x="23" y="39"/>
                    <a:pt x="23" y="39"/>
                  </a:cubicBezTo>
                  <a:cubicBezTo>
                    <a:pt x="24" y="44"/>
                    <a:pt x="24" y="48"/>
                    <a:pt x="24" y="52"/>
                  </a:cubicBezTo>
                  <a:cubicBezTo>
                    <a:pt x="24" y="131"/>
                    <a:pt x="24" y="131"/>
                    <a:pt x="24" y="131"/>
                  </a:cubicBezTo>
                  <a:cubicBezTo>
                    <a:pt x="0" y="131"/>
                    <a:pt x="0" y="131"/>
                    <a:pt x="0" y="131"/>
                  </a:cubicBezTo>
                  <a:cubicBezTo>
                    <a:pt x="0" y="0"/>
                    <a:pt x="0" y="0"/>
                    <a:pt x="0" y="0"/>
                  </a:cubicBezTo>
                  <a:cubicBezTo>
                    <a:pt x="22" y="0"/>
                    <a:pt x="22" y="0"/>
                    <a:pt x="22" y="0"/>
                  </a:cubicBezTo>
                  <a:cubicBezTo>
                    <a:pt x="58" y="52"/>
                    <a:pt x="58" y="52"/>
                    <a:pt x="58" y="52"/>
                  </a:cubicBezTo>
                  <a:cubicBezTo>
                    <a:pt x="61" y="57"/>
                    <a:pt x="64" y="61"/>
                    <a:pt x="66" y="66"/>
                  </a:cubicBezTo>
                  <a:cubicBezTo>
                    <a:pt x="67" y="66"/>
                    <a:pt x="67" y="66"/>
                    <a:pt x="67" y="66"/>
                  </a:cubicBezTo>
                  <a:cubicBezTo>
                    <a:pt x="69" y="61"/>
                    <a:pt x="71" y="57"/>
                    <a:pt x="75" y="52"/>
                  </a:cubicBezTo>
                  <a:cubicBezTo>
                    <a:pt x="108" y="0"/>
                    <a:pt x="108" y="0"/>
                    <a:pt x="108" y="0"/>
                  </a:cubicBezTo>
                  <a:cubicBezTo>
                    <a:pt x="130" y="0"/>
                    <a:pt x="130" y="0"/>
                    <a:pt x="130" y="0"/>
                  </a:cubicBezTo>
                  <a:cubicBezTo>
                    <a:pt x="130" y="131"/>
                    <a:pt x="130" y="131"/>
                    <a:pt x="130" y="131"/>
                  </a:cubicBezTo>
                  <a:lnTo>
                    <a:pt x="106" y="131"/>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54" name="Freeform 13"/>
            <p:cNvSpPr>
              <a:spLocks/>
            </p:cNvSpPr>
            <p:nvPr userDrawn="1"/>
          </p:nvSpPr>
          <p:spPr bwMode="auto">
            <a:xfrm>
              <a:off x="7665803" y="4864376"/>
              <a:ext cx="100854" cy="148389"/>
            </a:xfrm>
            <a:custGeom>
              <a:avLst/>
              <a:gdLst>
                <a:gd name="T0" fmla="*/ 133 w 133"/>
                <a:gd name="T1" fmla="*/ 23 h 204"/>
                <a:gd name="T2" fmla="*/ 132 w 133"/>
                <a:gd name="T3" fmla="*/ 22 h 204"/>
                <a:gd name="T4" fmla="*/ 65 w 133"/>
                <a:gd name="T5" fmla="*/ 20 h 204"/>
                <a:gd name="T6" fmla="*/ 52 w 133"/>
                <a:gd name="T7" fmla="*/ 52 h 204"/>
                <a:gd name="T8" fmla="*/ 20 w 133"/>
                <a:gd name="T9" fmla="*/ 65 h 204"/>
                <a:gd name="T10" fmla="*/ 22 w 133"/>
                <a:gd name="T11" fmla="*/ 132 h 204"/>
                <a:gd name="T12" fmla="*/ 95 w 133"/>
                <a:gd name="T13" fmla="*/ 204 h 204"/>
                <a:gd name="T14" fmla="*/ 117 w 133"/>
                <a:gd name="T15" fmla="*/ 182 h 204"/>
                <a:gd name="T16" fmla="*/ 44 w 133"/>
                <a:gd name="T17" fmla="*/ 110 h 204"/>
                <a:gd name="T18" fmla="*/ 42 w 133"/>
                <a:gd name="T19" fmla="*/ 86 h 204"/>
                <a:gd name="T20" fmla="*/ 66 w 133"/>
                <a:gd name="T21" fmla="*/ 88 h 204"/>
                <a:gd name="T22" fmla="*/ 133 w 133"/>
                <a:gd name="T23" fmla="*/ 155 h 204"/>
                <a:gd name="T24" fmla="*/ 133 w 133"/>
                <a:gd name="T25" fmla="*/ 111 h 204"/>
                <a:gd name="T26" fmla="*/ 88 w 133"/>
                <a:gd name="T27" fmla="*/ 66 h 204"/>
                <a:gd name="T28" fmla="*/ 86 w 133"/>
                <a:gd name="T29" fmla="*/ 42 h 204"/>
                <a:gd name="T30" fmla="*/ 110 w 133"/>
                <a:gd name="T31" fmla="*/ 44 h 204"/>
                <a:gd name="T32" fmla="*/ 133 w 133"/>
                <a:gd name="T33" fmla="*/ 66 h 204"/>
                <a:gd name="T34" fmla="*/ 133 w 133"/>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204">
                  <a:moveTo>
                    <a:pt x="133" y="23"/>
                  </a:moveTo>
                  <a:cubicBezTo>
                    <a:pt x="132" y="22"/>
                    <a:pt x="132" y="22"/>
                    <a:pt x="132" y="22"/>
                  </a:cubicBezTo>
                  <a:cubicBezTo>
                    <a:pt x="110" y="0"/>
                    <a:pt x="82" y="2"/>
                    <a:pt x="65" y="20"/>
                  </a:cubicBezTo>
                  <a:cubicBezTo>
                    <a:pt x="53" y="32"/>
                    <a:pt x="51" y="46"/>
                    <a:pt x="52" y="52"/>
                  </a:cubicBezTo>
                  <a:cubicBezTo>
                    <a:pt x="47" y="51"/>
                    <a:pt x="32" y="52"/>
                    <a:pt x="20" y="65"/>
                  </a:cubicBezTo>
                  <a:cubicBezTo>
                    <a:pt x="3" y="82"/>
                    <a:pt x="0" y="110"/>
                    <a:pt x="22" y="132"/>
                  </a:cubicBezTo>
                  <a:cubicBezTo>
                    <a:pt x="95" y="204"/>
                    <a:pt x="95" y="204"/>
                    <a:pt x="95" y="204"/>
                  </a:cubicBezTo>
                  <a:cubicBezTo>
                    <a:pt x="117" y="182"/>
                    <a:pt x="117" y="182"/>
                    <a:pt x="117" y="182"/>
                  </a:cubicBezTo>
                  <a:cubicBezTo>
                    <a:pt x="44" y="110"/>
                    <a:pt x="44" y="110"/>
                    <a:pt x="44" y="110"/>
                  </a:cubicBezTo>
                  <a:cubicBezTo>
                    <a:pt x="35" y="101"/>
                    <a:pt x="36" y="91"/>
                    <a:pt x="42" y="86"/>
                  </a:cubicBezTo>
                  <a:cubicBezTo>
                    <a:pt x="47" y="80"/>
                    <a:pt x="58" y="79"/>
                    <a:pt x="66" y="88"/>
                  </a:cubicBezTo>
                  <a:cubicBezTo>
                    <a:pt x="133" y="155"/>
                    <a:pt x="133" y="155"/>
                    <a:pt x="133" y="155"/>
                  </a:cubicBezTo>
                  <a:cubicBezTo>
                    <a:pt x="133" y="111"/>
                    <a:pt x="133" y="111"/>
                    <a:pt x="133" y="111"/>
                  </a:cubicBezTo>
                  <a:cubicBezTo>
                    <a:pt x="88" y="66"/>
                    <a:pt x="88" y="66"/>
                    <a:pt x="88" y="66"/>
                  </a:cubicBezTo>
                  <a:cubicBezTo>
                    <a:pt x="80" y="57"/>
                    <a:pt x="80" y="47"/>
                    <a:pt x="86" y="42"/>
                  </a:cubicBezTo>
                  <a:cubicBezTo>
                    <a:pt x="92" y="36"/>
                    <a:pt x="102" y="35"/>
                    <a:pt x="110" y="44"/>
                  </a:cubicBezTo>
                  <a:cubicBezTo>
                    <a:pt x="133" y="66"/>
                    <a:pt x="133" y="66"/>
                    <a:pt x="133" y="66"/>
                  </a:cubicBezTo>
                  <a:lnTo>
                    <a:pt x="133"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55" name="Freeform 14"/>
            <p:cNvSpPr>
              <a:spLocks noEditPoints="1"/>
            </p:cNvSpPr>
            <p:nvPr userDrawn="1"/>
          </p:nvSpPr>
          <p:spPr bwMode="auto">
            <a:xfrm>
              <a:off x="8023287" y="4895470"/>
              <a:ext cx="20556" cy="93282"/>
            </a:xfrm>
            <a:custGeom>
              <a:avLst/>
              <a:gdLst>
                <a:gd name="T0" fmla="*/ 14 w 27"/>
                <a:gd name="T1" fmla="*/ 26 h 128"/>
                <a:gd name="T2" fmla="*/ 0 w 27"/>
                <a:gd name="T3" fmla="*/ 13 h 128"/>
                <a:gd name="T4" fmla="*/ 14 w 27"/>
                <a:gd name="T5" fmla="*/ 0 h 128"/>
                <a:gd name="T6" fmla="*/ 27 w 27"/>
                <a:gd name="T7" fmla="*/ 13 h 128"/>
                <a:gd name="T8" fmla="*/ 14 w 27"/>
                <a:gd name="T9" fmla="*/ 26 h 128"/>
                <a:gd name="T10" fmla="*/ 3 w 27"/>
                <a:gd name="T11" fmla="*/ 128 h 128"/>
                <a:gd name="T12" fmla="*/ 3 w 27"/>
                <a:gd name="T13" fmla="*/ 40 h 128"/>
                <a:gd name="T14" fmla="*/ 25 w 27"/>
                <a:gd name="T15" fmla="*/ 40 h 128"/>
                <a:gd name="T16" fmla="*/ 25 w 27"/>
                <a:gd name="T17" fmla="*/ 112 h 128"/>
                <a:gd name="T18" fmla="*/ 3 w 27"/>
                <a:gd name="T1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128">
                  <a:moveTo>
                    <a:pt x="14" y="26"/>
                  </a:moveTo>
                  <a:cubicBezTo>
                    <a:pt x="6" y="26"/>
                    <a:pt x="0" y="20"/>
                    <a:pt x="0" y="13"/>
                  </a:cubicBezTo>
                  <a:cubicBezTo>
                    <a:pt x="0" y="6"/>
                    <a:pt x="6" y="0"/>
                    <a:pt x="14" y="0"/>
                  </a:cubicBezTo>
                  <a:cubicBezTo>
                    <a:pt x="21" y="0"/>
                    <a:pt x="27" y="5"/>
                    <a:pt x="27" y="13"/>
                  </a:cubicBezTo>
                  <a:cubicBezTo>
                    <a:pt x="27" y="20"/>
                    <a:pt x="21" y="26"/>
                    <a:pt x="14" y="26"/>
                  </a:cubicBezTo>
                  <a:close/>
                  <a:moveTo>
                    <a:pt x="3" y="128"/>
                  </a:moveTo>
                  <a:cubicBezTo>
                    <a:pt x="3" y="40"/>
                    <a:pt x="3" y="40"/>
                    <a:pt x="3" y="40"/>
                  </a:cubicBezTo>
                  <a:cubicBezTo>
                    <a:pt x="25" y="40"/>
                    <a:pt x="25" y="40"/>
                    <a:pt x="25" y="40"/>
                  </a:cubicBezTo>
                  <a:cubicBezTo>
                    <a:pt x="25" y="40"/>
                    <a:pt x="25" y="95"/>
                    <a:pt x="25" y="112"/>
                  </a:cubicBezTo>
                  <a:cubicBezTo>
                    <a:pt x="25" y="128"/>
                    <a:pt x="3" y="128"/>
                    <a:pt x="3" y="1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56" name="Freeform 15"/>
            <p:cNvSpPr>
              <a:spLocks/>
            </p:cNvSpPr>
            <p:nvPr userDrawn="1"/>
          </p:nvSpPr>
          <p:spPr bwMode="auto">
            <a:xfrm>
              <a:off x="8615239" y="4924717"/>
              <a:ext cx="103744" cy="66806"/>
            </a:xfrm>
            <a:custGeom>
              <a:avLst/>
              <a:gdLst>
                <a:gd name="T0" fmla="*/ 111 w 137"/>
                <a:gd name="T1" fmla="*/ 72 h 92"/>
                <a:gd name="T2" fmla="*/ 88 w 137"/>
                <a:gd name="T3" fmla="*/ 88 h 92"/>
                <a:gd name="T4" fmla="*/ 68 w 137"/>
                <a:gd name="T5" fmla="*/ 28 h 92"/>
                <a:gd name="T6" fmla="*/ 68 w 137"/>
                <a:gd name="T7" fmla="*/ 28 h 92"/>
                <a:gd name="T8" fmla="*/ 53 w 137"/>
                <a:gd name="T9" fmla="*/ 72 h 92"/>
                <a:gd name="T10" fmla="*/ 31 w 137"/>
                <a:gd name="T11" fmla="*/ 88 h 92"/>
                <a:gd name="T12" fmla="*/ 0 w 137"/>
                <a:gd name="T13" fmla="*/ 0 h 92"/>
                <a:gd name="T14" fmla="*/ 22 w 137"/>
                <a:gd name="T15" fmla="*/ 0 h 92"/>
                <a:gd name="T16" fmla="*/ 41 w 137"/>
                <a:gd name="T17" fmla="*/ 60 h 92"/>
                <a:gd name="T18" fmla="*/ 41 w 137"/>
                <a:gd name="T19" fmla="*/ 60 h 92"/>
                <a:gd name="T20" fmla="*/ 60 w 137"/>
                <a:gd name="T21" fmla="*/ 0 h 92"/>
                <a:gd name="T22" fmla="*/ 77 w 137"/>
                <a:gd name="T23" fmla="*/ 0 h 92"/>
                <a:gd name="T24" fmla="*/ 97 w 137"/>
                <a:gd name="T25" fmla="*/ 60 h 92"/>
                <a:gd name="T26" fmla="*/ 97 w 137"/>
                <a:gd name="T27" fmla="*/ 60 h 92"/>
                <a:gd name="T28" fmla="*/ 115 w 137"/>
                <a:gd name="T29" fmla="*/ 0 h 92"/>
                <a:gd name="T30" fmla="*/ 137 w 137"/>
                <a:gd name="T31" fmla="*/ 0 h 92"/>
                <a:gd name="T32" fmla="*/ 111 w 137"/>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 h="92">
                  <a:moveTo>
                    <a:pt x="111" y="72"/>
                  </a:moveTo>
                  <a:cubicBezTo>
                    <a:pt x="104" y="92"/>
                    <a:pt x="88" y="88"/>
                    <a:pt x="88" y="88"/>
                  </a:cubicBezTo>
                  <a:cubicBezTo>
                    <a:pt x="68" y="28"/>
                    <a:pt x="68" y="28"/>
                    <a:pt x="68" y="28"/>
                  </a:cubicBezTo>
                  <a:cubicBezTo>
                    <a:pt x="68" y="28"/>
                    <a:pt x="68" y="28"/>
                    <a:pt x="68" y="28"/>
                  </a:cubicBezTo>
                  <a:cubicBezTo>
                    <a:pt x="68" y="28"/>
                    <a:pt x="59"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7" y="60"/>
                    <a:pt x="97" y="60"/>
                    <a:pt x="97" y="60"/>
                  </a:cubicBezTo>
                  <a:cubicBezTo>
                    <a:pt x="97" y="60"/>
                    <a:pt x="97" y="60"/>
                    <a:pt x="97" y="60"/>
                  </a:cubicBezTo>
                  <a:cubicBezTo>
                    <a:pt x="115" y="0"/>
                    <a:pt x="115" y="0"/>
                    <a:pt x="115" y="0"/>
                  </a:cubicBezTo>
                  <a:cubicBezTo>
                    <a:pt x="137" y="0"/>
                    <a:pt x="137" y="0"/>
                    <a:pt x="137" y="0"/>
                  </a:cubicBezTo>
                  <a:cubicBezTo>
                    <a:pt x="137"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57" name="Freeform 16"/>
            <p:cNvSpPr>
              <a:spLocks noEditPoints="1"/>
            </p:cNvSpPr>
            <p:nvPr userDrawn="1"/>
          </p:nvSpPr>
          <p:spPr bwMode="auto">
            <a:xfrm>
              <a:off x="8423168" y="4892699"/>
              <a:ext cx="65844" cy="95129"/>
            </a:xfrm>
            <a:custGeom>
              <a:avLst/>
              <a:gdLst>
                <a:gd name="T0" fmla="*/ 1 w 87"/>
                <a:gd name="T1" fmla="*/ 0 h 131"/>
                <a:gd name="T2" fmla="*/ 0 w 87"/>
                <a:gd name="T3" fmla="*/ 131 h 131"/>
                <a:gd name="T4" fmla="*/ 41 w 87"/>
                <a:gd name="T5" fmla="*/ 131 h 131"/>
                <a:gd name="T6" fmla="*/ 87 w 87"/>
                <a:gd name="T7" fmla="*/ 92 h 131"/>
                <a:gd name="T8" fmla="*/ 65 w 87"/>
                <a:gd name="T9" fmla="*/ 61 h 131"/>
                <a:gd name="T10" fmla="*/ 62 w 87"/>
                <a:gd name="T11" fmla="*/ 60 h 131"/>
                <a:gd name="T12" fmla="*/ 64 w 87"/>
                <a:gd name="T13" fmla="*/ 59 h 131"/>
                <a:gd name="T14" fmla="*/ 79 w 87"/>
                <a:gd name="T15" fmla="*/ 32 h 131"/>
                <a:gd name="T16" fmla="*/ 42 w 87"/>
                <a:gd name="T17" fmla="*/ 0 h 131"/>
                <a:gd name="T18" fmla="*/ 1 w 87"/>
                <a:gd name="T19" fmla="*/ 0 h 131"/>
                <a:gd name="T20" fmla="*/ 23 w 87"/>
                <a:gd name="T21" fmla="*/ 17 h 131"/>
                <a:gd name="T22" fmla="*/ 36 w 87"/>
                <a:gd name="T23" fmla="*/ 17 h 131"/>
                <a:gd name="T24" fmla="*/ 56 w 87"/>
                <a:gd name="T25" fmla="*/ 35 h 131"/>
                <a:gd name="T26" fmla="*/ 38 w 87"/>
                <a:gd name="T27" fmla="*/ 55 h 131"/>
                <a:gd name="T28" fmla="*/ 22 w 87"/>
                <a:gd name="T29" fmla="*/ 55 h 131"/>
                <a:gd name="T30" fmla="*/ 23 w 87"/>
                <a:gd name="T31" fmla="*/ 17 h 131"/>
                <a:gd name="T32" fmla="*/ 22 w 87"/>
                <a:gd name="T33" fmla="*/ 74 h 131"/>
                <a:gd name="T34" fmla="*/ 40 w 87"/>
                <a:gd name="T35" fmla="*/ 74 h 131"/>
                <a:gd name="T36" fmla="*/ 64 w 87"/>
                <a:gd name="T37" fmla="*/ 92 h 131"/>
                <a:gd name="T38" fmla="*/ 39 w 87"/>
                <a:gd name="T39" fmla="*/ 113 h 131"/>
                <a:gd name="T40" fmla="*/ 22 w 87"/>
                <a:gd name="T41" fmla="*/ 113 h 131"/>
                <a:gd name="T42" fmla="*/ 22 w 87"/>
                <a:gd name="T43" fmla="*/ 7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131">
                  <a:moveTo>
                    <a:pt x="1" y="0"/>
                  </a:moveTo>
                  <a:cubicBezTo>
                    <a:pt x="1" y="3"/>
                    <a:pt x="0" y="129"/>
                    <a:pt x="0" y="131"/>
                  </a:cubicBezTo>
                  <a:cubicBezTo>
                    <a:pt x="2" y="131"/>
                    <a:pt x="41" y="131"/>
                    <a:pt x="41" y="131"/>
                  </a:cubicBezTo>
                  <a:cubicBezTo>
                    <a:pt x="73" y="131"/>
                    <a:pt x="87" y="111"/>
                    <a:pt x="87" y="92"/>
                  </a:cubicBezTo>
                  <a:cubicBezTo>
                    <a:pt x="87" y="77"/>
                    <a:pt x="79" y="65"/>
                    <a:pt x="65" y="61"/>
                  </a:cubicBezTo>
                  <a:cubicBezTo>
                    <a:pt x="62" y="60"/>
                    <a:pt x="62" y="60"/>
                    <a:pt x="62" y="60"/>
                  </a:cubicBezTo>
                  <a:cubicBezTo>
                    <a:pt x="64" y="59"/>
                    <a:pt x="64" y="59"/>
                    <a:pt x="64" y="59"/>
                  </a:cubicBezTo>
                  <a:cubicBezTo>
                    <a:pt x="74" y="54"/>
                    <a:pt x="79" y="44"/>
                    <a:pt x="79" y="32"/>
                  </a:cubicBezTo>
                  <a:cubicBezTo>
                    <a:pt x="79" y="17"/>
                    <a:pt x="68" y="0"/>
                    <a:pt x="42" y="0"/>
                  </a:cubicBezTo>
                  <a:cubicBezTo>
                    <a:pt x="42" y="0"/>
                    <a:pt x="3" y="0"/>
                    <a:pt x="1" y="0"/>
                  </a:cubicBezTo>
                  <a:close/>
                  <a:moveTo>
                    <a:pt x="23" y="17"/>
                  </a:moveTo>
                  <a:cubicBezTo>
                    <a:pt x="36" y="17"/>
                    <a:pt x="36" y="17"/>
                    <a:pt x="36" y="17"/>
                  </a:cubicBezTo>
                  <a:cubicBezTo>
                    <a:pt x="49" y="17"/>
                    <a:pt x="56" y="24"/>
                    <a:pt x="56" y="35"/>
                  </a:cubicBezTo>
                  <a:cubicBezTo>
                    <a:pt x="56" y="47"/>
                    <a:pt x="47" y="55"/>
                    <a:pt x="38" y="55"/>
                  </a:cubicBezTo>
                  <a:cubicBezTo>
                    <a:pt x="22" y="55"/>
                    <a:pt x="22" y="55"/>
                    <a:pt x="22" y="55"/>
                  </a:cubicBezTo>
                  <a:lnTo>
                    <a:pt x="23" y="17"/>
                  </a:lnTo>
                  <a:close/>
                  <a:moveTo>
                    <a:pt x="22" y="74"/>
                  </a:moveTo>
                  <a:cubicBezTo>
                    <a:pt x="40" y="74"/>
                    <a:pt x="40" y="74"/>
                    <a:pt x="40" y="74"/>
                  </a:cubicBezTo>
                  <a:cubicBezTo>
                    <a:pt x="55" y="74"/>
                    <a:pt x="64" y="81"/>
                    <a:pt x="64" y="92"/>
                  </a:cubicBezTo>
                  <a:cubicBezTo>
                    <a:pt x="64" y="105"/>
                    <a:pt x="55" y="113"/>
                    <a:pt x="39" y="113"/>
                  </a:cubicBezTo>
                  <a:cubicBezTo>
                    <a:pt x="22" y="113"/>
                    <a:pt x="22" y="113"/>
                    <a:pt x="22" y="113"/>
                  </a:cubicBezTo>
                  <a:lnTo>
                    <a:pt x="22" y="74"/>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58" name="Freeform 17"/>
            <p:cNvSpPr>
              <a:spLocks noEditPoints="1"/>
            </p:cNvSpPr>
            <p:nvPr userDrawn="1"/>
          </p:nvSpPr>
          <p:spPr bwMode="auto">
            <a:xfrm>
              <a:off x="8546184" y="4923177"/>
              <a:ext cx="66486" cy="66190"/>
            </a:xfrm>
            <a:custGeom>
              <a:avLst/>
              <a:gdLst>
                <a:gd name="T0" fmla="*/ 75 w 88"/>
                <a:gd name="T1" fmla="*/ 78 h 91"/>
                <a:gd name="T2" fmla="*/ 44 w 88"/>
                <a:gd name="T3" fmla="*/ 91 h 91"/>
                <a:gd name="T4" fmla="*/ 14 w 88"/>
                <a:gd name="T5" fmla="*/ 80 h 91"/>
                <a:gd name="T6" fmla="*/ 0 w 88"/>
                <a:gd name="T7" fmla="*/ 46 h 91"/>
                <a:gd name="T8" fmla="*/ 13 w 88"/>
                <a:gd name="T9" fmla="*/ 12 h 91"/>
                <a:gd name="T10" fmla="*/ 44 w 88"/>
                <a:gd name="T11" fmla="*/ 0 h 91"/>
                <a:gd name="T12" fmla="*/ 76 w 88"/>
                <a:gd name="T13" fmla="*/ 12 h 91"/>
                <a:gd name="T14" fmla="*/ 88 w 88"/>
                <a:gd name="T15" fmla="*/ 45 h 91"/>
                <a:gd name="T16" fmla="*/ 75 w 88"/>
                <a:gd name="T17" fmla="*/ 78 h 91"/>
                <a:gd name="T18" fmla="*/ 44 w 88"/>
                <a:gd name="T19" fmla="*/ 17 h 91"/>
                <a:gd name="T20" fmla="*/ 23 w 88"/>
                <a:gd name="T21" fmla="*/ 45 h 91"/>
                <a:gd name="T22" fmla="*/ 44 w 88"/>
                <a:gd name="T23" fmla="*/ 73 h 91"/>
                <a:gd name="T24" fmla="*/ 65 w 88"/>
                <a:gd name="T25" fmla="*/ 45 h 91"/>
                <a:gd name="T26" fmla="*/ 44 w 88"/>
                <a:gd name="T27"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91">
                  <a:moveTo>
                    <a:pt x="75" y="78"/>
                  </a:moveTo>
                  <a:cubicBezTo>
                    <a:pt x="68" y="86"/>
                    <a:pt x="57" y="91"/>
                    <a:pt x="44" y="91"/>
                  </a:cubicBezTo>
                  <a:cubicBezTo>
                    <a:pt x="32" y="91"/>
                    <a:pt x="21" y="87"/>
                    <a:pt x="14" y="80"/>
                  </a:cubicBezTo>
                  <a:cubicBezTo>
                    <a:pt x="5" y="72"/>
                    <a:pt x="0" y="60"/>
                    <a:pt x="0" y="46"/>
                  </a:cubicBezTo>
                  <a:cubicBezTo>
                    <a:pt x="0" y="32"/>
                    <a:pt x="5" y="20"/>
                    <a:pt x="13" y="12"/>
                  </a:cubicBezTo>
                  <a:cubicBezTo>
                    <a:pt x="21" y="4"/>
                    <a:pt x="31" y="0"/>
                    <a:pt x="44" y="0"/>
                  </a:cubicBezTo>
                  <a:cubicBezTo>
                    <a:pt x="57" y="0"/>
                    <a:pt x="68" y="4"/>
                    <a:pt x="76" y="12"/>
                  </a:cubicBezTo>
                  <a:cubicBezTo>
                    <a:pt x="84" y="20"/>
                    <a:pt x="88" y="32"/>
                    <a:pt x="88" y="45"/>
                  </a:cubicBezTo>
                  <a:cubicBezTo>
                    <a:pt x="88" y="58"/>
                    <a:pt x="83" y="70"/>
                    <a:pt x="75" y="78"/>
                  </a:cubicBezTo>
                  <a:close/>
                  <a:moveTo>
                    <a:pt x="44" y="17"/>
                  </a:moveTo>
                  <a:cubicBezTo>
                    <a:pt x="30" y="17"/>
                    <a:pt x="23" y="29"/>
                    <a:pt x="23" y="45"/>
                  </a:cubicBezTo>
                  <a:cubicBezTo>
                    <a:pt x="23" y="62"/>
                    <a:pt x="31" y="73"/>
                    <a:pt x="44" y="73"/>
                  </a:cubicBezTo>
                  <a:cubicBezTo>
                    <a:pt x="58" y="73"/>
                    <a:pt x="65" y="61"/>
                    <a:pt x="65" y="45"/>
                  </a:cubicBezTo>
                  <a:cubicBezTo>
                    <a:pt x="65" y="28"/>
                    <a:pt x="57" y="17"/>
                    <a:pt x="44" y="1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59" name="Freeform 18"/>
            <p:cNvSpPr>
              <a:spLocks/>
            </p:cNvSpPr>
            <p:nvPr userDrawn="1"/>
          </p:nvSpPr>
          <p:spPr bwMode="auto">
            <a:xfrm>
              <a:off x="8728298" y="4923177"/>
              <a:ext cx="60705" cy="65574"/>
            </a:xfrm>
            <a:custGeom>
              <a:avLst/>
              <a:gdLst>
                <a:gd name="T0" fmla="*/ 58 w 80"/>
                <a:gd name="T1" fmla="*/ 90 h 90"/>
                <a:gd name="T2" fmla="*/ 58 w 80"/>
                <a:gd name="T3" fmla="*/ 38 h 90"/>
                <a:gd name="T4" fmla="*/ 45 w 80"/>
                <a:gd name="T5" fmla="*/ 19 h 90"/>
                <a:gd name="T6" fmla="*/ 23 w 80"/>
                <a:gd name="T7" fmla="*/ 28 h 90"/>
                <a:gd name="T8" fmla="*/ 23 w 80"/>
                <a:gd name="T9" fmla="*/ 74 h 90"/>
                <a:gd name="T10" fmla="*/ 0 w 80"/>
                <a:gd name="T11" fmla="*/ 90 h 90"/>
                <a:gd name="T12" fmla="*/ 0 w 80"/>
                <a:gd name="T13" fmla="*/ 2 h 90"/>
                <a:gd name="T14" fmla="*/ 19 w 80"/>
                <a:gd name="T15" fmla="*/ 2 h 90"/>
                <a:gd name="T16" fmla="*/ 22 w 80"/>
                <a:gd name="T17" fmla="*/ 11 h 90"/>
                <a:gd name="T18" fmla="*/ 52 w 80"/>
                <a:gd name="T19" fmla="*/ 0 h 90"/>
                <a:gd name="T20" fmla="*/ 80 w 80"/>
                <a:gd name="T21" fmla="*/ 31 h 90"/>
                <a:gd name="T22" fmla="*/ 80 w 80"/>
                <a:gd name="T23" fmla="*/ 74 h 90"/>
                <a:gd name="T24" fmla="*/ 58 w 80"/>
                <a:gd name="T2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90">
                  <a:moveTo>
                    <a:pt x="58" y="90"/>
                  </a:moveTo>
                  <a:cubicBezTo>
                    <a:pt x="58" y="38"/>
                    <a:pt x="58" y="38"/>
                    <a:pt x="58" y="38"/>
                  </a:cubicBezTo>
                  <a:cubicBezTo>
                    <a:pt x="58" y="29"/>
                    <a:pt x="56" y="19"/>
                    <a:pt x="45" y="19"/>
                  </a:cubicBezTo>
                  <a:cubicBezTo>
                    <a:pt x="37" y="19"/>
                    <a:pt x="29" y="23"/>
                    <a:pt x="23" y="28"/>
                  </a:cubicBezTo>
                  <a:cubicBezTo>
                    <a:pt x="23" y="28"/>
                    <a:pt x="23" y="57"/>
                    <a:pt x="23" y="74"/>
                  </a:cubicBezTo>
                  <a:cubicBezTo>
                    <a:pt x="23" y="90"/>
                    <a:pt x="0" y="90"/>
                    <a:pt x="0" y="90"/>
                  </a:cubicBezTo>
                  <a:cubicBezTo>
                    <a:pt x="0" y="2"/>
                    <a:pt x="0" y="2"/>
                    <a:pt x="0" y="2"/>
                  </a:cubicBezTo>
                  <a:cubicBezTo>
                    <a:pt x="19" y="2"/>
                    <a:pt x="19" y="2"/>
                    <a:pt x="19" y="2"/>
                  </a:cubicBezTo>
                  <a:cubicBezTo>
                    <a:pt x="22" y="11"/>
                    <a:pt x="22" y="11"/>
                    <a:pt x="22" y="11"/>
                  </a:cubicBezTo>
                  <a:cubicBezTo>
                    <a:pt x="31" y="4"/>
                    <a:pt x="40" y="0"/>
                    <a:pt x="52" y="0"/>
                  </a:cubicBezTo>
                  <a:cubicBezTo>
                    <a:pt x="65" y="0"/>
                    <a:pt x="80" y="8"/>
                    <a:pt x="80" y="31"/>
                  </a:cubicBezTo>
                  <a:cubicBezTo>
                    <a:pt x="80" y="31"/>
                    <a:pt x="80" y="57"/>
                    <a:pt x="80" y="74"/>
                  </a:cubicBezTo>
                  <a:cubicBezTo>
                    <a:pt x="80" y="90"/>
                    <a:pt x="58" y="90"/>
                    <a:pt x="58" y="9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60" name="Freeform 19"/>
            <p:cNvSpPr>
              <a:spLocks/>
            </p:cNvSpPr>
            <p:nvPr userDrawn="1"/>
          </p:nvSpPr>
          <p:spPr bwMode="auto">
            <a:xfrm>
              <a:off x="8501217" y="4923177"/>
              <a:ext cx="43361" cy="65574"/>
            </a:xfrm>
            <a:custGeom>
              <a:avLst/>
              <a:gdLst>
                <a:gd name="T0" fmla="*/ 49 w 57"/>
                <a:gd name="T1" fmla="*/ 22 h 90"/>
                <a:gd name="T2" fmla="*/ 39 w 57"/>
                <a:gd name="T3" fmla="*/ 20 h 90"/>
                <a:gd name="T4" fmla="*/ 22 w 57"/>
                <a:gd name="T5" fmla="*/ 27 h 90"/>
                <a:gd name="T6" fmla="*/ 22 w 57"/>
                <a:gd name="T7" fmla="*/ 74 h 90"/>
                <a:gd name="T8" fmla="*/ 0 w 57"/>
                <a:gd name="T9" fmla="*/ 90 h 90"/>
                <a:gd name="T10" fmla="*/ 0 w 57"/>
                <a:gd name="T11" fmla="*/ 2 h 90"/>
                <a:gd name="T12" fmla="*/ 19 w 57"/>
                <a:gd name="T13" fmla="*/ 2 h 90"/>
                <a:gd name="T14" fmla="*/ 21 w 57"/>
                <a:gd name="T15" fmla="*/ 11 h 90"/>
                <a:gd name="T16" fmla="*/ 45 w 57"/>
                <a:gd name="T17" fmla="*/ 0 h 90"/>
                <a:gd name="T18" fmla="*/ 57 w 57"/>
                <a:gd name="T19" fmla="*/ 4 h 90"/>
                <a:gd name="T20" fmla="*/ 49 w 57"/>
                <a:gd name="T21" fmla="*/ 2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0">
                  <a:moveTo>
                    <a:pt x="49" y="22"/>
                  </a:moveTo>
                  <a:cubicBezTo>
                    <a:pt x="46" y="20"/>
                    <a:pt x="42" y="20"/>
                    <a:pt x="39" y="20"/>
                  </a:cubicBezTo>
                  <a:cubicBezTo>
                    <a:pt x="34" y="20"/>
                    <a:pt x="28" y="22"/>
                    <a:pt x="22" y="27"/>
                  </a:cubicBezTo>
                  <a:cubicBezTo>
                    <a:pt x="22" y="27"/>
                    <a:pt x="22" y="57"/>
                    <a:pt x="22" y="74"/>
                  </a:cubicBezTo>
                  <a:cubicBezTo>
                    <a:pt x="22" y="90"/>
                    <a:pt x="0" y="90"/>
                    <a:pt x="0" y="90"/>
                  </a:cubicBezTo>
                  <a:cubicBezTo>
                    <a:pt x="0" y="2"/>
                    <a:pt x="0" y="2"/>
                    <a:pt x="0" y="2"/>
                  </a:cubicBezTo>
                  <a:cubicBezTo>
                    <a:pt x="19" y="2"/>
                    <a:pt x="19" y="2"/>
                    <a:pt x="19"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61" name="Freeform 20"/>
            <p:cNvSpPr>
              <a:spLocks/>
            </p:cNvSpPr>
            <p:nvPr userDrawn="1"/>
          </p:nvSpPr>
          <p:spPr bwMode="auto">
            <a:xfrm>
              <a:off x="7766657" y="4864376"/>
              <a:ext cx="100211" cy="148389"/>
            </a:xfrm>
            <a:custGeom>
              <a:avLst/>
              <a:gdLst>
                <a:gd name="T0" fmla="*/ 0 w 132"/>
                <a:gd name="T1" fmla="*/ 23 h 204"/>
                <a:gd name="T2" fmla="*/ 1 w 132"/>
                <a:gd name="T3" fmla="*/ 22 h 204"/>
                <a:gd name="T4" fmla="*/ 67 w 132"/>
                <a:gd name="T5" fmla="*/ 20 h 204"/>
                <a:gd name="T6" fmla="*/ 80 w 132"/>
                <a:gd name="T7" fmla="*/ 52 h 204"/>
                <a:gd name="T8" fmla="*/ 113 w 132"/>
                <a:gd name="T9" fmla="*/ 65 h 204"/>
                <a:gd name="T10" fmla="*/ 111 w 132"/>
                <a:gd name="T11" fmla="*/ 132 h 204"/>
                <a:gd name="T12" fmla="*/ 38 w 132"/>
                <a:gd name="T13" fmla="*/ 204 h 204"/>
                <a:gd name="T14" fmla="*/ 16 w 132"/>
                <a:gd name="T15" fmla="*/ 182 h 204"/>
                <a:gd name="T16" fmla="*/ 88 w 132"/>
                <a:gd name="T17" fmla="*/ 110 h 204"/>
                <a:gd name="T18" fmla="*/ 91 w 132"/>
                <a:gd name="T19" fmla="*/ 86 h 204"/>
                <a:gd name="T20" fmla="*/ 67 w 132"/>
                <a:gd name="T21" fmla="*/ 88 h 204"/>
                <a:gd name="T22" fmla="*/ 0 w 132"/>
                <a:gd name="T23" fmla="*/ 155 h 204"/>
                <a:gd name="T24" fmla="*/ 0 w 132"/>
                <a:gd name="T25" fmla="*/ 111 h 204"/>
                <a:gd name="T26" fmla="*/ 45 w 132"/>
                <a:gd name="T27" fmla="*/ 66 h 204"/>
                <a:gd name="T28" fmla="*/ 46 w 132"/>
                <a:gd name="T29" fmla="*/ 42 h 204"/>
                <a:gd name="T30" fmla="*/ 22 w 132"/>
                <a:gd name="T31" fmla="*/ 44 h 204"/>
                <a:gd name="T32" fmla="*/ 0 w 132"/>
                <a:gd name="T33" fmla="*/ 66 h 204"/>
                <a:gd name="T34" fmla="*/ 0 w 132"/>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204">
                  <a:moveTo>
                    <a:pt x="0" y="23"/>
                  </a:moveTo>
                  <a:cubicBezTo>
                    <a:pt x="1" y="22"/>
                    <a:pt x="1" y="22"/>
                    <a:pt x="1" y="22"/>
                  </a:cubicBezTo>
                  <a:cubicBezTo>
                    <a:pt x="23" y="0"/>
                    <a:pt x="50" y="2"/>
                    <a:pt x="67" y="20"/>
                  </a:cubicBezTo>
                  <a:cubicBezTo>
                    <a:pt x="80" y="32"/>
                    <a:pt x="81" y="46"/>
                    <a:pt x="80" y="52"/>
                  </a:cubicBezTo>
                  <a:cubicBezTo>
                    <a:pt x="86" y="51"/>
                    <a:pt x="100" y="52"/>
                    <a:pt x="113" y="65"/>
                  </a:cubicBezTo>
                  <a:cubicBezTo>
                    <a:pt x="130" y="82"/>
                    <a:pt x="132" y="110"/>
                    <a:pt x="111" y="132"/>
                  </a:cubicBezTo>
                  <a:cubicBezTo>
                    <a:pt x="38" y="204"/>
                    <a:pt x="38" y="204"/>
                    <a:pt x="38" y="204"/>
                  </a:cubicBezTo>
                  <a:cubicBezTo>
                    <a:pt x="16" y="182"/>
                    <a:pt x="16" y="182"/>
                    <a:pt x="16" y="182"/>
                  </a:cubicBezTo>
                  <a:cubicBezTo>
                    <a:pt x="88" y="110"/>
                    <a:pt x="88" y="110"/>
                    <a:pt x="88" y="110"/>
                  </a:cubicBezTo>
                  <a:cubicBezTo>
                    <a:pt x="97" y="101"/>
                    <a:pt x="96" y="91"/>
                    <a:pt x="91" y="86"/>
                  </a:cubicBezTo>
                  <a:cubicBezTo>
                    <a:pt x="85" y="80"/>
                    <a:pt x="75" y="79"/>
                    <a:pt x="67" y="88"/>
                  </a:cubicBezTo>
                  <a:cubicBezTo>
                    <a:pt x="0" y="155"/>
                    <a:pt x="0" y="155"/>
                    <a:pt x="0" y="155"/>
                  </a:cubicBezTo>
                  <a:cubicBezTo>
                    <a:pt x="0" y="111"/>
                    <a:pt x="0" y="111"/>
                    <a:pt x="0" y="111"/>
                  </a:cubicBezTo>
                  <a:cubicBezTo>
                    <a:pt x="45" y="66"/>
                    <a:pt x="45" y="66"/>
                    <a:pt x="45" y="66"/>
                  </a:cubicBezTo>
                  <a:cubicBezTo>
                    <a:pt x="53" y="57"/>
                    <a:pt x="52" y="47"/>
                    <a:pt x="46" y="42"/>
                  </a:cubicBezTo>
                  <a:cubicBezTo>
                    <a:pt x="41" y="36"/>
                    <a:pt x="31" y="35"/>
                    <a:pt x="22" y="44"/>
                  </a:cubicBezTo>
                  <a:cubicBezTo>
                    <a:pt x="0" y="66"/>
                    <a:pt x="0" y="66"/>
                    <a:pt x="0" y="66"/>
                  </a:cubicBezTo>
                  <a:lnTo>
                    <a:pt x="0"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62" name="Freeform 21"/>
            <p:cNvSpPr>
              <a:spLocks noEditPoints="1"/>
            </p:cNvSpPr>
            <p:nvPr userDrawn="1"/>
          </p:nvSpPr>
          <p:spPr bwMode="auto">
            <a:xfrm>
              <a:off x="7980890" y="5040472"/>
              <a:ext cx="51390" cy="57878"/>
            </a:xfrm>
            <a:custGeom>
              <a:avLst/>
              <a:gdLst>
                <a:gd name="T0" fmla="*/ 0 w 68"/>
                <a:gd name="T1" fmla="*/ 40 h 80"/>
                <a:gd name="T2" fmla="*/ 35 w 68"/>
                <a:gd name="T3" fmla="*/ 0 h 80"/>
                <a:gd name="T4" fmla="*/ 68 w 68"/>
                <a:gd name="T5" fmla="*/ 41 h 80"/>
                <a:gd name="T6" fmla="*/ 68 w 68"/>
                <a:gd name="T7" fmla="*/ 46 h 80"/>
                <a:gd name="T8" fmla="*/ 20 w 68"/>
                <a:gd name="T9" fmla="*/ 46 h 80"/>
                <a:gd name="T10" fmla="*/ 41 w 68"/>
                <a:gd name="T11" fmla="*/ 65 h 80"/>
                <a:gd name="T12" fmla="*/ 60 w 68"/>
                <a:gd name="T13" fmla="*/ 60 h 80"/>
                <a:gd name="T14" fmla="*/ 66 w 68"/>
                <a:gd name="T15" fmla="*/ 73 h 80"/>
                <a:gd name="T16" fmla="*/ 39 w 68"/>
                <a:gd name="T17" fmla="*/ 80 h 80"/>
                <a:gd name="T18" fmla="*/ 0 w 68"/>
                <a:gd name="T19" fmla="*/ 40 h 80"/>
                <a:gd name="T20" fmla="*/ 49 w 68"/>
                <a:gd name="T21" fmla="*/ 32 h 80"/>
                <a:gd name="T22" fmla="*/ 34 w 68"/>
                <a:gd name="T23" fmla="*/ 15 h 80"/>
                <a:gd name="T24" fmla="*/ 19 w 68"/>
                <a:gd name="T25" fmla="*/ 32 h 80"/>
                <a:gd name="T26" fmla="*/ 49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3" y="0"/>
                    <a:pt x="35" y="0"/>
                  </a:cubicBezTo>
                  <a:cubicBezTo>
                    <a:pt x="56" y="0"/>
                    <a:pt x="68" y="16"/>
                    <a:pt x="68" y="41"/>
                  </a:cubicBezTo>
                  <a:cubicBezTo>
                    <a:pt x="68" y="46"/>
                    <a:pt x="68" y="46"/>
                    <a:pt x="68" y="46"/>
                  </a:cubicBezTo>
                  <a:cubicBezTo>
                    <a:pt x="20" y="46"/>
                    <a:pt x="20" y="46"/>
                    <a:pt x="20" y="46"/>
                  </a:cubicBezTo>
                  <a:cubicBezTo>
                    <a:pt x="20" y="57"/>
                    <a:pt x="28" y="65"/>
                    <a:pt x="41" y="65"/>
                  </a:cubicBezTo>
                  <a:cubicBezTo>
                    <a:pt x="49" y="65"/>
                    <a:pt x="55" y="63"/>
                    <a:pt x="60" y="60"/>
                  </a:cubicBezTo>
                  <a:cubicBezTo>
                    <a:pt x="66" y="73"/>
                    <a:pt x="66" y="73"/>
                    <a:pt x="66" y="73"/>
                  </a:cubicBezTo>
                  <a:cubicBezTo>
                    <a:pt x="58" y="78"/>
                    <a:pt x="49" y="80"/>
                    <a:pt x="39" y="80"/>
                  </a:cubicBezTo>
                  <a:cubicBezTo>
                    <a:pt x="11" y="80"/>
                    <a:pt x="0" y="61"/>
                    <a:pt x="0" y="40"/>
                  </a:cubicBezTo>
                  <a:close/>
                  <a:moveTo>
                    <a:pt x="49" y="32"/>
                  </a:moveTo>
                  <a:cubicBezTo>
                    <a:pt x="49" y="23"/>
                    <a:pt x="44" y="15"/>
                    <a:pt x="34" y="15"/>
                  </a:cubicBezTo>
                  <a:cubicBezTo>
                    <a:pt x="25" y="15"/>
                    <a:pt x="19" y="23"/>
                    <a:pt x="19" y="32"/>
                  </a:cubicBezTo>
                  <a:lnTo>
                    <a:pt x="49"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63" name="Freeform 22"/>
            <p:cNvSpPr>
              <a:spLocks/>
            </p:cNvSpPr>
            <p:nvPr userDrawn="1"/>
          </p:nvSpPr>
          <p:spPr bwMode="auto">
            <a:xfrm>
              <a:off x="8295656" y="5041088"/>
              <a:ext cx="37258" cy="56031"/>
            </a:xfrm>
            <a:custGeom>
              <a:avLst/>
              <a:gdLst>
                <a:gd name="T0" fmla="*/ 42 w 49"/>
                <a:gd name="T1" fmla="*/ 19 h 77"/>
                <a:gd name="T2" fmla="*/ 33 w 49"/>
                <a:gd name="T3" fmla="*/ 16 h 77"/>
                <a:gd name="T4" fmla="*/ 19 w 49"/>
                <a:gd name="T5" fmla="*/ 23 h 77"/>
                <a:gd name="T6" fmla="*/ 19 w 49"/>
                <a:gd name="T7" fmla="*/ 63 h 77"/>
                <a:gd name="T8" fmla="*/ 0 w 49"/>
                <a:gd name="T9" fmla="*/ 77 h 77"/>
                <a:gd name="T10" fmla="*/ 0 w 49"/>
                <a:gd name="T11" fmla="*/ 1 h 77"/>
                <a:gd name="T12" fmla="*/ 16 w 49"/>
                <a:gd name="T13" fmla="*/ 1 h 77"/>
                <a:gd name="T14" fmla="*/ 18 w 49"/>
                <a:gd name="T15" fmla="*/ 9 h 77"/>
                <a:gd name="T16" fmla="*/ 39 w 49"/>
                <a:gd name="T17" fmla="*/ 0 h 77"/>
                <a:gd name="T18" fmla="*/ 49 w 49"/>
                <a:gd name="T19" fmla="*/ 3 h 77"/>
                <a:gd name="T20" fmla="*/ 42 w 49"/>
                <a:gd name="T21"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77">
                  <a:moveTo>
                    <a:pt x="42" y="19"/>
                  </a:moveTo>
                  <a:cubicBezTo>
                    <a:pt x="39" y="17"/>
                    <a:pt x="36" y="16"/>
                    <a:pt x="33" y="16"/>
                  </a:cubicBezTo>
                  <a:cubicBezTo>
                    <a:pt x="29" y="16"/>
                    <a:pt x="24" y="18"/>
                    <a:pt x="19" y="23"/>
                  </a:cubicBezTo>
                  <a:cubicBezTo>
                    <a:pt x="19" y="2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2"/>
                    <a:pt x="32" y="0"/>
                    <a:pt x="39" y="0"/>
                  </a:cubicBezTo>
                  <a:cubicBezTo>
                    <a:pt x="42" y="0"/>
                    <a:pt x="46" y="1"/>
                    <a:pt x="49" y="3"/>
                  </a:cubicBezTo>
                  <a:lnTo>
                    <a:pt x="42" y="1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64" name="Freeform 23"/>
            <p:cNvSpPr>
              <a:spLocks noEditPoints="1"/>
            </p:cNvSpPr>
            <p:nvPr userDrawn="1"/>
          </p:nvSpPr>
          <p:spPr bwMode="auto">
            <a:xfrm>
              <a:off x="8178743" y="5040472"/>
              <a:ext cx="51712" cy="57878"/>
            </a:xfrm>
            <a:custGeom>
              <a:avLst/>
              <a:gdLst>
                <a:gd name="T0" fmla="*/ 0 w 68"/>
                <a:gd name="T1" fmla="*/ 40 h 80"/>
                <a:gd name="T2" fmla="*/ 34 w 68"/>
                <a:gd name="T3" fmla="*/ 0 h 80"/>
                <a:gd name="T4" fmla="*/ 68 w 68"/>
                <a:gd name="T5" fmla="*/ 41 h 80"/>
                <a:gd name="T6" fmla="*/ 68 w 68"/>
                <a:gd name="T7" fmla="*/ 46 h 80"/>
                <a:gd name="T8" fmla="*/ 19 w 68"/>
                <a:gd name="T9" fmla="*/ 46 h 80"/>
                <a:gd name="T10" fmla="*/ 41 w 68"/>
                <a:gd name="T11" fmla="*/ 65 h 80"/>
                <a:gd name="T12" fmla="*/ 60 w 68"/>
                <a:gd name="T13" fmla="*/ 60 h 80"/>
                <a:gd name="T14" fmla="*/ 66 w 68"/>
                <a:gd name="T15" fmla="*/ 73 h 80"/>
                <a:gd name="T16" fmla="*/ 39 w 68"/>
                <a:gd name="T17" fmla="*/ 80 h 80"/>
                <a:gd name="T18" fmla="*/ 0 w 68"/>
                <a:gd name="T19" fmla="*/ 40 h 80"/>
                <a:gd name="T20" fmla="*/ 49 w 68"/>
                <a:gd name="T21" fmla="*/ 32 h 80"/>
                <a:gd name="T22" fmla="*/ 34 w 68"/>
                <a:gd name="T23" fmla="*/ 15 h 80"/>
                <a:gd name="T24" fmla="*/ 19 w 68"/>
                <a:gd name="T25" fmla="*/ 32 h 80"/>
                <a:gd name="T26" fmla="*/ 49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3" y="0"/>
                    <a:pt x="34" y="0"/>
                  </a:cubicBezTo>
                  <a:cubicBezTo>
                    <a:pt x="56" y="0"/>
                    <a:pt x="68" y="16"/>
                    <a:pt x="68" y="41"/>
                  </a:cubicBezTo>
                  <a:cubicBezTo>
                    <a:pt x="68" y="46"/>
                    <a:pt x="68" y="46"/>
                    <a:pt x="68" y="46"/>
                  </a:cubicBezTo>
                  <a:cubicBezTo>
                    <a:pt x="19" y="46"/>
                    <a:pt x="19" y="46"/>
                    <a:pt x="19" y="46"/>
                  </a:cubicBezTo>
                  <a:cubicBezTo>
                    <a:pt x="20" y="57"/>
                    <a:pt x="28" y="65"/>
                    <a:pt x="41" y="65"/>
                  </a:cubicBezTo>
                  <a:cubicBezTo>
                    <a:pt x="49" y="65"/>
                    <a:pt x="55" y="63"/>
                    <a:pt x="60" y="60"/>
                  </a:cubicBezTo>
                  <a:cubicBezTo>
                    <a:pt x="66" y="73"/>
                    <a:pt x="66" y="73"/>
                    <a:pt x="66" y="73"/>
                  </a:cubicBezTo>
                  <a:cubicBezTo>
                    <a:pt x="58" y="78"/>
                    <a:pt x="48" y="80"/>
                    <a:pt x="39" y="80"/>
                  </a:cubicBezTo>
                  <a:cubicBezTo>
                    <a:pt x="11" y="80"/>
                    <a:pt x="0" y="61"/>
                    <a:pt x="0" y="40"/>
                  </a:cubicBezTo>
                  <a:close/>
                  <a:moveTo>
                    <a:pt x="49" y="32"/>
                  </a:moveTo>
                  <a:cubicBezTo>
                    <a:pt x="48" y="23"/>
                    <a:pt x="44" y="15"/>
                    <a:pt x="34" y="15"/>
                  </a:cubicBezTo>
                  <a:cubicBezTo>
                    <a:pt x="25" y="15"/>
                    <a:pt x="19" y="23"/>
                    <a:pt x="19" y="32"/>
                  </a:cubicBezTo>
                  <a:lnTo>
                    <a:pt x="49"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65" name="Freeform 24"/>
            <p:cNvSpPr>
              <a:spLocks noEditPoints="1"/>
            </p:cNvSpPr>
            <p:nvPr userDrawn="1"/>
          </p:nvSpPr>
          <p:spPr bwMode="auto">
            <a:xfrm>
              <a:off x="8236557" y="5040472"/>
              <a:ext cx="51390" cy="57878"/>
            </a:xfrm>
            <a:custGeom>
              <a:avLst/>
              <a:gdLst>
                <a:gd name="T0" fmla="*/ 0 w 68"/>
                <a:gd name="T1" fmla="*/ 40 h 80"/>
                <a:gd name="T2" fmla="*/ 34 w 68"/>
                <a:gd name="T3" fmla="*/ 0 h 80"/>
                <a:gd name="T4" fmla="*/ 68 w 68"/>
                <a:gd name="T5" fmla="*/ 41 h 80"/>
                <a:gd name="T6" fmla="*/ 68 w 68"/>
                <a:gd name="T7" fmla="*/ 46 h 80"/>
                <a:gd name="T8" fmla="*/ 19 w 68"/>
                <a:gd name="T9" fmla="*/ 46 h 80"/>
                <a:gd name="T10" fmla="*/ 40 w 68"/>
                <a:gd name="T11" fmla="*/ 65 h 80"/>
                <a:gd name="T12" fmla="*/ 60 w 68"/>
                <a:gd name="T13" fmla="*/ 60 h 80"/>
                <a:gd name="T14" fmla="*/ 65 w 68"/>
                <a:gd name="T15" fmla="*/ 73 h 80"/>
                <a:gd name="T16" fmla="*/ 39 w 68"/>
                <a:gd name="T17" fmla="*/ 80 h 80"/>
                <a:gd name="T18" fmla="*/ 0 w 68"/>
                <a:gd name="T19" fmla="*/ 40 h 80"/>
                <a:gd name="T20" fmla="*/ 48 w 68"/>
                <a:gd name="T21" fmla="*/ 32 h 80"/>
                <a:gd name="T22" fmla="*/ 34 w 68"/>
                <a:gd name="T23" fmla="*/ 15 h 80"/>
                <a:gd name="T24" fmla="*/ 19 w 68"/>
                <a:gd name="T25" fmla="*/ 32 h 80"/>
                <a:gd name="T26" fmla="*/ 48 w 68"/>
                <a:gd name="T27"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80">
                  <a:moveTo>
                    <a:pt x="0" y="40"/>
                  </a:moveTo>
                  <a:cubicBezTo>
                    <a:pt x="0" y="18"/>
                    <a:pt x="12" y="0"/>
                    <a:pt x="34" y="0"/>
                  </a:cubicBezTo>
                  <a:cubicBezTo>
                    <a:pt x="55" y="0"/>
                    <a:pt x="68" y="16"/>
                    <a:pt x="68" y="41"/>
                  </a:cubicBezTo>
                  <a:cubicBezTo>
                    <a:pt x="68" y="46"/>
                    <a:pt x="68" y="46"/>
                    <a:pt x="68" y="46"/>
                  </a:cubicBezTo>
                  <a:cubicBezTo>
                    <a:pt x="19" y="46"/>
                    <a:pt x="19" y="46"/>
                    <a:pt x="19" y="46"/>
                  </a:cubicBezTo>
                  <a:cubicBezTo>
                    <a:pt x="19" y="57"/>
                    <a:pt x="28" y="65"/>
                    <a:pt x="40" y="65"/>
                  </a:cubicBezTo>
                  <a:cubicBezTo>
                    <a:pt x="48" y="65"/>
                    <a:pt x="54" y="63"/>
                    <a:pt x="60" y="60"/>
                  </a:cubicBezTo>
                  <a:cubicBezTo>
                    <a:pt x="65" y="73"/>
                    <a:pt x="65" y="73"/>
                    <a:pt x="65" y="73"/>
                  </a:cubicBezTo>
                  <a:cubicBezTo>
                    <a:pt x="57" y="78"/>
                    <a:pt x="48" y="80"/>
                    <a:pt x="39" y="80"/>
                  </a:cubicBezTo>
                  <a:cubicBezTo>
                    <a:pt x="11" y="80"/>
                    <a:pt x="0" y="61"/>
                    <a:pt x="0" y="40"/>
                  </a:cubicBezTo>
                  <a:close/>
                  <a:moveTo>
                    <a:pt x="48" y="32"/>
                  </a:moveTo>
                  <a:cubicBezTo>
                    <a:pt x="48" y="23"/>
                    <a:pt x="44" y="15"/>
                    <a:pt x="34" y="15"/>
                  </a:cubicBezTo>
                  <a:cubicBezTo>
                    <a:pt x="24" y="15"/>
                    <a:pt x="19" y="23"/>
                    <a:pt x="19" y="32"/>
                  </a:cubicBezTo>
                  <a:lnTo>
                    <a:pt x="48" y="3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66" name="Freeform 25"/>
            <p:cNvSpPr>
              <a:spLocks/>
            </p:cNvSpPr>
            <p:nvPr userDrawn="1"/>
          </p:nvSpPr>
          <p:spPr bwMode="auto">
            <a:xfrm>
              <a:off x="8040631" y="5041088"/>
              <a:ext cx="37258" cy="56031"/>
            </a:xfrm>
            <a:custGeom>
              <a:avLst/>
              <a:gdLst>
                <a:gd name="T0" fmla="*/ 42 w 49"/>
                <a:gd name="T1" fmla="*/ 19 h 77"/>
                <a:gd name="T2" fmla="*/ 33 w 49"/>
                <a:gd name="T3" fmla="*/ 16 h 77"/>
                <a:gd name="T4" fmla="*/ 19 w 49"/>
                <a:gd name="T5" fmla="*/ 23 h 77"/>
                <a:gd name="T6" fmla="*/ 19 w 49"/>
                <a:gd name="T7" fmla="*/ 63 h 77"/>
                <a:gd name="T8" fmla="*/ 0 w 49"/>
                <a:gd name="T9" fmla="*/ 77 h 77"/>
                <a:gd name="T10" fmla="*/ 0 w 49"/>
                <a:gd name="T11" fmla="*/ 1 h 77"/>
                <a:gd name="T12" fmla="*/ 16 w 49"/>
                <a:gd name="T13" fmla="*/ 1 h 77"/>
                <a:gd name="T14" fmla="*/ 18 w 49"/>
                <a:gd name="T15" fmla="*/ 9 h 77"/>
                <a:gd name="T16" fmla="*/ 38 w 49"/>
                <a:gd name="T17" fmla="*/ 0 h 77"/>
                <a:gd name="T18" fmla="*/ 49 w 49"/>
                <a:gd name="T19" fmla="*/ 3 h 77"/>
                <a:gd name="T20" fmla="*/ 42 w 49"/>
                <a:gd name="T21"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77">
                  <a:moveTo>
                    <a:pt x="42" y="19"/>
                  </a:moveTo>
                  <a:cubicBezTo>
                    <a:pt x="39" y="17"/>
                    <a:pt x="35" y="16"/>
                    <a:pt x="33" y="16"/>
                  </a:cubicBezTo>
                  <a:cubicBezTo>
                    <a:pt x="29" y="16"/>
                    <a:pt x="24" y="18"/>
                    <a:pt x="19" y="23"/>
                  </a:cubicBezTo>
                  <a:cubicBezTo>
                    <a:pt x="19" y="2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2"/>
                    <a:pt x="31" y="0"/>
                    <a:pt x="38" y="0"/>
                  </a:cubicBezTo>
                  <a:cubicBezTo>
                    <a:pt x="42" y="0"/>
                    <a:pt x="46" y="1"/>
                    <a:pt x="49" y="3"/>
                  </a:cubicBezTo>
                  <a:lnTo>
                    <a:pt x="42" y="1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67" name="Freeform 26"/>
            <p:cNvSpPr>
              <a:spLocks/>
            </p:cNvSpPr>
            <p:nvPr userDrawn="1"/>
          </p:nvSpPr>
          <p:spPr bwMode="auto">
            <a:xfrm>
              <a:off x="8083992" y="5041088"/>
              <a:ext cx="86400" cy="56031"/>
            </a:xfrm>
            <a:custGeom>
              <a:avLst/>
              <a:gdLst>
                <a:gd name="T0" fmla="*/ 114 w 114"/>
                <a:gd name="T1" fmla="*/ 25 h 77"/>
                <a:gd name="T2" fmla="*/ 114 w 114"/>
                <a:gd name="T3" fmla="*/ 63 h 77"/>
                <a:gd name="T4" fmla="*/ 95 w 114"/>
                <a:gd name="T5" fmla="*/ 77 h 77"/>
                <a:gd name="T6" fmla="*/ 95 w 114"/>
                <a:gd name="T7" fmla="*/ 31 h 77"/>
                <a:gd name="T8" fmla="*/ 84 w 114"/>
                <a:gd name="T9" fmla="*/ 16 h 77"/>
                <a:gd name="T10" fmla="*/ 66 w 114"/>
                <a:gd name="T11" fmla="*/ 23 h 77"/>
                <a:gd name="T12" fmla="*/ 66 w 114"/>
                <a:gd name="T13" fmla="*/ 63 h 77"/>
                <a:gd name="T14" fmla="*/ 66 w 114"/>
                <a:gd name="T15" fmla="*/ 63 h 77"/>
                <a:gd name="T16" fmla="*/ 47 w 114"/>
                <a:gd name="T17" fmla="*/ 77 h 77"/>
                <a:gd name="T18" fmla="*/ 47 w 114"/>
                <a:gd name="T19" fmla="*/ 31 h 77"/>
                <a:gd name="T20" fmla="*/ 37 w 114"/>
                <a:gd name="T21" fmla="*/ 16 h 77"/>
                <a:gd name="T22" fmla="*/ 19 w 114"/>
                <a:gd name="T23" fmla="*/ 23 h 77"/>
                <a:gd name="T24" fmla="*/ 19 w 114"/>
                <a:gd name="T25" fmla="*/ 63 h 77"/>
                <a:gd name="T26" fmla="*/ 19 w 114"/>
                <a:gd name="T27" fmla="*/ 63 h 77"/>
                <a:gd name="T28" fmla="*/ 0 w 114"/>
                <a:gd name="T29" fmla="*/ 77 h 77"/>
                <a:gd name="T30" fmla="*/ 0 w 114"/>
                <a:gd name="T31" fmla="*/ 1 h 77"/>
                <a:gd name="T32" fmla="*/ 16 w 114"/>
                <a:gd name="T33" fmla="*/ 1 h 77"/>
                <a:gd name="T34" fmla="*/ 18 w 114"/>
                <a:gd name="T35" fmla="*/ 9 h 77"/>
                <a:gd name="T36" fmla="*/ 43 w 114"/>
                <a:gd name="T37" fmla="*/ 0 h 77"/>
                <a:gd name="T38" fmla="*/ 63 w 114"/>
                <a:gd name="T39" fmla="*/ 11 h 77"/>
                <a:gd name="T40" fmla="*/ 89 w 114"/>
                <a:gd name="T41" fmla="*/ 0 h 77"/>
                <a:gd name="T42" fmla="*/ 114 w 114"/>
                <a:gd name="T43" fmla="*/ 2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77">
                  <a:moveTo>
                    <a:pt x="114" y="25"/>
                  </a:moveTo>
                  <a:cubicBezTo>
                    <a:pt x="114" y="63"/>
                    <a:pt x="114" y="63"/>
                    <a:pt x="114" y="63"/>
                  </a:cubicBezTo>
                  <a:cubicBezTo>
                    <a:pt x="114" y="77"/>
                    <a:pt x="95" y="77"/>
                    <a:pt x="95" y="77"/>
                  </a:cubicBezTo>
                  <a:cubicBezTo>
                    <a:pt x="95" y="31"/>
                    <a:pt x="95" y="31"/>
                    <a:pt x="95" y="31"/>
                  </a:cubicBezTo>
                  <a:cubicBezTo>
                    <a:pt x="95" y="22"/>
                    <a:pt x="93" y="16"/>
                    <a:pt x="84" y="16"/>
                  </a:cubicBezTo>
                  <a:cubicBezTo>
                    <a:pt x="77" y="16"/>
                    <a:pt x="71" y="19"/>
                    <a:pt x="66" y="23"/>
                  </a:cubicBezTo>
                  <a:cubicBezTo>
                    <a:pt x="66" y="63"/>
                    <a:pt x="66" y="63"/>
                    <a:pt x="66" y="63"/>
                  </a:cubicBezTo>
                  <a:cubicBezTo>
                    <a:pt x="66" y="63"/>
                    <a:pt x="66" y="49"/>
                    <a:pt x="66" y="63"/>
                  </a:cubicBezTo>
                  <a:cubicBezTo>
                    <a:pt x="66" y="77"/>
                    <a:pt x="47" y="77"/>
                    <a:pt x="47" y="77"/>
                  </a:cubicBezTo>
                  <a:cubicBezTo>
                    <a:pt x="47" y="31"/>
                    <a:pt x="47" y="31"/>
                    <a:pt x="47" y="31"/>
                  </a:cubicBezTo>
                  <a:cubicBezTo>
                    <a:pt x="47" y="23"/>
                    <a:pt x="46" y="16"/>
                    <a:pt x="37" y="16"/>
                  </a:cubicBezTo>
                  <a:cubicBezTo>
                    <a:pt x="30" y="16"/>
                    <a:pt x="19" y="23"/>
                    <a:pt x="19" y="23"/>
                  </a:cubicBezTo>
                  <a:cubicBezTo>
                    <a:pt x="19" y="63"/>
                    <a:pt x="19" y="63"/>
                    <a:pt x="19" y="63"/>
                  </a:cubicBezTo>
                  <a:cubicBezTo>
                    <a:pt x="19" y="63"/>
                    <a:pt x="19" y="49"/>
                    <a:pt x="19" y="63"/>
                  </a:cubicBezTo>
                  <a:cubicBezTo>
                    <a:pt x="19" y="77"/>
                    <a:pt x="0" y="77"/>
                    <a:pt x="0" y="77"/>
                  </a:cubicBezTo>
                  <a:cubicBezTo>
                    <a:pt x="0" y="1"/>
                    <a:pt x="0" y="1"/>
                    <a:pt x="0" y="1"/>
                  </a:cubicBezTo>
                  <a:cubicBezTo>
                    <a:pt x="16" y="1"/>
                    <a:pt x="16" y="1"/>
                    <a:pt x="16" y="1"/>
                  </a:cubicBezTo>
                  <a:cubicBezTo>
                    <a:pt x="18" y="9"/>
                    <a:pt x="18" y="9"/>
                    <a:pt x="18" y="9"/>
                  </a:cubicBezTo>
                  <a:cubicBezTo>
                    <a:pt x="26" y="3"/>
                    <a:pt x="34" y="0"/>
                    <a:pt x="43" y="0"/>
                  </a:cubicBezTo>
                  <a:cubicBezTo>
                    <a:pt x="52" y="0"/>
                    <a:pt x="59" y="4"/>
                    <a:pt x="63" y="11"/>
                  </a:cubicBezTo>
                  <a:cubicBezTo>
                    <a:pt x="71" y="3"/>
                    <a:pt x="81" y="0"/>
                    <a:pt x="89" y="0"/>
                  </a:cubicBezTo>
                  <a:cubicBezTo>
                    <a:pt x="102" y="0"/>
                    <a:pt x="114" y="6"/>
                    <a:pt x="114" y="25"/>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68" name="Freeform 27"/>
            <p:cNvSpPr>
              <a:spLocks/>
            </p:cNvSpPr>
            <p:nvPr userDrawn="1"/>
          </p:nvSpPr>
          <p:spPr bwMode="auto">
            <a:xfrm>
              <a:off x="7908622" y="5019846"/>
              <a:ext cx="77407" cy="77889"/>
            </a:xfrm>
            <a:custGeom>
              <a:avLst/>
              <a:gdLst>
                <a:gd name="T0" fmla="*/ 43 w 102"/>
                <a:gd name="T1" fmla="*/ 107 h 107"/>
                <a:gd name="T2" fmla="*/ 65 w 102"/>
                <a:gd name="T3" fmla="*/ 91 h 107"/>
                <a:gd name="T4" fmla="*/ 102 w 102"/>
                <a:gd name="T5" fmla="*/ 0 h 107"/>
                <a:gd name="T6" fmla="*/ 81 w 102"/>
                <a:gd name="T7" fmla="*/ 0 h 107"/>
                <a:gd name="T8" fmla="*/ 51 w 102"/>
                <a:gd name="T9" fmla="*/ 78 h 107"/>
                <a:gd name="T10" fmla="*/ 51 w 102"/>
                <a:gd name="T11" fmla="*/ 78 h 107"/>
                <a:gd name="T12" fmla="*/ 21 w 102"/>
                <a:gd name="T13" fmla="*/ 0 h 107"/>
                <a:gd name="T14" fmla="*/ 0 w 102"/>
                <a:gd name="T15" fmla="*/ 0 h 107"/>
                <a:gd name="T16" fmla="*/ 43 w 102"/>
                <a:gd name="T17"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107">
                  <a:moveTo>
                    <a:pt x="43" y="107"/>
                  </a:moveTo>
                  <a:cubicBezTo>
                    <a:pt x="57" y="107"/>
                    <a:pt x="61" y="101"/>
                    <a:pt x="65" y="91"/>
                  </a:cubicBezTo>
                  <a:cubicBezTo>
                    <a:pt x="102" y="0"/>
                    <a:pt x="102" y="0"/>
                    <a:pt x="102" y="0"/>
                  </a:cubicBezTo>
                  <a:cubicBezTo>
                    <a:pt x="81" y="0"/>
                    <a:pt x="81" y="0"/>
                    <a:pt x="81" y="0"/>
                  </a:cubicBezTo>
                  <a:cubicBezTo>
                    <a:pt x="51" y="78"/>
                    <a:pt x="51" y="78"/>
                    <a:pt x="51" y="78"/>
                  </a:cubicBezTo>
                  <a:cubicBezTo>
                    <a:pt x="51" y="78"/>
                    <a:pt x="51" y="78"/>
                    <a:pt x="51" y="78"/>
                  </a:cubicBezTo>
                  <a:cubicBezTo>
                    <a:pt x="21" y="0"/>
                    <a:pt x="21" y="0"/>
                    <a:pt x="21" y="0"/>
                  </a:cubicBezTo>
                  <a:cubicBezTo>
                    <a:pt x="0" y="0"/>
                    <a:pt x="0" y="0"/>
                    <a:pt x="0" y="0"/>
                  </a:cubicBezTo>
                  <a:cubicBezTo>
                    <a:pt x="43" y="107"/>
                    <a:pt x="43" y="107"/>
                    <a:pt x="43" y="10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195" name="Group 194"/>
          <p:cNvGrpSpPr/>
          <p:nvPr userDrawn="1"/>
        </p:nvGrpSpPr>
        <p:grpSpPr>
          <a:xfrm>
            <a:off x="4750866" y="4846684"/>
            <a:ext cx="1123200" cy="262528"/>
            <a:chOff x="7673274" y="4343117"/>
            <a:chExt cx="1123200" cy="262528"/>
          </a:xfrm>
          <a:solidFill>
            <a:schemeClr val="bg1"/>
          </a:solidFill>
        </p:grpSpPr>
        <p:grpSp>
          <p:nvGrpSpPr>
            <p:cNvPr id="196" name="Group 195"/>
            <p:cNvGrpSpPr/>
            <p:nvPr userDrawn="1"/>
          </p:nvGrpSpPr>
          <p:grpSpPr>
            <a:xfrm>
              <a:off x="7909937" y="4494135"/>
              <a:ext cx="438357" cy="111510"/>
              <a:chOff x="7909937" y="4491754"/>
              <a:chExt cx="438357" cy="111510"/>
            </a:xfrm>
            <a:grpFill/>
          </p:grpSpPr>
          <p:sp>
            <p:nvSpPr>
              <p:cNvPr id="213" name="Freeform 21"/>
              <p:cNvSpPr>
                <a:spLocks noEditPoints="1"/>
              </p:cNvSpPr>
              <p:nvPr/>
            </p:nvSpPr>
            <p:spPr bwMode="auto">
              <a:xfrm>
                <a:off x="7909937" y="4496945"/>
                <a:ext cx="72264" cy="78286"/>
              </a:xfrm>
              <a:custGeom>
                <a:avLst/>
                <a:gdLst>
                  <a:gd name="T0" fmla="*/ 290 w 696"/>
                  <a:gd name="T1" fmla="*/ 0 h 754"/>
                  <a:gd name="T2" fmla="*/ 394 w 696"/>
                  <a:gd name="T3" fmla="*/ 0 h 754"/>
                  <a:gd name="T4" fmla="*/ 696 w 696"/>
                  <a:gd name="T5" fmla="*/ 754 h 754"/>
                  <a:gd name="T6" fmla="*/ 550 w 696"/>
                  <a:gd name="T7" fmla="*/ 754 h 754"/>
                  <a:gd name="T8" fmla="*/ 478 w 696"/>
                  <a:gd name="T9" fmla="*/ 566 h 754"/>
                  <a:gd name="T10" fmla="*/ 210 w 696"/>
                  <a:gd name="T11" fmla="*/ 566 h 754"/>
                  <a:gd name="T12" fmla="*/ 140 w 696"/>
                  <a:gd name="T13" fmla="*/ 754 h 754"/>
                  <a:gd name="T14" fmla="*/ 0 w 696"/>
                  <a:gd name="T15" fmla="*/ 754 h 754"/>
                  <a:gd name="T16" fmla="*/ 290 w 696"/>
                  <a:gd name="T17" fmla="*/ 0 h 754"/>
                  <a:gd name="T18" fmla="*/ 436 w 696"/>
                  <a:gd name="T19" fmla="*/ 456 h 754"/>
                  <a:gd name="T20" fmla="*/ 384 w 696"/>
                  <a:gd name="T21" fmla="*/ 306 h 754"/>
                  <a:gd name="T22" fmla="*/ 384 w 696"/>
                  <a:gd name="T23" fmla="*/ 306 h 754"/>
                  <a:gd name="T24" fmla="*/ 360 w 696"/>
                  <a:gd name="T25" fmla="*/ 236 h 754"/>
                  <a:gd name="T26" fmla="*/ 346 w 696"/>
                  <a:gd name="T27" fmla="*/ 190 h 754"/>
                  <a:gd name="T28" fmla="*/ 344 w 696"/>
                  <a:gd name="T29" fmla="*/ 190 h 754"/>
                  <a:gd name="T30" fmla="*/ 344 w 696"/>
                  <a:gd name="T31" fmla="*/ 190 h 754"/>
                  <a:gd name="T32" fmla="*/ 328 w 696"/>
                  <a:gd name="T33" fmla="*/ 236 h 754"/>
                  <a:gd name="T34" fmla="*/ 304 w 696"/>
                  <a:gd name="T35" fmla="*/ 306 h 754"/>
                  <a:gd name="T36" fmla="*/ 250 w 696"/>
                  <a:gd name="T37" fmla="*/ 456 h 754"/>
                  <a:gd name="T38" fmla="*/ 436 w 696"/>
                  <a:gd name="T39" fmla="*/ 456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6" h="754">
                    <a:moveTo>
                      <a:pt x="290" y="0"/>
                    </a:moveTo>
                    <a:lnTo>
                      <a:pt x="394" y="0"/>
                    </a:lnTo>
                    <a:lnTo>
                      <a:pt x="696" y="754"/>
                    </a:lnTo>
                    <a:lnTo>
                      <a:pt x="550" y="754"/>
                    </a:lnTo>
                    <a:lnTo>
                      <a:pt x="478" y="566"/>
                    </a:lnTo>
                    <a:lnTo>
                      <a:pt x="210" y="566"/>
                    </a:lnTo>
                    <a:lnTo>
                      <a:pt x="140" y="754"/>
                    </a:lnTo>
                    <a:lnTo>
                      <a:pt x="0" y="754"/>
                    </a:lnTo>
                    <a:lnTo>
                      <a:pt x="290" y="0"/>
                    </a:lnTo>
                    <a:close/>
                    <a:moveTo>
                      <a:pt x="436" y="456"/>
                    </a:moveTo>
                    <a:lnTo>
                      <a:pt x="384" y="306"/>
                    </a:lnTo>
                    <a:lnTo>
                      <a:pt x="384" y="306"/>
                    </a:lnTo>
                    <a:lnTo>
                      <a:pt x="360" y="236"/>
                    </a:lnTo>
                    <a:lnTo>
                      <a:pt x="346" y="190"/>
                    </a:lnTo>
                    <a:lnTo>
                      <a:pt x="344" y="190"/>
                    </a:lnTo>
                    <a:lnTo>
                      <a:pt x="344" y="190"/>
                    </a:lnTo>
                    <a:lnTo>
                      <a:pt x="328" y="236"/>
                    </a:lnTo>
                    <a:lnTo>
                      <a:pt x="304" y="306"/>
                    </a:lnTo>
                    <a:lnTo>
                      <a:pt x="250" y="456"/>
                    </a:lnTo>
                    <a:lnTo>
                      <a:pt x="436" y="4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4" name="Freeform 22"/>
              <p:cNvSpPr>
                <a:spLocks noEditPoints="1"/>
              </p:cNvSpPr>
              <p:nvPr/>
            </p:nvSpPr>
            <p:spPr bwMode="auto">
              <a:xfrm>
                <a:off x="8047404" y="4517918"/>
                <a:ext cx="48591" cy="58558"/>
              </a:xfrm>
              <a:custGeom>
                <a:avLst/>
                <a:gdLst>
                  <a:gd name="T0" fmla="*/ 334 w 468"/>
                  <a:gd name="T1" fmla="*/ 502 h 564"/>
                  <a:gd name="T2" fmla="*/ 302 w 468"/>
                  <a:gd name="T3" fmla="*/ 526 h 564"/>
                  <a:gd name="T4" fmla="*/ 266 w 468"/>
                  <a:gd name="T5" fmla="*/ 546 h 564"/>
                  <a:gd name="T6" fmla="*/ 226 w 468"/>
                  <a:gd name="T7" fmla="*/ 560 h 564"/>
                  <a:gd name="T8" fmla="*/ 178 w 468"/>
                  <a:gd name="T9" fmla="*/ 564 h 564"/>
                  <a:gd name="T10" fmla="*/ 160 w 468"/>
                  <a:gd name="T11" fmla="*/ 564 h 564"/>
                  <a:gd name="T12" fmla="*/ 124 w 468"/>
                  <a:gd name="T13" fmla="*/ 558 h 564"/>
                  <a:gd name="T14" fmla="*/ 92 w 468"/>
                  <a:gd name="T15" fmla="*/ 546 h 564"/>
                  <a:gd name="T16" fmla="*/ 62 w 468"/>
                  <a:gd name="T17" fmla="*/ 528 h 564"/>
                  <a:gd name="T18" fmla="*/ 38 w 468"/>
                  <a:gd name="T19" fmla="*/ 506 h 564"/>
                  <a:gd name="T20" fmla="*/ 20 w 468"/>
                  <a:gd name="T21" fmla="*/ 478 h 564"/>
                  <a:gd name="T22" fmla="*/ 6 w 468"/>
                  <a:gd name="T23" fmla="*/ 446 h 564"/>
                  <a:gd name="T24" fmla="*/ 0 w 468"/>
                  <a:gd name="T25" fmla="*/ 412 h 564"/>
                  <a:gd name="T26" fmla="*/ 0 w 468"/>
                  <a:gd name="T27" fmla="*/ 392 h 564"/>
                  <a:gd name="T28" fmla="*/ 6 w 468"/>
                  <a:gd name="T29" fmla="*/ 342 h 564"/>
                  <a:gd name="T30" fmla="*/ 24 w 468"/>
                  <a:gd name="T31" fmla="*/ 302 h 564"/>
                  <a:gd name="T32" fmla="*/ 52 w 468"/>
                  <a:gd name="T33" fmla="*/ 270 h 564"/>
                  <a:gd name="T34" fmla="*/ 90 w 468"/>
                  <a:gd name="T35" fmla="*/ 246 h 564"/>
                  <a:gd name="T36" fmla="*/ 120 w 468"/>
                  <a:gd name="T37" fmla="*/ 232 h 564"/>
                  <a:gd name="T38" fmla="*/ 190 w 468"/>
                  <a:gd name="T39" fmla="*/ 218 h 564"/>
                  <a:gd name="T40" fmla="*/ 322 w 468"/>
                  <a:gd name="T41" fmla="*/ 210 h 564"/>
                  <a:gd name="T42" fmla="*/ 322 w 468"/>
                  <a:gd name="T43" fmla="*/ 194 h 564"/>
                  <a:gd name="T44" fmla="*/ 314 w 468"/>
                  <a:gd name="T45" fmla="*/ 154 h 564"/>
                  <a:gd name="T46" fmla="*/ 294 w 468"/>
                  <a:gd name="T47" fmla="*/ 126 h 564"/>
                  <a:gd name="T48" fmla="*/ 260 w 468"/>
                  <a:gd name="T49" fmla="*/ 108 h 564"/>
                  <a:gd name="T50" fmla="*/ 218 w 468"/>
                  <a:gd name="T51" fmla="*/ 104 h 564"/>
                  <a:gd name="T52" fmla="*/ 198 w 468"/>
                  <a:gd name="T53" fmla="*/ 104 h 564"/>
                  <a:gd name="T54" fmla="*/ 160 w 468"/>
                  <a:gd name="T55" fmla="*/ 110 h 564"/>
                  <a:gd name="T56" fmla="*/ 108 w 468"/>
                  <a:gd name="T57" fmla="*/ 126 h 564"/>
                  <a:gd name="T58" fmla="*/ 32 w 468"/>
                  <a:gd name="T59" fmla="*/ 54 h 564"/>
                  <a:gd name="T60" fmla="*/ 56 w 468"/>
                  <a:gd name="T61" fmla="*/ 42 h 564"/>
                  <a:gd name="T62" fmla="*/ 106 w 468"/>
                  <a:gd name="T63" fmla="*/ 22 h 564"/>
                  <a:gd name="T64" fmla="*/ 158 w 468"/>
                  <a:gd name="T65" fmla="*/ 8 h 564"/>
                  <a:gd name="T66" fmla="*/ 212 w 468"/>
                  <a:gd name="T67" fmla="*/ 0 h 564"/>
                  <a:gd name="T68" fmla="*/ 240 w 468"/>
                  <a:gd name="T69" fmla="*/ 0 h 564"/>
                  <a:gd name="T70" fmla="*/ 292 w 468"/>
                  <a:gd name="T71" fmla="*/ 4 h 564"/>
                  <a:gd name="T72" fmla="*/ 336 w 468"/>
                  <a:gd name="T73" fmla="*/ 12 h 564"/>
                  <a:gd name="T74" fmla="*/ 372 w 468"/>
                  <a:gd name="T75" fmla="*/ 28 h 564"/>
                  <a:gd name="T76" fmla="*/ 404 w 468"/>
                  <a:gd name="T77" fmla="*/ 50 h 564"/>
                  <a:gd name="T78" fmla="*/ 426 w 468"/>
                  <a:gd name="T79" fmla="*/ 76 h 564"/>
                  <a:gd name="T80" fmla="*/ 444 w 468"/>
                  <a:gd name="T81" fmla="*/ 110 h 564"/>
                  <a:gd name="T82" fmla="*/ 454 w 468"/>
                  <a:gd name="T83" fmla="*/ 150 h 564"/>
                  <a:gd name="T84" fmla="*/ 458 w 468"/>
                  <a:gd name="T85" fmla="*/ 196 h 564"/>
                  <a:gd name="T86" fmla="*/ 458 w 468"/>
                  <a:gd name="T87" fmla="*/ 414 h 564"/>
                  <a:gd name="T88" fmla="*/ 460 w 468"/>
                  <a:gd name="T89" fmla="*/ 496 h 564"/>
                  <a:gd name="T90" fmla="*/ 468 w 468"/>
                  <a:gd name="T91" fmla="*/ 552 h 564"/>
                  <a:gd name="T92" fmla="*/ 334 w 468"/>
                  <a:gd name="T93" fmla="*/ 502 h 564"/>
                  <a:gd name="T94" fmla="*/ 248 w 468"/>
                  <a:gd name="T95" fmla="*/ 304 h 564"/>
                  <a:gd name="T96" fmla="*/ 204 w 468"/>
                  <a:gd name="T97" fmla="*/ 310 h 564"/>
                  <a:gd name="T98" fmla="*/ 170 w 468"/>
                  <a:gd name="T99" fmla="*/ 322 h 564"/>
                  <a:gd name="T100" fmla="*/ 162 w 468"/>
                  <a:gd name="T101" fmla="*/ 326 h 564"/>
                  <a:gd name="T102" fmla="*/ 150 w 468"/>
                  <a:gd name="T103" fmla="*/ 340 h 564"/>
                  <a:gd name="T104" fmla="*/ 142 w 468"/>
                  <a:gd name="T105" fmla="*/ 354 h 564"/>
                  <a:gd name="T106" fmla="*/ 138 w 468"/>
                  <a:gd name="T107" fmla="*/ 382 h 564"/>
                  <a:gd name="T108" fmla="*/ 138 w 468"/>
                  <a:gd name="T109" fmla="*/ 400 h 564"/>
                  <a:gd name="T110" fmla="*/ 150 w 468"/>
                  <a:gd name="T111" fmla="*/ 426 h 564"/>
                  <a:gd name="T112" fmla="*/ 170 w 468"/>
                  <a:gd name="T113" fmla="*/ 446 h 564"/>
                  <a:gd name="T114" fmla="*/ 200 w 468"/>
                  <a:gd name="T115" fmla="*/ 456 h 564"/>
                  <a:gd name="T116" fmla="*/ 216 w 468"/>
                  <a:gd name="T117" fmla="*/ 456 h 564"/>
                  <a:gd name="T118" fmla="*/ 252 w 468"/>
                  <a:gd name="T119" fmla="*/ 452 h 564"/>
                  <a:gd name="T120" fmla="*/ 282 w 468"/>
                  <a:gd name="T121" fmla="*/ 442 h 564"/>
                  <a:gd name="T122" fmla="*/ 322 w 468"/>
                  <a:gd name="T123" fmla="*/ 418 h 564"/>
                  <a:gd name="T124" fmla="*/ 248 w 468"/>
                  <a:gd name="T125" fmla="*/ 30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8" h="564">
                    <a:moveTo>
                      <a:pt x="334" y="502"/>
                    </a:moveTo>
                    <a:lnTo>
                      <a:pt x="334" y="502"/>
                    </a:lnTo>
                    <a:lnTo>
                      <a:pt x="318" y="514"/>
                    </a:lnTo>
                    <a:lnTo>
                      <a:pt x="302" y="526"/>
                    </a:lnTo>
                    <a:lnTo>
                      <a:pt x="284" y="536"/>
                    </a:lnTo>
                    <a:lnTo>
                      <a:pt x="266" y="546"/>
                    </a:lnTo>
                    <a:lnTo>
                      <a:pt x="246" y="554"/>
                    </a:lnTo>
                    <a:lnTo>
                      <a:pt x="226" y="560"/>
                    </a:lnTo>
                    <a:lnTo>
                      <a:pt x="202" y="562"/>
                    </a:lnTo>
                    <a:lnTo>
                      <a:pt x="178" y="564"/>
                    </a:lnTo>
                    <a:lnTo>
                      <a:pt x="178" y="564"/>
                    </a:lnTo>
                    <a:lnTo>
                      <a:pt x="160" y="564"/>
                    </a:lnTo>
                    <a:lnTo>
                      <a:pt x="140" y="560"/>
                    </a:lnTo>
                    <a:lnTo>
                      <a:pt x="124" y="558"/>
                    </a:lnTo>
                    <a:lnTo>
                      <a:pt x="106" y="552"/>
                    </a:lnTo>
                    <a:lnTo>
                      <a:pt x="92" y="546"/>
                    </a:lnTo>
                    <a:lnTo>
                      <a:pt x="76" y="538"/>
                    </a:lnTo>
                    <a:lnTo>
                      <a:pt x="62" y="528"/>
                    </a:lnTo>
                    <a:lnTo>
                      <a:pt x="50" y="516"/>
                    </a:lnTo>
                    <a:lnTo>
                      <a:pt x="38" y="506"/>
                    </a:lnTo>
                    <a:lnTo>
                      <a:pt x="28" y="492"/>
                    </a:lnTo>
                    <a:lnTo>
                      <a:pt x="20" y="478"/>
                    </a:lnTo>
                    <a:lnTo>
                      <a:pt x="12" y="462"/>
                    </a:lnTo>
                    <a:lnTo>
                      <a:pt x="6" y="446"/>
                    </a:lnTo>
                    <a:lnTo>
                      <a:pt x="2" y="430"/>
                    </a:lnTo>
                    <a:lnTo>
                      <a:pt x="0" y="412"/>
                    </a:lnTo>
                    <a:lnTo>
                      <a:pt x="0" y="392"/>
                    </a:lnTo>
                    <a:lnTo>
                      <a:pt x="0" y="392"/>
                    </a:lnTo>
                    <a:lnTo>
                      <a:pt x="0" y="366"/>
                    </a:lnTo>
                    <a:lnTo>
                      <a:pt x="6" y="342"/>
                    </a:lnTo>
                    <a:lnTo>
                      <a:pt x="14" y="320"/>
                    </a:lnTo>
                    <a:lnTo>
                      <a:pt x="24" y="302"/>
                    </a:lnTo>
                    <a:lnTo>
                      <a:pt x="36" y="284"/>
                    </a:lnTo>
                    <a:lnTo>
                      <a:pt x="52" y="270"/>
                    </a:lnTo>
                    <a:lnTo>
                      <a:pt x="70" y="256"/>
                    </a:lnTo>
                    <a:lnTo>
                      <a:pt x="90" y="246"/>
                    </a:lnTo>
                    <a:lnTo>
                      <a:pt x="90" y="246"/>
                    </a:lnTo>
                    <a:lnTo>
                      <a:pt x="120" y="232"/>
                    </a:lnTo>
                    <a:lnTo>
                      <a:pt x="154" y="224"/>
                    </a:lnTo>
                    <a:lnTo>
                      <a:pt x="190" y="218"/>
                    </a:lnTo>
                    <a:lnTo>
                      <a:pt x="230" y="214"/>
                    </a:lnTo>
                    <a:lnTo>
                      <a:pt x="322" y="210"/>
                    </a:lnTo>
                    <a:lnTo>
                      <a:pt x="322" y="194"/>
                    </a:lnTo>
                    <a:lnTo>
                      <a:pt x="322" y="194"/>
                    </a:lnTo>
                    <a:lnTo>
                      <a:pt x="320" y="172"/>
                    </a:lnTo>
                    <a:lnTo>
                      <a:pt x="314" y="154"/>
                    </a:lnTo>
                    <a:lnTo>
                      <a:pt x="306" y="138"/>
                    </a:lnTo>
                    <a:lnTo>
                      <a:pt x="294" y="126"/>
                    </a:lnTo>
                    <a:lnTo>
                      <a:pt x="278" y="116"/>
                    </a:lnTo>
                    <a:lnTo>
                      <a:pt x="260" y="108"/>
                    </a:lnTo>
                    <a:lnTo>
                      <a:pt x="240" y="106"/>
                    </a:lnTo>
                    <a:lnTo>
                      <a:pt x="218" y="104"/>
                    </a:lnTo>
                    <a:lnTo>
                      <a:pt x="218" y="104"/>
                    </a:lnTo>
                    <a:lnTo>
                      <a:pt x="198" y="104"/>
                    </a:lnTo>
                    <a:lnTo>
                      <a:pt x="178" y="106"/>
                    </a:lnTo>
                    <a:lnTo>
                      <a:pt x="160" y="110"/>
                    </a:lnTo>
                    <a:lnTo>
                      <a:pt x="142" y="114"/>
                    </a:lnTo>
                    <a:lnTo>
                      <a:pt x="108" y="126"/>
                    </a:lnTo>
                    <a:lnTo>
                      <a:pt x="76" y="142"/>
                    </a:lnTo>
                    <a:lnTo>
                      <a:pt x="32" y="54"/>
                    </a:lnTo>
                    <a:lnTo>
                      <a:pt x="32" y="54"/>
                    </a:lnTo>
                    <a:lnTo>
                      <a:pt x="56" y="42"/>
                    </a:lnTo>
                    <a:lnTo>
                      <a:pt x="82" y="30"/>
                    </a:lnTo>
                    <a:lnTo>
                      <a:pt x="106" y="22"/>
                    </a:lnTo>
                    <a:lnTo>
                      <a:pt x="132" y="14"/>
                    </a:lnTo>
                    <a:lnTo>
                      <a:pt x="158" y="8"/>
                    </a:lnTo>
                    <a:lnTo>
                      <a:pt x="186" y="4"/>
                    </a:lnTo>
                    <a:lnTo>
                      <a:pt x="212" y="0"/>
                    </a:lnTo>
                    <a:lnTo>
                      <a:pt x="240" y="0"/>
                    </a:lnTo>
                    <a:lnTo>
                      <a:pt x="240" y="0"/>
                    </a:lnTo>
                    <a:lnTo>
                      <a:pt x="268" y="0"/>
                    </a:lnTo>
                    <a:lnTo>
                      <a:pt x="292" y="4"/>
                    </a:lnTo>
                    <a:lnTo>
                      <a:pt x="314" y="6"/>
                    </a:lnTo>
                    <a:lnTo>
                      <a:pt x="336" y="12"/>
                    </a:lnTo>
                    <a:lnTo>
                      <a:pt x="356" y="20"/>
                    </a:lnTo>
                    <a:lnTo>
                      <a:pt x="372" y="28"/>
                    </a:lnTo>
                    <a:lnTo>
                      <a:pt x="388" y="38"/>
                    </a:lnTo>
                    <a:lnTo>
                      <a:pt x="404" y="50"/>
                    </a:lnTo>
                    <a:lnTo>
                      <a:pt x="416" y="62"/>
                    </a:lnTo>
                    <a:lnTo>
                      <a:pt x="426" y="76"/>
                    </a:lnTo>
                    <a:lnTo>
                      <a:pt x="436" y="94"/>
                    </a:lnTo>
                    <a:lnTo>
                      <a:pt x="444" y="110"/>
                    </a:lnTo>
                    <a:lnTo>
                      <a:pt x="450" y="130"/>
                    </a:lnTo>
                    <a:lnTo>
                      <a:pt x="454" y="150"/>
                    </a:lnTo>
                    <a:lnTo>
                      <a:pt x="456" y="172"/>
                    </a:lnTo>
                    <a:lnTo>
                      <a:pt x="458" y="196"/>
                    </a:lnTo>
                    <a:lnTo>
                      <a:pt x="458" y="414"/>
                    </a:lnTo>
                    <a:lnTo>
                      <a:pt x="458" y="414"/>
                    </a:lnTo>
                    <a:lnTo>
                      <a:pt x="458" y="458"/>
                    </a:lnTo>
                    <a:lnTo>
                      <a:pt x="460" y="496"/>
                    </a:lnTo>
                    <a:lnTo>
                      <a:pt x="462" y="528"/>
                    </a:lnTo>
                    <a:lnTo>
                      <a:pt x="468" y="552"/>
                    </a:lnTo>
                    <a:lnTo>
                      <a:pt x="354" y="552"/>
                    </a:lnTo>
                    <a:lnTo>
                      <a:pt x="334" y="502"/>
                    </a:lnTo>
                    <a:close/>
                    <a:moveTo>
                      <a:pt x="248" y="304"/>
                    </a:moveTo>
                    <a:lnTo>
                      <a:pt x="248" y="304"/>
                    </a:lnTo>
                    <a:lnTo>
                      <a:pt x="224" y="306"/>
                    </a:lnTo>
                    <a:lnTo>
                      <a:pt x="204" y="310"/>
                    </a:lnTo>
                    <a:lnTo>
                      <a:pt x="186" y="314"/>
                    </a:lnTo>
                    <a:lnTo>
                      <a:pt x="170" y="322"/>
                    </a:lnTo>
                    <a:lnTo>
                      <a:pt x="170" y="322"/>
                    </a:lnTo>
                    <a:lnTo>
                      <a:pt x="162" y="326"/>
                    </a:lnTo>
                    <a:lnTo>
                      <a:pt x="156" y="332"/>
                    </a:lnTo>
                    <a:lnTo>
                      <a:pt x="150" y="340"/>
                    </a:lnTo>
                    <a:lnTo>
                      <a:pt x="146" y="346"/>
                    </a:lnTo>
                    <a:lnTo>
                      <a:pt x="142" y="354"/>
                    </a:lnTo>
                    <a:lnTo>
                      <a:pt x="140" y="364"/>
                    </a:lnTo>
                    <a:lnTo>
                      <a:pt x="138" y="382"/>
                    </a:lnTo>
                    <a:lnTo>
                      <a:pt x="138" y="382"/>
                    </a:lnTo>
                    <a:lnTo>
                      <a:pt x="138" y="400"/>
                    </a:lnTo>
                    <a:lnTo>
                      <a:pt x="142" y="414"/>
                    </a:lnTo>
                    <a:lnTo>
                      <a:pt x="150" y="426"/>
                    </a:lnTo>
                    <a:lnTo>
                      <a:pt x="158" y="438"/>
                    </a:lnTo>
                    <a:lnTo>
                      <a:pt x="170" y="446"/>
                    </a:lnTo>
                    <a:lnTo>
                      <a:pt x="184" y="452"/>
                    </a:lnTo>
                    <a:lnTo>
                      <a:pt x="200" y="456"/>
                    </a:lnTo>
                    <a:lnTo>
                      <a:pt x="216" y="456"/>
                    </a:lnTo>
                    <a:lnTo>
                      <a:pt x="216" y="456"/>
                    </a:lnTo>
                    <a:lnTo>
                      <a:pt x="234" y="456"/>
                    </a:lnTo>
                    <a:lnTo>
                      <a:pt x="252" y="452"/>
                    </a:lnTo>
                    <a:lnTo>
                      <a:pt x="268" y="448"/>
                    </a:lnTo>
                    <a:lnTo>
                      <a:pt x="282" y="442"/>
                    </a:lnTo>
                    <a:lnTo>
                      <a:pt x="304" y="430"/>
                    </a:lnTo>
                    <a:lnTo>
                      <a:pt x="322" y="418"/>
                    </a:lnTo>
                    <a:lnTo>
                      <a:pt x="322" y="302"/>
                    </a:lnTo>
                    <a:lnTo>
                      <a:pt x="248" y="3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5" name="Freeform 23"/>
              <p:cNvSpPr>
                <a:spLocks/>
              </p:cNvSpPr>
              <p:nvPr/>
            </p:nvSpPr>
            <p:spPr bwMode="auto">
              <a:xfrm>
                <a:off x="8121536" y="4519372"/>
                <a:ext cx="62089" cy="83892"/>
              </a:xfrm>
              <a:custGeom>
                <a:avLst/>
                <a:gdLst>
                  <a:gd name="T0" fmla="*/ 34 w 598"/>
                  <a:gd name="T1" fmla="*/ 678 h 808"/>
                  <a:gd name="T2" fmla="*/ 34 w 598"/>
                  <a:gd name="T3" fmla="*/ 678 h 808"/>
                  <a:gd name="T4" fmla="*/ 54 w 598"/>
                  <a:gd name="T5" fmla="*/ 688 h 808"/>
                  <a:gd name="T6" fmla="*/ 74 w 598"/>
                  <a:gd name="T7" fmla="*/ 694 h 808"/>
                  <a:gd name="T8" fmla="*/ 94 w 598"/>
                  <a:gd name="T9" fmla="*/ 698 h 808"/>
                  <a:gd name="T10" fmla="*/ 116 w 598"/>
                  <a:gd name="T11" fmla="*/ 700 h 808"/>
                  <a:gd name="T12" fmla="*/ 116 w 598"/>
                  <a:gd name="T13" fmla="*/ 700 h 808"/>
                  <a:gd name="T14" fmla="*/ 138 w 598"/>
                  <a:gd name="T15" fmla="*/ 698 h 808"/>
                  <a:gd name="T16" fmla="*/ 158 w 598"/>
                  <a:gd name="T17" fmla="*/ 692 h 808"/>
                  <a:gd name="T18" fmla="*/ 168 w 598"/>
                  <a:gd name="T19" fmla="*/ 686 h 808"/>
                  <a:gd name="T20" fmla="*/ 178 w 598"/>
                  <a:gd name="T21" fmla="*/ 680 h 808"/>
                  <a:gd name="T22" fmla="*/ 188 w 598"/>
                  <a:gd name="T23" fmla="*/ 672 h 808"/>
                  <a:gd name="T24" fmla="*/ 198 w 598"/>
                  <a:gd name="T25" fmla="*/ 664 h 808"/>
                  <a:gd name="T26" fmla="*/ 216 w 598"/>
                  <a:gd name="T27" fmla="*/ 642 h 808"/>
                  <a:gd name="T28" fmla="*/ 234 w 598"/>
                  <a:gd name="T29" fmla="*/ 612 h 808"/>
                  <a:gd name="T30" fmla="*/ 250 w 598"/>
                  <a:gd name="T31" fmla="*/ 578 h 808"/>
                  <a:gd name="T32" fmla="*/ 266 w 598"/>
                  <a:gd name="T33" fmla="*/ 536 h 808"/>
                  <a:gd name="T34" fmla="*/ 24 w 598"/>
                  <a:gd name="T35" fmla="*/ 0 h 808"/>
                  <a:gd name="T36" fmla="*/ 164 w 598"/>
                  <a:gd name="T37" fmla="*/ 0 h 808"/>
                  <a:gd name="T38" fmla="*/ 328 w 598"/>
                  <a:gd name="T39" fmla="*/ 382 h 808"/>
                  <a:gd name="T40" fmla="*/ 330 w 598"/>
                  <a:gd name="T41" fmla="*/ 382 h 808"/>
                  <a:gd name="T42" fmla="*/ 460 w 598"/>
                  <a:gd name="T43" fmla="*/ 0 h 808"/>
                  <a:gd name="T44" fmla="*/ 598 w 598"/>
                  <a:gd name="T45" fmla="*/ 0 h 808"/>
                  <a:gd name="T46" fmla="*/ 392 w 598"/>
                  <a:gd name="T47" fmla="*/ 556 h 808"/>
                  <a:gd name="T48" fmla="*/ 392 w 598"/>
                  <a:gd name="T49" fmla="*/ 556 h 808"/>
                  <a:gd name="T50" fmla="*/ 376 w 598"/>
                  <a:gd name="T51" fmla="*/ 596 h 808"/>
                  <a:gd name="T52" fmla="*/ 360 w 598"/>
                  <a:gd name="T53" fmla="*/ 632 h 808"/>
                  <a:gd name="T54" fmla="*/ 344 w 598"/>
                  <a:gd name="T55" fmla="*/ 662 h 808"/>
                  <a:gd name="T56" fmla="*/ 326 w 598"/>
                  <a:gd name="T57" fmla="*/ 690 h 808"/>
                  <a:gd name="T58" fmla="*/ 308 w 598"/>
                  <a:gd name="T59" fmla="*/ 714 h 808"/>
                  <a:gd name="T60" fmla="*/ 292 w 598"/>
                  <a:gd name="T61" fmla="*/ 734 h 808"/>
                  <a:gd name="T62" fmla="*/ 274 w 598"/>
                  <a:gd name="T63" fmla="*/ 752 h 808"/>
                  <a:gd name="T64" fmla="*/ 256 w 598"/>
                  <a:gd name="T65" fmla="*/ 766 h 808"/>
                  <a:gd name="T66" fmla="*/ 238 w 598"/>
                  <a:gd name="T67" fmla="*/ 778 h 808"/>
                  <a:gd name="T68" fmla="*/ 220 w 598"/>
                  <a:gd name="T69" fmla="*/ 788 h 808"/>
                  <a:gd name="T70" fmla="*/ 200 w 598"/>
                  <a:gd name="T71" fmla="*/ 796 h 808"/>
                  <a:gd name="T72" fmla="*/ 182 w 598"/>
                  <a:gd name="T73" fmla="*/ 800 h 808"/>
                  <a:gd name="T74" fmla="*/ 164 w 598"/>
                  <a:gd name="T75" fmla="*/ 804 h 808"/>
                  <a:gd name="T76" fmla="*/ 146 w 598"/>
                  <a:gd name="T77" fmla="*/ 808 h 808"/>
                  <a:gd name="T78" fmla="*/ 108 w 598"/>
                  <a:gd name="T79" fmla="*/ 808 h 808"/>
                  <a:gd name="T80" fmla="*/ 108 w 598"/>
                  <a:gd name="T81" fmla="*/ 808 h 808"/>
                  <a:gd name="T82" fmla="*/ 78 w 598"/>
                  <a:gd name="T83" fmla="*/ 808 h 808"/>
                  <a:gd name="T84" fmla="*/ 52 w 598"/>
                  <a:gd name="T85" fmla="*/ 802 h 808"/>
                  <a:gd name="T86" fmla="*/ 26 w 598"/>
                  <a:gd name="T87" fmla="*/ 794 h 808"/>
                  <a:gd name="T88" fmla="*/ 0 w 598"/>
                  <a:gd name="T89" fmla="*/ 784 h 808"/>
                  <a:gd name="T90" fmla="*/ 34 w 598"/>
                  <a:gd name="T91" fmla="*/ 678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98" h="808">
                    <a:moveTo>
                      <a:pt x="34" y="678"/>
                    </a:moveTo>
                    <a:lnTo>
                      <a:pt x="34" y="678"/>
                    </a:lnTo>
                    <a:lnTo>
                      <a:pt x="54" y="688"/>
                    </a:lnTo>
                    <a:lnTo>
                      <a:pt x="74" y="694"/>
                    </a:lnTo>
                    <a:lnTo>
                      <a:pt x="94" y="698"/>
                    </a:lnTo>
                    <a:lnTo>
                      <a:pt x="116" y="700"/>
                    </a:lnTo>
                    <a:lnTo>
                      <a:pt x="116" y="700"/>
                    </a:lnTo>
                    <a:lnTo>
                      <a:pt x="138" y="698"/>
                    </a:lnTo>
                    <a:lnTo>
                      <a:pt x="158" y="692"/>
                    </a:lnTo>
                    <a:lnTo>
                      <a:pt x="168" y="686"/>
                    </a:lnTo>
                    <a:lnTo>
                      <a:pt x="178" y="680"/>
                    </a:lnTo>
                    <a:lnTo>
                      <a:pt x="188" y="672"/>
                    </a:lnTo>
                    <a:lnTo>
                      <a:pt x="198" y="664"/>
                    </a:lnTo>
                    <a:lnTo>
                      <a:pt x="216" y="642"/>
                    </a:lnTo>
                    <a:lnTo>
                      <a:pt x="234" y="612"/>
                    </a:lnTo>
                    <a:lnTo>
                      <a:pt x="250" y="578"/>
                    </a:lnTo>
                    <a:lnTo>
                      <a:pt x="266" y="536"/>
                    </a:lnTo>
                    <a:lnTo>
                      <a:pt x="24" y="0"/>
                    </a:lnTo>
                    <a:lnTo>
                      <a:pt x="164" y="0"/>
                    </a:lnTo>
                    <a:lnTo>
                      <a:pt x="328" y="382"/>
                    </a:lnTo>
                    <a:lnTo>
                      <a:pt x="330" y="382"/>
                    </a:lnTo>
                    <a:lnTo>
                      <a:pt x="460" y="0"/>
                    </a:lnTo>
                    <a:lnTo>
                      <a:pt x="598" y="0"/>
                    </a:lnTo>
                    <a:lnTo>
                      <a:pt x="392" y="556"/>
                    </a:lnTo>
                    <a:lnTo>
                      <a:pt x="392" y="556"/>
                    </a:lnTo>
                    <a:lnTo>
                      <a:pt x="376" y="596"/>
                    </a:lnTo>
                    <a:lnTo>
                      <a:pt x="360" y="632"/>
                    </a:lnTo>
                    <a:lnTo>
                      <a:pt x="344" y="662"/>
                    </a:lnTo>
                    <a:lnTo>
                      <a:pt x="326" y="690"/>
                    </a:lnTo>
                    <a:lnTo>
                      <a:pt x="308" y="714"/>
                    </a:lnTo>
                    <a:lnTo>
                      <a:pt x="292" y="734"/>
                    </a:lnTo>
                    <a:lnTo>
                      <a:pt x="274" y="752"/>
                    </a:lnTo>
                    <a:lnTo>
                      <a:pt x="256" y="766"/>
                    </a:lnTo>
                    <a:lnTo>
                      <a:pt x="238" y="778"/>
                    </a:lnTo>
                    <a:lnTo>
                      <a:pt x="220" y="788"/>
                    </a:lnTo>
                    <a:lnTo>
                      <a:pt x="200" y="796"/>
                    </a:lnTo>
                    <a:lnTo>
                      <a:pt x="182" y="800"/>
                    </a:lnTo>
                    <a:lnTo>
                      <a:pt x="164" y="804"/>
                    </a:lnTo>
                    <a:lnTo>
                      <a:pt x="146" y="808"/>
                    </a:lnTo>
                    <a:lnTo>
                      <a:pt x="108" y="808"/>
                    </a:lnTo>
                    <a:lnTo>
                      <a:pt x="108" y="808"/>
                    </a:lnTo>
                    <a:lnTo>
                      <a:pt x="78" y="808"/>
                    </a:lnTo>
                    <a:lnTo>
                      <a:pt x="52" y="802"/>
                    </a:lnTo>
                    <a:lnTo>
                      <a:pt x="26" y="794"/>
                    </a:lnTo>
                    <a:lnTo>
                      <a:pt x="0" y="784"/>
                    </a:lnTo>
                    <a:lnTo>
                      <a:pt x="34" y="6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6" name="Freeform 24"/>
              <p:cNvSpPr>
                <a:spLocks/>
              </p:cNvSpPr>
              <p:nvPr/>
            </p:nvSpPr>
            <p:spPr bwMode="auto">
              <a:xfrm>
                <a:off x="8179056" y="4502136"/>
                <a:ext cx="45269" cy="74340"/>
              </a:xfrm>
              <a:custGeom>
                <a:avLst/>
                <a:gdLst>
                  <a:gd name="T0" fmla="*/ 124 w 436"/>
                  <a:gd name="T1" fmla="*/ 572 h 716"/>
                  <a:gd name="T2" fmla="*/ 124 w 436"/>
                  <a:gd name="T3" fmla="*/ 272 h 716"/>
                  <a:gd name="T4" fmla="*/ 0 w 436"/>
                  <a:gd name="T5" fmla="*/ 272 h 716"/>
                  <a:gd name="T6" fmla="*/ 28 w 436"/>
                  <a:gd name="T7" fmla="*/ 166 h 716"/>
                  <a:gd name="T8" fmla="*/ 124 w 436"/>
                  <a:gd name="T9" fmla="*/ 166 h 716"/>
                  <a:gd name="T10" fmla="*/ 124 w 436"/>
                  <a:gd name="T11" fmla="*/ 40 h 716"/>
                  <a:gd name="T12" fmla="*/ 260 w 436"/>
                  <a:gd name="T13" fmla="*/ 0 h 716"/>
                  <a:gd name="T14" fmla="*/ 260 w 436"/>
                  <a:gd name="T15" fmla="*/ 166 h 716"/>
                  <a:gd name="T16" fmla="*/ 424 w 436"/>
                  <a:gd name="T17" fmla="*/ 166 h 716"/>
                  <a:gd name="T18" fmla="*/ 390 w 436"/>
                  <a:gd name="T19" fmla="*/ 272 h 716"/>
                  <a:gd name="T20" fmla="*/ 260 w 436"/>
                  <a:gd name="T21" fmla="*/ 272 h 716"/>
                  <a:gd name="T22" fmla="*/ 260 w 436"/>
                  <a:gd name="T23" fmla="*/ 538 h 716"/>
                  <a:gd name="T24" fmla="*/ 260 w 436"/>
                  <a:gd name="T25" fmla="*/ 538 h 716"/>
                  <a:gd name="T26" fmla="*/ 262 w 436"/>
                  <a:gd name="T27" fmla="*/ 556 h 716"/>
                  <a:gd name="T28" fmla="*/ 264 w 436"/>
                  <a:gd name="T29" fmla="*/ 570 h 716"/>
                  <a:gd name="T30" fmla="*/ 268 w 436"/>
                  <a:gd name="T31" fmla="*/ 582 h 716"/>
                  <a:gd name="T32" fmla="*/ 274 w 436"/>
                  <a:gd name="T33" fmla="*/ 592 h 716"/>
                  <a:gd name="T34" fmla="*/ 280 w 436"/>
                  <a:gd name="T35" fmla="*/ 598 h 716"/>
                  <a:gd name="T36" fmla="*/ 290 w 436"/>
                  <a:gd name="T37" fmla="*/ 604 h 716"/>
                  <a:gd name="T38" fmla="*/ 300 w 436"/>
                  <a:gd name="T39" fmla="*/ 606 h 716"/>
                  <a:gd name="T40" fmla="*/ 312 w 436"/>
                  <a:gd name="T41" fmla="*/ 606 h 716"/>
                  <a:gd name="T42" fmla="*/ 312 w 436"/>
                  <a:gd name="T43" fmla="*/ 606 h 716"/>
                  <a:gd name="T44" fmla="*/ 336 w 436"/>
                  <a:gd name="T45" fmla="*/ 604 h 716"/>
                  <a:gd name="T46" fmla="*/ 358 w 436"/>
                  <a:gd name="T47" fmla="*/ 598 h 716"/>
                  <a:gd name="T48" fmla="*/ 378 w 436"/>
                  <a:gd name="T49" fmla="*/ 590 h 716"/>
                  <a:gd name="T50" fmla="*/ 394 w 436"/>
                  <a:gd name="T51" fmla="*/ 580 h 716"/>
                  <a:gd name="T52" fmla="*/ 436 w 436"/>
                  <a:gd name="T53" fmla="*/ 674 h 716"/>
                  <a:gd name="T54" fmla="*/ 436 w 436"/>
                  <a:gd name="T55" fmla="*/ 674 h 716"/>
                  <a:gd name="T56" fmla="*/ 420 w 436"/>
                  <a:gd name="T57" fmla="*/ 684 h 716"/>
                  <a:gd name="T58" fmla="*/ 402 w 436"/>
                  <a:gd name="T59" fmla="*/ 692 h 716"/>
                  <a:gd name="T60" fmla="*/ 384 w 436"/>
                  <a:gd name="T61" fmla="*/ 698 h 716"/>
                  <a:gd name="T62" fmla="*/ 362 w 436"/>
                  <a:gd name="T63" fmla="*/ 704 h 716"/>
                  <a:gd name="T64" fmla="*/ 342 w 436"/>
                  <a:gd name="T65" fmla="*/ 710 h 716"/>
                  <a:gd name="T66" fmla="*/ 320 w 436"/>
                  <a:gd name="T67" fmla="*/ 714 h 716"/>
                  <a:gd name="T68" fmla="*/ 300 w 436"/>
                  <a:gd name="T69" fmla="*/ 716 h 716"/>
                  <a:gd name="T70" fmla="*/ 278 w 436"/>
                  <a:gd name="T71" fmla="*/ 716 h 716"/>
                  <a:gd name="T72" fmla="*/ 278 w 436"/>
                  <a:gd name="T73" fmla="*/ 716 h 716"/>
                  <a:gd name="T74" fmla="*/ 260 w 436"/>
                  <a:gd name="T75" fmla="*/ 716 h 716"/>
                  <a:gd name="T76" fmla="*/ 244 w 436"/>
                  <a:gd name="T77" fmla="*/ 714 h 716"/>
                  <a:gd name="T78" fmla="*/ 228 w 436"/>
                  <a:gd name="T79" fmla="*/ 710 h 716"/>
                  <a:gd name="T80" fmla="*/ 214 w 436"/>
                  <a:gd name="T81" fmla="*/ 706 h 716"/>
                  <a:gd name="T82" fmla="*/ 200 w 436"/>
                  <a:gd name="T83" fmla="*/ 700 h 716"/>
                  <a:gd name="T84" fmla="*/ 188 w 436"/>
                  <a:gd name="T85" fmla="*/ 694 h 716"/>
                  <a:gd name="T86" fmla="*/ 176 w 436"/>
                  <a:gd name="T87" fmla="*/ 686 h 716"/>
                  <a:gd name="T88" fmla="*/ 166 w 436"/>
                  <a:gd name="T89" fmla="*/ 678 h 716"/>
                  <a:gd name="T90" fmla="*/ 156 w 436"/>
                  <a:gd name="T91" fmla="*/ 668 h 716"/>
                  <a:gd name="T92" fmla="*/ 148 w 436"/>
                  <a:gd name="T93" fmla="*/ 656 h 716"/>
                  <a:gd name="T94" fmla="*/ 142 w 436"/>
                  <a:gd name="T95" fmla="*/ 644 h 716"/>
                  <a:gd name="T96" fmla="*/ 136 w 436"/>
                  <a:gd name="T97" fmla="*/ 632 h 716"/>
                  <a:gd name="T98" fmla="*/ 130 w 436"/>
                  <a:gd name="T99" fmla="*/ 618 h 716"/>
                  <a:gd name="T100" fmla="*/ 128 w 436"/>
                  <a:gd name="T101" fmla="*/ 604 h 716"/>
                  <a:gd name="T102" fmla="*/ 126 w 436"/>
                  <a:gd name="T103" fmla="*/ 588 h 716"/>
                  <a:gd name="T104" fmla="*/ 124 w 436"/>
                  <a:gd name="T105" fmla="*/ 572 h 716"/>
                  <a:gd name="T106" fmla="*/ 124 w 436"/>
                  <a:gd name="T107" fmla="*/ 57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6" h="716">
                    <a:moveTo>
                      <a:pt x="124" y="572"/>
                    </a:moveTo>
                    <a:lnTo>
                      <a:pt x="124" y="272"/>
                    </a:lnTo>
                    <a:lnTo>
                      <a:pt x="0" y="272"/>
                    </a:lnTo>
                    <a:lnTo>
                      <a:pt x="28" y="166"/>
                    </a:lnTo>
                    <a:lnTo>
                      <a:pt x="124" y="166"/>
                    </a:lnTo>
                    <a:lnTo>
                      <a:pt x="124" y="40"/>
                    </a:lnTo>
                    <a:lnTo>
                      <a:pt x="260" y="0"/>
                    </a:lnTo>
                    <a:lnTo>
                      <a:pt x="260" y="166"/>
                    </a:lnTo>
                    <a:lnTo>
                      <a:pt x="424" y="166"/>
                    </a:lnTo>
                    <a:lnTo>
                      <a:pt x="390" y="272"/>
                    </a:lnTo>
                    <a:lnTo>
                      <a:pt x="260" y="272"/>
                    </a:lnTo>
                    <a:lnTo>
                      <a:pt x="260" y="538"/>
                    </a:lnTo>
                    <a:lnTo>
                      <a:pt x="260" y="538"/>
                    </a:lnTo>
                    <a:lnTo>
                      <a:pt x="262" y="556"/>
                    </a:lnTo>
                    <a:lnTo>
                      <a:pt x="264" y="570"/>
                    </a:lnTo>
                    <a:lnTo>
                      <a:pt x="268" y="582"/>
                    </a:lnTo>
                    <a:lnTo>
                      <a:pt x="274" y="592"/>
                    </a:lnTo>
                    <a:lnTo>
                      <a:pt x="280" y="598"/>
                    </a:lnTo>
                    <a:lnTo>
                      <a:pt x="290" y="604"/>
                    </a:lnTo>
                    <a:lnTo>
                      <a:pt x="300" y="606"/>
                    </a:lnTo>
                    <a:lnTo>
                      <a:pt x="312" y="606"/>
                    </a:lnTo>
                    <a:lnTo>
                      <a:pt x="312" y="606"/>
                    </a:lnTo>
                    <a:lnTo>
                      <a:pt x="336" y="604"/>
                    </a:lnTo>
                    <a:lnTo>
                      <a:pt x="358" y="598"/>
                    </a:lnTo>
                    <a:lnTo>
                      <a:pt x="378" y="590"/>
                    </a:lnTo>
                    <a:lnTo>
                      <a:pt x="394" y="580"/>
                    </a:lnTo>
                    <a:lnTo>
                      <a:pt x="436" y="674"/>
                    </a:lnTo>
                    <a:lnTo>
                      <a:pt x="436" y="674"/>
                    </a:lnTo>
                    <a:lnTo>
                      <a:pt x="420" y="684"/>
                    </a:lnTo>
                    <a:lnTo>
                      <a:pt x="402" y="692"/>
                    </a:lnTo>
                    <a:lnTo>
                      <a:pt x="384" y="698"/>
                    </a:lnTo>
                    <a:lnTo>
                      <a:pt x="362" y="704"/>
                    </a:lnTo>
                    <a:lnTo>
                      <a:pt x="342" y="710"/>
                    </a:lnTo>
                    <a:lnTo>
                      <a:pt x="320" y="714"/>
                    </a:lnTo>
                    <a:lnTo>
                      <a:pt x="300" y="716"/>
                    </a:lnTo>
                    <a:lnTo>
                      <a:pt x="278" y="716"/>
                    </a:lnTo>
                    <a:lnTo>
                      <a:pt x="278" y="716"/>
                    </a:lnTo>
                    <a:lnTo>
                      <a:pt x="260" y="716"/>
                    </a:lnTo>
                    <a:lnTo>
                      <a:pt x="244" y="714"/>
                    </a:lnTo>
                    <a:lnTo>
                      <a:pt x="228" y="710"/>
                    </a:lnTo>
                    <a:lnTo>
                      <a:pt x="214" y="706"/>
                    </a:lnTo>
                    <a:lnTo>
                      <a:pt x="200" y="700"/>
                    </a:lnTo>
                    <a:lnTo>
                      <a:pt x="188" y="694"/>
                    </a:lnTo>
                    <a:lnTo>
                      <a:pt x="176" y="686"/>
                    </a:lnTo>
                    <a:lnTo>
                      <a:pt x="166" y="678"/>
                    </a:lnTo>
                    <a:lnTo>
                      <a:pt x="156" y="668"/>
                    </a:lnTo>
                    <a:lnTo>
                      <a:pt x="148" y="656"/>
                    </a:lnTo>
                    <a:lnTo>
                      <a:pt x="142" y="644"/>
                    </a:lnTo>
                    <a:lnTo>
                      <a:pt x="136" y="632"/>
                    </a:lnTo>
                    <a:lnTo>
                      <a:pt x="130" y="618"/>
                    </a:lnTo>
                    <a:lnTo>
                      <a:pt x="128" y="604"/>
                    </a:lnTo>
                    <a:lnTo>
                      <a:pt x="126" y="588"/>
                    </a:lnTo>
                    <a:lnTo>
                      <a:pt x="124" y="572"/>
                    </a:lnTo>
                    <a:lnTo>
                      <a:pt x="124" y="5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7" name="Freeform 25"/>
              <p:cNvSpPr>
                <a:spLocks/>
              </p:cNvSpPr>
              <p:nvPr/>
            </p:nvSpPr>
            <p:spPr bwMode="auto">
              <a:xfrm>
                <a:off x="8254227" y="4517918"/>
                <a:ext cx="47345" cy="58558"/>
              </a:xfrm>
              <a:custGeom>
                <a:avLst/>
                <a:gdLst>
                  <a:gd name="T0" fmla="*/ 0 w 456"/>
                  <a:gd name="T1" fmla="*/ 288 h 564"/>
                  <a:gd name="T2" fmla="*/ 4 w 456"/>
                  <a:gd name="T3" fmla="*/ 226 h 564"/>
                  <a:gd name="T4" fmla="*/ 22 w 456"/>
                  <a:gd name="T5" fmla="*/ 172 h 564"/>
                  <a:gd name="T6" fmla="*/ 48 w 456"/>
                  <a:gd name="T7" fmla="*/ 122 h 564"/>
                  <a:gd name="T8" fmla="*/ 82 w 456"/>
                  <a:gd name="T9" fmla="*/ 80 h 564"/>
                  <a:gd name="T10" fmla="*/ 124 w 456"/>
                  <a:gd name="T11" fmla="*/ 46 h 564"/>
                  <a:gd name="T12" fmla="*/ 172 w 456"/>
                  <a:gd name="T13" fmla="*/ 22 h 564"/>
                  <a:gd name="T14" fmla="*/ 226 w 456"/>
                  <a:gd name="T15" fmla="*/ 6 h 564"/>
                  <a:gd name="T16" fmla="*/ 284 w 456"/>
                  <a:gd name="T17" fmla="*/ 0 h 564"/>
                  <a:gd name="T18" fmla="*/ 308 w 456"/>
                  <a:gd name="T19" fmla="*/ 0 h 564"/>
                  <a:gd name="T20" fmla="*/ 352 w 456"/>
                  <a:gd name="T21" fmla="*/ 6 h 564"/>
                  <a:gd name="T22" fmla="*/ 388 w 456"/>
                  <a:gd name="T23" fmla="*/ 16 h 564"/>
                  <a:gd name="T24" fmla="*/ 428 w 456"/>
                  <a:gd name="T25" fmla="*/ 36 h 564"/>
                  <a:gd name="T26" fmla="*/ 428 w 456"/>
                  <a:gd name="T27" fmla="*/ 152 h 564"/>
                  <a:gd name="T28" fmla="*/ 400 w 456"/>
                  <a:gd name="T29" fmla="*/ 134 h 564"/>
                  <a:gd name="T30" fmla="*/ 368 w 456"/>
                  <a:gd name="T31" fmla="*/ 120 h 564"/>
                  <a:gd name="T32" fmla="*/ 336 w 456"/>
                  <a:gd name="T33" fmla="*/ 112 h 564"/>
                  <a:gd name="T34" fmla="*/ 298 w 456"/>
                  <a:gd name="T35" fmla="*/ 110 h 564"/>
                  <a:gd name="T36" fmla="*/ 280 w 456"/>
                  <a:gd name="T37" fmla="*/ 110 h 564"/>
                  <a:gd name="T38" fmla="*/ 246 w 456"/>
                  <a:gd name="T39" fmla="*/ 118 h 564"/>
                  <a:gd name="T40" fmla="*/ 216 w 456"/>
                  <a:gd name="T41" fmla="*/ 130 h 564"/>
                  <a:gd name="T42" fmla="*/ 192 w 456"/>
                  <a:gd name="T43" fmla="*/ 148 h 564"/>
                  <a:gd name="T44" fmla="*/ 170 w 456"/>
                  <a:gd name="T45" fmla="*/ 172 h 564"/>
                  <a:gd name="T46" fmla="*/ 156 w 456"/>
                  <a:gd name="T47" fmla="*/ 200 h 564"/>
                  <a:gd name="T48" fmla="*/ 144 w 456"/>
                  <a:gd name="T49" fmla="*/ 230 h 564"/>
                  <a:gd name="T50" fmla="*/ 140 w 456"/>
                  <a:gd name="T51" fmla="*/ 266 h 564"/>
                  <a:gd name="T52" fmla="*/ 138 w 456"/>
                  <a:gd name="T53" fmla="*/ 284 h 564"/>
                  <a:gd name="T54" fmla="*/ 142 w 456"/>
                  <a:gd name="T55" fmla="*/ 322 h 564"/>
                  <a:gd name="T56" fmla="*/ 150 w 456"/>
                  <a:gd name="T57" fmla="*/ 358 h 564"/>
                  <a:gd name="T58" fmla="*/ 162 w 456"/>
                  <a:gd name="T59" fmla="*/ 386 h 564"/>
                  <a:gd name="T60" fmla="*/ 180 w 456"/>
                  <a:gd name="T61" fmla="*/ 410 h 564"/>
                  <a:gd name="T62" fmla="*/ 202 w 456"/>
                  <a:gd name="T63" fmla="*/ 430 h 564"/>
                  <a:gd name="T64" fmla="*/ 228 w 456"/>
                  <a:gd name="T65" fmla="*/ 444 h 564"/>
                  <a:gd name="T66" fmla="*/ 258 w 456"/>
                  <a:gd name="T67" fmla="*/ 452 h 564"/>
                  <a:gd name="T68" fmla="*/ 292 w 456"/>
                  <a:gd name="T69" fmla="*/ 454 h 564"/>
                  <a:gd name="T70" fmla="*/ 310 w 456"/>
                  <a:gd name="T71" fmla="*/ 454 h 564"/>
                  <a:gd name="T72" fmla="*/ 342 w 456"/>
                  <a:gd name="T73" fmla="*/ 448 h 564"/>
                  <a:gd name="T74" fmla="*/ 388 w 456"/>
                  <a:gd name="T75" fmla="*/ 432 h 564"/>
                  <a:gd name="T76" fmla="*/ 456 w 456"/>
                  <a:gd name="T77" fmla="*/ 512 h 564"/>
                  <a:gd name="T78" fmla="*/ 438 w 456"/>
                  <a:gd name="T79" fmla="*/ 522 h 564"/>
                  <a:gd name="T80" fmla="*/ 398 w 456"/>
                  <a:gd name="T81" fmla="*/ 542 h 564"/>
                  <a:gd name="T82" fmla="*/ 352 w 456"/>
                  <a:gd name="T83" fmla="*/ 556 h 564"/>
                  <a:gd name="T84" fmla="*/ 300 w 456"/>
                  <a:gd name="T85" fmla="*/ 564 h 564"/>
                  <a:gd name="T86" fmla="*/ 272 w 456"/>
                  <a:gd name="T87" fmla="*/ 564 h 564"/>
                  <a:gd name="T88" fmla="*/ 210 w 456"/>
                  <a:gd name="T89" fmla="*/ 558 h 564"/>
                  <a:gd name="T90" fmla="*/ 156 w 456"/>
                  <a:gd name="T91" fmla="*/ 542 h 564"/>
                  <a:gd name="T92" fmla="*/ 108 w 456"/>
                  <a:gd name="T93" fmla="*/ 518 h 564"/>
                  <a:gd name="T94" fmla="*/ 70 w 456"/>
                  <a:gd name="T95" fmla="*/ 484 h 564"/>
                  <a:gd name="T96" fmla="*/ 40 w 456"/>
                  <a:gd name="T97" fmla="*/ 444 h 564"/>
                  <a:gd name="T98" fmla="*/ 18 w 456"/>
                  <a:gd name="T99" fmla="*/ 396 h 564"/>
                  <a:gd name="T100" fmla="*/ 4 w 456"/>
                  <a:gd name="T101" fmla="*/ 344 h 564"/>
                  <a:gd name="T102" fmla="*/ 0 w 456"/>
                  <a:gd name="T103" fmla="*/ 288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56" h="564">
                    <a:moveTo>
                      <a:pt x="0" y="288"/>
                    </a:moveTo>
                    <a:lnTo>
                      <a:pt x="0" y="288"/>
                    </a:lnTo>
                    <a:lnTo>
                      <a:pt x="0" y="256"/>
                    </a:lnTo>
                    <a:lnTo>
                      <a:pt x="4" y="226"/>
                    </a:lnTo>
                    <a:lnTo>
                      <a:pt x="12" y="198"/>
                    </a:lnTo>
                    <a:lnTo>
                      <a:pt x="22" y="172"/>
                    </a:lnTo>
                    <a:lnTo>
                      <a:pt x="32" y="146"/>
                    </a:lnTo>
                    <a:lnTo>
                      <a:pt x="48" y="122"/>
                    </a:lnTo>
                    <a:lnTo>
                      <a:pt x="64" y="100"/>
                    </a:lnTo>
                    <a:lnTo>
                      <a:pt x="82" y="80"/>
                    </a:lnTo>
                    <a:lnTo>
                      <a:pt x="102" y="62"/>
                    </a:lnTo>
                    <a:lnTo>
                      <a:pt x="124" y="46"/>
                    </a:lnTo>
                    <a:lnTo>
                      <a:pt x="146" y="32"/>
                    </a:lnTo>
                    <a:lnTo>
                      <a:pt x="172" y="22"/>
                    </a:lnTo>
                    <a:lnTo>
                      <a:pt x="198" y="12"/>
                    </a:lnTo>
                    <a:lnTo>
                      <a:pt x="226" y="6"/>
                    </a:lnTo>
                    <a:lnTo>
                      <a:pt x="254" y="2"/>
                    </a:lnTo>
                    <a:lnTo>
                      <a:pt x="284" y="0"/>
                    </a:lnTo>
                    <a:lnTo>
                      <a:pt x="284" y="0"/>
                    </a:lnTo>
                    <a:lnTo>
                      <a:pt x="308" y="0"/>
                    </a:lnTo>
                    <a:lnTo>
                      <a:pt x="332" y="4"/>
                    </a:lnTo>
                    <a:lnTo>
                      <a:pt x="352" y="6"/>
                    </a:lnTo>
                    <a:lnTo>
                      <a:pt x="372" y="12"/>
                    </a:lnTo>
                    <a:lnTo>
                      <a:pt x="388" y="16"/>
                    </a:lnTo>
                    <a:lnTo>
                      <a:pt x="404" y="24"/>
                    </a:lnTo>
                    <a:lnTo>
                      <a:pt x="428" y="36"/>
                    </a:lnTo>
                    <a:lnTo>
                      <a:pt x="428" y="152"/>
                    </a:lnTo>
                    <a:lnTo>
                      <a:pt x="428" y="152"/>
                    </a:lnTo>
                    <a:lnTo>
                      <a:pt x="414" y="142"/>
                    </a:lnTo>
                    <a:lnTo>
                      <a:pt x="400" y="134"/>
                    </a:lnTo>
                    <a:lnTo>
                      <a:pt x="384" y="126"/>
                    </a:lnTo>
                    <a:lnTo>
                      <a:pt x="368" y="120"/>
                    </a:lnTo>
                    <a:lnTo>
                      <a:pt x="352" y="116"/>
                    </a:lnTo>
                    <a:lnTo>
                      <a:pt x="336" y="112"/>
                    </a:lnTo>
                    <a:lnTo>
                      <a:pt x="316" y="110"/>
                    </a:lnTo>
                    <a:lnTo>
                      <a:pt x="298" y="110"/>
                    </a:lnTo>
                    <a:lnTo>
                      <a:pt x="298" y="110"/>
                    </a:lnTo>
                    <a:lnTo>
                      <a:pt x="280" y="110"/>
                    </a:lnTo>
                    <a:lnTo>
                      <a:pt x="262" y="112"/>
                    </a:lnTo>
                    <a:lnTo>
                      <a:pt x="246" y="118"/>
                    </a:lnTo>
                    <a:lnTo>
                      <a:pt x="230" y="122"/>
                    </a:lnTo>
                    <a:lnTo>
                      <a:pt x="216" y="130"/>
                    </a:lnTo>
                    <a:lnTo>
                      <a:pt x="204" y="138"/>
                    </a:lnTo>
                    <a:lnTo>
                      <a:pt x="192" y="148"/>
                    </a:lnTo>
                    <a:lnTo>
                      <a:pt x="180" y="160"/>
                    </a:lnTo>
                    <a:lnTo>
                      <a:pt x="170" y="172"/>
                    </a:lnTo>
                    <a:lnTo>
                      <a:pt x="162" y="186"/>
                    </a:lnTo>
                    <a:lnTo>
                      <a:pt x="156" y="200"/>
                    </a:lnTo>
                    <a:lnTo>
                      <a:pt x="150" y="214"/>
                    </a:lnTo>
                    <a:lnTo>
                      <a:pt x="144" y="230"/>
                    </a:lnTo>
                    <a:lnTo>
                      <a:pt x="142" y="248"/>
                    </a:lnTo>
                    <a:lnTo>
                      <a:pt x="140" y="266"/>
                    </a:lnTo>
                    <a:lnTo>
                      <a:pt x="138" y="284"/>
                    </a:lnTo>
                    <a:lnTo>
                      <a:pt x="138" y="284"/>
                    </a:lnTo>
                    <a:lnTo>
                      <a:pt x="140" y="304"/>
                    </a:lnTo>
                    <a:lnTo>
                      <a:pt x="142" y="322"/>
                    </a:lnTo>
                    <a:lnTo>
                      <a:pt x="144" y="340"/>
                    </a:lnTo>
                    <a:lnTo>
                      <a:pt x="150" y="358"/>
                    </a:lnTo>
                    <a:lnTo>
                      <a:pt x="156" y="372"/>
                    </a:lnTo>
                    <a:lnTo>
                      <a:pt x="162" y="386"/>
                    </a:lnTo>
                    <a:lnTo>
                      <a:pt x="170" y="400"/>
                    </a:lnTo>
                    <a:lnTo>
                      <a:pt x="180" y="410"/>
                    </a:lnTo>
                    <a:lnTo>
                      <a:pt x="190" y="420"/>
                    </a:lnTo>
                    <a:lnTo>
                      <a:pt x="202" y="430"/>
                    </a:lnTo>
                    <a:lnTo>
                      <a:pt x="214" y="438"/>
                    </a:lnTo>
                    <a:lnTo>
                      <a:pt x="228" y="444"/>
                    </a:lnTo>
                    <a:lnTo>
                      <a:pt x="242" y="448"/>
                    </a:lnTo>
                    <a:lnTo>
                      <a:pt x="258" y="452"/>
                    </a:lnTo>
                    <a:lnTo>
                      <a:pt x="274" y="454"/>
                    </a:lnTo>
                    <a:lnTo>
                      <a:pt x="292" y="454"/>
                    </a:lnTo>
                    <a:lnTo>
                      <a:pt x="292" y="454"/>
                    </a:lnTo>
                    <a:lnTo>
                      <a:pt x="310" y="454"/>
                    </a:lnTo>
                    <a:lnTo>
                      <a:pt x="326" y="452"/>
                    </a:lnTo>
                    <a:lnTo>
                      <a:pt x="342" y="448"/>
                    </a:lnTo>
                    <a:lnTo>
                      <a:pt x="358" y="444"/>
                    </a:lnTo>
                    <a:lnTo>
                      <a:pt x="388" y="432"/>
                    </a:lnTo>
                    <a:lnTo>
                      <a:pt x="416" y="418"/>
                    </a:lnTo>
                    <a:lnTo>
                      <a:pt x="456" y="512"/>
                    </a:lnTo>
                    <a:lnTo>
                      <a:pt x="456" y="512"/>
                    </a:lnTo>
                    <a:lnTo>
                      <a:pt x="438" y="522"/>
                    </a:lnTo>
                    <a:lnTo>
                      <a:pt x="420" y="532"/>
                    </a:lnTo>
                    <a:lnTo>
                      <a:pt x="398" y="542"/>
                    </a:lnTo>
                    <a:lnTo>
                      <a:pt x="376" y="550"/>
                    </a:lnTo>
                    <a:lnTo>
                      <a:pt x="352" y="556"/>
                    </a:lnTo>
                    <a:lnTo>
                      <a:pt x="326" y="560"/>
                    </a:lnTo>
                    <a:lnTo>
                      <a:pt x="300" y="564"/>
                    </a:lnTo>
                    <a:lnTo>
                      <a:pt x="272" y="564"/>
                    </a:lnTo>
                    <a:lnTo>
                      <a:pt x="272" y="564"/>
                    </a:lnTo>
                    <a:lnTo>
                      <a:pt x="240" y="562"/>
                    </a:lnTo>
                    <a:lnTo>
                      <a:pt x="210" y="558"/>
                    </a:lnTo>
                    <a:lnTo>
                      <a:pt x="182" y="552"/>
                    </a:lnTo>
                    <a:lnTo>
                      <a:pt x="156" y="542"/>
                    </a:lnTo>
                    <a:lnTo>
                      <a:pt x="130" y="532"/>
                    </a:lnTo>
                    <a:lnTo>
                      <a:pt x="108" y="518"/>
                    </a:lnTo>
                    <a:lnTo>
                      <a:pt x="88" y="502"/>
                    </a:lnTo>
                    <a:lnTo>
                      <a:pt x="70" y="484"/>
                    </a:lnTo>
                    <a:lnTo>
                      <a:pt x="54" y="464"/>
                    </a:lnTo>
                    <a:lnTo>
                      <a:pt x="40" y="444"/>
                    </a:lnTo>
                    <a:lnTo>
                      <a:pt x="28" y="420"/>
                    </a:lnTo>
                    <a:lnTo>
                      <a:pt x="18" y="396"/>
                    </a:lnTo>
                    <a:lnTo>
                      <a:pt x="10" y="370"/>
                    </a:lnTo>
                    <a:lnTo>
                      <a:pt x="4" y="344"/>
                    </a:lnTo>
                    <a:lnTo>
                      <a:pt x="0" y="316"/>
                    </a:lnTo>
                    <a:lnTo>
                      <a:pt x="0" y="288"/>
                    </a:lnTo>
                    <a:lnTo>
                      <a:pt x="0"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8" name="Freeform 26"/>
              <p:cNvSpPr>
                <a:spLocks/>
              </p:cNvSpPr>
              <p:nvPr/>
            </p:nvSpPr>
            <p:spPr bwMode="auto">
              <a:xfrm>
                <a:off x="8304894" y="4517918"/>
                <a:ext cx="43400" cy="58558"/>
              </a:xfrm>
              <a:custGeom>
                <a:avLst/>
                <a:gdLst>
                  <a:gd name="T0" fmla="*/ 58 w 418"/>
                  <a:gd name="T1" fmla="*/ 422 h 564"/>
                  <a:gd name="T2" fmla="*/ 112 w 418"/>
                  <a:gd name="T3" fmla="*/ 444 h 564"/>
                  <a:gd name="T4" fmla="*/ 170 w 418"/>
                  <a:gd name="T5" fmla="*/ 456 h 564"/>
                  <a:gd name="T6" fmla="*/ 210 w 418"/>
                  <a:gd name="T7" fmla="*/ 456 h 564"/>
                  <a:gd name="T8" fmla="*/ 258 w 418"/>
                  <a:gd name="T9" fmla="*/ 444 h 564"/>
                  <a:gd name="T10" fmla="*/ 282 w 418"/>
                  <a:gd name="T11" fmla="*/ 414 h 564"/>
                  <a:gd name="T12" fmla="*/ 284 w 418"/>
                  <a:gd name="T13" fmla="*/ 392 h 564"/>
                  <a:gd name="T14" fmla="*/ 274 w 418"/>
                  <a:gd name="T15" fmla="*/ 372 h 564"/>
                  <a:gd name="T16" fmla="*/ 226 w 418"/>
                  <a:gd name="T17" fmla="*/ 340 h 564"/>
                  <a:gd name="T18" fmla="*/ 134 w 418"/>
                  <a:gd name="T19" fmla="*/ 304 h 564"/>
                  <a:gd name="T20" fmla="*/ 72 w 418"/>
                  <a:gd name="T21" fmla="*/ 264 h 564"/>
                  <a:gd name="T22" fmla="*/ 48 w 418"/>
                  <a:gd name="T23" fmla="*/ 232 h 564"/>
                  <a:gd name="T24" fmla="*/ 34 w 418"/>
                  <a:gd name="T25" fmla="*/ 194 h 564"/>
                  <a:gd name="T26" fmla="*/ 32 w 418"/>
                  <a:gd name="T27" fmla="*/ 162 h 564"/>
                  <a:gd name="T28" fmla="*/ 40 w 418"/>
                  <a:gd name="T29" fmla="*/ 112 h 564"/>
                  <a:gd name="T30" fmla="*/ 62 w 418"/>
                  <a:gd name="T31" fmla="*/ 70 h 564"/>
                  <a:gd name="T32" fmla="*/ 100 w 418"/>
                  <a:gd name="T33" fmla="*/ 36 h 564"/>
                  <a:gd name="T34" fmla="*/ 150 w 418"/>
                  <a:gd name="T35" fmla="*/ 12 h 564"/>
                  <a:gd name="T36" fmla="*/ 212 w 418"/>
                  <a:gd name="T37" fmla="*/ 0 h 564"/>
                  <a:gd name="T38" fmla="*/ 280 w 418"/>
                  <a:gd name="T39" fmla="*/ 2 h 564"/>
                  <a:gd name="T40" fmla="*/ 394 w 418"/>
                  <a:gd name="T41" fmla="*/ 26 h 564"/>
                  <a:gd name="T42" fmla="*/ 358 w 418"/>
                  <a:gd name="T43" fmla="*/ 128 h 564"/>
                  <a:gd name="T44" fmla="*/ 262 w 418"/>
                  <a:gd name="T45" fmla="*/ 108 h 564"/>
                  <a:gd name="T46" fmla="*/ 224 w 418"/>
                  <a:gd name="T47" fmla="*/ 108 h 564"/>
                  <a:gd name="T48" fmla="*/ 186 w 418"/>
                  <a:gd name="T49" fmla="*/ 118 h 564"/>
                  <a:gd name="T50" fmla="*/ 166 w 418"/>
                  <a:gd name="T51" fmla="*/ 144 h 564"/>
                  <a:gd name="T52" fmla="*/ 166 w 418"/>
                  <a:gd name="T53" fmla="*/ 164 h 564"/>
                  <a:gd name="T54" fmla="*/ 176 w 418"/>
                  <a:gd name="T55" fmla="*/ 184 h 564"/>
                  <a:gd name="T56" fmla="*/ 224 w 418"/>
                  <a:gd name="T57" fmla="*/ 212 h 564"/>
                  <a:gd name="T58" fmla="*/ 314 w 418"/>
                  <a:gd name="T59" fmla="*/ 248 h 564"/>
                  <a:gd name="T60" fmla="*/ 378 w 418"/>
                  <a:gd name="T61" fmla="*/ 292 h 564"/>
                  <a:gd name="T62" fmla="*/ 402 w 418"/>
                  <a:gd name="T63" fmla="*/ 324 h 564"/>
                  <a:gd name="T64" fmla="*/ 414 w 418"/>
                  <a:gd name="T65" fmla="*/ 364 h 564"/>
                  <a:gd name="T66" fmla="*/ 418 w 418"/>
                  <a:gd name="T67" fmla="*/ 396 h 564"/>
                  <a:gd name="T68" fmla="*/ 408 w 418"/>
                  <a:gd name="T69" fmla="*/ 456 h 564"/>
                  <a:gd name="T70" fmla="*/ 380 w 418"/>
                  <a:gd name="T71" fmla="*/ 502 h 564"/>
                  <a:gd name="T72" fmla="*/ 336 w 418"/>
                  <a:gd name="T73" fmla="*/ 534 h 564"/>
                  <a:gd name="T74" fmla="*/ 282 w 418"/>
                  <a:gd name="T75" fmla="*/ 554 h 564"/>
                  <a:gd name="T76" fmla="*/ 220 w 418"/>
                  <a:gd name="T77" fmla="*/ 564 h 564"/>
                  <a:gd name="T78" fmla="*/ 168 w 418"/>
                  <a:gd name="T79" fmla="*/ 562 h 564"/>
                  <a:gd name="T80" fmla="*/ 84 w 418"/>
                  <a:gd name="T81" fmla="*/ 548 h 564"/>
                  <a:gd name="T82" fmla="*/ 18 w 418"/>
                  <a:gd name="T83" fmla="*/ 522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8" h="564">
                    <a:moveTo>
                      <a:pt x="42" y="412"/>
                    </a:moveTo>
                    <a:lnTo>
                      <a:pt x="42" y="412"/>
                    </a:lnTo>
                    <a:lnTo>
                      <a:pt x="58" y="422"/>
                    </a:lnTo>
                    <a:lnTo>
                      <a:pt x="76" y="430"/>
                    </a:lnTo>
                    <a:lnTo>
                      <a:pt x="94" y="438"/>
                    </a:lnTo>
                    <a:lnTo>
                      <a:pt x="112" y="444"/>
                    </a:lnTo>
                    <a:lnTo>
                      <a:pt x="130" y="450"/>
                    </a:lnTo>
                    <a:lnTo>
                      <a:pt x="150" y="454"/>
                    </a:lnTo>
                    <a:lnTo>
                      <a:pt x="170" y="456"/>
                    </a:lnTo>
                    <a:lnTo>
                      <a:pt x="190" y="456"/>
                    </a:lnTo>
                    <a:lnTo>
                      <a:pt x="190" y="456"/>
                    </a:lnTo>
                    <a:lnTo>
                      <a:pt x="210" y="456"/>
                    </a:lnTo>
                    <a:lnTo>
                      <a:pt x="228" y="454"/>
                    </a:lnTo>
                    <a:lnTo>
                      <a:pt x="244" y="450"/>
                    </a:lnTo>
                    <a:lnTo>
                      <a:pt x="258" y="444"/>
                    </a:lnTo>
                    <a:lnTo>
                      <a:pt x="268" y="436"/>
                    </a:lnTo>
                    <a:lnTo>
                      <a:pt x="278" y="426"/>
                    </a:lnTo>
                    <a:lnTo>
                      <a:pt x="282" y="414"/>
                    </a:lnTo>
                    <a:lnTo>
                      <a:pt x="284" y="400"/>
                    </a:lnTo>
                    <a:lnTo>
                      <a:pt x="284" y="400"/>
                    </a:lnTo>
                    <a:lnTo>
                      <a:pt x="284" y="392"/>
                    </a:lnTo>
                    <a:lnTo>
                      <a:pt x="282" y="384"/>
                    </a:lnTo>
                    <a:lnTo>
                      <a:pt x="278" y="378"/>
                    </a:lnTo>
                    <a:lnTo>
                      <a:pt x="274" y="372"/>
                    </a:lnTo>
                    <a:lnTo>
                      <a:pt x="262" y="360"/>
                    </a:lnTo>
                    <a:lnTo>
                      <a:pt x="244" y="350"/>
                    </a:lnTo>
                    <a:lnTo>
                      <a:pt x="226" y="340"/>
                    </a:lnTo>
                    <a:lnTo>
                      <a:pt x="204" y="332"/>
                    </a:lnTo>
                    <a:lnTo>
                      <a:pt x="158" y="314"/>
                    </a:lnTo>
                    <a:lnTo>
                      <a:pt x="134" y="304"/>
                    </a:lnTo>
                    <a:lnTo>
                      <a:pt x="112" y="294"/>
                    </a:lnTo>
                    <a:lnTo>
                      <a:pt x="90" y="280"/>
                    </a:lnTo>
                    <a:lnTo>
                      <a:pt x="72" y="264"/>
                    </a:lnTo>
                    <a:lnTo>
                      <a:pt x="62" y="254"/>
                    </a:lnTo>
                    <a:lnTo>
                      <a:pt x="54" y="244"/>
                    </a:lnTo>
                    <a:lnTo>
                      <a:pt x="48" y="232"/>
                    </a:lnTo>
                    <a:lnTo>
                      <a:pt x="42" y="222"/>
                    </a:lnTo>
                    <a:lnTo>
                      <a:pt x="38" y="208"/>
                    </a:lnTo>
                    <a:lnTo>
                      <a:pt x="34" y="194"/>
                    </a:lnTo>
                    <a:lnTo>
                      <a:pt x="32" y="180"/>
                    </a:lnTo>
                    <a:lnTo>
                      <a:pt x="32" y="162"/>
                    </a:lnTo>
                    <a:lnTo>
                      <a:pt x="32" y="162"/>
                    </a:lnTo>
                    <a:lnTo>
                      <a:pt x="32" y="146"/>
                    </a:lnTo>
                    <a:lnTo>
                      <a:pt x="36" y="128"/>
                    </a:lnTo>
                    <a:lnTo>
                      <a:pt x="40" y="112"/>
                    </a:lnTo>
                    <a:lnTo>
                      <a:pt x="46" y="98"/>
                    </a:lnTo>
                    <a:lnTo>
                      <a:pt x="54" y="82"/>
                    </a:lnTo>
                    <a:lnTo>
                      <a:pt x="62" y="70"/>
                    </a:lnTo>
                    <a:lnTo>
                      <a:pt x="74" y="56"/>
                    </a:lnTo>
                    <a:lnTo>
                      <a:pt x="86" y="46"/>
                    </a:lnTo>
                    <a:lnTo>
                      <a:pt x="100" y="36"/>
                    </a:lnTo>
                    <a:lnTo>
                      <a:pt x="116" y="26"/>
                    </a:lnTo>
                    <a:lnTo>
                      <a:pt x="132" y="18"/>
                    </a:lnTo>
                    <a:lnTo>
                      <a:pt x="150" y="12"/>
                    </a:lnTo>
                    <a:lnTo>
                      <a:pt x="170" y="6"/>
                    </a:lnTo>
                    <a:lnTo>
                      <a:pt x="190" y="4"/>
                    </a:lnTo>
                    <a:lnTo>
                      <a:pt x="212" y="0"/>
                    </a:lnTo>
                    <a:lnTo>
                      <a:pt x="236" y="0"/>
                    </a:lnTo>
                    <a:lnTo>
                      <a:pt x="236" y="0"/>
                    </a:lnTo>
                    <a:lnTo>
                      <a:pt x="280" y="2"/>
                    </a:lnTo>
                    <a:lnTo>
                      <a:pt x="320" y="8"/>
                    </a:lnTo>
                    <a:lnTo>
                      <a:pt x="358" y="16"/>
                    </a:lnTo>
                    <a:lnTo>
                      <a:pt x="394" y="26"/>
                    </a:lnTo>
                    <a:lnTo>
                      <a:pt x="394" y="142"/>
                    </a:lnTo>
                    <a:lnTo>
                      <a:pt x="394" y="142"/>
                    </a:lnTo>
                    <a:lnTo>
                      <a:pt x="358" y="128"/>
                    </a:lnTo>
                    <a:lnTo>
                      <a:pt x="322" y="116"/>
                    </a:lnTo>
                    <a:lnTo>
                      <a:pt x="282" y="110"/>
                    </a:lnTo>
                    <a:lnTo>
                      <a:pt x="262" y="108"/>
                    </a:lnTo>
                    <a:lnTo>
                      <a:pt x="242" y="108"/>
                    </a:lnTo>
                    <a:lnTo>
                      <a:pt x="242" y="108"/>
                    </a:lnTo>
                    <a:lnTo>
                      <a:pt x="224" y="108"/>
                    </a:lnTo>
                    <a:lnTo>
                      <a:pt x="210" y="110"/>
                    </a:lnTo>
                    <a:lnTo>
                      <a:pt x="198" y="114"/>
                    </a:lnTo>
                    <a:lnTo>
                      <a:pt x="186" y="118"/>
                    </a:lnTo>
                    <a:lnTo>
                      <a:pt x="176" y="126"/>
                    </a:lnTo>
                    <a:lnTo>
                      <a:pt x="170" y="134"/>
                    </a:lnTo>
                    <a:lnTo>
                      <a:pt x="166" y="144"/>
                    </a:lnTo>
                    <a:lnTo>
                      <a:pt x="164" y="156"/>
                    </a:lnTo>
                    <a:lnTo>
                      <a:pt x="164" y="156"/>
                    </a:lnTo>
                    <a:lnTo>
                      <a:pt x="166" y="164"/>
                    </a:lnTo>
                    <a:lnTo>
                      <a:pt x="168" y="170"/>
                    </a:lnTo>
                    <a:lnTo>
                      <a:pt x="172" y="178"/>
                    </a:lnTo>
                    <a:lnTo>
                      <a:pt x="176" y="184"/>
                    </a:lnTo>
                    <a:lnTo>
                      <a:pt x="188" y="194"/>
                    </a:lnTo>
                    <a:lnTo>
                      <a:pt x="204" y="204"/>
                    </a:lnTo>
                    <a:lnTo>
                      <a:pt x="224" y="212"/>
                    </a:lnTo>
                    <a:lnTo>
                      <a:pt x="244" y="220"/>
                    </a:lnTo>
                    <a:lnTo>
                      <a:pt x="292" y="238"/>
                    </a:lnTo>
                    <a:lnTo>
                      <a:pt x="314" y="248"/>
                    </a:lnTo>
                    <a:lnTo>
                      <a:pt x="338" y="260"/>
                    </a:lnTo>
                    <a:lnTo>
                      <a:pt x="360" y="274"/>
                    </a:lnTo>
                    <a:lnTo>
                      <a:pt x="378" y="292"/>
                    </a:lnTo>
                    <a:lnTo>
                      <a:pt x="386" y="302"/>
                    </a:lnTo>
                    <a:lnTo>
                      <a:pt x="394" y="312"/>
                    </a:lnTo>
                    <a:lnTo>
                      <a:pt x="402" y="324"/>
                    </a:lnTo>
                    <a:lnTo>
                      <a:pt x="406" y="336"/>
                    </a:lnTo>
                    <a:lnTo>
                      <a:pt x="412" y="350"/>
                    </a:lnTo>
                    <a:lnTo>
                      <a:pt x="414" y="364"/>
                    </a:lnTo>
                    <a:lnTo>
                      <a:pt x="418" y="380"/>
                    </a:lnTo>
                    <a:lnTo>
                      <a:pt x="418" y="396"/>
                    </a:lnTo>
                    <a:lnTo>
                      <a:pt x="418" y="396"/>
                    </a:lnTo>
                    <a:lnTo>
                      <a:pt x="416" y="418"/>
                    </a:lnTo>
                    <a:lnTo>
                      <a:pt x="414" y="438"/>
                    </a:lnTo>
                    <a:lnTo>
                      <a:pt x="408" y="456"/>
                    </a:lnTo>
                    <a:lnTo>
                      <a:pt x="400" y="472"/>
                    </a:lnTo>
                    <a:lnTo>
                      <a:pt x="390" y="488"/>
                    </a:lnTo>
                    <a:lnTo>
                      <a:pt x="380" y="502"/>
                    </a:lnTo>
                    <a:lnTo>
                      <a:pt x="366" y="514"/>
                    </a:lnTo>
                    <a:lnTo>
                      <a:pt x="352" y="524"/>
                    </a:lnTo>
                    <a:lnTo>
                      <a:pt x="336" y="534"/>
                    </a:lnTo>
                    <a:lnTo>
                      <a:pt x="320" y="542"/>
                    </a:lnTo>
                    <a:lnTo>
                      <a:pt x="302" y="550"/>
                    </a:lnTo>
                    <a:lnTo>
                      <a:pt x="282" y="554"/>
                    </a:lnTo>
                    <a:lnTo>
                      <a:pt x="262" y="558"/>
                    </a:lnTo>
                    <a:lnTo>
                      <a:pt x="242" y="562"/>
                    </a:lnTo>
                    <a:lnTo>
                      <a:pt x="220" y="564"/>
                    </a:lnTo>
                    <a:lnTo>
                      <a:pt x="200" y="564"/>
                    </a:lnTo>
                    <a:lnTo>
                      <a:pt x="200" y="564"/>
                    </a:lnTo>
                    <a:lnTo>
                      <a:pt x="168" y="562"/>
                    </a:lnTo>
                    <a:lnTo>
                      <a:pt x="138" y="560"/>
                    </a:lnTo>
                    <a:lnTo>
                      <a:pt x="110" y="554"/>
                    </a:lnTo>
                    <a:lnTo>
                      <a:pt x="84" y="548"/>
                    </a:lnTo>
                    <a:lnTo>
                      <a:pt x="60" y="540"/>
                    </a:lnTo>
                    <a:lnTo>
                      <a:pt x="38" y="532"/>
                    </a:lnTo>
                    <a:lnTo>
                      <a:pt x="18" y="522"/>
                    </a:lnTo>
                    <a:lnTo>
                      <a:pt x="0" y="512"/>
                    </a:lnTo>
                    <a:lnTo>
                      <a:pt x="42" y="4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9" name="Freeform 27"/>
              <p:cNvSpPr>
                <a:spLocks noEditPoints="1"/>
              </p:cNvSpPr>
              <p:nvPr/>
            </p:nvSpPr>
            <p:spPr bwMode="auto">
              <a:xfrm>
                <a:off x="8230347" y="4493623"/>
                <a:ext cx="17443" cy="81608"/>
              </a:xfrm>
              <a:custGeom>
                <a:avLst/>
                <a:gdLst>
                  <a:gd name="T0" fmla="*/ 84 w 168"/>
                  <a:gd name="T1" fmla="*/ 162 h 786"/>
                  <a:gd name="T2" fmla="*/ 84 w 168"/>
                  <a:gd name="T3" fmla="*/ 162 h 786"/>
                  <a:gd name="T4" fmla="*/ 68 w 168"/>
                  <a:gd name="T5" fmla="*/ 160 h 786"/>
                  <a:gd name="T6" fmla="*/ 52 w 168"/>
                  <a:gd name="T7" fmla="*/ 156 h 786"/>
                  <a:gd name="T8" fmla="*/ 38 w 168"/>
                  <a:gd name="T9" fmla="*/ 148 h 786"/>
                  <a:gd name="T10" fmla="*/ 26 w 168"/>
                  <a:gd name="T11" fmla="*/ 138 h 786"/>
                  <a:gd name="T12" fmla="*/ 14 w 168"/>
                  <a:gd name="T13" fmla="*/ 126 h 786"/>
                  <a:gd name="T14" fmla="*/ 8 w 168"/>
                  <a:gd name="T15" fmla="*/ 112 h 786"/>
                  <a:gd name="T16" fmla="*/ 2 w 168"/>
                  <a:gd name="T17" fmla="*/ 98 h 786"/>
                  <a:gd name="T18" fmla="*/ 0 w 168"/>
                  <a:gd name="T19" fmla="*/ 80 h 786"/>
                  <a:gd name="T20" fmla="*/ 0 w 168"/>
                  <a:gd name="T21" fmla="*/ 80 h 786"/>
                  <a:gd name="T22" fmla="*/ 2 w 168"/>
                  <a:gd name="T23" fmla="*/ 64 h 786"/>
                  <a:gd name="T24" fmla="*/ 8 w 168"/>
                  <a:gd name="T25" fmla="*/ 50 h 786"/>
                  <a:gd name="T26" fmla="*/ 14 w 168"/>
                  <a:gd name="T27" fmla="*/ 36 h 786"/>
                  <a:gd name="T28" fmla="*/ 26 w 168"/>
                  <a:gd name="T29" fmla="*/ 24 h 786"/>
                  <a:gd name="T30" fmla="*/ 38 w 168"/>
                  <a:gd name="T31" fmla="*/ 14 h 786"/>
                  <a:gd name="T32" fmla="*/ 52 w 168"/>
                  <a:gd name="T33" fmla="*/ 6 h 786"/>
                  <a:gd name="T34" fmla="*/ 68 w 168"/>
                  <a:gd name="T35" fmla="*/ 2 h 786"/>
                  <a:gd name="T36" fmla="*/ 84 w 168"/>
                  <a:gd name="T37" fmla="*/ 0 h 786"/>
                  <a:gd name="T38" fmla="*/ 84 w 168"/>
                  <a:gd name="T39" fmla="*/ 0 h 786"/>
                  <a:gd name="T40" fmla="*/ 102 w 168"/>
                  <a:gd name="T41" fmla="*/ 2 h 786"/>
                  <a:gd name="T42" fmla="*/ 118 w 168"/>
                  <a:gd name="T43" fmla="*/ 6 h 786"/>
                  <a:gd name="T44" fmla="*/ 132 w 168"/>
                  <a:gd name="T45" fmla="*/ 14 h 786"/>
                  <a:gd name="T46" fmla="*/ 144 w 168"/>
                  <a:gd name="T47" fmla="*/ 24 h 786"/>
                  <a:gd name="T48" fmla="*/ 154 w 168"/>
                  <a:gd name="T49" fmla="*/ 36 h 786"/>
                  <a:gd name="T50" fmla="*/ 162 w 168"/>
                  <a:gd name="T51" fmla="*/ 48 h 786"/>
                  <a:gd name="T52" fmla="*/ 166 w 168"/>
                  <a:gd name="T53" fmla="*/ 64 h 786"/>
                  <a:gd name="T54" fmla="*/ 168 w 168"/>
                  <a:gd name="T55" fmla="*/ 80 h 786"/>
                  <a:gd name="T56" fmla="*/ 168 w 168"/>
                  <a:gd name="T57" fmla="*/ 80 h 786"/>
                  <a:gd name="T58" fmla="*/ 166 w 168"/>
                  <a:gd name="T59" fmla="*/ 96 h 786"/>
                  <a:gd name="T60" fmla="*/ 162 w 168"/>
                  <a:gd name="T61" fmla="*/ 112 h 786"/>
                  <a:gd name="T62" fmla="*/ 154 w 168"/>
                  <a:gd name="T63" fmla="*/ 126 h 786"/>
                  <a:gd name="T64" fmla="*/ 144 w 168"/>
                  <a:gd name="T65" fmla="*/ 138 h 786"/>
                  <a:gd name="T66" fmla="*/ 132 w 168"/>
                  <a:gd name="T67" fmla="*/ 148 h 786"/>
                  <a:gd name="T68" fmla="*/ 118 w 168"/>
                  <a:gd name="T69" fmla="*/ 156 h 786"/>
                  <a:gd name="T70" fmla="*/ 102 w 168"/>
                  <a:gd name="T71" fmla="*/ 160 h 786"/>
                  <a:gd name="T72" fmla="*/ 84 w 168"/>
                  <a:gd name="T73" fmla="*/ 162 h 786"/>
                  <a:gd name="T74" fmla="*/ 84 w 168"/>
                  <a:gd name="T75" fmla="*/ 162 h 786"/>
                  <a:gd name="T76" fmla="*/ 16 w 168"/>
                  <a:gd name="T77" fmla="*/ 786 h 786"/>
                  <a:gd name="T78" fmla="*/ 16 w 168"/>
                  <a:gd name="T79" fmla="*/ 244 h 786"/>
                  <a:gd name="T80" fmla="*/ 152 w 168"/>
                  <a:gd name="T81" fmla="*/ 244 h 786"/>
                  <a:gd name="T82" fmla="*/ 152 w 168"/>
                  <a:gd name="T83" fmla="*/ 244 h 786"/>
                  <a:gd name="T84" fmla="*/ 152 w 168"/>
                  <a:gd name="T85" fmla="*/ 686 h 786"/>
                  <a:gd name="T86" fmla="*/ 152 w 168"/>
                  <a:gd name="T87" fmla="*/ 686 h 786"/>
                  <a:gd name="T88" fmla="*/ 150 w 168"/>
                  <a:gd name="T89" fmla="*/ 704 h 786"/>
                  <a:gd name="T90" fmla="*/ 146 w 168"/>
                  <a:gd name="T91" fmla="*/ 720 h 786"/>
                  <a:gd name="T92" fmla="*/ 138 w 168"/>
                  <a:gd name="T93" fmla="*/ 732 h 786"/>
                  <a:gd name="T94" fmla="*/ 130 w 168"/>
                  <a:gd name="T95" fmla="*/ 744 h 786"/>
                  <a:gd name="T96" fmla="*/ 120 w 168"/>
                  <a:gd name="T97" fmla="*/ 754 h 786"/>
                  <a:gd name="T98" fmla="*/ 108 w 168"/>
                  <a:gd name="T99" fmla="*/ 762 h 786"/>
                  <a:gd name="T100" fmla="*/ 96 w 168"/>
                  <a:gd name="T101" fmla="*/ 768 h 786"/>
                  <a:gd name="T102" fmla="*/ 84 w 168"/>
                  <a:gd name="T103" fmla="*/ 774 h 786"/>
                  <a:gd name="T104" fmla="*/ 60 w 168"/>
                  <a:gd name="T105" fmla="*/ 782 h 786"/>
                  <a:gd name="T106" fmla="*/ 38 w 168"/>
                  <a:gd name="T107" fmla="*/ 784 h 786"/>
                  <a:gd name="T108" fmla="*/ 16 w 168"/>
                  <a:gd name="T109" fmla="*/ 786 h 786"/>
                  <a:gd name="T110" fmla="*/ 16 w 168"/>
                  <a:gd name="T111" fmla="*/ 786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8" h="786">
                    <a:moveTo>
                      <a:pt x="84" y="162"/>
                    </a:moveTo>
                    <a:lnTo>
                      <a:pt x="84" y="162"/>
                    </a:lnTo>
                    <a:lnTo>
                      <a:pt x="68" y="160"/>
                    </a:lnTo>
                    <a:lnTo>
                      <a:pt x="52" y="156"/>
                    </a:lnTo>
                    <a:lnTo>
                      <a:pt x="38" y="148"/>
                    </a:lnTo>
                    <a:lnTo>
                      <a:pt x="26" y="138"/>
                    </a:lnTo>
                    <a:lnTo>
                      <a:pt x="14" y="126"/>
                    </a:lnTo>
                    <a:lnTo>
                      <a:pt x="8" y="112"/>
                    </a:lnTo>
                    <a:lnTo>
                      <a:pt x="2" y="98"/>
                    </a:lnTo>
                    <a:lnTo>
                      <a:pt x="0" y="80"/>
                    </a:lnTo>
                    <a:lnTo>
                      <a:pt x="0" y="80"/>
                    </a:lnTo>
                    <a:lnTo>
                      <a:pt x="2" y="64"/>
                    </a:lnTo>
                    <a:lnTo>
                      <a:pt x="8" y="50"/>
                    </a:lnTo>
                    <a:lnTo>
                      <a:pt x="14" y="36"/>
                    </a:lnTo>
                    <a:lnTo>
                      <a:pt x="26" y="24"/>
                    </a:lnTo>
                    <a:lnTo>
                      <a:pt x="38" y="14"/>
                    </a:lnTo>
                    <a:lnTo>
                      <a:pt x="52" y="6"/>
                    </a:lnTo>
                    <a:lnTo>
                      <a:pt x="68" y="2"/>
                    </a:lnTo>
                    <a:lnTo>
                      <a:pt x="84" y="0"/>
                    </a:lnTo>
                    <a:lnTo>
                      <a:pt x="84" y="0"/>
                    </a:lnTo>
                    <a:lnTo>
                      <a:pt x="102" y="2"/>
                    </a:lnTo>
                    <a:lnTo>
                      <a:pt x="118" y="6"/>
                    </a:lnTo>
                    <a:lnTo>
                      <a:pt x="132" y="14"/>
                    </a:lnTo>
                    <a:lnTo>
                      <a:pt x="144" y="24"/>
                    </a:lnTo>
                    <a:lnTo>
                      <a:pt x="154" y="36"/>
                    </a:lnTo>
                    <a:lnTo>
                      <a:pt x="162" y="48"/>
                    </a:lnTo>
                    <a:lnTo>
                      <a:pt x="166" y="64"/>
                    </a:lnTo>
                    <a:lnTo>
                      <a:pt x="168" y="80"/>
                    </a:lnTo>
                    <a:lnTo>
                      <a:pt x="168" y="80"/>
                    </a:lnTo>
                    <a:lnTo>
                      <a:pt x="166" y="96"/>
                    </a:lnTo>
                    <a:lnTo>
                      <a:pt x="162" y="112"/>
                    </a:lnTo>
                    <a:lnTo>
                      <a:pt x="154" y="126"/>
                    </a:lnTo>
                    <a:lnTo>
                      <a:pt x="144" y="138"/>
                    </a:lnTo>
                    <a:lnTo>
                      <a:pt x="132" y="148"/>
                    </a:lnTo>
                    <a:lnTo>
                      <a:pt x="118" y="156"/>
                    </a:lnTo>
                    <a:lnTo>
                      <a:pt x="102" y="160"/>
                    </a:lnTo>
                    <a:lnTo>
                      <a:pt x="84" y="162"/>
                    </a:lnTo>
                    <a:lnTo>
                      <a:pt x="84" y="162"/>
                    </a:lnTo>
                    <a:close/>
                    <a:moveTo>
                      <a:pt x="16" y="786"/>
                    </a:moveTo>
                    <a:lnTo>
                      <a:pt x="16" y="244"/>
                    </a:lnTo>
                    <a:lnTo>
                      <a:pt x="152" y="244"/>
                    </a:lnTo>
                    <a:lnTo>
                      <a:pt x="152" y="244"/>
                    </a:lnTo>
                    <a:lnTo>
                      <a:pt x="152" y="686"/>
                    </a:lnTo>
                    <a:lnTo>
                      <a:pt x="152" y="686"/>
                    </a:lnTo>
                    <a:lnTo>
                      <a:pt x="150" y="704"/>
                    </a:lnTo>
                    <a:lnTo>
                      <a:pt x="146" y="720"/>
                    </a:lnTo>
                    <a:lnTo>
                      <a:pt x="138" y="732"/>
                    </a:lnTo>
                    <a:lnTo>
                      <a:pt x="130" y="744"/>
                    </a:lnTo>
                    <a:lnTo>
                      <a:pt x="120" y="754"/>
                    </a:lnTo>
                    <a:lnTo>
                      <a:pt x="108" y="762"/>
                    </a:lnTo>
                    <a:lnTo>
                      <a:pt x="96" y="768"/>
                    </a:lnTo>
                    <a:lnTo>
                      <a:pt x="84" y="774"/>
                    </a:lnTo>
                    <a:lnTo>
                      <a:pt x="60" y="782"/>
                    </a:lnTo>
                    <a:lnTo>
                      <a:pt x="38" y="784"/>
                    </a:lnTo>
                    <a:lnTo>
                      <a:pt x="16" y="786"/>
                    </a:lnTo>
                    <a:lnTo>
                      <a:pt x="16" y="7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0" name="Freeform 28"/>
              <p:cNvSpPr>
                <a:spLocks/>
              </p:cNvSpPr>
              <p:nvPr/>
            </p:nvSpPr>
            <p:spPr bwMode="auto">
              <a:xfrm>
                <a:off x="7989468" y="4518126"/>
                <a:ext cx="49837" cy="57313"/>
              </a:xfrm>
              <a:custGeom>
                <a:avLst/>
                <a:gdLst>
                  <a:gd name="T0" fmla="*/ 346 w 480"/>
                  <a:gd name="T1" fmla="*/ 230 h 552"/>
                  <a:gd name="T2" fmla="*/ 344 w 480"/>
                  <a:gd name="T3" fmla="*/ 210 h 552"/>
                  <a:gd name="T4" fmla="*/ 338 w 480"/>
                  <a:gd name="T5" fmla="*/ 170 h 552"/>
                  <a:gd name="T6" fmla="*/ 322 w 480"/>
                  <a:gd name="T7" fmla="*/ 138 h 552"/>
                  <a:gd name="T8" fmla="*/ 308 w 480"/>
                  <a:gd name="T9" fmla="*/ 126 h 552"/>
                  <a:gd name="T10" fmla="*/ 290 w 480"/>
                  <a:gd name="T11" fmla="*/ 118 h 552"/>
                  <a:gd name="T12" fmla="*/ 268 w 480"/>
                  <a:gd name="T13" fmla="*/ 116 h 552"/>
                  <a:gd name="T14" fmla="*/ 250 w 480"/>
                  <a:gd name="T15" fmla="*/ 116 h 552"/>
                  <a:gd name="T16" fmla="*/ 216 w 480"/>
                  <a:gd name="T17" fmla="*/ 126 h 552"/>
                  <a:gd name="T18" fmla="*/ 182 w 480"/>
                  <a:gd name="T19" fmla="*/ 140 h 552"/>
                  <a:gd name="T20" fmla="*/ 134 w 480"/>
                  <a:gd name="T21" fmla="*/ 172 h 552"/>
                  <a:gd name="T22" fmla="*/ 134 w 480"/>
                  <a:gd name="T23" fmla="*/ 452 h 552"/>
                  <a:gd name="T24" fmla="*/ 132 w 480"/>
                  <a:gd name="T25" fmla="*/ 470 h 552"/>
                  <a:gd name="T26" fmla="*/ 120 w 480"/>
                  <a:gd name="T27" fmla="*/ 498 h 552"/>
                  <a:gd name="T28" fmla="*/ 102 w 480"/>
                  <a:gd name="T29" fmla="*/ 518 h 552"/>
                  <a:gd name="T30" fmla="*/ 78 w 480"/>
                  <a:gd name="T31" fmla="*/ 534 h 552"/>
                  <a:gd name="T32" fmla="*/ 42 w 480"/>
                  <a:gd name="T33" fmla="*/ 546 h 552"/>
                  <a:gd name="T34" fmla="*/ 0 w 480"/>
                  <a:gd name="T35" fmla="*/ 552 h 552"/>
                  <a:gd name="T36" fmla="*/ 114 w 480"/>
                  <a:gd name="T37" fmla="*/ 14 h 552"/>
                  <a:gd name="T38" fmla="*/ 128 w 480"/>
                  <a:gd name="T39" fmla="*/ 70 h 552"/>
                  <a:gd name="T40" fmla="*/ 170 w 480"/>
                  <a:gd name="T41" fmla="*/ 42 h 552"/>
                  <a:gd name="T42" fmla="*/ 214 w 480"/>
                  <a:gd name="T43" fmla="*/ 20 h 552"/>
                  <a:gd name="T44" fmla="*/ 262 w 480"/>
                  <a:gd name="T45" fmla="*/ 6 h 552"/>
                  <a:gd name="T46" fmla="*/ 314 w 480"/>
                  <a:gd name="T47" fmla="*/ 0 h 552"/>
                  <a:gd name="T48" fmla="*/ 328 w 480"/>
                  <a:gd name="T49" fmla="*/ 2 h 552"/>
                  <a:gd name="T50" fmla="*/ 358 w 480"/>
                  <a:gd name="T51" fmla="*/ 6 h 552"/>
                  <a:gd name="T52" fmla="*/ 388 w 480"/>
                  <a:gd name="T53" fmla="*/ 16 h 552"/>
                  <a:gd name="T54" fmla="*/ 414 w 480"/>
                  <a:gd name="T55" fmla="*/ 32 h 552"/>
                  <a:gd name="T56" fmla="*/ 438 w 480"/>
                  <a:gd name="T57" fmla="*/ 54 h 552"/>
                  <a:gd name="T58" fmla="*/ 458 w 480"/>
                  <a:gd name="T59" fmla="*/ 84 h 552"/>
                  <a:gd name="T60" fmla="*/ 472 w 480"/>
                  <a:gd name="T61" fmla="*/ 120 h 552"/>
                  <a:gd name="T62" fmla="*/ 478 w 480"/>
                  <a:gd name="T63" fmla="*/ 166 h 552"/>
                  <a:gd name="T64" fmla="*/ 480 w 480"/>
                  <a:gd name="T65" fmla="*/ 190 h 552"/>
                  <a:gd name="T66" fmla="*/ 480 w 480"/>
                  <a:gd name="T67" fmla="*/ 452 h 552"/>
                  <a:gd name="T68" fmla="*/ 474 w 480"/>
                  <a:gd name="T69" fmla="*/ 484 h 552"/>
                  <a:gd name="T70" fmla="*/ 458 w 480"/>
                  <a:gd name="T71" fmla="*/ 510 h 552"/>
                  <a:gd name="T72" fmla="*/ 438 w 480"/>
                  <a:gd name="T73" fmla="*/ 528 h 552"/>
                  <a:gd name="T74" fmla="*/ 412 w 480"/>
                  <a:gd name="T75" fmla="*/ 540 h 552"/>
                  <a:gd name="T76" fmla="*/ 366 w 480"/>
                  <a:gd name="T77" fmla="*/ 550 h 552"/>
                  <a:gd name="T78" fmla="*/ 346 w 480"/>
                  <a:gd name="T79" fmla="*/ 552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80" h="552">
                    <a:moveTo>
                      <a:pt x="346" y="552"/>
                    </a:moveTo>
                    <a:lnTo>
                      <a:pt x="346" y="230"/>
                    </a:lnTo>
                    <a:lnTo>
                      <a:pt x="346" y="230"/>
                    </a:lnTo>
                    <a:lnTo>
                      <a:pt x="344" y="210"/>
                    </a:lnTo>
                    <a:lnTo>
                      <a:pt x="342" y="190"/>
                    </a:lnTo>
                    <a:lnTo>
                      <a:pt x="338" y="170"/>
                    </a:lnTo>
                    <a:lnTo>
                      <a:pt x="332" y="152"/>
                    </a:lnTo>
                    <a:lnTo>
                      <a:pt x="322" y="138"/>
                    </a:lnTo>
                    <a:lnTo>
                      <a:pt x="316" y="132"/>
                    </a:lnTo>
                    <a:lnTo>
                      <a:pt x="308" y="126"/>
                    </a:lnTo>
                    <a:lnTo>
                      <a:pt x="300" y="122"/>
                    </a:lnTo>
                    <a:lnTo>
                      <a:pt x="290" y="118"/>
                    </a:lnTo>
                    <a:lnTo>
                      <a:pt x="280" y="116"/>
                    </a:lnTo>
                    <a:lnTo>
                      <a:pt x="268" y="116"/>
                    </a:lnTo>
                    <a:lnTo>
                      <a:pt x="268" y="116"/>
                    </a:lnTo>
                    <a:lnTo>
                      <a:pt x="250" y="116"/>
                    </a:lnTo>
                    <a:lnTo>
                      <a:pt x="232" y="120"/>
                    </a:lnTo>
                    <a:lnTo>
                      <a:pt x="216" y="126"/>
                    </a:lnTo>
                    <a:lnTo>
                      <a:pt x="198" y="132"/>
                    </a:lnTo>
                    <a:lnTo>
                      <a:pt x="182" y="140"/>
                    </a:lnTo>
                    <a:lnTo>
                      <a:pt x="166" y="150"/>
                    </a:lnTo>
                    <a:lnTo>
                      <a:pt x="134" y="172"/>
                    </a:lnTo>
                    <a:lnTo>
                      <a:pt x="134" y="172"/>
                    </a:lnTo>
                    <a:lnTo>
                      <a:pt x="134" y="452"/>
                    </a:lnTo>
                    <a:lnTo>
                      <a:pt x="134" y="452"/>
                    </a:lnTo>
                    <a:lnTo>
                      <a:pt x="132" y="470"/>
                    </a:lnTo>
                    <a:lnTo>
                      <a:pt x="128" y="484"/>
                    </a:lnTo>
                    <a:lnTo>
                      <a:pt x="120" y="498"/>
                    </a:lnTo>
                    <a:lnTo>
                      <a:pt x="112" y="510"/>
                    </a:lnTo>
                    <a:lnTo>
                      <a:pt x="102" y="518"/>
                    </a:lnTo>
                    <a:lnTo>
                      <a:pt x="90" y="528"/>
                    </a:lnTo>
                    <a:lnTo>
                      <a:pt x="78" y="534"/>
                    </a:lnTo>
                    <a:lnTo>
                      <a:pt x="66" y="540"/>
                    </a:lnTo>
                    <a:lnTo>
                      <a:pt x="42" y="546"/>
                    </a:lnTo>
                    <a:lnTo>
                      <a:pt x="20" y="550"/>
                    </a:lnTo>
                    <a:lnTo>
                      <a:pt x="0" y="552"/>
                    </a:lnTo>
                    <a:lnTo>
                      <a:pt x="0" y="14"/>
                    </a:lnTo>
                    <a:lnTo>
                      <a:pt x="114" y="14"/>
                    </a:lnTo>
                    <a:lnTo>
                      <a:pt x="128" y="70"/>
                    </a:lnTo>
                    <a:lnTo>
                      <a:pt x="128" y="70"/>
                    </a:lnTo>
                    <a:lnTo>
                      <a:pt x="150" y="54"/>
                    </a:lnTo>
                    <a:lnTo>
                      <a:pt x="170" y="42"/>
                    </a:lnTo>
                    <a:lnTo>
                      <a:pt x="192" y="30"/>
                    </a:lnTo>
                    <a:lnTo>
                      <a:pt x="214" y="20"/>
                    </a:lnTo>
                    <a:lnTo>
                      <a:pt x="238" y="12"/>
                    </a:lnTo>
                    <a:lnTo>
                      <a:pt x="262" y="6"/>
                    </a:lnTo>
                    <a:lnTo>
                      <a:pt x="286" y="2"/>
                    </a:lnTo>
                    <a:lnTo>
                      <a:pt x="314" y="0"/>
                    </a:lnTo>
                    <a:lnTo>
                      <a:pt x="314" y="0"/>
                    </a:lnTo>
                    <a:lnTo>
                      <a:pt x="328" y="2"/>
                    </a:lnTo>
                    <a:lnTo>
                      <a:pt x="344" y="2"/>
                    </a:lnTo>
                    <a:lnTo>
                      <a:pt x="358" y="6"/>
                    </a:lnTo>
                    <a:lnTo>
                      <a:pt x="374" y="10"/>
                    </a:lnTo>
                    <a:lnTo>
                      <a:pt x="388" y="16"/>
                    </a:lnTo>
                    <a:lnTo>
                      <a:pt x="402" y="24"/>
                    </a:lnTo>
                    <a:lnTo>
                      <a:pt x="414" y="32"/>
                    </a:lnTo>
                    <a:lnTo>
                      <a:pt x="426" y="42"/>
                    </a:lnTo>
                    <a:lnTo>
                      <a:pt x="438" y="54"/>
                    </a:lnTo>
                    <a:lnTo>
                      <a:pt x="448" y="68"/>
                    </a:lnTo>
                    <a:lnTo>
                      <a:pt x="458" y="84"/>
                    </a:lnTo>
                    <a:lnTo>
                      <a:pt x="464" y="102"/>
                    </a:lnTo>
                    <a:lnTo>
                      <a:pt x="472" y="120"/>
                    </a:lnTo>
                    <a:lnTo>
                      <a:pt x="476" y="142"/>
                    </a:lnTo>
                    <a:lnTo>
                      <a:pt x="478" y="166"/>
                    </a:lnTo>
                    <a:lnTo>
                      <a:pt x="480" y="190"/>
                    </a:lnTo>
                    <a:lnTo>
                      <a:pt x="480" y="190"/>
                    </a:lnTo>
                    <a:lnTo>
                      <a:pt x="480" y="452"/>
                    </a:lnTo>
                    <a:lnTo>
                      <a:pt x="480" y="452"/>
                    </a:lnTo>
                    <a:lnTo>
                      <a:pt x="478" y="470"/>
                    </a:lnTo>
                    <a:lnTo>
                      <a:pt x="474" y="484"/>
                    </a:lnTo>
                    <a:lnTo>
                      <a:pt x="468" y="498"/>
                    </a:lnTo>
                    <a:lnTo>
                      <a:pt x="458" y="510"/>
                    </a:lnTo>
                    <a:lnTo>
                      <a:pt x="448" y="520"/>
                    </a:lnTo>
                    <a:lnTo>
                      <a:pt x="438" y="528"/>
                    </a:lnTo>
                    <a:lnTo>
                      <a:pt x="424" y="534"/>
                    </a:lnTo>
                    <a:lnTo>
                      <a:pt x="412" y="540"/>
                    </a:lnTo>
                    <a:lnTo>
                      <a:pt x="388" y="546"/>
                    </a:lnTo>
                    <a:lnTo>
                      <a:pt x="366" y="550"/>
                    </a:lnTo>
                    <a:lnTo>
                      <a:pt x="346" y="552"/>
                    </a:lnTo>
                    <a:lnTo>
                      <a:pt x="346" y="5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1" name="Freeform 29"/>
              <p:cNvSpPr>
                <a:spLocks/>
              </p:cNvSpPr>
              <p:nvPr/>
            </p:nvSpPr>
            <p:spPr bwMode="auto">
              <a:xfrm>
                <a:off x="8106170" y="4491754"/>
                <a:ext cx="14120" cy="83477"/>
              </a:xfrm>
              <a:custGeom>
                <a:avLst/>
                <a:gdLst>
                  <a:gd name="T0" fmla="*/ 136 w 136"/>
                  <a:gd name="T1" fmla="*/ 704 h 804"/>
                  <a:gd name="T2" fmla="*/ 136 w 136"/>
                  <a:gd name="T3" fmla="*/ 704 h 804"/>
                  <a:gd name="T4" fmla="*/ 134 w 136"/>
                  <a:gd name="T5" fmla="*/ 722 h 804"/>
                  <a:gd name="T6" fmla="*/ 130 w 136"/>
                  <a:gd name="T7" fmla="*/ 738 h 804"/>
                  <a:gd name="T8" fmla="*/ 122 w 136"/>
                  <a:gd name="T9" fmla="*/ 750 h 804"/>
                  <a:gd name="T10" fmla="*/ 114 w 136"/>
                  <a:gd name="T11" fmla="*/ 762 h 804"/>
                  <a:gd name="T12" fmla="*/ 104 w 136"/>
                  <a:gd name="T13" fmla="*/ 772 h 804"/>
                  <a:gd name="T14" fmla="*/ 92 w 136"/>
                  <a:gd name="T15" fmla="*/ 780 h 804"/>
                  <a:gd name="T16" fmla="*/ 80 w 136"/>
                  <a:gd name="T17" fmla="*/ 786 h 804"/>
                  <a:gd name="T18" fmla="*/ 68 w 136"/>
                  <a:gd name="T19" fmla="*/ 792 h 804"/>
                  <a:gd name="T20" fmla="*/ 44 w 136"/>
                  <a:gd name="T21" fmla="*/ 800 h 804"/>
                  <a:gd name="T22" fmla="*/ 22 w 136"/>
                  <a:gd name="T23" fmla="*/ 802 h 804"/>
                  <a:gd name="T24" fmla="*/ 0 w 136"/>
                  <a:gd name="T25" fmla="*/ 804 h 804"/>
                  <a:gd name="T26" fmla="*/ 0 w 136"/>
                  <a:gd name="T27" fmla="*/ 0 h 804"/>
                  <a:gd name="T28" fmla="*/ 136 w 136"/>
                  <a:gd name="T29" fmla="*/ 0 h 804"/>
                  <a:gd name="T30" fmla="*/ 136 w 136"/>
                  <a:gd name="T31" fmla="*/ 0 h 804"/>
                  <a:gd name="T32" fmla="*/ 136 w 136"/>
                  <a:gd name="T33" fmla="*/ 704 h 804"/>
                  <a:gd name="T34" fmla="*/ 136 w 136"/>
                  <a:gd name="T35" fmla="*/ 70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04">
                    <a:moveTo>
                      <a:pt x="136" y="704"/>
                    </a:moveTo>
                    <a:lnTo>
                      <a:pt x="136" y="704"/>
                    </a:lnTo>
                    <a:lnTo>
                      <a:pt x="134" y="722"/>
                    </a:lnTo>
                    <a:lnTo>
                      <a:pt x="130" y="738"/>
                    </a:lnTo>
                    <a:lnTo>
                      <a:pt x="122" y="750"/>
                    </a:lnTo>
                    <a:lnTo>
                      <a:pt x="114" y="762"/>
                    </a:lnTo>
                    <a:lnTo>
                      <a:pt x="104" y="772"/>
                    </a:lnTo>
                    <a:lnTo>
                      <a:pt x="92" y="780"/>
                    </a:lnTo>
                    <a:lnTo>
                      <a:pt x="80" y="786"/>
                    </a:lnTo>
                    <a:lnTo>
                      <a:pt x="68" y="792"/>
                    </a:lnTo>
                    <a:lnTo>
                      <a:pt x="44" y="800"/>
                    </a:lnTo>
                    <a:lnTo>
                      <a:pt x="22" y="802"/>
                    </a:lnTo>
                    <a:lnTo>
                      <a:pt x="0" y="804"/>
                    </a:lnTo>
                    <a:lnTo>
                      <a:pt x="0" y="0"/>
                    </a:lnTo>
                    <a:lnTo>
                      <a:pt x="136" y="0"/>
                    </a:lnTo>
                    <a:lnTo>
                      <a:pt x="136" y="0"/>
                    </a:lnTo>
                    <a:lnTo>
                      <a:pt x="136" y="704"/>
                    </a:lnTo>
                    <a:lnTo>
                      <a:pt x="136" y="7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97" name="Group 196"/>
            <p:cNvGrpSpPr/>
            <p:nvPr userDrawn="1"/>
          </p:nvGrpSpPr>
          <p:grpSpPr>
            <a:xfrm>
              <a:off x="7673274" y="4343117"/>
              <a:ext cx="1123200" cy="148389"/>
              <a:chOff x="7665803" y="4864376"/>
              <a:chExt cx="1123200" cy="148389"/>
            </a:xfrm>
            <a:grpFill/>
          </p:grpSpPr>
          <p:sp>
            <p:nvSpPr>
              <p:cNvPr id="198" name="Freeform 6"/>
              <p:cNvSpPr>
                <a:spLocks/>
              </p:cNvSpPr>
              <p:nvPr userDrawn="1"/>
            </p:nvSpPr>
            <p:spPr bwMode="auto">
              <a:xfrm>
                <a:off x="8119644" y="4924717"/>
                <a:ext cx="103102" cy="66806"/>
              </a:xfrm>
              <a:custGeom>
                <a:avLst/>
                <a:gdLst>
                  <a:gd name="T0" fmla="*/ 111 w 136"/>
                  <a:gd name="T1" fmla="*/ 72 h 92"/>
                  <a:gd name="T2" fmla="*/ 87 w 136"/>
                  <a:gd name="T3" fmla="*/ 88 h 92"/>
                  <a:gd name="T4" fmla="*/ 68 w 136"/>
                  <a:gd name="T5" fmla="*/ 28 h 92"/>
                  <a:gd name="T6" fmla="*/ 67 w 136"/>
                  <a:gd name="T7" fmla="*/ 28 h 92"/>
                  <a:gd name="T8" fmla="*/ 53 w 136"/>
                  <a:gd name="T9" fmla="*/ 72 h 92"/>
                  <a:gd name="T10" fmla="*/ 31 w 136"/>
                  <a:gd name="T11" fmla="*/ 88 h 92"/>
                  <a:gd name="T12" fmla="*/ 0 w 136"/>
                  <a:gd name="T13" fmla="*/ 0 h 92"/>
                  <a:gd name="T14" fmla="*/ 22 w 136"/>
                  <a:gd name="T15" fmla="*/ 0 h 92"/>
                  <a:gd name="T16" fmla="*/ 41 w 136"/>
                  <a:gd name="T17" fmla="*/ 60 h 92"/>
                  <a:gd name="T18" fmla="*/ 41 w 136"/>
                  <a:gd name="T19" fmla="*/ 60 h 92"/>
                  <a:gd name="T20" fmla="*/ 60 w 136"/>
                  <a:gd name="T21" fmla="*/ 0 h 92"/>
                  <a:gd name="T22" fmla="*/ 77 w 136"/>
                  <a:gd name="T23" fmla="*/ 0 h 92"/>
                  <a:gd name="T24" fmla="*/ 96 w 136"/>
                  <a:gd name="T25" fmla="*/ 60 h 92"/>
                  <a:gd name="T26" fmla="*/ 97 w 136"/>
                  <a:gd name="T27" fmla="*/ 60 h 92"/>
                  <a:gd name="T28" fmla="*/ 115 w 136"/>
                  <a:gd name="T29" fmla="*/ 0 h 92"/>
                  <a:gd name="T30" fmla="*/ 136 w 136"/>
                  <a:gd name="T31" fmla="*/ 0 h 92"/>
                  <a:gd name="T32" fmla="*/ 111 w 136"/>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 h="92">
                    <a:moveTo>
                      <a:pt x="111" y="72"/>
                    </a:moveTo>
                    <a:cubicBezTo>
                      <a:pt x="103" y="92"/>
                      <a:pt x="87" y="88"/>
                      <a:pt x="87" y="88"/>
                    </a:cubicBezTo>
                    <a:cubicBezTo>
                      <a:pt x="68" y="28"/>
                      <a:pt x="68" y="28"/>
                      <a:pt x="68" y="28"/>
                    </a:cubicBezTo>
                    <a:cubicBezTo>
                      <a:pt x="67" y="28"/>
                      <a:pt x="67" y="28"/>
                      <a:pt x="67" y="28"/>
                    </a:cubicBezTo>
                    <a:cubicBezTo>
                      <a:pt x="67" y="28"/>
                      <a:pt x="58"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6" y="60"/>
                      <a:pt x="96" y="60"/>
                      <a:pt x="96" y="60"/>
                    </a:cubicBezTo>
                    <a:cubicBezTo>
                      <a:pt x="97" y="60"/>
                      <a:pt x="97" y="60"/>
                      <a:pt x="97" y="60"/>
                    </a:cubicBezTo>
                    <a:cubicBezTo>
                      <a:pt x="115" y="0"/>
                      <a:pt x="115" y="0"/>
                      <a:pt x="115" y="0"/>
                    </a:cubicBezTo>
                    <a:cubicBezTo>
                      <a:pt x="136" y="0"/>
                      <a:pt x="136" y="0"/>
                      <a:pt x="136" y="0"/>
                    </a:cubicBezTo>
                    <a:cubicBezTo>
                      <a:pt x="136"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99" name="Freeform 7"/>
              <p:cNvSpPr>
                <a:spLocks noEditPoints="1"/>
              </p:cNvSpPr>
              <p:nvPr userDrawn="1"/>
            </p:nvSpPr>
            <p:spPr bwMode="auto">
              <a:xfrm>
                <a:off x="8225958" y="4923177"/>
                <a:ext cx="57493" cy="66190"/>
              </a:xfrm>
              <a:custGeom>
                <a:avLst/>
                <a:gdLst>
                  <a:gd name="T0" fmla="*/ 57 w 76"/>
                  <a:gd name="T1" fmla="*/ 90 h 91"/>
                  <a:gd name="T2" fmla="*/ 53 w 76"/>
                  <a:gd name="T3" fmla="*/ 81 h 91"/>
                  <a:gd name="T4" fmla="*/ 28 w 76"/>
                  <a:gd name="T5" fmla="*/ 91 h 91"/>
                  <a:gd name="T6" fmla="*/ 0 w 76"/>
                  <a:gd name="T7" fmla="*/ 63 h 91"/>
                  <a:gd name="T8" fmla="*/ 36 w 76"/>
                  <a:gd name="T9" fmla="*/ 34 h 91"/>
                  <a:gd name="T10" fmla="*/ 51 w 76"/>
                  <a:gd name="T11" fmla="*/ 34 h 91"/>
                  <a:gd name="T12" fmla="*/ 51 w 76"/>
                  <a:gd name="T13" fmla="*/ 31 h 91"/>
                  <a:gd name="T14" fmla="*/ 35 w 76"/>
                  <a:gd name="T15" fmla="*/ 17 h 91"/>
                  <a:gd name="T16" fmla="*/ 12 w 76"/>
                  <a:gd name="T17" fmla="*/ 23 h 91"/>
                  <a:gd name="T18" fmla="*/ 5 w 76"/>
                  <a:gd name="T19" fmla="*/ 9 h 91"/>
                  <a:gd name="T20" fmla="*/ 39 w 76"/>
                  <a:gd name="T21" fmla="*/ 0 h 91"/>
                  <a:gd name="T22" fmla="*/ 74 w 76"/>
                  <a:gd name="T23" fmla="*/ 31 h 91"/>
                  <a:gd name="T24" fmla="*/ 74 w 76"/>
                  <a:gd name="T25" fmla="*/ 66 h 91"/>
                  <a:gd name="T26" fmla="*/ 76 w 76"/>
                  <a:gd name="T27" fmla="*/ 90 h 91"/>
                  <a:gd name="T28" fmla="*/ 57 w 76"/>
                  <a:gd name="T29" fmla="*/ 90 h 91"/>
                  <a:gd name="T30" fmla="*/ 51 w 76"/>
                  <a:gd name="T31" fmla="*/ 49 h 91"/>
                  <a:gd name="T32" fmla="*/ 39 w 76"/>
                  <a:gd name="T33" fmla="*/ 49 h 91"/>
                  <a:gd name="T34" fmla="*/ 22 w 76"/>
                  <a:gd name="T35" fmla="*/ 61 h 91"/>
                  <a:gd name="T36" fmla="*/ 36 w 76"/>
                  <a:gd name="T37" fmla="*/ 73 h 91"/>
                  <a:gd name="T38" fmla="*/ 51 w 76"/>
                  <a:gd name="T39" fmla="*/ 68 h 91"/>
                  <a:gd name="T40" fmla="*/ 51 w 76"/>
                  <a:gd name="T41" fmla="*/ 4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91">
                    <a:moveTo>
                      <a:pt x="57" y="90"/>
                    </a:moveTo>
                    <a:cubicBezTo>
                      <a:pt x="53" y="81"/>
                      <a:pt x="53" y="81"/>
                      <a:pt x="53" y="81"/>
                    </a:cubicBezTo>
                    <a:cubicBezTo>
                      <a:pt x="48" y="86"/>
                      <a:pt x="40" y="91"/>
                      <a:pt x="28" y="91"/>
                    </a:cubicBezTo>
                    <a:cubicBezTo>
                      <a:pt x="12" y="91"/>
                      <a:pt x="0" y="80"/>
                      <a:pt x="0" y="63"/>
                    </a:cubicBezTo>
                    <a:cubicBezTo>
                      <a:pt x="0" y="45"/>
                      <a:pt x="14" y="35"/>
                      <a:pt x="36" y="34"/>
                    </a:cubicBezTo>
                    <a:cubicBezTo>
                      <a:pt x="51" y="34"/>
                      <a:pt x="51" y="34"/>
                      <a:pt x="51" y="34"/>
                    </a:cubicBezTo>
                    <a:cubicBezTo>
                      <a:pt x="51" y="33"/>
                      <a:pt x="51" y="32"/>
                      <a:pt x="51" y="31"/>
                    </a:cubicBezTo>
                    <a:cubicBezTo>
                      <a:pt x="51" y="21"/>
                      <a:pt x="44" y="17"/>
                      <a:pt x="35" y="17"/>
                    </a:cubicBezTo>
                    <a:cubicBezTo>
                      <a:pt x="25" y="17"/>
                      <a:pt x="18" y="20"/>
                      <a:pt x="12" y="23"/>
                    </a:cubicBezTo>
                    <a:cubicBezTo>
                      <a:pt x="5" y="9"/>
                      <a:pt x="5" y="9"/>
                      <a:pt x="5" y="9"/>
                    </a:cubicBezTo>
                    <a:cubicBezTo>
                      <a:pt x="17" y="2"/>
                      <a:pt x="28" y="0"/>
                      <a:pt x="39" y="0"/>
                    </a:cubicBezTo>
                    <a:cubicBezTo>
                      <a:pt x="61" y="0"/>
                      <a:pt x="74" y="9"/>
                      <a:pt x="74" y="31"/>
                    </a:cubicBezTo>
                    <a:cubicBezTo>
                      <a:pt x="74" y="66"/>
                      <a:pt x="74" y="66"/>
                      <a:pt x="74" y="66"/>
                    </a:cubicBezTo>
                    <a:cubicBezTo>
                      <a:pt x="74" y="78"/>
                      <a:pt x="75" y="86"/>
                      <a:pt x="76" y="90"/>
                    </a:cubicBezTo>
                    <a:lnTo>
                      <a:pt x="57" y="90"/>
                    </a:lnTo>
                    <a:close/>
                    <a:moveTo>
                      <a:pt x="51" y="49"/>
                    </a:moveTo>
                    <a:cubicBezTo>
                      <a:pt x="39" y="49"/>
                      <a:pt x="39" y="49"/>
                      <a:pt x="39" y="49"/>
                    </a:cubicBezTo>
                    <a:cubicBezTo>
                      <a:pt x="27" y="50"/>
                      <a:pt x="22" y="54"/>
                      <a:pt x="22" y="61"/>
                    </a:cubicBezTo>
                    <a:cubicBezTo>
                      <a:pt x="22" y="68"/>
                      <a:pt x="27" y="73"/>
                      <a:pt x="36" y="73"/>
                    </a:cubicBezTo>
                    <a:cubicBezTo>
                      <a:pt x="44" y="73"/>
                      <a:pt x="49" y="70"/>
                      <a:pt x="51" y="68"/>
                    </a:cubicBezTo>
                    <a:lnTo>
                      <a:pt x="51" y="4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00" name="Freeform 8"/>
              <p:cNvSpPr>
                <a:spLocks noEditPoints="1"/>
              </p:cNvSpPr>
              <p:nvPr userDrawn="1"/>
            </p:nvSpPr>
            <p:spPr bwMode="auto">
              <a:xfrm>
                <a:off x="8342550" y="4892699"/>
                <a:ext cx="62311" cy="96668"/>
              </a:xfrm>
              <a:custGeom>
                <a:avLst/>
                <a:gdLst>
                  <a:gd name="T0" fmla="*/ 47 w 82"/>
                  <a:gd name="T1" fmla="*/ 133 h 133"/>
                  <a:gd name="T2" fmla="*/ 0 w 82"/>
                  <a:gd name="T3" fmla="*/ 88 h 133"/>
                  <a:gd name="T4" fmla="*/ 48 w 82"/>
                  <a:gd name="T5" fmla="*/ 42 h 133"/>
                  <a:gd name="T6" fmla="*/ 59 w 82"/>
                  <a:gd name="T7" fmla="*/ 42 h 133"/>
                  <a:gd name="T8" fmla="*/ 60 w 82"/>
                  <a:gd name="T9" fmla="*/ 0 h 133"/>
                  <a:gd name="T10" fmla="*/ 82 w 82"/>
                  <a:gd name="T11" fmla="*/ 0 h 133"/>
                  <a:gd name="T12" fmla="*/ 81 w 82"/>
                  <a:gd name="T13" fmla="*/ 126 h 133"/>
                  <a:gd name="T14" fmla="*/ 47 w 82"/>
                  <a:gd name="T15" fmla="*/ 133 h 133"/>
                  <a:gd name="T16" fmla="*/ 59 w 82"/>
                  <a:gd name="T17" fmla="*/ 60 h 133"/>
                  <a:gd name="T18" fmla="*/ 49 w 82"/>
                  <a:gd name="T19" fmla="*/ 59 h 133"/>
                  <a:gd name="T20" fmla="*/ 22 w 82"/>
                  <a:gd name="T21" fmla="*/ 87 h 133"/>
                  <a:gd name="T22" fmla="*/ 49 w 82"/>
                  <a:gd name="T23" fmla="*/ 114 h 133"/>
                  <a:gd name="T24" fmla="*/ 59 w 82"/>
                  <a:gd name="T25" fmla="*/ 113 h 133"/>
                  <a:gd name="T26" fmla="*/ 59 w 82"/>
                  <a:gd name="T27" fmla="*/ 6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3">
                    <a:moveTo>
                      <a:pt x="47" y="133"/>
                    </a:moveTo>
                    <a:cubicBezTo>
                      <a:pt x="21" y="133"/>
                      <a:pt x="0" y="117"/>
                      <a:pt x="0" y="88"/>
                    </a:cubicBezTo>
                    <a:cubicBezTo>
                      <a:pt x="0" y="61"/>
                      <a:pt x="20" y="42"/>
                      <a:pt x="48" y="42"/>
                    </a:cubicBezTo>
                    <a:cubicBezTo>
                      <a:pt x="52" y="42"/>
                      <a:pt x="56" y="42"/>
                      <a:pt x="59" y="42"/>
                    </a:cubicBezTo>
                    <a:cubicBezTo>
                      <a:pt x="60" y="0"/>
                      <a:pt x="60" y="0"/>
                      <a:pt x="60" y="0"/>
                    </a:cubicBezTo>
                    <a:cubicBezTo>
                      <a:pt x="82" y="0"/>
                      <a:pt x="82" y="0"/>
                      <a:pt x="82" y="0"/>
                    </a:cubicBezTo>
                    <a:cubicBezTo>
                      <a:pt x="81" y="126"/>
                      <a:pt x="81" y="126"/>
                      <a:pt x="81" y="126"/>
                    </a:cubicBezTo>
                    <a:cubicBezTo>
                      <a:pt x="73" y="130"/>
                      <a:pt x="62" y="133"/>
                      <a:pt x="47" y="133"/>
                    </a:cubicBezTo>
                    <a:close/>
                    <a:moveTo>
                      <a:pt x="59" y="60"/>
                    </a:moveTo>
                    <a:cubicBezTo>
                      <a:pt x="56" y="60"/>
                      <a:pt x="54" y="59"/>
                      <a:pt x="49" y="59"/>
                    </a:cubicBezTo>
                    <a:cubicBezTo>
                      <a:pt x="33" y="59"/>
                      <a:pt x="22" y="70"/>
                      <a:pt x="22" y="87"/>
                    </a:cubicBezTo>
                    <a:cubicBezTo>
                      <a:pt x="22" y="103"/>
                      <a:pt x="32" y="114"/>
                      <a:pt x="49" y="114"/>
                    </a:cubicBezTo>
                    <a:cubicBezTo>
                      <a:pt x="53" y="114"/>
                      <a:pt x="57" y="114"/>
                      <a:pt x="59" y="113"/>
                    </a:cubicBezTo>
                    <a:lnTo>
                      <a:pt x="59" y="60"/>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01" name="Freeform 9"/>
              <p:cNvSpPr>
                <a:spLocks/>
              </p:cNvSpPr>
              <p:nvPr userDrawn="1"/>
            </p:nvSpPr>
            <p:spPr bwMode="auto">
              <a:xfrm>
                <a:off x="8093949"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02" name="Freeform 10"/>
              <p:cNvSpPr>
                <a:spLocks/>
              </p:cNvSpPr>
              <p:nvPr userDrawn="1"/>
            </p:nvSpPr>
            <p:spPr bwMode="auto">
              <a:xfrm>
                <a:off x="8060545"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03" name="Freeform 11"/>
              <p:cNvSpPr>
                <a:spLocks/>
              </p:cNvSpPr>
              <p:nvPr userDrawn="1"/>
            </p:nvSpPr>
            <p:spPr bwMode="auto">
              <a:xfrm>
                <a:off x="8297262" y="4923177"/>
                <a:ext cx="43039" cy="66190"/>
              </a:xfrm>
              <a:custGeom>
                <a:avLst/>
                <a:gdLst>
                  <a:gd name="T0" fmla="*/ 49 w 57"/>
                  <a:gd name="T1" fmla="*/ 22 h 91"/>
                  <a:gd name="T2" fmla="*/ 39 w 57"/>
                  <a:gd name="T3" fmla="*/ 20 h 91"/>
                  <a:gd name="T4" fmla="*/ 22 w 57"/>
                  <a:gd name="T5" fmla="*/ 27 h 91"/>
                  <a:gd name="T6" fmla="*/ 22 w 57"/>
                  <a:gd name="T7" fmla="*/ 74 h 91"/>
                  <a:gd name="T8" fmla="*/ 0 w 57"/>
                  <a:gd name="T9" fmla="*/ 90 h 91"/>
                  <a:gd name="T10" fmla="*/ 0 w 57"/>
                  <a:gd name="T11" fmla="*/ 2 h 91"/>
                  <a:gd name="T12" fmla="*/ 18 w 57"/>
                  <a:gd name="T13" fmla="*/ 2 h 91"/>
                  <a:gd name="T14" fmla="*/ 21 w 57"/>
                  <a:gd name="T15" fmla="*/ 11 h 91"/>
                  <a:gd name="T16" fmla="*/ 45 w 57"/>
                  <a:gd name="T17" fmla="*/ 0 h 91"/>
                  <a:gd name="T18" fmla="*/ 57 w 57"/>
                  <a:gd name="T19" fmla="*/ 4 h 91"/>
                  <a:gd name="T20" fmla="*/ 49 w 57"/>
                  <a:gd name="T21" fmla="*/ 2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1">
                    <a:moveTo>
                      <a:pt x="49" y="22"/>
                    </a:moveTo>
                    <a:cubicBezTo>
                      <a:pt x="45" y="20"/>
                      <a:pt x="41" y="20"/>
                      <a:pt x="39" y="20"/>
                    </a:cubicBezTo>
                    <a:cubicBezTo>
                      <a:pt x="34" y="20"/>
                      <a:pt x="28" y="22"/>
                      <a:pt x="22" y="27"/>
                    </a:cubicBezTo>
                    <a:cubicBezTo>
                      <a:pt x="22" y="27"/>
                      <a:pt x="22" y="57"/>
                      <a:pt x="22" y="74"/>
                    </a:cubicBezTo>
                    <a:cubicBezTo>
                      <a:pt x="22" y="91"/>
                      <a:pt x="0" y="90"/>
                      <a:pt x="0" y="90"/>
                    </a:cubicBezTo>
                    <a:cubicBezTo>
                      <a:pt x="0" y="2"/>
                      <a:pt x="0" y="2"/>
                      <a:pt x="0" y="2"/>
                    </a:cubicBezTo>
                    <a:cubicBezTo>
                      <a:pt x="18" y="2"/>
                      <a:pt x="18" y="2"/>
                      <a:pt x="18"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04" name="Freeform 12"/>
              <p:cNvSpPr>
                <a:spLocks/>
              </p:cNvSpPr>
              <p:nvPr userDrawn="1"/>
            </p:nvSpPr>
            <p:spPr bwMode="auto">
              <a:xfrm>
                <a:off x="7907980" y="4892699"/>
                <a:ext cx="98605" cy="95129"/>
              </a:xfrm>
              <a:custGeom>
                <a:avLst/>
                <a:gdLst>
                  <a:gd name="T0" fmla="*/ 106 w 130"/>
                  <a:gd name="T1" fmla="*/ 131 h 131"/>
                  <a:gd name="T2" fmla="*/ 106 w 130"/>
                  <a:gd name="T3" fmla="*/ 53 h 131"/>
                  <a:gd name="T4" fmla="*/ 107 w 130"/>
                  <a:gd name="T5" fmla="*/ 39 h 131"/>
                  <a:gd name="T6" fmla="*/ 106 w 130"/>
                  <a:gd name="T7" fmla="*/ 39 h 131"/>
                  <a:gd name="T8" fmla="*/ 99 w 130"/>
                  <a:gd name="T9" fmla="*/ 52 h 131"/>
                  <a:gd name="T10" fmla="*/ 72 w 130"/>
                  <a:gd name="T11" fmla="*/ 93 h 131"/>
                  <a:gd name="T12" fmla="*/ 60 w 130"/>
                  <a:gd name="T13" fmla="*/ 93 h 131"/>
                  <a:gd name="T14" fmla="*/ 32 w 130"/>
                  <a:gd name="T15" fmla="*/ 51 h 131"/>
                  <a:gd name="T16" fmla="*/ 24 w 130"/>
                  <a:gd name="T17" fmla="*/ 39 h 131"/>
                  <a:gd name="T18" fmla="*/ 23 w 130"/>
                  <a:gd name="T19" fmla="*/ 39 h 131"/>
                  <a:gd name="T20" fmla="*/ 24 w 130"/>
                  <a:gd name="T21" fmla="*/ 52 h 131"/>
                  <a:gd name="T22" fmla="*/ 24 w 130"/>
                  <a:gd name="T23" fmla="*/ 131 h 131"/>
                  <a:gd name="T24" fmla="*/ 0 w 130"/>
                  <a:gd name="T25" fmla="*/ 131 h 131"/>
                  <a:gd name="T26" fmla="*/ 0 w 130"/>
                  <a:gd name="T27" fmla="*/ 0 h 131"/>
                  <a:gd name="T28" fmla="*/ 22 w 130"/>
                  <a:gd name="T29" fmla="*/ 0 h 131"/>
                  <a:gd name="T30" fmla="*/ 58 w 130"/>
                  <a:gd name="T31" fmla="*/ 52 h 131"/>
                  <a:gd name="T32" fmla="*/ 66 w 130"/>
                  <a:gd name="T33" fmla="*/ 66 h 131"/>
                  <a:gd name="T34" fmla="*/ 67 w 130"/>
                  <a:gd name="T35" fmla="*/ 66 h 131"/>
                  <a:gd name="T36" fmla="*/ 75 w 130"/>
                  <a:gd name="T37" fmla="*/ 52 h 131"/>
                  <a:gd name="T38" fmla="*/ 108 w 130"/>
                  <a:gd name="T39" fmla="*/ 0 h 131"/>
                  <a:gd name="T40" fmla="*/ 130 w 130"/>
                  <a:gd name="T41" fmla="*/ 0 h 131"/>
                  <a:gd name="T42" fmla="*/ 130 w 130"/>
                  <a:gd name="T43" fmla="*/ 131 h 131"/>
                  <a:gd name="T44" fmla="*/ 106 w 130"/>
                  <a:gd name="T45"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0" h="131">
                    <a:moveTo>
                      <a:pt x="106" y="131"/>
                    </a:moveTo>
                    <a:cubicBezTo>
                      <a:pt x="106" y="53"/>
                      <a:pt x="106" y="53"/>
                      <a:pt x="106" y="53"/>
                    </a:cubicBezTo>
                    <a:cubicBezTo>
                      <a:pt x="106" y="48"/>
                      <a:pt x="106" y="44"/>
                      <a:pt x="107" y="39"/>
                    </a:cubicBezTo>
                    <a:cubicBezTo>
                      <a:pt x="106" y="39"/>
                      <a:pt x="106" y="39"/>
                      <a:pt x="106" y="39"/>
                    </a:cubicBezTo>
                    <a:cubicBezTo>
                      <a:pt x="105" y="43"/>
                      <a:pt x="101" y="49"/>
                      <a:pt x="99" y="52"/>
                    </a:cubicBezTo>
                    <a:cubicBezTo>
                      <a:pt x="72" y="93"/>
                      <a:pt x="72" y="93"/>
                      <a:pt x="72" y="93"/>
                    </a:cubicBezTo>
                    <a:cubicBezTo>
                      <a:pt x="60" y="93"/>
                      <a:pt x="60" y="93"/>
                      <a:pt x="60" y="93"/>
                    </a:cubicBezTo>
                    <a:cubicBezTo>
                      <a:pt x="32" y="51"/>
                      <a:pt x="32" y="51"/>
                      <a:pt x="32" y="51"/>
                    </a:cubicBezTo>
                    <a:cubicBezTo>
                      <a:pt x="29" y="48"/>
                      <a:pt x="26" y="44"/>
                      <a:pt x="24" y="39"/>
                    </a:cubicBezTo>
                    <a:cubicBezTo>
                      <a:pt x="23" y="39"/>
                      <a:pt x="23" y="39"/>
                      <a:pt x="23" y="39"/>
                    </a:cubicBezTo>
                    <a:cubicBezTo>
                      <a:pt x="24" y="44"/>
                      <a:pt x="24" y="48"/>
                      <a:pt x="24" y="52"/>
                    </a:cubicBezTo>
                    <a:cubicBezTo>
                      <a:pt x="24" y="131"/>
                      <a:pt x="24" y="131"/>
                      <a:pt x="24" y="131"/>
                    </a:cubicBezTo>
                    <a:cubicBezTo>
                      <a:pt x="0" y="131"/>
                      <a:pt x="0" y="131"/>
                      <a:pt x="0" y="131"/>
                    </a:cubicBezTo>
                    <a:cubicBezTo>
                      <a:pt x="0" y="0"/>
                      <a:pt x="0" y="0"/>
                      <a:pt x="0" y="0"/>
                    </a:cubicBezTo>
                    <a:cubicBezTo>
                      <a:pt x="22" y="0"/>
                      <a:pt x="22" y="0"/>
                      <a:pt x="22" y="0"/>
                    </a:cubicBezTo>
                    <a:cubicBezTo>
                      <a:pt x="58" y="52"/>
                      <a:pt x="58" y="52"/>
                      <a:pt x="58" y="52"/>
                    </a:cubicBezTo>
                    <a:cubicBezTo>
                      <a:pt x="61" y="57"/>
                      <a:pt x="64" y="61"/>
                      <a:pt x="66" y="66"/>
                    </a:cubicBezTo>
                    <a:cubicBezTo>
                      <a:pt x="67" y="66"/>
                      <a:pt x="67" y="66"/>
                      <a:pt x="67" y="66"/>
                    </a:cubicBezTo>
                    <a:cubicBezTo>
                      <a:pt x="69" y="61"/>
                      <a:pt x="71" y="57"/>
                      <a:pt x="75" y="52"/>
                    </a:cubicBezTo>
                    <a:cubicBezTo>
                      <a:pt x="108" y="0"/>
                      <a:pt x="108" y="0"/>
                      <a:pt x="108" y="0"/>
                    </a:cubicBezTo>
                    <a:cubicBezTo>
                      <a:pt x="130" y="0"/>
                      <a:pt x="130" y="0"/>
                      <a:pt x="130" y="0"/>
                    </a:cubicBezTo>
                    <a:cubicBezTo>
                      <a:pt x="130" y="131"/>
                      <a:pt x="130" y="131"/>
                      <a:pt x="130" y="131"/>
                    </a:cubicBezTo>
                    <a:lnTo>
                      <a:pt x="106" y="131"/>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05" name="Freeform 13"/>
              <p:cNvSpPr>
                <a:spLocks/>
              </p:cNvSpPr>
              <p:nvPr userDrawn="1"/>
            </p:nvSpPr>
            <p:spPr bwMode="auto">
              <a:xfrm>
                <a:off x="7665803" y="4864376"/>
                <a:ext cx="100854" cy="148389"/>
              </a:xfrm>
              <a:custGeom>
                <a:avLst/>
                <a:gdLst>
                  <a:gd name="T0" fmla="*/ 133 w 133"/>
                  <a:gd name="T1" fmla="*/ 23 h 204"/>
                  <a:gd name="T2" fmla="*/ 132 w 133"/>
                  <a:gd name="T3" fmla="*/ 22 h 204"/>
                  <a:gd name="T4" fmla="*/ 65 w 133"/>
                  <a:gd name="T5" fmla="*/ 20 h 204"/>
                  <a:gd name="T6" fmla="*/ 52 w 133"/>
                  <a:gd name="T7" fmla="*/ 52 h 204"/>
                  <a:gd name="T8" fmla="*/ 20 w 133"/>
                  <a:gd name="T9" fmla="*/ 65 h 204"/>
                  <a:gd name="T10" fmla="*/ 22 w 133"/>
                  <a:gd name="T11" fmla="*/ 132 h 204"/>
                  <a:gd name="T12" fmla="*/ 95 w 133"/>
                  <a:gd name="T13" fmla="*/ 204 h 204"/>
                  <a:gd name="T14" fmla="*/ 117 w 133"/>
                  <a:gd name="T15" fmla="*/ 182 h 204"/>
                  <a:gd name="T16" fmla="*/ 44 w 133"/>
                  <a:gd name="T17" fmla="*/ 110 h 204"/>
                  <a:gd name="T18" fmla="*/ 42 w 133"/>
                  <a:gd name="T19" fmla="*/ 86 h 204"/>
                  <a:gd name="T20" fmla="*/ 66 w 133"/>
                  <a:gd name="T21" fmla="*/ 88 h 204"/>
                  <a:gd name="T22" fmla="*/ 133 w 133"/>
                  <a:gd name="T23" fmla="*/ 155 h 204"/>
                  <a:gd name="T24" fmla="*/ 133 w 133"/>
                  <a:gd name="T25" fmla="*/ 111 h 204"/>
                  <a:gd name="T26" fmla="*/ 88 w 133"/>
                  <a:gd name="T27" fmla="*/ 66 h 204"/>
                  <a:gd name="T28" fmla="*/ 86 w 133"/>
                  <a:gd name="T29" fmla="*/ 42 h 204"/>
                  <a:gd name="T30" fmla="*/ 110 w 133"/>
                  <a:gd name="T31" fmla="*/ 44 h 204"/>
                  <a:gd name="T32" fmla="*/ 133 w 133"/>
                  <a:gd name="T33" fmla="*/ 66 h 204"/>
                  <a:gd name="T34" fmla="*/ 133 w 133"/>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204">
                    <a:moveTo>
                      <a:pt x="133" y="23"/>
                    </a:moveTo>
                    <a:cubicBezTo>
                      <a:pt x="132" y="22"/>
                      <a:pt x="132" y="22"/>
                      <a:pt x="132" y="22"/>
                    </a:cubicBezTo>
                    <a:cubicBezTo>
                      <a:pt x="110" y="0"/>
                      <a:pt x="82" y="2"/>
                      <a:pt x="65" y="20"/>
                    </a:cubicBezTo>
                    <a:cubicBezTo>
                      <a:pt x="53" y="32"/>
                      <a:pt x="51" y="46"/>
                      <a:pt x="52" y="52"/>
                    </a:cubicBezTo>
                    <a:cubicBezTo>
                      <a:pt x="47" y="51"/>
                      <a:pt x="32" y="52"/>
                      <a:pt x="20" y="65"/>
                    </a:cubicBezTo>
                    <a:cubicBezTo>
                      <a:pt x="3" y="82"/>
                      <a:pt x="0" y="110"/>
                      <a:pt x="22" y="132"/>
                    </a:cubicBezTo>
                    <a:cubicBezTo>
                      <a:pt x="95" y="204"/>
                      <a:pt x="95" y="204"/>
                      <a:pt x="95" y="204"/>
                    </a:cubicBezTo>
                    <a:cubicBezTo>
                      <a:pt x="117" y="182"/>
                      <a:pt x="117" y="182"/>
                      <a:pt x="117" y="182"/>
                    </a:cubicBezTo>
                    <a:cubicBezTo>
                      <a:pt x="44" y="110"/>
                      <a:pt x="44" y="110"/>
                      <a:pt x="44" y="110"/>
                    </a:cubicBezTo>
                    <a:cubicBezTo>
                      <a:pt x="35" y="101"/>
                      <a:pt x="36" y="91"/>
                      <a:pt x="42" y="86"/>
                    </a:cubicBezTo>
                    <a:cubicBezTo>
                      <a:pt x="47" y="80"/>
                      <a:pt x="58" y="79"/>
                      <a:pt x="66" y="88"/>
                    </a:cubicBezTo>
                    <a:cubicBezTo>
                      <a:pt x="133" y="155"/>
                      <a:pt x="133" y="155"/>
                      <a:pt x="133" y="155"/>
                    </a:cubicBezTo>
                    <a:cubicBezTo>
                      <a:pt x="133" y="111"/>
                      <a:pt x="133" y="111"/>
                      <a:pt x="133" y="111"/>
                    </a:cubicBezTo>
                    <a:cubicBezTo>
                      <a:pt x="88" y="66"/>
                      <a:pt x="88" y="66"/>
                      <a:pt x="88" y="66"/>
                    </a:cubicBezTo>
                    <a:cubicBezTo>
                      <a:pt x="80" y="57"/>
                      <a:pt x="80" y="47"/>
                      <a:pt x="86" y="42"/>
                    </a:cubicBezTo>
                    <a:cubicBezTo>
                      <a:pt x="92" y="36"/>
                      <a:pt x="102" y="35"/>
                      <a:pt x="110" y="44"/>
                    </a:cubicBezTo>
                    <a:cubicBezTo>
                      <a:pt x="133" y="66"/>
                      <a:pt x="133" y="66"/>
                      <a:pt x="133" y="66"/>
                    </a:cubicBezTo>
                    <a:lnTo>
                      <a:pt x="133"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06" name="Freeform 14"/>
              <p:cNvSpPr>
                <a:spLocks noEditPoints="1"/>
              </p:cNvSpPr>
              <p:nvPr userDrawn="1"/>
            </p:nvSpPr>
            <p:spPr bwMode="auto">
              <a:xfrm>
                <a:off x="8023287" y="4895470"/>
                <a:ext cx="20556" cy="93282"/>
              </a:xfrm>
              <a:custGeom>
                <a:avLst/>
                <a:gdLst>
                  <a:gd name="T0" fmla="*/ 14 w 27"/>
                  <a:gd name="T1" fmla="*/ 26 h 128"/>
                  <a:gd name="T2" fmla="*/ 0 w 27"/>
                  <a:gd name="T3" fmla="*/ 13 h 128"/>
                  <a:gd name="T4" fmla="*/ 14 w 27"/>
                  <a:gd name="T5" fmla="*/ 0 h 128"/>
                  <a:gd name="T6" fmla="*/ 27 w 27"/>
                  <a:gd name="T7" fmla="*/ 13 h 128"/>
                  <a:gd name="T8" fmla="*/ 14 w 27"/>
                  <a:gd name="T9" fmla="*/ 26 h 128"/>
                  <a:gd name="T10" fmla="*/ 3 w 27"/>
                  <a:gd name="T11" fmla="*/ 128 h 128"/>
                  <a:gd name="T12" fmla="*/ 3 w 27"/>
                  <a:gd name="T13" fmla="*/ 40 h 128"/>
                  <a:gd name="T14" fmla="*/ 25 w 27"/>
                  <a:gd name="T15" fmla="*/ 40 h 128"/>
                  <a:gd name="T16" fmla="*/ 25 w 27"/>
                  <a:gd name="T17" fmla="*/ 112 h 128"/>
                  <a:gd name="T18" fmla="*/ 3 w 27"/>
                  <a:gd name="T1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128">
                    <a:moveTo>
                      <a:pt x="14" y="26"/>
                    </a:moveTo>
                    <a:cubicBezTo>
                      <a:pt x="6" y="26"/>
                      <a:pt x="0" y="20"/>
                      <a:pt x="0" y="13"/>
                    </a:cubicBezTo>
                    <a:cubicBezTo>
                      <a:pt x="0" y="6"/>
                      <a:pt x="6" y="0"/>
                      <a:pt x="14" y="0"/>
                    </a:cubicBezTo>
                    <a:cubicBezTo>
                      <a:pt x="21" y="0"/>
                      <a:pt x="27" y="5"/>
                      <a:pt x="27" y="13"/>
                    </a:cubicBezTo>
                    <a:cubicBezTo>
                      <a:pt x="27" y="20"/>
                      <a:pt x="21" y="26"/>
                      <a:pt x="14" y="26"/>
                    </a:cubicBezTo>
                    <a:close/>
                    <a:moveTo>
                      <a:pt x="3" y="128"/>
                    </a:moveTo>
                    <a:cubicBezTo>
                      <a:pt x="3" y="40"/>
                      <a:pt x="3" y="40"/>
                      <a:pt x="3" y="40"/>
                    </a:cubicBezTo>
                    <a:cubicBezTo>
                      <a:pt x="25" y="40"/>
                      <a:pt x="25" y="40"/>
                      <a:pt x="25" y="40"/>
                    </a:cubicBezTo>
                    <a:cubicBezTo>
                      <a:pt x="25" y="40"/>
                      <a:pt x="25" y="95"/>
                      <a:pt x="25" y="112"/>
                    </a:cubicBezTo>
                    <a:cubicBezTo>
                      <a:pt x="25" y="128"/>
                      <a:pt x="3" y="128"/>
                      <a:pt x="3" y="1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07" name="Freeform 15"/>
              <p:cNvSpPr>
                <a:spLocks/>
              </p:cNvSpPr>
              <p:nvPr userDrawn="1"/>
            </p:nvSpPr>
            <p:spPr bwMode="auto">
              <a:xfrm>
                <a:off x="8615239" y="4924717"/>
                <a:ext cx="103744" cy="66806"/>
              </a:xfrm>
              <a:custGeom>
                <a:avLst/>
                <a:gdLst>
                  <a:gd name="T0" fmla="*/ 111 w 137"/>
                  <a:gd name="T1" fmla="*/ 72 h 92"/>
                  <a:gd name="T2" fmla="*/ 88 w 137"/>
                  <a:gd name="T3" fmla="*/ 88 h 92"/>
                  <a:gd name="T4" fmla="*/ 68 w 137"/>
                  <a:gd name="T5" fmla="*/ 28 h 92"/>
                  <a:gd name="T6" fmla="*/ 68 w 137"/>
                  <a:gd name="T7" fmla="*/ 28 h 92"/>
                  <a:gd name="T8" fmla="*/ 53 w 137"/>
                  <a:gd name="T9" fmla="*/ 72 h 92"/>
                  <a:gd name="T10" fmla="*/ 31 w 137"/>
                  <a:gd name="T11" fmla="*/ 88 h 92"/>
                  <a:gd name="T12" fmla="*/ 0 w 137"/>
                  <a:gd name="T13" fmla="*/ 0 h 92"/>
                  <a:gd name="T14" fmla="*/ 22 w 137"/>
                  <a:gd name="T15" fmla="*/ 0 h 92"/>
                  <a:gd name="T16" fmla="*/ 41 w 137"/>
                  <a:gd name="T17" fmla="*/ 60 h 92"/>
                  <a:gd name="T18" fmla="*/ 41 w 137"/>
                  <a:gd name="T19" fmla="*/ 60 h 92"/>
                  <a:gd name="T20" fmla="*/ 60 w 137"/>
                  <a:gd name="T21" fmla="*/ 0 h 92"/>
                  <a:gd name="T22" fmla="*/ 77 w 137"/>
                  <a:gd name="T23" fmla="*/ 0 h 92"/>
                  <a:gd name="T24" fmla="*/ 97 w 137"/>
                  <a:gd name="T25" fmla="*/ 60 h 92"/>
                  <a:gd name="T26" fmla="*/ 97 w 137"/>
                  <a:gd name="T27" fmla="*/ 60 h 92"/>
                  <a:gd name="T28" fmla="*/ 115 w 137"/>
                  <a:gd name="T29" fmla="*/ 0 h 92"/>
                  <a:gd name="T30" fmla="*/ 137 w 137"/>
                  <a:gd name="T31" fmla="*/ 0 h 92"/>
                  <a:gd name="T32" fmla="*/ 111 w 137"/>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 h="92">
                    <a:moveTo>
                      <a:pt x="111" y="72"/>
                    </a:moveTo>
                    <a:cubicBezTo>
                      <a:pt x="104" y="92"/>
                      <a:pt x="88" y="88"/>
                      <a:pt x="88" y="88"/>
                    </a:cubicBezTo>
                    <a:cubicBezTo>
                      <a:pt x="68" y="28"/>
                      <a:pt x="68" y="28"/>
                      <a:pt x="68" y="28"/>
                    </a:cubicBezTo>
                    <a:cubicBezTo>
                      <a:pt x="68" y="28"/>
                      <a:pt x="68" y="28"/>
                      <a:pt x="68" y="28"/>
                    </a:cubicBezTo>
                    <a:cubicBezTo>
                      <a:pt x="68" y="28"/>
                      <a:pt x="59"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7" y="60"/>
                      <a:pt x="97" y="60"/>
                      <a:pt x="97" y="60"/>
                    </a:cubicBezTo>
                    <a:cubicBezTo>
                      <a:pt x="97" y="60"/>
                      <a:pt x="97" y="60"/>
                      <a:pt x="97" y="60"/>
                    </a:cubicBezTo>
                    <a:cubicBezTo>
                      <a:pt x="115" y="0"/>
                      <a:pt x="115" y="0"/>
                      <a:pt x="115" y="0"/>
                    </a:cubicBezTo>
                    <a:cubicBezTo>
                      <a:pt x="137" y="0"/>
                      <a:pt x="137" y="0"/>
                      <a:pt x="137" y="0"/>
                    </a:cubicBezTo>
                    <a:cubicBezTo>
                      <a:pt x="137"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08" name="Freeform 16"/>
              <p:cNvSpPr>
                <a:spLocks noEditPoints="1"/>
              </p:cNvSpPr>
              <p:nvPr userDrawn="1"/>
            </p:nvSpPr>
            <p:spPr bwMode="auto">
              <a:xfrm>
                <a:off x="8423168" y="4892699"/>
                <a:ext cx="65844" cy="95129"/>
              </a:xfrm>
              <a:custGeom>
                <a:avLst/>
                <a:gdLst>
                  <a:gd name="T0" fmla="*/ 1 w 87"/>
                  <a:gd name="T1" fmla="*/ 0 h 131"/>
                  <a:gd name="T2" fmla="*/ 0 w 87"/>
                  <a:gd name="T3" fmla="*/ 131 h 131"/>
                  <a:gd name="T4" fmla="*/ 41 w 87"/>
                  <a:gd name="T5" fmla="*/ 131 h 131"/>
                  <a:gd name="T6" fmla="*/ 87 w 87"/>
                  <a:gd name="T7" fmla="*/ 92 h 131"/>
                  <a:gd name="T8" fmla="*/ 65 w 87"/>
                  <a:gd name="T9" fmla="*/ 61 h 131"/>
                  <a:gd name="T10" fmla="*/ 62 w 87"/>
                  <a:gd name="T11" fmla="*/ 60 h 131"/>
                  <a:gd name="T12" fmla="*/ 64 w 87"/>
                  <a:gd name="T13" fmla="*/ 59 h 131"/>
                  <a:gd name="T14" fmla="*/ 79 w 87"/>
                  <a:gd name="T15" fmla="*/ 32 h 131"/>
                  <a:gd name="T16" fmla="*/ 42 w 87"/>
                  <a:gd name="T17" fmla="*/ 0 h 131"/>
                  <a:gd name="T18" fmla="*/ 1 w 87"/>
                  <a:gd name="T19" fmla="*/ 0 h 131"/>
                  <a:gd name="T20" fmla="*/ 23 w 87"/>
                  <a:gd name="T21" fmla="*/ 17 h 131"/>
                  <a:gd name="T22" fmla="*/ 36 w 87"/>
                  <a:gd name="T23" fmla="*/ 17 h 131"/>
                  <a:gd name="T24" fmla="*/ 56 w 87"/>
                  <a:gd name="T25" fmla="*/ 35 h 131"/>
                  <a:gd name="T26" fmla="*/ 38 w 87"/>
                  <a:gd name="T27" fmla="*/ 55 h 131"/>
                  <a:gd name="T28" fmla="*/ 22 w 87"/>
                  <a:gd name="T29" fmla="*/ 55 h 131"/>
                  <a:gd name="T30" fmla="*/ 23 w 87"/>
                  <a:gd name="T31" fmla="*/ 17 h 131"/>
                  <a:gd name="T32" fmla="*/ 22 w 87"/>
                  <a:gd name="T33" fmla="*/ 74 h 131"/>
                  <a:gd name="T34" fmla="*/ 40 w 87"/>
                  <a:gd name="T35" fmla="*/ 74 h 131"/>
                  <a:gd name="T36" fmla="*/ 64 w 87"/>
                  <a:gd name="T37" fmla="*/ 92 h 131"/>
                  <a:gd name="T38" fmla="*/ 39 w 87"/>
                  <a:gd name="T39" fmla="*/ 113 h 131"/>
                  <a:gd name="T40" fmla="*/ 22 w 87"/>
                  <a:gd name="T41" fmla="*/ 113 h 131"/>
                  <a:gd name="T42" fmla="*/ 22 w 87"/>
                  <a:gd name="T43" fmla="*/ 7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131">
                    <a:moveTo>
                      <a:pt x="1" y="0"/>
                    </a:moveTo>
                    <a:cubicBezTo>
                      <a:pt x="1" y="3"/>
                      <a:pt x="0" y="129"/>
                      <a:pt x="0" y="131"/>
                    </a:cubicBezTo>
                    <a:cubicBezTo>
                      <a:pt x="2" y="131"/>
                      <a:pt x="41" y="131"/>
                      <a:pt x="41" y="131"/>
                    </a:cubicBezTo>
                    <a:cubicBezTo>
                      <a:pt x="73" y="131"/>
                      <a:pt x="87" y="111"/>
                      <a:pt x="87" y="92"/>
                    </a:cubicBezTo>
                    <a:cubicBezTo>
                      <a:pt x="87" y="77"/>
                      <a:pt x="79" y="65"/>
                      <a:pt x="65" y="61"/>
                    </a:cubicBezTo>
                    <a:cubicBezTo>
                      <a:pt x="62" y="60"/>
                      <a:pt x="62" y="60"/>
                      <a:pt x="62" y="60"/>
                    </a:cubicBezTo>
                    <a:cubicBezTo>
                      <a:pt x="64" y="59"/>
                      <a:pt x="64" y="59"/>
                      <a:pt x="64" y="59"/>
                    </a:cubicBezTo>
                    <a:cubicBezTo>
                      <a:pt x="74" y="54"/>
                      <a:pt x="79" y="44"/>
                      <a:pt x="79" y="32"/>
                    </a:cubicBezTo>
                    <a:cubicBezTo>
                      <a:pt x="79" y="17"/>
                      <a:pt x="68" y="0"/>
                      <a:pt x="42" y="0"/>
                    </a:cubicBezTo>
                    <a:cubicBezTo>
                      <a:pt x="42" y="0"/>
                      <a:pt x="3" y="0"/>
                      <a:pt x="1" y="0"/>
                    </a:cubicBezTo>
                    <a:close/>
                    <a:moveTo>
                      <a:pt x="23" y="17"/>
                    </a:moveTo>
                    <a:cubicBezTo>
                      <a:pt x="36" y="17"/>
                      <a:pt x="36" y="17"/>
                      <a:pt x="36" y="17"/>
                    </a:cubicBezTo>
                    <a:cubicBezTo>
                      <a:pt x="49" y="17"/>
                      <a:pt x="56" y="24"/>
                      <a:pt x="56" y="35"/>
                    </a:cubicBezTo>
                    <a:cubicBezTo>
                      <a:pt x="56" y="47"/>
                      <a:pt x="47" y="55"/>
                      <a:pt x="38" y="55"/>
                    </a:cubicBezTo>
                    <a:cubicBezTo>
                      <a:pt x="22" y="55"/>
                      <a:pt x="22" y="55"/>
                      <a:pt x="22" y="55"/>
                    </a:cubicBezTo>
                    <a:lnTo>
                      <a:pt x="23" y="17"/>
                    </a:lnTo>
                    <a:close/>
                    <a:moveTo>
                      <a:pt x="22" y="74"/>
                    </a:moveTo>
                    <a:cubicBezTo>
                      <a:pt x="40" y="74"/>
                      <a:pt x="40" y="74"/>
                      <a:pt x="40" y="74"/>
                    </a:cubicBezTo>
                    <a:cubicBezTo>
                      <a:pt x="55" y="74"/>
                      <a:pt x="64" y="81"/>
                      <a:pt x="64" y="92"/>
                    </a:cubicBezTo>
                    <a:cubicBezTo>
                      <a:pt x="64" y="105"/>
                      <a:pt x="55" y="113"/>
                      <a:pt x="39" y="113"/>
                    </a:cubicBezTo>
                    <a:cubicBezTo>
                      <a:pt x="22" y="113"/>
                      <a:pt x="22" y="113"/>
                      <a:pt x="22" y="113"/>
                    </a:cubicBezTo>
                    <a:lnTo>
                      <a:pt x="22" y="74"/>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09" name="Freeform 17"/>
              <p:cNvSpPr>
                <a:spLocks noEditPoints="1"/>
              </p:cNvSpPr>
              <p:nvPr userDrawn="1"/>
            </p:nvSpPr>
            <p:spPr bwMode="auto">
              <a:xfrm>
                <a:off x="8546184" y="4923177"/>
                <a:ext cx="66486" cy="66190"/>
              </a:xfrm>
              <a:custGeom>
                <a:avLst/>
                <a:gdLst>
                  <a:gd name="T0" fmla="*/ 75 w 88"/>
                  <a:gd name="T1" fmla="*/ 78 h 91"/>
                  <a:gd name="T2" fmla="*/ 44 w 88"/>
                  <a:gd name="T3" fmla="*/ 91 h 91"/>
                  <a:gd name="T4" fmla="*/ 14 w 88"/>
                  <a:gd name="T5" fmla="*/ 80 h 91"/>
                  <a:gd name="T6" fmla="*/ 0 w 88"/>
                  <a:gd name="T7" fmla="*/ 46 h 91"/>
                  <a:gd name="T8" fmla="*/ 13 w 88"/>
                  <a:gd name="T9" fmla="*/ 12 h 91"/>
                  <a:gd name="T10" fmla="*/ 44 w 88"/>
                  <a:gd name="T11" fmla="*/ 0 h 91"/>
                  <a:gd name="T12" fmla="*/ 76 w 88"/>
                  <a:gd name="T13" fmla="*/ 12 h 91"/>
                  <a:gd name="T14" fmla="*/ 88 w 88"/>
                  <a:gd name="T15" fmla="*/ 45 h 91"/>
                  <a:gd name="T16" fmla="*/ 75 w 88"/>
                  <a:gd name="T17" fmla="*/ 78 h 91"/>
                  <a:gd name="T18" fmla="*/ 44 w 88"/>
                  <a:gd name="T19" fmla="*/ 17 h 91"/>
                  <a:gd name="T20" fmla="*/ 23 w 88"/>
                  <a:gd name="T21" fmla="*/ 45 h 91"/>
                  <a:gd name="T22" fmla="*/ 44 w 88"/>
                  <a:gd name="T23" fmla="*/ 73 h 91"/>
                  <a:gd name="T24" fmla="*/ 65 w 88"/>
                  <a:gd name="T25" fmla="*/ 45 h 91"/>
                  <a:gd name="T26" fmla="*/ 44 w 88"/>
                  <a:gd name="T27"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91">
                    <a:moveTo>
                      <a:pt x="75" y="78"/>
                    </a:moveTo>
                    <a:cubicBezTo>
                      <a:pt x="68" y="86"/>
                      <a:pt x="57" y="91"/>
                      <a:pt x="44" y="91"/>
                    </a:cubicBezTo>
                    <a:cubicBezTo>
                      <a:pt x="32" y="91"/>
                      <a:pt x="21" y="87"/>
                      <a:pt x="14" y="80"/>
                    </a:cubicBezTo>
                    <a:cubicBezTo>
                      <a:pt x="5" y="72"/>
                      <a:pt x="0" y="60"/>
                      <a:pt x="0" y="46"/>
                    </a:cubicBezTo>
                    <a:cubicBezTo>
                      <a:pt x="0" y="32"/>
                      <a:pt x="5" y="20"/>
                      <a:pt x="13" y="12"/>
                    </a:cubicBezTo>
                    <a:cubicBezTo>
                      <a:pt x="21" y="4"/>
                      <a:pt x="31" y="0"/>
                      <a:pt x="44" y="0"/>
                    </a:cubicBezTo>
                    <a:cubicBezTo>
                      <a:pt x="57" y="0"/>
                      <a:pt x="68" y="4"/>
                      <a:pt x="76" y="12"/>
                    </a:cubicBezTo>
                    <a:cubicBezTo>
                      <a:pt x="84" y="20"/>
                      <a:pt x="88" y="32"/>
                      <a:pt x="88" y="45"/>
                    </a:cubicBezTo>
                    <a:cubicBezTo>
                      <a:pt x="88" y="58"/>
                      <a:pt x="83" y="70"/>
                      <a:pt x="75" y="78"/>
                    </a:cubicBezTo>
                    <a:close/>
                    <a:moveTo>
                      <a:pt x="44" y="17"/>
                    </a:moveTo>
                    <a:cubicBezTo>
                      <a:pt x="30" y="17"/>
                      <a:pt x="23" y="29"/>
                      <a:pt x="23" y="45"/>
                    </a:cubicBezTo>
                    <a:cubicBezTo>
                      <a:pt x="23" y="62"/>
                      <a:pt x="31" y="73"/>
                      <a:pt x="44" y="73"/>
                    </a:cubicBezTo>
                    <a:cubicBezTo>
                      <a:pt x="58" y="73"/>
                      <a:pt x="65" y="61"/>
                      <a:pt x="65" y="45"/>
                    </a:cubicBezTo>
                    <a:cubicBezTo>
                      <a:pt x="65" y="28"/>
                      <a:pt x="57" y="17"/>
                      <a:pt x="44" y="1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10" name="Freeform 18"/>
              <p:cNvSpPr>
                <a:spLocks/>
              </p:cNvSpPr>
              <p:nvPr userDrawn="1"/>
            </p:nvSpPr>
            <p:spPr bwMode="auto">
              <a:xfrm>
                <a:off x="8728298" y="4923177"/>
                <a:ext cx="60705" cy="65574"/>
              </a:xfrm>
              <a:custGeom>
                <a:avLst/>
                <a:gdLst>
                  <a:gd name="T0" fmla="*/ 58 w 80"/>
                  <a:gd name="T1" fmla="*/ 90 h 90"/>
                  <a:gd name="T2" fmla="*/ 58 w 80"/>
                  <a:gd name="T3" fmla="*/ 38 h 90"/>
                  <a:gd name="T4" fmla="*/ 45 w 80"/>
                  <a:gd name="T5" fmla="*/ 19 h 90"/>
                  <a:gd name="T6" fmla="*/ 23 w 80"/>
                  <a:gd name="T7" fmla="*/ 28 h 90"/>
                  <a:gd name="T8" fmla="*/ 23 w 80"/>
                  <a:gd name="T9" fmla="*/ 74 h 90"/>
                  <a:gd name="T10" fmla="*/ 0 w 80"/>
                  <a:gd name="T11" fmla="*/ 90 h 90"/>
                  <a:gd name="T12" fmla="*/ 0 w 80"/>
                  <a:gd name="T13" fmla="*/ 2 h 90"/>
                  <a:gd name="T14" fmla="*/ 19 w 80"/>
                  <a:gd name="T15" fmla="*/ 2 h 90"/>
                  <a:gd name="T16" fmla="*/ 22 w 80"/>
                  <a:gd name="T17" fmla="*/ 11 h 90"/>
                  <a:gd name="T18" fmla="*/ 52 w 80"/>
                  <a:gd name="T19" fmla="*/ 0 h 90"/>
                  <a:gd name="T20" fmla="*/ 80 w 80"/>
                  <a:gd name="T21" fmla="*/ 31 h 90"/>
                  <a:gd name="T22" fmla="*/ 80 w 80"/>
                  <a:gd name="T23" fmla="*/ 74 h 90"/>
                  <a:gd name="T24" fmla="*/ 58 w 80"/>
                  <a:gd name="T2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90">
                    <a:moveTo>
                      <a:pt x="58" y="90"/>
                    </a:moveTo>
                    <a:cubicBezTo>
                      <a:pt x="58" y="38"/>
                      <a:pt x="58" y="38"/>
                      <a:pt x="58" y="38"/>
                    </a:cubicBezTo>
                    <a:cubicBezTo>
                      <a:pt x="58" y="29"/>
                      <a:pt x="56" y="19"/>
                      <a:pt x="45" y="19"/>
                    </a:cubicBezTo>
                    <a:cubicBezTo>
                      <a:pt x="37" y="19"/>
                      <a:pt x="29" y="23"/>
                      <a:pt x="23" y="28"/>
                    </a:cubicBezTo>
                    <a:cubicBezTo>
                      <a:pt x="23" y="28"/>
                      <a:pt x="23" y="57"/>
                      <a:pt x="23" y="74"/>
                    </a:cubicBezTo>
                    <a:cubicBezTo>
                      <a:pt x="23" y="90"/>
                      <a:pt x="0" y="90"/>
                      <a:pt x="0" y="90"/>
                    </a:cubicBezTo>
                    <a:cubicBezTo>
                      <a:pt x="0" y="2"/>
                      <a:pt x="0" y="2"/>
                      <a:pt x="0" y="2"/>
                    </a:cubicBezTo>
                    <a:cubicBezTo>
                      <a:pt x="19" y="2"/>
                      <a:pt x="19" y="2"/>
                      <a:pt x="19" y="2"/>
                    </a:cubicBezTo>
                    <a:cubicBezTo>
                      <a:pt x="22" y="11"/>
                      <a:pt x="22" y="11"/>
                      <a:pt x="22" y="11"/>
                    </a:cubicBezTo>
                    <a:cubicBezTo>
                      <a:pt x="31" y="4"/>
                      <a:pt x="40" y="0"/>
                      <a:pt x="52" y="0"/>
                    </a:cubicBezTo>
                    <a:cubicBezTo>
                      <a:pt x="65" y="0"/>
                      <a:pt x="80" y="8"/>
                      <a:pt x="80" y="31"/>
                    </a:cubicBezTo>
                    <a:cubicBezTo>
                      <a:pt x="80" y="31"/>
                      <a:pt x="80" y="57"/>
                      <a:pt x="80" y="74"/>
                    </a:cubicBezTo>
                    <a:cubicBezTo>
                      <a:pt x="80" y="90"/>
                      <a:pt x="58" y="90"/>
                      <a:pt x="58" y="9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11" name="Freeform 19"/>
              <p:cNvSpPr>
                <a:spLocks/>
              </p:cNvSpPr>
              <p:nvPr userDrawn="1"/>
            </p:nvSpPr>
            <p:spPr bwMode="auto">
              <a:xfrm>
                <a:off x="8501217" y="4923177"/>
                <a:ext cx="43361" cy="65574"/>
              </a:xfrm>
              <a:custGeom>
                <a:avLst/>
                <a:gdLst>
                  <a:gd name="T0" fmla="*/ 49 w 57"/>
                  <a:gd name="T1" fmla="*/ 22 h 90"/>
                  <a:gd name="T2" fmla="*/ 39 w 57"/>
                  <a:gd name="T3" fmla="*/ 20 h 90"/>
                  <a:gd name="T4" fmla="*/ 22 w 57"/>
                  <a:gd name="T5" fmla="*/ 27 h 90"/>
                  <a:gd name="T6" fmla="*/ 22 w 57"/>
                  <a:gd name="T7" fmla="*/ 74 h 90"/>
                  <a:gd name="T8" fmla="*/ 0 w 57"/>
                  <a:gd name="T9" fmla="*/ 90 h 90"/>
                  <a:gd name="T10" fmla="*/ 0 w 57"/>
                  <a:gd name="T11" fmla="*/ 2 h 90"/>
                  <a:gd name="T12" fmla="*/ 19 w 57"/>
                  <a:gd name="T13" fmla="*/ 2 h 90"/>
                  <a:gd name="T14" fmla="*/ 21 w 57"/>
                  <a:gd name="T15" fmla="*/ 11 h 90"/>
                  <a:gd name="T16" fmla="*/ 45 w 57"/>
                  <a:gd name="T17" fmla="*/ 0 h 90"/>
                  <a:gd name="T18" fmla="*/ 57 w 57"/>
                  <a:gd name="T19" fmla="*/ 4 h 90"/>
                  <a:gd name="T20" fmla="*/ 49 w 57"/>
                  <a:gd name="T21" fmla="*/ 2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0">
                    <a:moveTo>
                      <a:pt x="49" y="22"/>
                    </a:moveTo>
                    <a:cubicBezTo>
                      <a:pt x="46" y="20"/>
                      <a:pt x="42" y="20"/>
                      <a:pt x="39" y="20"/>
                    </a:cubicBezTo>
                    <a:cubicBezTo>
                      <a:pt x="34" y="20"/>
                      <a:pt x="28" y="22"/>
                      <a:pt x="22" y="27"/>
                    </a:cubicBezTo>
                    <a:cubicBezTo>
                      <a:pt x="22" y="27"/>
                      <a:pt x="22" y="57"/>
                      <a:pt x="22" y="74"/>
                    </a:cubicBezTo>
                    <a:cubicBezTo>
                      <a:pt x="22" y="90"/>
                      <a:pt x="0" y="90"/>
                      <a:pt x="0" y="90"/>
                    </a:cubicBezTo>
                    <a:cubicBezTo>
                      <a:pt x="0" y="2"/>
                      <a:pt x="0" y="2"/>
                      <a:pt x="0" y="2"/>
                    </a:cubicBezTo>
                    <a:cubicBezTo>
                      <a:pt x="19" y="2"/>
                      <a:pt x="19" y="2"/>
                      <a:pt x="19"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12" name="Freeform 20"/>
              <p:cNvSpPr>
                <a:spLocks/>
              </p:cNvSpPr>
              <p:nvPr userDrawn="1"/>
            </p:nvSpPr>
            <p:spPr bwMode="auto">
              <a:xfrm>
                <a:off x="7766657" y="4864376"/>
                <a:ext cx="100211" cy="148389"/>
              </a:xfrm>
              <a:custGeom>
                <a:avLst/>
                <a:gdLst>
                  <a:gd name="T0" fmla="*/ 0 w 132"/>
                  <a:gd name="T1" fmla="*/ 23 h 204"/>
                  <a:gd name="T2" fmla="*/ 1 w 132"/>
                  <a:gd name="T3" fmla="*/ 22 h 204"/>
                  <a:gd name="T4" fmla="*/ 67 w 132"/>
                  <a:gd name="T5" fmla="*/ 20 h 204"/>
                  <a:gd name="T6" fmla="*/ 80 w 132"/>
                  <a:gd name="T7" fmla="*/ 52 h 204"/>
                  <a:gd name="T8" fmla="*/ 113 w 132"/>
                  <a:gd name="T9" fmla="*/ 65 h 204"/>
                  <a:gd name="T10" fmla="*/ 111 w 132"/>
                  <a:gd name="T11" fmla="*/ 132 h 204"/>
                  <a:gd name="T12" fmla="*/ 38 w 132"/>
                  <a:gd name="T13" fmla="*/ 204 h 204"/>
                  <a:gd name="T14" fmla="*/ 16 w 132"/>
                  <a:gd name="T15" fmla="*/ 182 h 204"/>
                  <a:gd name="T16" fmla="*/ 88 w 132"/>
                  <a:gd name="T17" fmla="*/ 110 h 204"/>
                  <a:gd name="T18" fmla="*/ 91 w 132"/>
                  <a:gd name="T19" fmla="*/ 86 h 204"/>
                  <a:gd name="T20" fmla="*/ 67 w 132"/>
                  <a:gd name="T21" fmla="*/ 88 h 204"/>
                  <a:gd name="T22" fmla="*/ 0 w 132"/>
                  <a:gd name="T23" fmla="*/ 155 h 204"/>
                  <a:gd name="T24" fmla="*/ 0 w 132"/>
                  <a:gd name="T25" fmla="*/ 111 h 204"/>
                  <a:gd name="T26" fmla="*/ 45 w 132"/>
                  <a:gd name="T27" fmla="*/ 66 h 204"/>
                  <a:gd name="T28" fmla="*/ 46 w 132"/>
                  <a:gd name="T29" fmla="*/ 42 h 204"/>
                  <a:gd name="T30" fmla="*/ 22 w 132"/>
                  <a:gd name="T31" fmla="*/ 44 h 204"/>
                  <a:gd name="T32" fmla="*/ 0 w 132"/>
                  <a:gd name="T33" fmla="*/ 66 h 204"/>
                  <a:gd name="T34" fmla="*/ 0 w 132"/>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204">
                    <a:moveTo>
                      <a:pt x="0" y="23"/>
                    </a:moveTo>
                    <a:cubicBezTo>
                      <a:pt x="1" y="22"/>
                      <a:pt x="1" y="22"/>
                      <a:pt x="1" y="22"/>
                    </a:cubicBezTo>
                    <a:cubicBezTo>
                      <a:pt x="23" y="0"/>
                      <a:pt x="50" y="2"/>
                      <a:pt x="67" y="20"/>
                    </a:cubicBezTo>
                    <a:cubicBezTo>
                      <a:pt x="80" y="32"/>
                      <a:pt x="81" y="46"/>
                      <a:pt x="80" y="52"/>
                    </a:cubicBezTo>
                    <a:cubicBezTo>
                      <a:pt x="86" y="51"/>
                      <a:pt x="100" y="52"/>
                      <a:pt x="113" y="65"/>
                    </a:cubicBezTo>
                    <a:cubicBezTo>
                      <a:pt x="130" y="82"/>
                      <a:pt x="132" y="110"/>
                      <a:pt x="111" y="132"/>
                    </a:cubicBezTo>
                    <a:cubicBezTo>
                      <a:pt x="38" y="204"/>
                      <a:pt x="38" y="204"/>
                      <a:pt x="38" y="204"/>
                    </a:cubicBezTo>
                    <a:cubicBezTo>
                      <a:pt x="16" y="182"/>
                      <a:pt x="16" y="182"/>
                      <a:pt x="16" y="182"/>
                    </a:cubicBezTo>
                    <a:cubicBezTo>
                      <a:pt x="88" y="110"/>
                      <a:pt x="88" y="110"/>
                      <a:pt x="88" y="110"/>
                    </a:cubicBezTo>
                    <a:cubicBezTo>
                      <a:pt x="97" y="101"/>
                      <a:pt x="96" y="91"/>
                      <a:pt x="91" y="86"/>
                    </a:cubicBezTo>
                    <a:cubicBezTo>
                      <a:pt x="85" y="80"/>
                      <a:pt x="75" y="79"/>
                      <a:pt x="67" y="88"/>
                    </a:cubicBezTo>
                    <a:cubicBezTo>
                      <a:pt x="0" y="155"/>
                      <a:pt x="0" y="155"/>
                      <a:pt x="0" y="155"/>
                    </a:cubicBezTo>
                    <a:cubicBezTo>
                      <a:pt x="0" y="111"/>
                      <a:pt x="0" y="111"/>
                      <a:pt x="0" y="111"/>
                    </a:cubicBezTo>
                    <a:cubicBezTo>
                      <a:pt x="45" y="66"/>
                      <a:pt x="45" y="66"/>
                      <a:pt x="45" y="66"/>
                    </a:cubicBezTo>
                    <a:cubicBezTo>
                      <a:pt x="53" y="57"/>
                      <a:pt x="52" y="47"/>
                      <a:pt x="46" y="42"/>
                    </a:cubicBezTo>
                    <a:cubicBezTo>
                      <a:pt x="41" y="36"/>
                      <a:pt x="31" y="35"/>
                      <a:pt x="22" y="44"/>
                    </a:cubicBezTo>
                    <a:cubicBezTo>
                      <a:pt x="0" y="66"/>
                      <a:pt x="0" y="66"/>
                      <a:pt x="0" y="66"/>
                    </a:cubicBezTo>
                    <a:lnTo>
                      <a:pt x="0"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grpSp>
      <p:cxnSp>
        <p:nvCxnSpPr>
          <p:cNvPr id="32" name="Straight Connector 31"/>
          <p:cNvCxnSpPr/>
          <p:nvPr userDrawn="1"/>
        </p:nvCxnSpPr>
        <p:spPr>
          <a:xfrm>
            <a:off x="343365" y="470176"/>
            <a:ext cx="8460000" cy="0"/>
          </a:xfrm>
          <a:prstGeom prst="line">
            <a:avLst/>
          </a:prstGeom>
          <a:ln w="6350" cmpd="sng">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343365" y="4801146"/>
            <a:ext cx="8460000" cy="0"/>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sp>
        <p:nvSpPr>
          <p:cNvPr id="67"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rgbClr val="FFFFFF"/>
                </a:solidFill>
                <a:latin typeface="+mn-lt"/>
              </a:defRPr>
            </a:lvl1pPr>
          </a:lstStyle>
          <a:p>
            <a:fld id="{19AB4E72-7858-48F1-A40D-12FF09E4BFB8}" type="slidenum">
              <a:rPr lang="en-GB" smtClean="0"/>
              <a:pPr/>
              <a:t>‹Nº›</a:t>
            </a:fld>
            <a:endParaRPr lang="en-GB"/>
          </a:p>
        </p:txBody>
      </p:sp>
      <p:sp>
        <p:nvSpPr>
          <p:cNvPr id="36" name="Title 1"/>
          <p:cNvSpPr>
            <a:spLocks noGrp="1"/>
          </p:cNvSpPr>
          <p:nvPr>
            <p:ph type="ctrTitle" hasCustomPrompt="1"/>
          </p:nvPr>
        </p:nvSpPr>
        <p:spPr>
          <a:xfrm>
            <a:off x="343365" y="2867487"/>
            <a:ext cx="8460000" cy="443198"/>
          </a:xfrm>
          <a:prstGeom prst="rect">
            <a:avLst/>
          </a:prstGeom>
        </p:spPr>
        <p:txBody>
          <a:bodyPr lIns="0" tIns="0" rIns="0" bIns="0" anchor="b"/>
          <a:lstStyle>
            <a:lvl1pPr>
              <a:lnSpc>
                <a:spcPct val="90000"/>
              </a:lnSpc>
              <a:defRPr sz="3200" b="0">
                <a:solidFill>
                  <a:schemeClr val="bg1"/>
                </a:solidFill>
              </a:defRPr>
            </a:lvl1pPr>
          </a:lstStyle>
          <a:p>
            <a:r>
              <a:rPr lang="en-US" dirty="0" smtClean="0"/>
              <a:t>Click to edit Master title Style</a:t>
            </a:r>
            <a:endParaRPr lang="en-US" dirty="0"/>
          </a:p>
        </p:txBody>
      </p:sp>
      <p:sp>
        <p:nvSpPr>
          <p:cNvPr id="37" name="Subtitle 2"/>
          <p:cNvSpPr>
            <a:spLocks noGrp="1"/>
          </p:cNvSpPr>
          <p:nvPr>
            <p:ph type="subTitle" idx="1" hasCustomPrompt="1"/>
          </p:nvPr>
        </p:nvSpPr>
        <p:spPr>
          <a:xfrm>
            <a:off x="343364" y="3474100"/>
            <a:ext cx="8460000" cy="202165"/>
          </a:xfrm>
          <a:prstGeom prst="rect">
            <a:avLst/>
          </a:prstGeom>
        </p:spPr>
        <p:txBody>
          <a:bodyPr lIns="0" tIns="0" rIns="0" bIns="0">
            <a:noAutofit/>
          </a:bodyPr>
          <a:lstStyle>
            <a:lvl1pPr marL="0" indent="0" algn="l">
              <a:buNone/>
              <a:defRPr sz="1400">
                <a:solidFill>
                  <a:schemeClr val="tx2"/>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cxnSp>
        <p:nvCxnSpPr>
          <p:cNvPr id="38" name="Straight Connector 37"/>
          <p:cNvCxnSpPr/>
          <p:nvPr userDrawn="1"/>
        </p:nvCxnSpPr>
        <p:spPr>
          <a:xfrm>
            <a:off x="346086" y="3395058"/>
            <a:ext cx="8460000" cy="0"/>
          </a:xfrm>
          <a:prstGeom prst="line">
            <a:avLst/>
          </a:prstGeom>
          <a:ln w="12700"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86" name="Text Placeholder 2"/>
          <p:cNvSpPr>
            <a:spLocks noGrp="1"/>
          </p:cNvSpPr>
          <p:nvPr>
            <p:ph type="body" sz="quarter" idx="25" hasCustomPrompt="1"/>
          </p:nvPr>
        </p:nvSpPr>
        <p:spPr>
          <a:xfrm>
            <a:off x="3342796" y="4807465"/>
            <a:ext cx="1160462" cy="341313"/>
          </a:xfrm>
          <a:prstGeom prst="rect">
            <a:avLst/>
          </a:prstGeom>
        </p:spPr>
        <p:txBody>
          <a:bodyPr anchor="ctr"/>
          <a:lstStyle>
            <a:lvl1pPr marL="0" indent="0" algn="ctr">
              <a:buNone/>
              <a:defRPr sz="800">
                <a:solidFill>
                  <a:schemeClr val="bg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grpSp>
        <p:nvGrpSpPr>
          <p:cNvPr id="173" name="Group 172"/>
          <p:cNvGrpSpPr/>
          <p:nvPr userDrawn="1"/>
        </p:nvGrpSpPr>
        <p:grpSpPr>
          <a:xfrm>
            <a:off x="7686461" y="4906654"/>
            <a:ext cx="1124815" cy="151147"/>
            <a:chOff x="7686461" y="4581466"/>
            <a:chExt cx="1124815" cy="151147"/>
          </a:xfrm>
          <a:solidFill>
            <a:schemeClr val="bg1"/>
          </a:solidFill>
        </p:grpSpPr>
        <p:sp>
          <p:nvSpPr>
            <p:cNvPr id="174"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75"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76"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77"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78"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79"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80"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81"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82"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83"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84"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85"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86"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87"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88"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grpSp>
      <p:sp>
        <p:nvSpPr>
          <p:cNvPr id="77"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solidFill>
                  <a:schemeClr val="tx1">
                    <a:lumMod val="50000"/>
                    <a:lumOff val="50000"/>
                  </a:schemeClr>
                </a:solidFill>
                <a:latin typeface="+mn-lt"/>
              </a:rPr>
              <a:t>Private and Confidental</a:t>
            </a:r>
            <a:endParaRPr lang="pt-BR" sz="500" dirty="0">
              <a:solidFill>
                <a:schemeClr val="tx1">
                  <a:lumMod val="50000"/>
                  <a:lumOff val="50000"/>
                </a:schemeClr>
              </a:solidFill>
              <a:latin typeface="+mn-lt"/>
            </a:endParaRPr>
          </a:p>
        </p:txBody>
      </p:sp>
    </p:spTree>
    <p:extLst>
      <p:ext uri="{BB962C8B-B14F-4D97-AF65-F5344CB8AC3E}">
        <p14:creationId xmlns:p14="http://schemas.microsoft.com/office/powerpoint/2010/main" val="2199025337"/>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_FF_MB_Leaf">
    <p:bg>
      <p:bgPr>
        <a:solidFill>
          <a:schemeClr val="bg1"/>
        </a:solidFill>
        <a:effectLst/>
      </p:bgPr>
    </p:bg>
    <p:spTree>
      <p:nvGrpSpPr>
        <p:cNvPr id="1" name=""/>
        <p:cNvGrpSpPr/>
        <p:nvPr/>
      </p:nvGrpSpPr>
      <p:grpSpPr>
        <a:xfrm>
          <a:off x="0" y="0"/>
          <a:ext cx="0" cy="0"/>
          <a:chOff x="0" y="0"/>
          <a:chExt cx="0" cy="0"/>
        </a:xfrm>
      </p:grpSpPr>
      <p:sp>
        <p:nvSpPr>
          <p:cNvPr id="31" name="Rectangle 30"/>
          <p:cNvSpPr/>
          <p:nvPr userDrawn="1"/>
        </p:nvSpPr>
        <p:spPr>
          <a:xfrm>
            <a:off x="0" y="0"/>
            <a:ext cx="9144000" cy="5148263"/>
          </a:xfrm>
          <a:prstGeom prst="rect">
            <a:avLst/>
          </a:prstGeom>
          <a:solidFill>
            <a:schemeClr val="tx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en-GB" sz="1050" smtClean="0">
              <a:solidFill>
                <a:schemeClr val="bg1"/>
              </a:solidFill>
              <a:latin typeface="Arial" panose="020B0604020202020204" pitchFamily="34" charset="0"/>
              <a:cs typeface="Arial" panose="020B0604020202020204" pitchFamily="34" charset="0"/>
            </a:endParaRPr>
          </a:p>
        </p:txBody>
      </p:sp>
      <p:pic>
        <p:nvPicPr>
          <p:cNvPr id="33" name="Picture 32" descr="cookie_white.png"/>
          <p:cNvPicPr>
            <a:picLocks noChangeAspect="1"/>
          </p:cNvPicPr>
          <p:nvPr userDrawn="1"/>
        </p:nvPicPr>
        <p:blipFill rotWithShape="1">
          <a:blip r:embed="rId2" cstate="screen">
            <a:alphaModFix amt="16000"/>
            <a:extLst>
              <a:ext uri="{28A0092B-C50C-407E-A947-70E740481C1C}">
                <a14:useLocalDpi xmlns:a14="http://schemas.microsoft.com/office/drawing/2010/main"/>
              </a:ext>
            </a:extLst>
          </a:blip>
          <a:srcRect/>
          <a:stretch/>
        </p:blipFill>
        <p:spPr>
          <a:xfrm flipH="1">
            <a:off x="5149029" y="2289839"/>
            <a:ext cx="4020091" cy="2880000"/>
          </a:xfrm>
          <a:prstGeom prst="rect">
            <a:avLst/>
          </a:prstGeom>
        </p:spPr>
      </p:pic>
      <p:cxnSp>
        <p:nvCxnSpPr>
          <p:cNvPr id="32" name="Straight Connector 31"/>
          <p:cNvCxnSpPr/>
          <p:nvPr userDrawn="1"/>
        </p:nvCxnSpPr>
        <p:spPr>
          <a:xfrm>
            <a:off x="343365" y="470176"/>
            <a:ext cx="8460000" cy="0"/>
          </a:xfrm>
          <a:prstGeom prst="line">
            <a:avLst/>
          </a:prstGeom>
          <a:ln w="6350" cmpd="sng">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343365" y="4801146"/>
            <a:ext cx="8460000" cy="0"/>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sp>
        <p:nvSpPr>
          <p:cNvPr id="67"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rgbClr val="FFFFFF"/>
                </a:solidFill>
                <a:latin typeface="+mn-lt"/>
              </a:defRPr>
            </a:lvl1pPr>
          </a:lstStyle>
          <a:p>
            <a:fld id="{19AB4E72-7858-48F1-A40D-12FF09E4BFB8}" type="slidenum">
              <a:rPr lang="en-GB" smtClean="0"/>
              <a:pPr/>
              <a:t>‹Nº›</a:t>
            </a:fld>
            <a:endParaRPr lang="en-GB"/>
          </a:p>
        </p:txBody>
      </p:sp>
      <p:sp>
        <p:nvSpPr>
          <p:cNvPr id="36" name="Title 1"/>
          <p:cNvSpPr>
            <a:spLocks noGrp="1"/>
          </p:cNvSpPr>
          <p:nvPr>
            <p:ph type="ctrTitle" hasCustomPrompt="1"/>
          </p:nvPr>
        </p:nvSpPr>
        <p:spPr>
          <a:xfrm>
            <a:off x="343365" y="2867487"/>
            <a:ext cx="8460000" cy="443198"/>
          </a:xfrm>
          <a:prstGeom prst="rect">
            <a:avLst/>
          </a:prstGeom>
        </p:spPr>
        <p:txBody>
          <a:bodyPr lIns="0" tIns="0" rIns="0" bIns="0" anchor="b"/>
          <a:lstStyle>
            <a:lvl1pPr>
              <a:lnSpc>
                <a:spcPct val="90000"/>
              </a:lnSpc>
              <a:defRPr sz="3200" b="0">
                <a:solidFill>
                  <a:schemeClr val="bg1"/>
                </a:solidFill>
              </a:defRPr>
            </a:lvl1pPr>
          </a:lstStyle>
          <a:p>
            <a:r>
              <a:rPr lang="en-US" dirty="0" smtClean="0"/>
              <a:t>Click to edit Master title Style</a:t>
            </a:r>
            <a:endParaRPr lang="en-US" dirty="0"/>
          </a:p>
        </p:txBody>
      </p:sp>
      <p:sp>
        <p:nvSpPr>
          <p:cNvPr id="37" name="Subtitle 2"/>
          <p:cNvSpPr>
            <a:spLocks noGrp="1"/>
          </p:cNvSpPr>
          <p:nvPr>
            <p:ph type="subTitle" idx="1" hasCustomPrompt="1"/>
          </p:nvPr>
        </p:nvSpPr>
        <p:spPr>
          <a:xfrm>
            <a:off x="343364" y="3474100"/>
            <a:ext cx="8460000" cy="202165"/>
          </a:xfrm>
          <a:prstGeom prst="rect">
            <a:avLst/>
          </a:prstGeom>
        </p:spPr>
        <p:txBody>
          <a:bodyPr lIns="0" tIns="0" rIns="0" bIns="0">
            <a:noAutofit/>
          </a:bodyPr>
          <a:lstStyle>
            <a:lvl1pPr marL="0" indent="0" algn="l">
              <a:buNone/>
              <a:defRPr sz="14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cxnSp>
        <p:nvCxnSpPr>
          <p:cNvPr id="38" name="Straight Connector 37"/>
          <p:cNvCxnSpPr/>
          <p:nvPr userDrawn="1"/>
        </p:nvCxnSpPr>
        <p:spPr>
          <a:xfrm>
            <a:off x="346086" y="3395058"/>
            <a:ext cx="8460000" cy="0"/>
          </a:xfrm>
          <a:prstGeom prst="line">
            <a:avLst/>
          </a:prstGeom>
          <a:ln w="12700"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77" name="Text Placeholder 2"/>
          <p:cNvSpPr>
            <a:spLocks noGrp="1"/>
          </p:cNvSpPr>
          <p:nvPr>
            <p:ph type="body" sz="quarter" idx="25" hasCustomPrompt="1"/>
          </p:nvPr>
        </p:nvSpPr>
        <p:spPr>
          <a:xfrm>
            <a:off x="3342796" y="4807465"/>
            <a:ext cx="1160462" cy="341313"/>
          </a:xfrm>
          <a:prstGeom prst="rect">
            <a:avLst/>
          </a:prstGeom>
        </p:spPr>
        <p:txBody>
          <a:bodyPr anchor="ctr"/>
          <a:lstStyle>
            <a:lvl1pPr marL="0" indent="0" algn="ctr">
              <a:buNone/>
              <a:defRPr sz="800">
                <a:solidFill>
                  <a:schemeClr val="bg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grpSp>
        <p:nvGrpSpPr>
          <p:cNvPr id="51" name="Group 50"/>
          <p:cNvGrpSpPr/>
          <p:nvPr userDrawn="1"/>
        </p:nvGrpSpPr>
        <p:grpSpPr>
          <a:xfrm>
            <a:off x="7686461" y="4906654"/>
            <a:ext cx="1124815" cy="151147"/>
            <a:chOff x="7686461" y="4581466"/>
            <a:chExt cx="1124815" cy="151147"/>
          </a:xfrm>
          <a:solidFill>
            <a:schemeClr val="bg1"/>
          </a:solidFill>
        </p:grpSpPr>
        <p:sp>
          <p:nvSpPr>
            <p:cNvPr id="52"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3"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4"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5"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6"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7"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8"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59"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0"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1"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2"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3"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4"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5"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66"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grpSp>
      <p:pic>
        <p:nvPicPr>
          <p:cNvPr id="97" name="Picture 9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646701" y="4829728"/>
            <a:ext cx="288000" cy="288000"/>
          </a:xfrm>
          <a:prstGeom prst="rect">
            <a:avLst/>
          </a:prstGeom>
        </p:spPr>
      </p:pic>
      <p:grpSp>
        <p:nvGrpSpPr>
          <p:cNvPr id="98" name="Group 97"/>
          <p:cNvGrpSpPr/>
          <p:nvPr userDrawn="1"/>
        </p:nvGrpSpPr>
        <p:grpSpPr>
          <a:xfrm>
            <a:off x="4750866" y="4846685"/>
            <a:ext cx="1123200" cy="262528"/>
            <a:chOff x="7673274" y="4343117"/>
            <a:chExt cx="1123200" cy="262528"/>
          </a:xfrm>
          <a:solidFill>
            <a:schemeClr val="bg1"/>
          </a:solidFill>
        </p:grpSpPr>
        <p:grpSp>
          <p:nvGrpSpPr>
            <p:cNvPr id="99" name="Group 98"/>
            <p:cNvGrpSpPr/>
            <p:nvPr userDrawn="1"/>
          </p:nvGrpSpPr>
          <p:grpSpPr>
            <a:xfrm>
              <a:off x="7909937" y="4494135"/>
              <a:ext cx="438357" cy="111510"/>
              <a:chOff x="7909937" y="4491754"/>
              <a:chExt cx="438357" cy="111510"/>
            </a:xfrm>
            <a:grpFill/>
          </p:grpSpPr>
          <p:sp>
            <p:nvSpPr>
              <p:cNvPr id="116" name="Freeform 21"/>
              <p:cNvSpPr>
                <a:spLocks noEditPoints="1"/>
              </p:cNvSpPr>
              <p:nvPr/>
            </p:nvSpPr>
            <p:spPr bwMode="auto">
              <a:xfrm>
                <a:off x="7909937" y="4496945"/>
                <a:ext cx="72264" cy="78286"/>
              </a:xfrm>
              <a:custGeom>
                <a:avLst/>
                <a:gdLst>
                  <a:gd name="T0" fmla="*/ 290 w 696"/>
                  <a:gd name="T1" fmla="*/ 0 h 754"/>
                  <a:gd name="T2" fmla="*/ 394 w 696"/>
                  <a:gd name="T3" fmla="*/ 0 h 754"/>
                  <a:gd name="T4" fmla="*/ 696 w 696"/>
                  <a:gd name="T5" fmla="*/ 754 h 754"/>
                  <a:gd name="T6" fmla="*/ 550 w 696"/>
                  <a:gd name="T7" fmla="*/ 754 h 754"/>
                  <a:gd name="T8" fmla="*/ 478 w 696"/>
                  <a:gd name="T9" fmla="*/ 566 h 754"/>
                  <a:gd name="T10" fmla="*/ 210 w 696"/>
                  <a:gd name="T11" fmla="*/ 566 h 754"/>
                  <a:gd name="T12" fmla="*/ 140 w 696"/>
                  <a:gd name="T13" fmla="*/ 754 h 754"/>
                  <a:gd name="T14" fmla="*/ 0 w 696"/>
                  <a:gd name="T15" fmla="*/ 754 h 754"/>
                  <a:gd name="T16" fmla="*/ 290 w 696"/>
                  <a:gd name="T17" fmla="*/ 0 h 754"/>
                  <a:gd name="T18" fmla="*/ 436 w 696"/>
                  <a:gd name="T19" fmla="*/ 456 h 754"/>
                  <a:gd name="T20" fmla="*/ 384 w 696"/>
                  <a:gd name="T21" fmla="*/ 306 h 754"/>
                  <a:gd name="T22" fmla="*/ 384 w 696"/>
                  <a:gd name="T23" fmla="*/ 306 h 754"/>
                  <a:gd name="T24" fmla="*/ 360 w 696"/>
                  <a:gd name="T25" fmla="*/ 236 h 754"/>
                  <a:gd name="T26" fmla="*/ 346 w 696"/>
                  <a:gd name="T27" fmla="*/ 190 h 754"/>
                  <a:gd name="T28" fmla="*/ 344 w 696"/>
                  <a:gd name="T29" fmla="*/ 190 h 754"/>
                  <a:gd name="T30" fmla="*/ 344 w 696"/>
                  <a:gd name="T31" fmla="*/ 190 h 754"/>
                  <a:gd name="T32" fmla="*/ 328 w 696"/>
                  <a:gd name="T33" fmla="*/ 236 h 754"/>
                  <a:gd name="T34" fmla="*/ 304 w 696"/>
                  <a:gd name="T35" fmla="*/ 306 h 754"/>
                  <a:gd name="T36" fmla="*/ 250 w 696"/>
                  <a:gd name="T37" fmla="*/ 456 h 754"/>
                  <a:gd name="T38" fmla="*/ 436 w 696"/>
                  <a:gd name="T39" fmla="*/ 456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6" h="754">
                    <a:moveTo>
                      <a:pt x="290" y="0"/>
                    </a:moveTo>
                    <a:lnTo>
                      <a:pt x="394" y="0"/>
                    </a:lnTo>
                    <a:lnTo>
                      <a:pt x="696" y="754"/>
                    </a:lnTo>
                    <a:lnTo>
                      <a:pt x="550" y="754"/>
                    </a:lnTo>
                    <a:lnTo>
                      <a:pt x="478" y="566"/>
                    </a:lnTo>
                    <a:lnTo>
                      <a:pt x="210" y="566"/>
                    </a:lnTo>
                    <a:lnTo>
                      <a:pt x="140" y="754"/>
                    </a:lnTo>
                    <a:lnTo>
                      <a:pt x="0" y="754"/>
                    </a:lnTo>
                    <a:lnTo>
                      <a:pt x="290" y="0"/>
                    </a:lnTo>
                    <a:close/>
                    <a:moveTo>
                      <a:pt x="436" y="456"/>
                    </a:moveTo>
                    <a:lnTo>
                      <a:pt x="384" y="306"/>
                    </a:lnTo>
                    <a:lnTo>
                      <a:pt x="384" y="306"/>
                    </a:lnTo>
                    <a:lnTo>
                      <a:pt x="360" y="236"/>
                    </a:lnTo>
                    <a:lnTo>
                      <a:pt x="346" y="190"/>
                    </a:lnTo>
                    <a:lnTo>
                      <a:pt x="344" y="190"/>
                    </a:lnTo>
                    <a:lnTo>
                      <a:pt x="344" y="190"/>
                    </a:lnTo>
                    <a:lnTo>
                      <a:pt x="328" y="236"/>
                    </a:lnTo>
                    <a:lnTo>
                      <a:pt x="304" y="306"/>
                    </a:lnTo>
                    <a:lnTo>
                      <a:pt x="250" y="456"/>
                    </a:lnTo>
                    <a:lnTo>
                      <a:pt x="436" y="4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 name="Freeform 22"/>
              <p:cNvSpPr>
                <a:spLocks noEditPoints="1"/>
              </p:cNvSpPr>
              <p:nvPr/>
            </p:nvSpPr>
            <p:spPr bwMode="auto">
              <a:xfrm>
                <a:off x="8047404" y="4517918"/>
                <a:ext cx="48591" cy="58558"/>
              </a:xfrm>
              <a:custGeom>
                <a:avLst/>
                <a:gdLst>
                  <a:gd name="T0" fmla="*/ 334 w 468"/>
                  <a:gd name="T1" fmla="*/ 502 h 564"/>
                  <a:gd name="T2" fmla="*/ 302 w 468"/>
                  <a:gd name="T3" fmla="*/ 526 h 564"/>
                  <a:gd name="T4" fmla="*/ 266 w 468"/>
                  <a:gd name="T5" fmla="*/ 546 h 564"/>
                  <a:gd name="T6" fmla="*/ 226 w 468"/>
                  <a:gd name="T7" fmla="*/ 560 h 564"/>
                  <a:gd name="T8" fmla="*/ 178 w 468"/>
                  <a:gd name="T9" fmla="*/ 564 h 564"/>
                  <a:gd name="T10" fmla="*/ 160 w 468"/>
                  <a:gd name="T11" fmla="*/ 564 h 564"/>
                  <a:gd name="T12" fmla="*/ 124 w 468"/>
                  <a:gd name="T13" fmla="*/ 558 h 564"/>
                  <a:gd name="T14" fmla="*/ 92 w 468"/>
                  <a:gd name="T15" fmla="*/ 546 h 564"/>
                  <a:gd name="T16" fmla="*/ 62 w 468"/>
                  <a:gd name="T17" fmla="*/ 528 h 564"/>
                  <a:gd name="T18" fmla="*/ 38 w 468"/>
                  <a:gd name="T19" fmla="*/ 506 h 564"/>
                  <a:gd name="T20" fmla="*/ 20 w 468"/>
                  <a:gd name="T21" fmla="*/ 478 h 564"/>
                  <a:gd name="T22" fmla="*/ 6 w 468"/>
                  <a:gd name="T23" fmla="*/ 446 h 564"/>
                  <a:gd name="T24" fmla="*/ 0 w 468"/>
                  <a:gd name="T25" fmla="*/ 412 h 564"/>
                  <a:gd name="T26" fmla="*/ 0 w 468"/>
                  <a:gd name="T27" fmla="*/ 392 h 564"/>
                  <a:gd name="T28" fmla="*/ 6 w 468"/>
                  <a:gd name="T29" fmla="*/ 342 h 564"/>
                  <a:gd name="T30" fmla="*/ 24 w 468"/>
                  <a:gd name="T31" fmla="*/ 302 h 564"/>
                  <a:gd name="T32" fmla="*/ 52 w 468"/>
                  <a:gd name="T33" fmla="*/ 270 h 564"/>
                  <a:gd name="T34" fmla="*/ 90 w 468"/>
                  <a:gd name="T35" fmla="*/ 246 h 564"/>
                  <a:gd name="T36" fmla="*/ 120 w 468"/>
                  <a:gd name="T37" fmla="*/ 232 h 564"/>
                  <a:gd name="T38" fmla="*/ 190 w 468"/>
                  <a:gd name="T39" fmla="*/ 218 h 564"/>
                  <a:gd name="T40" fmla="*/ 322 w 468"/>
                  <a:gd name="T41" fmla="*/ 210 h 564"/>
                  <a:gd name="T42" fmla="*/ 322 w 468"/>
                  <a:gd name="T43" fmla="*/ 194 h 564"/>
                  <a:gd name="T44" fmla="*/ 314 w 468"/>
                  <a:gd name="T45" fmla="*/ 154 h 564"/>
                  <a:gd name="T46" fmla="*/ 294 w 468"/>
                  <a:gd name="T47" fmla="*/ 126 h 564"/>
                  <a:gd name="T48" fmla="*/ 260 w 468"/>
                  <a:gd name="T49" fmla="*/ 108 h 564"/>
                  <a:gd name="T50" fmla="*/ 218 w 468"/>
                  <a:gd name="T51" fmla="*/ 104 h 564"/>
                  <a:gd name="T52" fmla="*/ 198 w 468"/>
                  <a:gd name="T53" fmla="*/ 104 h 564"/>
                  <a:gd name="T54" fmla="*/ 160 w 468"/>
                  <a:gd name="T55" fmla="*/ 110 h 564"/>
                  <a:gd name="T56" fmla="*/ 108 w 468"/>
                  <a:gd name="T57" fmla="*/ 126 h 564"/>
                  <a:gd name="T58" fmla="*/ 32 w 468"/>
                  <a:gd name="T59" fmla="*/ 54 h 564"/>
                  <a:gd name="T60" fmla="*/ 56 w 468"/>
                  <a:gd name="T61" fmla="*/ 42 h 564"/>
                  <a:gd name="T62" fmla="*/ 106 w 468"/>
                  <a:gd name="T63" fmla="*/ 22 h 564"/>
                  <a:gd name="T64" fmla="*/ 158 w 468"/>
                  <a:gd name="T65" fmla="*/ 8 h 564"/>
                  <a:gd name="T66" fmla="*/ 212 w 468"/>
                  <a:gd name="T67" fmla="*/ 0 h 564"/>
                  <a:gd name="T68" fmla="*/ 240 w 468"/>
                  <a:gd name="T69" fmla="*/ 0 h 564"/>
                  <a:gd name="T70" fmla="*/ 292 w 468"/>
                  <a:gd name="T71" fmla="*/ 4 h 564"/>
                  <a:gd name="T72" fmla="*/ 336 w 468"/>
                  <a:gd name="T73" fmla="*/ 12 h 564"/>
                  <a:gd name="T74" fmla="*/ 372 w 468"/>
                  <a:gd name="T75" fmla="*/ 28 h 564"/>
                  <a:gd name="T76" fmla="*/ 404 w 468"/>
                  <a:gd name="T77" fmla="*/ 50 h 564"/>
                  <a:gd name="T78" fmla="*/ 426 w 468"/>
                  <a:gd name="T79" fmla="*/ 76 h 564"/>
                  <a:gd name="T80" fmla="*/ 444 w 468"/>
                  <a:gd name="T81" fmla="*/ 110 h 564"/>
                  <a:gd name="T82" fmla="*/ 454 w 468"/>
                  <a:gd name="T83" fmla="*/ 150 h 564"/>
                  <a:gd name="T84" fmla="*/ 458 w 468"/>
                  <a:gd name="T85" fmla="*/ 196 h 564"/>
                  <a:gd name="T86" fmla="*/ 458 w 468"/>
                  <a:gd name="T87" fmla="*/ 414 h 564"/>
                  <a:gd name="T88" fmla="*/ 460 w 468"/>
                  <a:gd name="T89" fmla="*/ 496 h 564"/>
                  <a:gd name="T90" fmla="*/ 468 w 468"/>
                  <a:gd name="T91" fmla="*/ 552 h 564"/>
                  <a:gd name="T92" fmla="*/ 334 w 468"/>
                  <a:gd name="T93" fmla="*/ 502 h 564"/>
                  <a:gd name="T94" fmla="*/ 248 w 468"/>
                  <a:gd name="T95" fmla="*/ 304 h 564"/>
                  <a:gd name="T96" fmla="*/ 204 w 468"/>
                  <a:gd name="T97" fmla="*/ 310 h 564"/>
                  <a:gd name="T98" fmla="*/ 170 w 468"/>
                  <a:gd name="T99" fmla="*/ 322 h 564"/>
                  <a:gd name="T100" fmla="*/ 162 w 468"/>
                  <a:gd name="T101" fmla="*/ 326 h 564"/>
                  <a:gd name="T102" fmla="*/ 150 w 468"/>
                  <a:gd name="T103" fmla="*/ 340 h 564"/>
                  <a:gd name="T104" fmla="*/ 142 w 468"/>
                  <a:gd name="T105" fmla="*/ 354 h 564"/>
                  <a:gd name="T106" fmla="*/ 138 w 468"/>
                  <a:gd name="T107" fmla="*/ 382 h 564"/>
                  <a:gd name="T108" fmla="*/ 138 w 468"/>
                  <a:gd name="T109" fmla="*/ 400 h 564"/>
                  <a:gd name="T110" fmla="*/ 150 w 468"/>
                  <a:gd name="T111" fmla="*/ 426 h 564"/>
                  <a:gd name="T112" fmla="*/ 170 w 468"/>
                  <a:gd name="T113" fmla="*/ 446 h 564"/>
                  <a:gd name="T114" fmla="*/ 200 w 468"/>
                  <a:gd name="T115" fmla="*/ 456 h 564"/>
                  <a:gd name="T116" fmla="*/ 216 w 468"/>
                  <a:gd name="T117" fmla="*/ 456 h 564"/>
                  <a:gd name="T118" fmla="*/ 252 w 468"/>
                  <a:gd name="T119" fmla="*/ 452 h 564"/>
                  <a:gd name="T120" fmla="*/ 282 w 468"/>
                  <a:gd name="T121" fmla="*/ 442 h 564"/>
                  <a:gd name="T122" fmla="*/ 322 w 468"/>
                  <a:gd name="T123" fmla="*/ 418 h 564"/>
                  <a:gd name="T124" fmla="*/ 248 w 468"/>
                  <a:gd name="T125" fmla="*/ 30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8" h="564">
                    <a:moveTo>
                      <a:pt x="334" y="502"/>
                    </a:moveTo>
                    <a:lnTo>
                      <a:pt x="334" y="502"/>
                    </a:lnTo>
                    <a:lnTo>
                      <a:pt x="318" y="514"/>
                    </a:lnTo>
                    <a:lnTo>
                      <a:pt x="302" y="526"/>
                    </a:lnTo>
                    <a:lnTo>
                      <a:pt x="284" y="536"/>
                    </a:lnTo>
                    <a:lnTo>
                      <a:pt x="266" y="546"/>
                    </a:lnTo>
                    <a:lnTo>
                      <a:pt x="246" y="554"/>
                    </a:lnTo>
                    <a:lnTo>
                      <a:pt x="226" y="560"/>
                    </a:lnTo>
                    <a:lnTo>
                      <a:pt x="202" y="562"/>
                    </a:lnTo>
                    <a:lnTo>
                      <a:pt x="178" y="564"/>
                    </a:lnTo>
                    <a:lnTo>
                      <a:pt x="178" y="564"/>
                    </a:lnTo>
                    <a:lnTo>
                      <a:pt x="160" y="564"/>
                    </a:lnTo>
                    <a:lnTo>
                      <a:pt x="140" y="560"/>
                    </a:lnTo>
                    <a:lnTo>
                      <a:pt x="124" y="558"/>
                    </a:lnTo>
                    <a:lnTo>
                      <a:pt x="106" y="552"/>
                    </a:lnTo>
                    <a:lnTo>
                      <a:pt x="92" y="546"/>
                    </a:lnTo>
                    <a:lnTo>
                      <a:pt x="76" y="538"/>
                    </a:lnTo>
                    <a:lnTo>
                      <a:pt x="62" y="528"/>
                    </a:lnTo>
                    <a:lnTo>
                      <a:pt x="50" y="516"/>
                    </a:lnTo>
                    <a:lnTo>
                      <a:pt x="38" y="506"/>
                    </a:lnTo>
                    <a:lnTo>
                      <a:pt x="28" y="492"/>
                    </a:lnTo>
                    <a:lnTo>
                      <a:pt x="20" y="478"/>
                    </a:lnTo>
                    <a:lnTo>
                      <a:pt x="12" y="462"/>
                    </a:lnTo>
                    <a:lnTo>
                      <a:pt x="6" y="446"/>
                    </a:lnTo>
                    <a:lnTo>
                      <a:pt x="2" y="430"/>
                    </a:lnTo>
                    <a:lnTo>
                      <a:pt x="0" y="412"/>
                    </a:lnTo>
                    <a:lnTo>
                      <a:pt x="0" y="392"/>
                    </a:lnTo>
                    <a:lnTo>
                      <a:pt x="0" y="392"/>
                    </a:lnTo>
                    <a:lnTo>
                      <a:pt x="0" y="366"/>
                    </a:lnTo>
                    <a:lnTo>
                      <a:pt x="6" y="342"/>
                    </a:lnTo>
                    <a:lnTo>
                      <a:pt x="14" y="320"/>
                    </a:lnTo>
                    <a:lnTo>
                      <a:pt x="24" y="302"/>
                    </a:lnTo>
                    <a:lnTo>
                      <a:pt x="36" y="284"/>
                    </a:lnTo>
                    <a:lnTo>
                      <a:pt x="52" y="270"/>
                    </a:lnTo>
                    <a:lnTo>
                      <a:pt x="70" y="256"/>
                    </a:lnTo>
                    <a:lnTo>
                      <a:pt x="90" y="246"/>
                    </a:lnTo>
                    <a:lnTo>
                      <a:pt x="90" y="246"/>
                    </a:lnTo>
                    <a:lnTo>
                      <a:pt x="120" y="232"/>
                    </a:lnTo>
                    <a:lnTo>
                      <a:pt x="154" y="224"/>
                    </a:lnTo>
                    <a:lnTo>
                      <a:pt x="190" y="218"/>
                    </a:lnTo>
                    <a:lnTo>
                      <a:pt x="230" y="214"/>
                    </a:lnTo>
                    <a:lnTo>
                      <a:pt x="322" y="210"/>
                    </a:lnTo>
                    <a:lnTo>
                      <a:pt x="322" y="194"/>
                    </a:lnTo>
                    <a:lnTo>
                      <a:pt x="322" y="194"/>
                    </a:lnTo>
                    <a:lnTo>
                      <a:pt x="320" y="172"/>
                    </a:lnTo>
                    <a:lnTo>
                      <a:pt x="314" y="154"/>
                    </a:lnTo>
                    <a:lnTo>
                      <a:pt x="306" y="138"/>
                    </a:lnTo>
                    <a:lnTo>
                      <a:pt x="294" y="126"/>
                    </a:lnTo>
                    <a:lnTo>
                      <a:pt x="278" y="116"/>
                    </a:lnTo>
                    <a:lnTo>
                      <a:pt x="260" y="108"/>
                    </a:lnTo>
                    <a:lnTo>
                      <a:pt x="240" y="106"/>
                    </a:lnTo>
                    <a:lnTo>
                      <a:pt x="218" y="104"/>
                    </a:lnTo>
                    <a:lnTo>
                      <a:pt x="218" y="104"/>
                    </a:lnTo>
                    <a:lnTo>
                      <a:pt x="198" y="104"/>
                    </a:lnTo>
                    <a:lnTo>
                      <a:pt x="178" y="106"/>
                    </a:lnTo>
                    <a:lnTo>
                      <a:pt x="160" y="110"/>
                    </a:lnTo>
                    <a:lnTo>
                      <a:pt x="142" y="114"/>
                    </a:lnTo>
                    <a:lnTo>
                      <a:pt x="108" y="126"/>
                    </a:lnTo>
                    <a:lnTo>
                      <a:pt x="76" y="142"/>
                    </a:lnTo>
                    <a:lnTo>
                      <a:pt x="32" y="54"/>
                    </a:lnTo>
                    <a:lnTo>
                      <a:pt x="32" y="54"/>
                    </a:lnTo>
                    <a:lnTo>
                      <a:pt x="56" y="42"/>
                    </a:lnTo>
                    <a:lnTo>
                      <a:pt x="82" y="30"/>
                    </a:lnTo>
                    <a:lnTo>
                      <a:pt x="106" y="22"/>
                    </a:lnTo>
                    <a:lnTo>
                      <a:pt x="132" y="14"/>
                    </a:lnTo>
                    <a:lnTo>
                      <a:pt x="158" y="8"/>
                    </a:lnTo>
                    <a:lnTo>
                      <a:pt x="186" y="4"/>
                    </a:lnTo>
                    <a:lnTo>
                      <a:pt x="212" y="0"/>
                    </a:lnTo>
                    <a:lnTo>
                      <a:pt x="240" y="0"/>
                    </a:lnTo>
                    <a:lnTo>
                      <a:pt x="240" y="0"/>
                    </a:lnTo>
                    <a:lnTo>
                      <a:pt x="268" y="0"/>
                    </a:lnTo>
                    <a:lnTo>
                      <a:pt x="292" y="4"/>
                    </a:lnTo>
                    <a:lnTo>
                      <a:pt x="314" y="6"/>
                    </a:lnTo>
                    <a:lnTo>
                      <a:pt x="336" y="12"/>
                    </a:lnTo>
                    <a:lnTo>
                      <a:pt x="356" y="20"/>
                    </a:lnTo>
                    <a:lnTo>
                      <a:pt x="372" y="28"/>
                    </a:lnTo>
                    <a:lnTo>
                      <a:pt x="388" y="38"/>
                    </a:lnTo>
                    <a:lnTo>
                      <a:pt x="404" y="50"/>
                    </a:lnTo>
                    <a:lnTo>
                      <a:pt x="416" y="62"/>
                    </a:lnTo>
                    <a:lnTo>
                      <a:pt x="426" y="76"/>
                    </a:lnTo>
                    <a:lnTo>
                      <a:pt x="436" y="94"/>
                    </a:lnTo>
                    <a:lnTo>
                      <a:pt x="444" y="110"/>
                    </a:lnTo>
                    <a:lnTo>
                      <a:pt x="450" y="130"/>
                    </a:lnTo>
                    <a:lnTo>
                      <a:pt x="454" y="150"/>
                    </a:lnTo>
                    <a:lnTo>
                      <a:pt x="456" y="172"/>
                    </a:lnTo>
                    <a:lnTo>
                      <a:pt x="458" y="196"/>
                    </a:lnTo>
                    <a:lnTo>
                      <a:pt x="458" y="414"/>
                    </a:lnTo>
                    <a:lnTo>
                      <a:pt x="458" y="414"/>
                    </a:lnTo>
                    <a:lnTo>
                      <a:pt x="458" y="458"/>
                    </a:lnTo>
                    <a:lnTo>
                      <a:pt x="460" y="496"/>
                    </a:lnTo>
                    <a:lnTo>
                      <a:pt x="462" y="528"/>
                    </a:lnTo>
                    <a:lnTo>
                      <a:pt x="468" y="552"/>
                    </a:lnTo>
                    <a:lnTo>
                      <a:pt x="354" y="552"/>
                    </a:lnTo>
                    <a:lnTo>
                      <a:pt x="334" y="502"/>
                    </a:lnTo>
                    <a:close/>
                    <a:moveTo>
                      <a:pt x="248" y="304"/>
                    </a:moveTo>
                    <a:lnTo>
                      <a:pt x="248" y="304"/>
                    </a:lnTo>
                    <a:lnTo>
                      <a:pt x="224" y="306"/>
                    </a:lnTo>
                    <a:lnTo>
                      <a:pt x="204" y="310"/>
                    </a:lnTo>
                    <a:lnTo>
                      <a:pt x="186" y="314"/>
                    </a:lnTo>
                    <a:lnTo>
                      <a:pt x="170" y="322"/>
                    </a:lnTo>
                    <a:lnTo>
                      <a:pt x="170" y="322"/>
                    </a:lnTo>
                    <a:lnTo>
                      <a:pt x="162" y="326"/>
                    </a:lnTo>
                    <a:lnTo>
                      <a:pt x="156" y="332"/>
                    </a:lnTo>
                    <a:lnTo>
                      <a:pt x="150" y="340"/>
                    </a:lnTo>
                    <a:lnTo>
                      <a:pt x="146" y="346"/>
                    </a:lnTo>
                    <a:lnTo>
                      <a:pt x="142" y="354"/>
                    </a:lnTo>
                    <a:lnTo>
                      <a:pt x="140" y="364"/>
                    </a:lnTo>
                    <a:lnTo>
                      <a:pt x="138" y="382"/>
                    </a:lnTo>
                    <a:lnTo>
                      <a:pt x="138" y="382"/>
                    </a:lnTo>
                    <a:lnTo>
                      <a:pt x="138" y="400"/>
                    </a:lnTo>
                    <a:lnTo>
                      <a:pt x="142" y="414"/>
                    </a:lnTo>
                    <a:lnTo>
                      <a:pt x="150" y="426"/>
                    </a:lnTo>
                    <a:lnTo>
                      <a:pt x="158" y="438"/>
                    </a:lnTo>
                    <a:lnTo>
                      <a:pt x="170" y="446"/>
                    </a:lnTo>
                    <a:lnTo>
                      <a:pt x="184" y="452"/>
                    </a:lnTo>
                    <a:lnTo>
                      <a:pt x="200" y="456"/>
                    </a:lnTo>
                    <a:lnTo>
                      <a:pt x="216" y="456"/>
                    </a:lnTo>
                    <a:lnTo>
                      <a:pt x="216" y="456"/>
                    </a:lnTo>
                    <a:lnTo>
                      <a:pt x="234" y="456"/>
                    </a:lnTo>
                    <a:lnTo>
                      <a:pt x="252" y="452"/>
                    </a:lnTo>
                    <a:lnTo>
                      <a:pt x="268" y="448"/>
                    </a:lnTo>
                    <a:lnTo>
                      <a:pt x="282" y="442"/>
                    </a:lnTo>
                    <a:lnTo>
                      <a:pt x="304" y="430"/>
                    </a:lnTo>
                    <a:lnTo>
                      <a:pt x="322" y="418"/>
                    </a:lnTo>
                    <a:lnTo>
                      <a:pt x="322" y="302"/>
                    </a:lnTo>
                    <a:lnTo>
                      <a:pt x="248" y="3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 name="Freeform 23"/>
              <p:cNvSpPr>
                <a:spLocks/>
              </p:cNvSpPr>
              <p:nvPr/>
            </p:nvSpPr>
            <p:spPr bwMode="auto">
              <a:xfrm>
                <a:off x="8121536" y="4519372"/>
                <a:ext cx="62089" cy="83892"/>
              </a:xfrm>
              <a:custGeom>
                <a:avLst/>
                <a:gdLst>
                  <a:gd name="T0" fmla="*/ 34 w 598"/>
                  <a:gd name="T1" fmla="*/ 678 h 808"/>
                  <a:gd name="T2" fmla="*/ 34 w 598"/>
                  <a:gd name="T3" fmla="*/ 678 h 808"/>
                  <a:gd name="T4" fmla="*/ 54 w 598"/>
                  <a:gd name="T5" fmla="*/ 688 h 808"/>
                  <a:gd name="T6" fmla="*/ 74 w 598"/>
                  <a:gd name="T7" fmla="*/ 694 h 808"/>
                  <a:gd name="T8" fmla="*/ 94 w 598"/>
                  <a:gd name="T9" fmla="*/ 698 h 808"/>
                  <a:gd name="T10" fmla="*/ 116 w 598"/>
                  <a:gd name="T11" fmla="*/ 700 h 808"/>
                  <a:gd name="T12" fmla="*/ 116 w 598"/>
                  <a:gd name="T13" fmla="*/ 700 h 808"/>
                  <a:gd name="T14" fmla="*/ 138 w 598"/>
                  <a:gd name="T15" fmla="*/ 698 h 808"/>
                  <a:gd name="T16" fmla="*/ 158 w 598"/>
                  <a:gd name="T17" fmla="*/ 692 h 808"/>
                  <a:gd name="T18" fmla="*/ 168 w 598"/>
                  <a:gd name="T19" fmla="*/ 686 h 808"/>
                  <a:gd name="T20" fmla="*/ 178 w 598"/>
                  <a:gd name="T21" fmla="*/ 680 h 808"/>
                  <a:gd name="T22" fmla="*/ 188 w 598"/>
                  <a:gd name="T23" fmla="*/ 672 h 808"/>
                  <a:gd name="T24" fmla="*/ 198 w 598"/>
                  <a:gd name="T25" fmla="*/ 664 h 808"/>
                  <a:gd name="T26" fmla="*/ 216 w 598"/>
                  <a:gd name="T27" fmla="*/ 642 h 808"/>
                  <a:gd name="T28" fmla="*/ 234 w 598"/>
                  <a:gd name="T29" fmla="*/ 612 h 808"/>
                  <a:gd name="T30" fmla="*/ 250 w 598"/>
                  <a:gd name="T31" fmla="*/ 578 h 808"/>
                  <a:gd name="T32" fmla="*/ 266 w 598"/>
                  <a:gd name="T33" fmla="*/ 536 h 808"/>
                  <a:gd name="T34" fmla="*/ 24 w 598"/>
                  <a:gd name="T35" fmla="*/ 0 h 808"/>
                  <a:gd name="T36" fmla="*/ 164 w 598"/>
                  <a:gd name="T37" fmla="*/ 0 h 808"/>
                  <a:gd name="T38" fmla="*/ 328 w 598"/>
                  <a:gd name="T39" fmla="*/ 382 h 808"/>
                  <a:gd name="T40" fmla="*/ 330 w 598"/>
                  <a:gd name="T41" fmla="*/ 382 h 808"/>
                  <a:gd name="T42" fmla="*/ 460 w 598"/>
                  <a:gd name="T43" fmla="*/ 0 h 808"/>
                  <a:gd name="T44" fmla="*/ 598 w 598"/>
                  <a:gd name="T45" fmla="*/ 0 h 808"/>
                  <a:gd name="T46" fmla="*/ 392 w 598"/>
                  <a:gd name="T47" fmla="*/ 556 h 808"/>
                  <a:gd name="T48" fmla="*/ 392 w 598"/>
                  <a:gd name="T49" fmla="*/ 556 h 808"/>
                  <a:gd name="T50" fmla="*/ 376 w 598"/>
                  <a:gd name="T51" fmla="*/ 596 h 808"/>
                  <a:gd name="T52" fmla="*/ 360 w 598"/>
                  <a:gd name="T53" fmla="*/ 632 h 808"/>
                  <a:gd name="T54" fmla="*/ 344 w 598"/>
                  <a:gd name="T55" fmla="*/ 662 h 808"/>
                  <a:gd name="T56" fmla="*/ 326 w 598"/>
                  <a:gd name="T57" fmla="*/ 690 h 808"/>
                  <a:gd name="T58" fmla="*/ 308 w 598"/>
                  <a:gd name="T59" fmla="*/ 714 h 808"/>
                  <a:gd name="T60" fmla="*/ 292 w 598"/>
                  <a:gd name="T61" fmla="*/ 734 h 808"/>
                  <a:gd name="T62" fmla="*/ 274 w 598"/>
                  <a:gd name="T63" fmla="*/ 752 h 808"/>
                  <a:gd name="T64" fmla="*/ 256 w 598"/>
                  <a:gd name="T65" fmla="*/ 766 h 808"/>
                  <a:gd name="T66" fmla="*/ 238 w 598"/>
                  <a:gd name="T67" fmla="*/ 778 h 808"/>
                  <a:gd name="T68" fmla="*/ 220 w 598"/>
                  <a:gd name="T69" fmla="*/ 788 h 808"/>
                  <a:gd name="T70" fmla="*/ 200 w 598"/>
                  <a:gd name="T71" fmla="*/ 796 h 808"/>
                  <a:gd name="T72" fmla="*/ 182 w 598"/>
                  <a:gd name="T73" fmla="*/ 800 h 808"/>
                  <a:gd name="T74" fmla="*/ 164 w 598"/>
                  <a:gd name="T75" fmla="*/ 804 h 808"/>
                  <a:gd name="T76" fmla="*/ 146 w 598"/>
                  <a:gd name="T77" fmla="*/ 808 h 808"/>
                  <a:gd name="T78" fmla="*/ 108 w 598"/>
                  <a:gd name="T79" fmla="*/ 808 h 808"/>
                  <a:gd name="T80" fmla="*/ 108 w 598"/>
                  <a:gd name="T81" fmla="*/ 808 h 808"/>
                  <a:gd name="T82" fmla="*/ 78 w 598"/>
                  <a:gd name="T83" fmla="*/ 808 h 808"/>
                  <a:gd name="T84" fmla="*/ 52 w 598"/>
                  <a:gd name="T85" fmla="*/ 802 h 808"/>
                  <a:gd name="T86" fmla="*/ 26 w 598"/>
                  <a:gd name="T87" fmla="*/ 794 h 808"/>
                  <a:gd name="T88" fmla="*/ 0 w 598"/>
                  <a:gd name="T89" fmla="*/ 784 h 808"/>
                  <a:gd name="T90" fmla="*/ 34 w 598"/>
                  <a:gd name="T91" fmla="*/ 678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98" h="808">
                    <a:moveTo>
                      <a:pt x="34" y="678"/>
                    </a:moveTo>
                    <a:lnTo>
                      <a:pt x="34" y="678"/>
                    </a:lnTo>
                    <a:lnTo>
                      <a:pt x="54" y="688"/>
                    </a:lnTo>
                    <a:lnTo>
                      <a:pt x="74" y="694"/>
                    </a:lnTo>
                    <a:lnTo>
                      <a:pt x="94" y="698"/>
                    </a:lnTo>
                    <a:lnTo>
                      <a:pt x="116" y="700"/>
                    </a:lnTo>
                    <a:lnTo>
                      <a:pt x="116" y="700"/>
                    </a:lnTo>
                    <a:lnTo>
                      <a:pt x="138" y="698"/>
                    </a:lnTo>
                    <a:lnTo>
                      <a:pt x="158" y="692"/>
                    </a:lnTo>
                    <a:lnTo>
                      <a:pt x="168" y="686"/>
                    </a:lnTo>
                    <a:lnTo>
                      <a:pt x="178" y="680"/>
                    </a:lnTo>
                    <a:lnTo>
                      <a:pt x="188" y="672"/>
                    </a:lnTo>
                    <a:lnTo>
                      <a:pt x="198" y="664"/>
                    </a:lnTo>
                    <a:lnTo>
                      <a:pt x="216" y="642"/>
                    </a:lnTo>
                    <a:lnTo>
                      <a:pt x="234" y="612"/>
                    </a:lnTo>
                    <a:lnTo>
                      <a:pt x="250" y="578"/>
                    </a:lnTo>
                    <a:lnTo>
                      <a:pt x="266" y="536"/>
                    </a:lnTo>
                    <a:lnTo>
                      <a:pt x="24" y="0"/>
                    </a:lnTo>
                    <a:lnTo>
                      <a:pt x="164" y="0"/>
                    </a:lnTo>
                    <a:lnTo>
                      <a:pt x="328" y="382"/>
                    </a:lnTo>
                    <a:lnTo>
                      <a:pt x="330" y="382"/>
                    </a:lnTo>
                    <a:lnTo>
                      <a:pt x="460" y="0"/>
                    </a:lnTo>
                    <a:lnTo>
                      <a:pt x="598" y="0"/>
                    </a:lnTo>
                    <a:lnTo>
                      <a:pt x="392" y="556"/>
                    </a:lnTo>
                    <a:lnTo>
                      <a:pt x="392" y="556"/>
                    </a:lnTo>
                    <a:lnTo>
                      <a:pt x="376" y="596"/>
                    </a:lnTo>
                    <a:lnTo>
                      <a:pt x="360" y="632"/>
                    </a:lnTo>
                    <a:lnTo>
                      <a:pt x="344" y="662"/>
                    </a:lnTo>
                    <a:lnTo>
                      <a:pt x="326" y="690"/>
                    </a:lnTo>
                    <a:lnTo>
                      <a:pt x="308" y="714"/>
                    </a:lnTo>
                    <a:lnTo>
                      <a:pt x="292" y="734"/>
                    </a:lnTo>
                    <a:lnTo>
                      <a:pt x="274" y="752"/>
                    </a:lnTo>
                    <a:lnTo>
                      <a:pt x="256" y="766"/>
                    </a:lnTo>
                    <a:lnTo>
                      <a:pt x="238" y="778"/>
                    </a:lnTo>
                    <a:lnTo>
                      <a:pt x="220" y="788"/>
                    </a:lnTo>
                    <a:lnTo>
                      <a:pt x="200" y="796"/>
                    </a:lnTo>
                    <a:lnTo>
                      <a:pt x="182" y="800"/>
                    </a:lnTo>
                    <a:lnTo>
                      <a:pt x="164" y="804"/>
                    </a:lnTo>
                    <a:lnTo>
                      <a:pt x="146" y="808"/>
                    </a:lnTo>
                    <a:lnTo>
                      <a:pt x="108" y="808"/>
                    </a:lnTo>
                    <a:lnTo>
                      <a:pt x="108" y="808"/>
                    </a:lnTo>
                    <a:lnTo>
                      <a:pt x="78" y="808"/>
                    </a:lnTo>
                    <a:lnTo>
                      <a:pt x="52" y="802"/>
                    </a:lnTo>
                    <a:lnTo>
                      <a:pt x="26" y="794"/>
                    </a:lnTo>
                    <a:lnTo>
                      <a:pt x="0" y="784"/>
                    </a:lnTo>
                    <a:lnTo>
                      <a:pt x="34" y="6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9" name="Freeform 24"/>
              <p:cNvSpPr>
                <a:spLocks/>
              </p:cNvSpPr>
              <p:nvPr/>
            </p:nvSpPr>
            <p:spPr bwMode="auto">
              <a:xfrm>
                <a:off x="8179056" y="4502136"/>
                <a:ext cx="45269" cy="74340"/>
              </a:xfrm>
              <a:custGeom>
                <a:avLst/>
                <a:gdLst>
                  <a:gd name="T0" fmla="*/ 124 w 436"/>
                  <a:gd name="T1" fmla="*/ 572 h 716"/>
                  <a:gd name="T2" fmla="*/ 124 w 436"/>
                  <a:gd name="T3" fmla="*/ 272 h 716"/>
                  <a:gd name="T4" fmla="*/ 0 w 436"/>
                  <a:gd name="T5" fmla="*/ 272 h 716"/>
                  <a:gd name="T6" fmla="*/ 28 w 436"/>
                  <a:gd name="T7" fmla="*/ 166 h 716"/>
                  <a:gd name="T8" fmla="*/ 124 w 436"/>
                  <a:gd name="T9" fmla="*/ 166 h 716"/>
                  <a:gd name="T10" fmla="*/ 124 w 436"/>
                  <a:gd name="T11" fmla="*/ 40 h 716"/>
                  <a:gd name="T12" fmla="*/ 260 w 436"/>
                  <a:gd name="T13" fmla="*/ 0 h 716"/>
                  <a:gd name="T14" fmla="*/ 260 w 436"/>
                  <a:gd name="T15" fmla="*/ 166 h 716"/>
                  <a:gd name="T16" fmla="*/ 424 w 436"/>
                  <a:gd name="T17" fmla="*/ 166 h 716"/>
                  <a:gd name="T18" fmla="*/ 390 w 436"/>
                  <a:gd name="T19" fmla="*/ 272 h 716"/>
                  <a:gd name="T20" fmla="*/ 260 w 436"/>
                  <a:gd name="T21" fmla="*/ 272 h 716"/>
                  <a:gd name="T22" fmla="*/ 260 w 436"/>
                  <a:gd name="T23" fmla="*/ 538 h 716"/>
                  <a:gd name="T24" fmla="*/ 260 w 436"/>
                  <a:gd name="T25" fmla="*/ 538 h 716"/>
                  <a:gd name="T26" fmla="*/ 262 w 436"/>
                  <a:gd name="T27" fmla="*/ 556 h 716"/>
                  <a:gd name="T28" fmla="*/ 264 w 436"/>
                  <a:gd name="T29" fmla="*/ 570 h 716"/>
                  <a:gd name="T30" fmla="*/ 268 w 436"/>
                  <a:gd name="T31" fmla="*/ 582 h 716"/>
                  <a:gd name="T32" fmla="*/ 274 w 436"/>
                  <a:gd name="T33" fmla="*/ 592 h 716"/>
                  <a:gd name="T34" fmla="*/ 280 w 436"/>
                  <a:gd name="T35" fmla="*/ 598 h 716"/>
                  <a:gd name="T36" fmla="*/ 290 w 436"/>
                  <a:gd name="T37" fmla="*/ 604 h 716"/>
                  <a:gd name="T38" fmla="*/ 300 w 436"/>
                  <a:gd name="T39" fmla="*/ 606 h 716"/>
                  <a:gd name="T40" fmla="*/ 312 w 436"/>
                  <a:gd name="T41" fmla="*/ 606 h 716"/>
                  <a:gd name="T42" fmla="*/ 312 w 436"/>
                  <a:gd name="T43" fmla="*/ 606 h 716"/>
                  <a:gd name="T44" fmla="*/ 336 w 436"/>
                  <a:gd name="T45" fmla="*/ 604 h 716"/>
                  <a:gd name="T46" fmla="*/ 358 w 436"/>
                  <a:gd name="T47" fmla="*/ 598 h 716"/>
                  <a:gd name="T48" fmla="*/ 378 w 436"/>
                  <a:gd name="T49" fmla="*/ 590 h 716"/>
                  <a:gd name="T50" fmla="*/ 394 w 436"/>
                  <a:gd name="T51" fmla="*/ 580 h 716"/>
                  <a:gd name="T52" fmla="*/ 436 w 436"/>
                  <a:gd name="T53" fmla="*/ 674 h 716"/>
                  <a:gd name="T54" fmla="*/ 436 w 436"/>
                  <a:gd name="T55" fmla="*/ 674 h 716"/>
                  <a:gd name="T56" fmla="*/ 420 w 436"/>
                  <a:gd name="T57" fmla="*/ 684 h 716"/>
                  <a:gd name="T58" fmla="*/ 402 w 436"/>
                  <a:gd name="T59" fmla="*/ 692 h 716"/>
                  <a:gd name="T60" fmla="*/ 384 w 436"/>
                  <a:gd name="T61" fmla="*/ 698 h 716"/>
                  <a:gd name="T62" fmla="*/ 362 w 436"/>
                  <a:gd name="T63" fmla="*/ 704 h 716"/>
                  <a:gd name="T64" fmla="*/ 342 w 436"/>
                  <a:gd name="T65" fmla="*/ 710 h 716"/>
                  <a:gd name="T66" fmla="*/ 320 w 436"/>
                  <a:gd name="T67" fmla="*/ 714 h 716"/>
                  <a:gd name="T68" fmla="*/ 300 w 436"/>
                  <a:gd name="T69" fmla="*/ 716 h 716"/>
                  <a:gd name="T70" fmla="*/ 278 w 436"/>
                  <a:gd name="T71" fmla="*/ 716 h 716"/>
                  <a:gd name="T72" fmla="*/ 278 w 436"/>
                  <a:gd name="T73" fmla="*/ 716 h 716"/>
                  <a:gd name="T74" fmla="*/ 260 w 436"/>
                  <a:gd name="T75" fmla="*/ 716 h 716"/>
                  <a:gd name="T76" fmla="*/ 244 w 436"/>
                  <a:gd name="T77" fmla="*/ 714 h 716"/>
                  <a:gd name="T78" fmla="*/ 228 w 436"/>
                  <a:gd name="T79" fmla="*/ 710 h 716"/>
                  <a:gd name="T80" fmla="*/ 214 w 436"/>
                  <a:gd name="T81" fmla="*/ 706 h 716"/>
                  <a:gd name="T82" fmla="*/ 200 w 436"/>
                  <a:gd name="T83" fmla="*/ 700 h 716"/>
                  <a:gd name="T84" fmla="*/ 188 w 436"/>
                  <a:gd name="T85" fmla="*/ 694 h 716"/>
                  <a:gd name="T86" fmla="*/ 176 w 436"/>
                  <a:gd name="T87" fmla="*/ 686 h 716"/>
                  <a:gd name="T88" fmla="*/ 166 w 436"/>
                  <a:gd name="T89" fmla="*/ 678 h 716"/>
                  <a:gd name="T90" fmla="*/ 156 w 436"/>
                  <a:gd name="T91" fmla="*/ 668 h 716"/>
                  <a:gd name="T92" fmla="*/ 148 w 436"/>
                  <a:gd name="T93" fmla="*/ 656 h 716"/>
                  <a:gd name="T94" fmla="*/ 142 w 436"/>
                  <a:gd name="T95" fmla="*/ 644 h 716"/>
                  <a:gd name="T96" fmla="*/ 136 w 436"/>
                  <a:gd name="T97" fmla="*/ 632 h 716"/>
                  <a:gd name="T98" fmla="*/ 130 w 436"/>
                  <a:gd name="T99" fmla="*/ 618 h 716"/>
                  <a:gd name="T100" fmla="*/ 128 w 436"/>
                  <a:gd name="T101" fmla="*/ 604 h 716"/>
                  <a:gd name="T102" fmla="*/ 126 w 436"/>
                  <a:gd name="T103" fmla="*/ 588 h 716"/>
                  <a:gd name="T104" fmla="*/ 124 w 436"/>
                  <a:gd name="T105" fmla="*/ 572 h 716"/>
                  <a:gd name="T106" fmla="*/ 124 w 436"/>
                  <a:gd name="T107" fmla="*/ 57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6" h="716">
                    <a:moveTo>
                      <a:pt x="124" y="572"/>
                    </a:moveTo>
                    <a:lnTo>
                      <a:pt x="124" y="272"/>
                    </a:lnTo>
                    <a:lnTo>
                      <a:pt x="0" y="272"/>
                    </a:lnTo>
                    <a:lnTo>
                      <a:pt x="28" y="166"/>
                    </a:lnTo>
                    <a:lnTo>
                      <a:pt x="124" y="166"/>
                    </a:lnTo>
                    <a:lnTo>
                      <a:pt x="124" y="40"/>
                    </a:lnTo>
                    <a:lnTo>
                      <a:pt x="260" y="0"/>
                    </a:lnTo>
                    <a:lnTo>
                      <a:pt x="260" y="166"/>
                    </a:lnTo>
                    <a:lnTo>
                      <a:pt x="424" y="166"/>
                    </a:lnTo>
                    <a:lnTo>
                      <a:pt x="390" y="272"/>
                    </a:lnTo>
                    <a:lnTo>
                      <a:pt x="260" y="272"/>
                    </a:lnTo>
                    <a:lnTo>
                      <a:pt x="260" y="538"/>
                    </a:lnTo>
                    <a:lnTo>
                      <a:pt x="260" y="538"/>
                    </a:lnTo>
                    <a:lnTo>
                      <a:pt x="262" y="556"/>
                    </a:lnTo>
                    <a:lnTo>
                      <a:pt x="264" y="570"/>
                    </a:lnTo>
                    <a:lnTo>
                      <a:pt x="268" y="582"/>
                    </a:lnTo>
                    <a:lnTo>
                      <a:pt x="274" y="592"/>
                    </a:lnTo>
                    <a:lnTo>
                      <a:pt x="280" y="598"/>
                    </a:lnTo>
                    <a:lnTo>
                      <a:pt x="290" y="604"/>
                    </a:lnTo>
                    <a:lnTo>
                      <a:pt x="300" y="606"/>
                    </a:lnTo>
                    <a:lnTo>
                      <a:pt x="312" y="606"/>
                    </a:lnTo>
                    <a:lnTo>
                      <a:pt x="312" y="606"/>
                    </a:lnTo>
                    <a:lnTo>
                      <a:pt x="336" y="604"/>
                    </a:lnTo>
                    <a:lnTo>
                      <a:pt x="358" y="598"/>
                    </a:lnTo>
                    <a:lnTo>
                      <a:pt x="378" y="590"/>
                    </a:lnTo>
                    <a:lnTo>
                      <a:pt x="394" y="580"/>
                    </a:lnTo>
                    <a:lnTo>
                      <a:pt x="436" y="674"/>
                    </a:lnTo>
                    <a:lnTo>
                      <a:pt x="436" y="674"/>
                    </a:lnTo>
                    <a:lnTo>
                      <a:pt x="420" y="684"/>
                    </a:lnTo>
                    <a:lnTo>
                      <a:pt x="402" y="692"/>
                    </a:lnTo>
                    <a:lnTo>
                      <a:pt x="384" y="698"/>
                    </a:lnTo>
                    <a:lnTo>
                      <a:pt x="362" y="704"/>
                    </a:lnTo>
                    <a:lnTo>
                      <a:pt x="342" y="710"/>
                    </a:lnTo>
                    <a:lnTo>
                      <a:pt x="320" y="714"/>
                    </a:lnTo>
                    <a:lnTo>
                      <a:pt x="300" y="716"/>
                    </a:lnTo>
                    <a:lnTo>
                      <a:pt x="278" y="716"/>
                    </a:lnTo>
                    <a:lnTo>
                      <a:pt x="278" y="716"/>
                    </a:lnTo>
                    <a:lnTo>
                      <a:pt x="260" y="716"/>
                    </a:lnTo>
                    <a:lnTo>
                      <a:pt x="244" y="714"/>
                    </a:lnTo>
                    <a:lnTo>
                      <a:pt x="228" y="710"/>
                    </a:lnTo>
                    <a:lnTo>
                      <a:pt x="214" y="706"/>
                    </a:lnTo>
                    <a:lnTo>
                      <a:pt x="200" y="700"/>
                    </a:lnTo>
                    <a:lnTo>
                      <a:pt x="188" y="694"/>
                    </a:lnTo>
                    <a:lnTo>
                      <a:pt x="176" y="686"/>
                    </a:lnTo>
                    <a:lnTo>
                      <a:pt x="166" y="678"/>
                    </a:lnTo>
                    <a:lnTo>
                      <a:pt x="156" y="668"/>
                    </a:lnTo>
                    <a:lnTo>
                      <a:pt x="148" y="656"/>
                    </a:lnTo>
                    <a:lnTo>
                      <a:pt x="142" y="644"/>
                    </a:lnTo>
                    <a:lnTo>
                      <a:pt x="136" y="632"/>
                    </a:lnTo>
                    <a:lnTo>
                      <a:pt x="130" y="618"/>
                    </a:lnTo>
                    <a:lnTo>
                      <a:pt x="128" y="604"/>
                    </a:lnTo>
                    <a:lnTo>
                      <a:pt x="126" y="588"/>
                    </a:lnTo>
                    <a:lnTo>
                      <a:pt x="124" y="572"/>
                    </a:lnTo>
                    <a:lnTo>
                      <a:pt x="124" y="5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0" name="Freeform 25"/>
              <p:cNvSpPr>
                <a:spLocks/>
              </p:cNvSpPr>
              <p:nvPr/>
            </p:nvSpPr>
            <p:spPr bwMode="auto">
              <a:xfrm>
                <a:off x="8254227" y="4517918"/>
                <a:ext cx="47345" cy="58558"/>
              </a:xfrm>
              <a:custGeom>
                <a:avLst/>
                <a:gdLst>
                  <a:gd name="T0" fmla="*/ 0 w 456"/>
                  <a:gd name="T1" fmla="*/ 288 h 564"/>
                  <a:gd name="T2" fmla="*/ 4 w 456"/>
                  <a:gd name="T3" fmla="*/ 226 h 564"/>
                  <a:gd name="T4" fmla="*/ 22 w 456"/>
                  <a:gd name="T5" fmla="*/ 172 h 564"/>
                  <a:gd name="T6" fmla="*/ 48 w 456"/>
                  <a:gd name="T7" fmla="*/ 122 h 564"/>
                  <a:gd name="T8" fmla="*/ 82 w 456"/>
                  <a:gd name="T9" fmla="*/ 80 h 564"/>
                  <a:gd name="T10" fmla="*/ 124 w 456"/>
                  <a:gd name="T11" fmla="*/ 46 h 564"/>
                  <a:gd name="T12" fmla="*/ 172 w 456"/>
                  <a:gd name="T13" fmla="*/ 22 h 564"/>
                  <a:gd name="T14" fmla="*/ 226 w 456"/>
                  <a:gd name="T15" fmla="*/ 6 h 564"/>
                  <a:gd name="T16" fmla="*/ 284 w 456"/>
                  <a:gd name="T17" fmla="*/ 0 h 564"/>
                  <a:gd name="T18" fmla="*/ 308 w 456"/>
                  <a:gd name="T19" fmla="*/ 0 h 564"/>
                  <a:gd name="T20" fmla="*/ 352 w 456"/>
                  <a:gd name="T21" fmla="*/ 6 h 564"/>
                  <a:gd name="T22" fmla="*/ 388 w 456"/>
                  <a:gd name="T23" fmla="*/ 16 h 564"/>
                  <a:gd name="T24" fmla="*/ 428 w 456"/>
                  <a:gd name="T25" fmla="*/ 36 h 564"/>
                  <a:gd name="T26" fmla="*/ 428 w 456"/>
                  <a:gd name="T27" fmla="*/ 152 h 564"/>
                  <a:gd name="T28" fmla="*/ 400 w 456"/>
                  <a:gd name="T29" fmla="*/ 134 h 564"/>
                  <a:gd name="T30" fmla="*/ 368 w 456"/>
                  <a:gd name="T31" fmla="*/ 120 h 564"/>
                  <a:gd name="T32" fmla="*/ 336 w 456"/>
                  <a:gd name="T33" fmla="*/ 112 h 564"/>
                  <a:gd name="T34" fmla="*/ 298 w 456"/>
                  <a:gd name="T35" fmla="*/ 110 h 564"/>
                  <a:gd name="T36" fmla="*/ 280 w 456"/>
                  <a:gd name="T37" fmla="*/ 110 h 564"/>
                  <a:gd name="T38" fmla="*/ 246 w 456"/>
                  <a:gd name="T39" fmla="*/ 118 h 564"/>
                  <a:gd name="T40" fmla="*/ 216 w 456"/>
                  <a:gd name="T41" fmla="*/ 130 h 564"/>
                  <a:gd name="T42" fmla="*/ 192 w 456"/>
                  <a:gd name="T43" fmla="*/ 148 h 564"/>
                  <a:gd name="T44" fmla="*/ 170 w 456"/>
                  <a:gd name="T45" fmla="*/ 172 h 564"/>
                  <a:gd name="T46" fmla="*/ 156 w 456"/>
                  <a:gd name="T47" fmla="*/ 200 h 564"/>
                  <a:gd name="T48" fmla="*/ 144 w 456"/>
                  <a:gd name="T49" fmla="*/ 230 h 564"/>
                  <a:gd name="T50" fmla="*/ 140 w 456"/>
                  <a:gd name="T51" fmla="*/ 266 h 564"/>
                  <a:gd name="T52" fmla="*/ 138 w 456"/>
                  <a:gd name="T53" fmla="*/ 284 h 564"/>
                  <a:gd name="T54" fmla="*/ 142 w 456"/>
                  <a:gd name="T55" fmla="*/ 322 h 564"/>
                  <a:gd name="T56" fmla="*/ 150 w 456"/>
                  <a:gd name="T57" fmla="*/ 358 h 564"/>
                  <a:gd name="T58" fmla="*/ 162 w 456"/>
                  <a:gd name="T59" fmla="*/ 386 h 564"/>
                  <a:gd name="T60" fmla="*/ 180 w 456"/>
                  <a:gd name="T61" fmla="*/ 410 h 564"/>
                  <a:gd name="T62" fmla="*/ 202 w 456"/>
                  <a:gd name="T63" fmla="*/ 430 h 564"/>
                  <a:gd name="T64" fmla="*/ 228 w 456"/>
                  <a:gd name="T65" fmla="*/ 444 h 564"/>
                  <a:gd name="T66" fmla="*/ 258 w 456"/>
                  <a:gd name="T67" fmla="*/ 452 h 564"/>
                  <a:gd name="T68" fmla="*/ 292 w 456"/>
                  <a:gd name="T69" fmla="*/ 454 h 564"/>
                  <a:gd name="T70" fmla="*/ 310 w 456"/>
                  <a:gd name="T71" fmla="*/ 454 h 564"/>
                  <a:gd name="T72" fmla="*/ 342 w 456"/>
                  <a:gd name="T73" fmla="*/ 448 h 564"/>
                  <a:gd name="T74" fmla="*/ 388 w 456"/>
                  <a:gd name="T75" fmla="*/ 432 h 564"/>
                  <a:gd name="T76" fmla="*/ 456 w 456"/>
                  <a:gd name="T77" fmla="*/ 512 h 564"/>
                  <a:gd name="T78" fmla="*/ 438 w 456"/>
                  <a:gd name="T79" fmla="*/ 522 h 564"/>
                  <a:gd name="T80" fmla="*/ 398 w 456"/>
                  <a:gd name="T81" fmla="*/ 542 h 564"/>
                  <a:gd name="T82" fmla="*/ 352 w 456"/>
                  <a:gd name="T83" fmla="*/ 556 h 564"/>
                  <a:gd name="T84" fmla="*/ 300 w 456"/>
                  <a:gd name="T85" fmla="*/ 564 h 564"/>
                  <a:gd name="T86" fmla="*/ 272 w 456"/>
                  <a:gd name="T87" fmla="*/ 564 h 564"/>
                  <a:gd name="T88" fmla="*/ 210 w 456"/>
                  <a:gd name="T89" fmla="*/ 558 h 564"/>
                  <a:gd name="T90" fmla="*/ 156 w 456"/>
                  <a:gd name="T91" fmla="*/ 542 h 564"/>
                  <a:gd name="T92" fmla="*/ 108 w 456"/>
                  <a:gd name="T93" fmla="*/ 518 h 564"/>
                  <a:gd name="T94" fmla="*/ 70 w 456"/>
                  <a:gd name="T95" fmla="*/ 484 h 564"/>
                  <a:gd name="T96" fmla="*/ 40 w 456"/>
                  <a:gd name="T97" fmla="*/ 444 h 564"/>
                  <a:gd name="T98" fmla="*/ 18 w 456"/>
                  <a:gd name="T99" fmla="*/ 396 h 564"/>
                  <a:gd name="T100" fmla="*/ 4 w 456"/>
                  <a:gd name="T101" fmla="*/ 344 h 564"/>
                  <a:gd name="T102" fmla="*/ 0 w 456"/>
                  <a:gd name="T103" fmla="*/ 288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56" h="564">
                    <a:moveTo>
                      <a:pt x="0" y="288"/>
                    </a:moveTo>
                    <a:lnTo>
                      <a:pt x="0" y="288"/>
                    </a:lnTo>
                    <a:lnTo>
                      <a:pt x="0" y="256"/>
                    </a:lnTo>
                    <a:lnTo>
                      <a:pt x="4" y="226"/>
                    </a:lnTo>
                    <a:lnTo>
                      <a:pt x="12" y="198"/>
                    </a:lnTo>
                    <a:lnTo>
                      <a:pt x="22" y="172"/>
                    </a:lnTo>
                    <a:lnTo>
                      <a:pt x="32" y="146"/>
                    </a:lnTo>
                    <a:lnTo>
                      <a:pt x="48" y="122"/>
                    </a:lnTo>
                    <a:lnTo>
                      <a:pt x="64" y="100"/>
                    </a:lnTo>
                    <a:lnTo>
                      <a:pt x="82" y="80"/>
                    </a:lnTo>
                    <a:lnTo>
                      <a:pt x="102" y="62"/>
                    </a:lnTo>
                    <a:lnTo>
                      <a:pt x="124" y="46"/>
                    </a:lnTo>
                    <a:lnTo>
                      <a:pt x="146" y="32"/>
                    </a:lnTo>
                    <a:lnTo>
                      <a:pt x="172" y="22"/>
                    </a:lnTo>
                    <a:lnTo>
                      <a:pt x="198" y="12"/>
                    </a:lnTo>
                    <a:lnTo>
                      <a:pt x="226" y="6"/>
                    </a:lnTo>
                    <a:lnTo>
                      <a:pt x="254" y="2"/>
                    </a:lnTo>
                    <a:lnTo>
                      <a:pt x="284" y="0"/>
                    </a:lnTo>
                    <a:lnTo>
                      <a:pt x="284" y="0"/>
                    </a:lnTo>
                    <a:lnTo>
                      <a:pt x="308" y="0"/>
                    </a:lnTo>
                    <a:lnTo>
                      <a:pt x="332" y="4"/>
                    </a:lnTo>
                    <a:lnTo>
                      <a:pt x="352" y="6"/>
                    </a:lnTo>
                    <a:lnTo>
                      <a:pt x="372" y="12"/>
                    </a:lnTo>
                    <a:lnTo>
                      <a:pt x="388" y="16"/>
                    </a:lnTo>
                    <a:lnTo>
                      <a:pt x="404" y="24"/>
                    </a:lnTo>
                    <a:lnTo>
                      <a:pt x="428" y="36"/>
                    </a:lnTo>
                    <a:lnTo>
                      <a:pt x="428" y="152"/>
                    </a:lnTo>
                    <a:lnTo>
                      <a:pt x="428" y="152"/>
                    </a:lnTo>
                    <a:lnTo>
                      <a:pt x="414" y="142"/>
                    </a:lnTo>
                    <a:lnTo>
                      <a:pt x="400" y="134"/>
                    </a:lnTo>
                    <a:lnTo>
                      <a:pt x="384" y="126"/>
                    </a:lnTo>
                    <a:lnTo>
                      <a:pt x="368" y="120"/>
                    </a:lnTo>
                    <a:lnTo>
                      <a:pt x="352" y="116"/>
                    </a:lnTo>
                    <a:lnTo>
                      <a:pt x="336" y="112"/>
                    </a:lnTo>
                    <a:lnTo>
                      <a:pt x="316" y="110"/>
                    </a:lnTo>
                    <a:lnTo>
                      <a:pt x="298" y="110"/>
                    </a:lnTo>
                    <a:lnTo>
                      <a:pt x="298" y="110"/>
                    </a:lnTo>
                    <a:lnTo>
                      <a:pt x="280" y="110"/>
                    </a:lnTo>
                    <a:lnTo>
                      <a:pt x="262" y="112"/>
                    </a:lnTo>
                    <a:lnTo>
                      <a:pt x="246" y="118"/>
                    </a:lnTo>
                    <a:lnTo>
                      <a:pt x="230" y="122"/>
                    </a:lnTo>
                    <a:lnTo>
                      <a:pt x="216" y="130"/>
                    </a:lnTo>
                    <a:lnTo>
                      <a:pt x="204" y="138"/>
                    </a:lnTo>
                    <a:lnTo>
                      <a:pt x="192" y="148"/>
                    </a:lnTo>
                    <a:lnTo>
                      <a:pt x="180" y="160"/>
                    </a:lnTo>
                    <a:lnTo>
                      <a:pt x="170" y="172"/>
                    </a:lnTo>
                    <a:lnTo>
                      <a:pt x="162" y="186"/>
                    </a:lnTo>
                    <a:lnTo>
                      <a:pt x="156" y="200"/>
                    </a:lnTo>
                    <a:lnTo>
                      <a:pt x="150" y="214"/>
                    </a:lnTo>
                    <a:lnTo>
                      <a:pt x="144" y="230"/>
                    </a:lnTo>
                    <a:lnTo>
                      <a:pt x="142" y="248"/>
                    </a:lnTo>
                    <a:lnTo>
                      <a:pt x="140" y="266"/>
                    </a:lnTo>
                    <a:lnTo>
                      <a:pt x="138" y="284"/>
                    </a:lnTo>
                    <a:lnTo>
                      <a:pt x="138" y="284"/>
                    </a:lnTo>
                    <a:lnTo>
                      <a:pt x="140" y="304"/>
                    </a:lnTo>
                    <a:lnTo>
                      <a:pt x="142" y="322"/>
                    </a:lnTo>
                    <a:lnTo>
                      <a:pt x="144" y="340"/>
                    </a:lnTo>
                    <a:lnTo>
                      <a:pt x="150" y="358"/>
                    </a:lnTo>
                    <a:lnTo>
                      <a:pt x="156" y="372"/>
                    </a:lnTo>
                    <a:lnTo>
                      <a:pt x="162" y="386"/>
                    </a:lnTo>
                    <a:lnTo>
                      <a:pt x="170" y="400"/>
                    </a:lnTo>
                    <a:lnTo>
                      <a:pt x="180" y="410"/>
                    </a:lnTo>
                    <a:lnTo>
                      <a:pt x="190" y="420"/>
                    </a:lnTo>
                    <a:lnTo>
                      <a:pt x="202" y="430"/>
                    </a:lnTo>
                    <a:lnTo>
                      <a:pt x="214" y="438"/>
                    </a:lnTo>
                    <a:lnTo>
                      <a:pt x="228" y="444"/>
                    </a:lnTo>
                    <a:lnTo>
                      <a:pt x="242" y="448"/>
                    </a:lnTo>
                    <a:lnTo>
                      <a:pt x="258" y="452"/>
                    </a:lnTo>
                    <a:lnTo>
                      <a:pt x="274" y="454"/>
                    </a:lnTo>
                    <a:lnTo>
                      <a:pt x="292" y="454"/>
                    </a:lnTo>
                    <a:lnTo>
                      <a:pt x="292" y="454"/>
                    </a:lnTo>
                    <a:lnTo>
                      <a:pt x="310" y="454"/>
                    </a:lnTo>
                    <a:lnTo>
                      <a:pt x="326" y="452"/>
                    </a:lnTo>
                    <a:lnTo>
                      <a:pt x="342" y="448"/>
                    </a:lnTo>
                    <a:lnTo>
                      <a:pt x="358" y="444"/>
                    </a:lnTo>
                    <a:lnTo>
                      <a:pt x="388" y="432"/>
                    </a:lnTo>
                    <a:lnTo>
                      <a:pt x="416" y="418"/>
                    </a:lnTo>
                    <a:lnTo>
                      <a:pt x="456" y="512"/>
                    </a:lnTo>
                    <a:lnTo>
                      <a:pt x="456" y="512"/>
                    </a:lnTo>
                    <a:lnTo>
                      <a:pt x="438" y="522"/>
                    </a:lnTo>
                    <a:lnTo>
                      <a:pt x="420" y="532"/>
                    </a:lnTo>
                    <a:lnTo>
                      <a:pt x="398" y="542"/>
                    </a:lnTo>
                    <a:lnTo>
                      <a:pt x="376" y="550"/>
                    </a:lnTo>
                    <a:lnTo>
                      <a:pt x="352" y="556"/>
                    </a:lnTo>
                    <a:lnTo>
                      <a:pt x="326" y="560"/>
                    </a:lnTo>
                    <a:lnTo>
                      <a:pt x="300" y="564"/>
                    </a:lnTo>
                    <a:lnTo>
                      <a:pt x="272" y="564"/>
                    </a:lnTo>
                    <a:lnTo>
                      <a:pt x="272" y="564"/>
                    </a:lnTo>
                    <a:lnTo>
                      <a:pt x="240" y="562"/>
                    </a:lnTo>
                    <a:lnTo>
                      <a:pt x="210" y="558"/>
                    </a:lnTo>
                    <a:lnTo>
                      <a:pt x="182" y="552"/>
                    </a:lnTo>
                    <a:lnTo>
                      <a:pt x="156" y="542"/>
                    </a:lnTo>
                    <a:lnTo>
                      <a:pt x="130" y="532"/>
                    </a:lnTo>
                    <a:lnTo>
                      <a:pt x="108" y="518"/>
                    </a:lnTo>
                    <a:lnTo>
                      <a:pt x="88" y="502"/>
                    </a:lnTo>
                    <a:lnTo>
                      <a:pt x="70" y="484"/>
                    </a:lnTo>
                    <a:lnTo>
                      <a:pt x="54" y="464"/>
                    </a:lnTo>
                    <a:lnTo>
                      <a:pt x="40" y="444"/>
                    </a:lnTo>
                    <a:lnTo>
                      <a:pt x="28" y="420"/>
                    </a:lnTo>
                    <a:lnTo>
                      <a:pt x="18" y="396"/>
                    </a:lnTo>
                    <a:lnTo>
                      <a:pt x="10" y="370"/>
                    </a:lnTo>
                    <a:lnTo>
                      <a:pt x="4" y="344"/>
                    </a:lnTo>
                    <a:lnTo>
                      <a:pt x="0" y="316"/>
                    </a:lnTo>
                    <a:lnTo>
                      <a:pt x="0" y="288"/>
                    </a:lnTo>
                    <a:lnTo>
                      <a:pt x="0"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1" name="Freeform 26"/>
              <p:cNvSpPr>
                <a:spLocks/>
              </p:cNvSpPr>
              <p:nvPr/>
            </p:nvSpPr>
            <p:spPr bwMode="auto">
              <a:xfrm>
                <a:off x="8304894" y="4517918"/>
                <a:ext cx="43400" cy="58558"/>
              </a:xfrm>
              <a:custGeom>
                <a:avLst/>
                <a:gdLst>
                  <a:gd name="T0" fmla="*/ 58 w 418"/>
                  <a:gd name="T1" fmla="*/ 422 h 564"/>
                  <a:gd name="T2" fmla="*/ 112 w 418"/>
                  <a:gd name="T3" fmla="*/ 444 h 564"/>
                  <a:gd name="T4" fmla="*/ 170 w 418"/>
                  <a:gd name="T5" fmla="*/ 456 h 564"/>
                  <a:gd name="T6" fmla="*/ 210 w 418"/>
                  <a:gd name="T7" fmla="*/ 456 h 564"/>
                  <a:gd name="T8" fmla="*/ 258 w 418"/>
                  <a:gd name="T9" fmla="*/ 444 h 564"/>
                  <a:gd name="T10" fmla="*/ 282 w 418"/>
                  <a:gd name="T11" fmla="*/ 414 h 564"/>
                  <a:gd name="T12" fmla="*/ 284 w 418"/>
                  <a:gd name="T13" fmla="*/ 392 h 564"/>
                  <a:gd name="T14" fmla="*/ 274 w 418"/>
                  <a:gd name="T15" fmla="*/ 372 h 564"/>
                  <a:gd name="T16" fmla="*/ 226 w 418"/>
                  <a:gd name="T17" fmla="*/ 340 h 564"/>
                  <a:gd name="T18" fmla="*/ 134 w 418"/>
                  <a:gd name="T19" fmla="*/ 304 h 564"/>
                  <a:gd name="T20" fmla="*/ 72 w 418"/>
                  <a:gd name="T21" fmla="*/ 264 h 564"/>
                  <a:gd name="T22" fmla="*/ 48 w 418"/>
                  <a:gd name="T23" fmla="*/ 232 h 564"/>
                  <a:gd name="T24" fmla="*/ 34 w 418"/>
                  <a:gd name="T25" fmla="*/ 194 h 564"/>
                  <a:gd name="T26" fmla="*/ 32 w 418"/>
                  <a:gd name="T27" fmla="*/ 162 h 564"/>
                  <a:gd name="T28" fmla="*/ 40 w 418"/>
                  <a:gd name="T29" fmla="*/ 112 h 564"/>
                  <a:gd name="T30" fmla="*/ 62 w 418"/>
                  <a:gd name="T31" fmla="*/ 70 h 564"/>
                  <a:gd name="T32" fmla="*/ 100 w 418"/>
                  <a:gd name="T33" fmla="*/ 36 h 564"/>
                  <a:gd name="T34" fmla="*/ 150 w 418"/>
                  <a:gd name="T35" fmla="*/ 12 h 564"/>
                  <a:gd name="T36" fmla="*/ 212 w 418"/>
                  <a:gd name="T37" fmla="*/ 0 h 564"/>
                  <a:gd name="T38" fmla="*/ 280 w 418"/>
                  <a:gd name="T39" fmla="*/ 2 h 564"/>
                  <a:gd name="T40" fmla="*/ 394 w 418"/>
                  <a:gd name="T41" fmla="*/ 26 h 564"/>
                  <a:gd name="T42" fmla="*/ 358 w 418"/>
                  <a:gd name="T43" fmla="*/ 128 h 564"/>
                  <a:gd name="T44" fmla="*/ 262 w 418"/>
                  <a:gd name="T45" fmla="*/ 108 h 564"/>
                  <a:gd name="T46" fmla="*/ 224 w 418"/>
                  <a:gd name="T47" fmla="*/ 108 h 564"/>
                  <a:gd name="T48" fmla="*/ 186 w 418"/>
                  <a:gd name="T49" fmla="*/ 118 h 564"/>
                  <a:gd name="T50" fmla="*/ 166 w 418"/>
                  <a:gd name="T51" fmla="*/ 144 h 564"/>
                  <a:gd name="T52" fmla="*/ 166 w 418"/>
                  <a:gd name="T53" fmla="*/ 164 h 564"/>
                  <a:gd name="T54" fmla="*/ 176 w 418"/>
                  <a:gd name="T55" fmla="*/ 184 h 564"/>
                  <a:gd name="T56" fmla="*/ 224 w 418"/>
                  <a:gd name="T57" fmla="*/ 212 h 564"/>
                  <a:gd name="T58" fmla="*/ 314 w 418"/>
                  <a:gd name="T59" fmla="*/ 248 h 564"/>
                  <a:gd name="T60" fmla="*/ 378 w 418"/>
                  <a:gd name="T61" fmla="*/ 292 h 564"/>
                  <a:gd name="T62" fmla="*/ 402 w 418"/>
                  <a:gd name="T63" fmla="*/ 324 h 564"/>
                  <a:gd name="T64" fmla="*/ 414 w 418"/>
                  <a:gd name="T65" fmla="*/ 364 h 564"/>
                  <a:gd name="T66" fmla="*/ 418 w 418"/>
                  <a:gd name="T67" fmla="*/ 396 h 564"/>
                  <a:gd name="T68" fmla="*/ 408 w 418"/>
                  <a:gd name="T69" fmla="*/ 456 h 564"/>
                  <a:gd name="T70" fmla="*/ 380 w 418"/>
                  <a:gd name="T71" fmla="*/ 502 h 564"/>
                  <a:gd name="T72" fmla="*/ 336 w 418"/>
                  <a:gd name="T73" fmla="*/ 534 h 564"/>
                  <a:gd name="T74" fmla="*/ 282 w 418"/>
                  <a:gd name="T75" fmla="*/ 554 h 564"/>
                  <a:gd name="T76" fmla="*/ 220 w 418"/>
                  <a:gd name="T77" fmla="*/ 564 h 564"/>
                  <a:gd name="T78" fmla="*/ 168 w 418"/>
                  <a:gd name="T79" fmla="*/ 562 h 564"/>
                  <a:gd name="T80" fmla="*/ 84 w 418"/>
                  <a:gd name="T81" fmla="*/ 548 h 564"/>
                  <a:gd name="T82" fmla="*/ 18 w 418"/>
                  <a:gd name="T83" fmla="*/ 522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8" h="564">
                    <a:moveTo>
                      <a:pt x="42" y="412"/>
                    </a:moveTo>
                    <a:lnTo>
                      <a:pt x="42" y="412"/>
                    </a:lnTo>
                    <a:lnTo>
                      <a:pt x="58" y="422"/>
                    </a:lnTo>
                    <a:lnTo>
                      <a:pt x="76" y="430"/>
                    </a:lnTo>
                    <a:lnTo>
                      <a:pt x="94" y="438"/>
                    </a:lnTo>
                    <a:lnTo>
                      <a:pt x="112" y="444"/>
                    </a:lnTo>
                    <a:lnTo>
                      <a:pt x="130" y="450"/>
                    </a:lnTo>
                    <a:lnTo>
                      <a:pt x="150" y="454"/>
                    </a:lnTo>
                    <a:lnTo>
                      <a:pt x="170" y="456"/>
                    </a:lnTo>
                    <a:lnTo>
                      <a:pt x="190" y="456"/>
                    </a:lnTo>
                    <a:lnTo>
                      <a:pt x="190" y="456"/>
                    </a:lnTo>
                    <a:lnTo>
                      <a:pt x="210" y="456"/>
                    </a:lnTo>
                    <a:lnTo>
                      <a:pt x="228" y="454"/>
                    </a:lnTo>
                    <a:lnTo>
                      <a:pt x="244" y="450"/>
                    </a:lnTo>
                    <a:lnTo>
                      <a:pt x="258" y="444"/>
                    </a:lnTo>
                    <a:lnTo>
                      <a:pt x="268" y="436"/>
                    </a:lnTo>
                    <a:lnTo>
                      <a:pt x="278" y="426"/>
                    </a:lnTo>
                    <a:lnTo>
                      <a:pt x="282" y="414"/>
                    </a:lnTo>
                    <a:lnTo>
                      <a:pt x="284" y="400"/>
                    </a:lnTo>
                    <a:lnTo>
                      <a:pt x="284" y="400"/>
                    </a:lnTo>
                    <a:lnTo>
                      <a:pt x="284" y="392"/>
                    </a:lnTo>
                    <a:lnTo>
                      <a:pt x="282" y="384"/>
                    </a:lnTo>
                    <a:lnTo>
                      <a:pt x="278" y="378"/>
                    </a:lnTo>
                    <a:lnTo>
                      <a:pt x="274" y="372"/>
                    </a:lnTo>
                    <a:lnTo>
                      <a:pt x="262" y="360"/>
                    </a:lnTo>
                    <a:lnTo>
                      <a:pt x="244" y="350"/>
                    </a:lnTo>
                    <a:lnTo>
                      <a:pt x="226" y="340"/>
                    </a:lnTo>
                    <a:lnTo>
                      <a:pt x="204" y="332"/>
                    </a:lnTo>
                    <a:lnTo>
                      <a:pt x="158" y="314"/>
                    </a:lnTo>
                    <a:lnTo>
                      <a:pt x="134" y="304"/>
                    </a:lnTo>
                    <a:lnTo>
                      <a:pt x="112" y="294"/>
                    </a:lnTo>
                    <a:lnTo>
                      <a:pt x="90" y="280"/>
                    </a:lnTo>
                    <a:lnTo>
                      <a:pt x="72" y="264"/>
                    </a:lnTo>
                    <a:lnTo>
                      <a:pt x="62" y="254"/>
                    </a:lnTo>
                    <a:lnTo>
                      <a:pt x="54" y="244"/>
                    </a:lnTo>
                    <a:lnTo>
                      <a:pt x="48" y="232"/>
                    </a:lnTo>
                    <a:lnTo>
                      <a:pt x="42" y="222"/>
                    </a:lnTo>
                    <a:lnTo>
                      <a:pt x="38" y="208"/>
                    </a:lnTo>
                    <a:lnTo>
                      <a:pt x="34" y="194"/>
                    </a:lnTo>
                    <a:lnTo>
                      <a:pt x="32" y="180"/>
                    </a:lnTo>
                    <a:lnTo>
                      <a:pt x="32" y="162"/>
                    </a:lnTo>
                    <a:lnTo>
                      <a:pt x="32" y="162"/>
                    </a:lnTo>
                    <a:lnTo>
                      <a:pt x="32" y="146"/>
                    </a:lnTo>
                    <a:lnTo>
                      <a:pt x="36" y="128"/>
                    </a:lnTo>
                    <a:lnTo>
                      <a:pt x="40" y="112"/>
                    </a:lnTo>
                    <a:lnTo>
                      <a:pt x="46" y="98"/>
                    </a:lnTo>
                    <a:lnTo>
                      <a:pt x="54" y="82"/>
                    </a:lnTo>
                    <a:lnTo>
                      <a:pt x="62" y="70"/>
                    </a:lnTo>
                    <a:lnTo>
                      <a:pt x="74" y="56"/>
                    </a:lnTo>
                    <a:lnTo>
                      <a:pt x="86" y="46"/>
                    </a:lnTo>
                    <a:lnTo>
                      <a:pt x="100" y="36"/>
                    </a:lnTo>
                    <a:lnTo>
                      <a:pt x="116" y="26"/>
                    </a:lnTo>
                    <a:lnTo>
                      <a:pt x="132" y="18"/>
                    </a:lnTo>
                    <a:lnTo>
                      <a:pt x="150" y="12"/>
                    </a:lnTo>
                    <a:lnTo>
                      <a:pt x="170" y="6"/>
                    </a:lnTo>
                    <a:lnTo>
                      <a:pt x="190" y="4"/>
                    </a:lnTo>
                    <a:lnTo>
                      <a:pt x="212" y="0"/>
                    </a:lnTo>
                    <a:lnTo>
                      <a:pt x="236" y="0"/>
                    </a:lnTo>
                    <a:lnTo>
                      <a:pt x="236" y="0"/>
                    </a:lnTo>
                    <a:lnTo>
                      <a:pt x="280" y="2"/>
                    </a:lnTo>
                    <a:lnTo>
                      <a:pt x="320" y="8"/>
                    </a:lnTo>
                    <a:lnTo>
                      <a:pt x="358" y="16"/>
                    </a:lnTo>
                    <a:lnTo>
                      <a:pt x="394" y="26"/>
                    </a:lnTo>
                    <a:lnTo>
                      <a:pt x="394" y="142"/>
                    </a:lnTo>
                    <a:lnTo>
                      <a:pt x="394" y="142"/>
                    </a:lnTo>
                    <a:lnTo>
                      <a:pt x="358" y="128"/>
                    </a:lnTo>
                    <a:lnTo>
                      <a:pt x="322" y="116"/>
                    </a:lnTo>
                    <a:lnTo>
                      <a:pt x="282" y="110"/>
                    </a:lnTo>
                    <a:lnTo>
                      <a:pt x="262" y="108"/>
                    </a:lnTo>
                    <a:lnTo>
                      <a:pt x="242" y="108"/>
                    </a:lnTo>
                    <a:lnTo>
                      <a:pt x="242" y="108"/>
                    </a:lnTo>
                    <a:lnTo>
                      <a:pt x="224" y="108"/>
                    </a:lnTo>
                    <a:lnTo>
                      <a:pt x="210" y="110"/>
                    </a:lnTo>
                    <a:lnTo>
                      <a:pt x="198" y="114"/>
                    </a:lnTo>
                    <a:lnTo>
                      <a:pt x="186" y="118"/>
                    </a:lnTo>
                    <a:lnTo>
                      <a:pt x="176" y="126"/>
                    </a:lnTo>
                    <a:lnTo>
                      <a:pt x="170" y="134"/>
                    </a:lnTo>
                    <a:lnTo>
                      <a:pt x="166" y="144"/>
                    </a:lnTo>
                    <a:lnTo>
                      <a:pt x="164" y="156"/>
                    </a:lnTo>
                    <a:lnTo>
                      <a:pt x="164" y="156"/>
                    </a:lnTo>
                    <a:lnTo>
                      <a:pt x="166" y="164"/>
                    </a:lnTo>
                    <a:lnTo>
                      <a:pt x="168" y="170"/>
                    </a:lnTo>
                    <a:lnTo>
                      <a:pt x="172" y="178"/>
                    </a:lnTo>
                    <a:lnTo>
                      <a:pt x="176" y="184"/>
                    </a:lnTo>
                    <a:lnTo>
                      <a:pt x="188" y="194"/>
                    </a:lnTo>
                    <a:lnTo>
                      <a:pt x="204" y="204"/>
                    </a:lnTo>
                    <a:lnTo>
                      <a:pt x="224" y="212"/>
                    </a:lnTo>
                    <a:lnTo>
                      <a:pt x="244" y="220"/>
                    </a:lnTo>
                    <a:lnTo>
                      <a:pt x="292" y="238"/>
                    </a:lnTo>
                    <a:lnTo>
                      <a:pt x="314" y="248"/>
                    </a:lnTo>
                    <a:lnTo>
                      <a:pt x="338" y="260"/>
                    </a:lnTo>
                    <a:lnTo>
                      <a:pt x="360" y="274"/>
                    </a:lnTo>
                    <a:lnTo>
                      <a:pt x="378" y="292"/>
                    </a:lnTo>
                    <a:lnTo>
                      <a:pt x="386" y="302"/>
                    </a:lnTo>
                    <a:lnTo>
                      <a:pt x="394" y="312"/>
                    </a:lnTo>
                    <a:lnTo>
                      <a:pt x="402" y="324"/>
                    </a:lnTo>
                    <a:lnTo>
                      <a:pt x="406" y="336"/>
                    </a:lnTo>
                    <a:lnTo>
                      <a:pt x="412" y="350"/>
                    </a:lnTo>
                    <a:lnTo>
                      <a:pt x="414" y="364"/>
                    </a:lnTo>
                    <a:lnTo>
                      <a:pt x="418" y="380"/>
                    </a:lnTo>
                    <a:lnTo>
                      <a:pt x="418" y="396"/>
                    </a:lnTo>
                    <a:lnTo>
                      <a:pt x="418" y="396"/>
                    </a:lnTo>
                    <a:lnTo>
                      <a:pt x="416" y="418"/>
                    </a:lnTo>
                    <a:lnTo>
                      <a:pt x="414" y="438"/>
                    </a:lnTo>
                    <a:lnTo>
                      <a:pt x="408" y="456"/>
                    </a:lnTo>
                    <a:lnTo>
                      <a:pt x="400" y="472"/>
                    </a:lnTo>
                    <a:lnTo>
                      <a:pt x="390" y="488"/>
                    </a:lnTo>
                    <a:lnTo>
                      <a:pt x="380" y="502"/>
                    </a:lnTo>
                    <a:lnTo>
                      <a:pt x="366" y="514"/>
                    </a:lnTo>
                    <a:lnTo>
                      <a:pt x="352" y="524"/>
                    </a:lnTo>
                    <a:lnTo>
                      <a:pt x="336" y="534"/>
                    </a:lnTo>
                    <a:lnTo>
                      <a:pt x="320" y="542"/>
                    </a:lnTo>
                    <a:lnTo>
                      <a:pt x="302" y="550"/>
                    </a:lnTo>
                    <a:lnTo>
                      <a:pt x="282" y="554"/>
                    </a:lnTo>
                    <a:lnTo>
                      <a:pt x="262" y="558"/>
                    </a:lnTo>
                    <a:lnTo>
                      <a:pt x="242" y="562"/>
                    </a:lnTo>
                    <a:lnTo>
                      <a:pt x="220" y="564"/>
                    </a:lnTo>
                    <a:lnTo>
                      <a:pt x="200" y="564"/>
                    </a:lnTo>
                    <a:lnTo>
                      <a:pt x="200" y="564"/>
                    </a:lnTo>
                    <a:lnTo>
                      <a:pt x="168" y="562"/>
                    </a:lnTo>
                    <a:lnTo>
                      <a:pt x="138" y="560"/>
                    </a:lnTo>
                    <a:lnTo>
                      <a:pt x="110" y="554"/>
                    </a:lnTo>
                    <a:lnTo>
                      <a:pt x="84" y="548"/>
                    </a:lnTo>
                    <a:lnTo>
                      <a:pt x="60" y="540"/>
                    </a:lnTo>
                    <a:lnTo>
                      <a:pt x="38" y="532"/>
                    </a:lnTo>
                    <a:lnTo>
                      <a:pt x="18" y="522"/>
                    </a:lnTo>
                    <a:lnTo>
                      <a:pt x="0" y="512"/>
                    </a:lnTo>
                    <a:lnTo>
                      <a:pt x="42" y="4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2" name="Freeform 27"/>
              <p:cNvSpPr>
                <a:spLocks noEditPoints="1"/>
              </p:cNvSpPr>
              <p:nvPr/>
            </p:nvSpPr>
            <p:spPr bwMode="auto">
              <a:xfrm>
                <a:off x="8230347" y="4493623"/>
                <a:ext cx="17443" cy="81608"/>
              </a:xfrm>
              <a:custGeom>
                <a:avLst/>
                <a:gdLst>
                  <a:gd name="T0" fmla="*/ 84 w 168"/>
                  <a:gd name="T1" fmla="*/ 162 h 786"/>
                  <a:gd name="T2" fmla="*/ 84 w 168"/>
                  <a:gd name="T3" fmla="*/ 162 h 786"/>
                  <a:gd name="T4" fmla="*/ 68 w 168"/>
                  <a:gd name="T5" fmla="*/ 160 h 786"/>
                  <a:gd name="T6" fmla="*/ 52 w 168"/>
                  <a:gd name="T7" fmla="*/ 156 h 786"/>
                  <a:gd name="T8" fmla="*/ 38 w 168"/>
                  <a:gd name="T9" fmla="*/ 148 h 786"/>
                  <a:gd name="T10" fmla="*/ 26 w 168"/>
                  <a:gd name="T11" fmla="*/ 138 h 786"/>
                  <a:gd name="T12" fmla="*/ 14 w 168"/>
                  <a:gd name="T13" fmla="*/ 126 h 786"/>
                  <a:gd name="T14" fmla="*/ 8 w 168"/>
                  <a:gd name="T15" fmla="*/ 112 h 786"/>
                  <a:gd name="T16" fmla="*/ 2 w 168"/>
                  <a:gd name="T17" fmla="*/ 98 h 786"/>
                  <a:gd name="T18" fmla="*/ 0 w 168"/>
                  <a:gd name="T19" fmla="*/ 80 h 786"/>
                  <a:gd name="T20" fmla="*/ 0 w 168"/>
                  <a:gd name="T21" fmla="*/ 80 h 786"/>
                  <a:gd name="T22" fmla="*/ 2 w 168"/>
                  <a:gd name="T23" fmla="*/ 64 h 786"/>
                  <a:gd name="T24" fmla="*/ 8 w 168"/>
                  <a:gd name="T25" fmla="*/ 50 h 786"/>
                  <a:gd name="T26" fmla="*/ 14 w 168"/>
                  <a:gd name="T27" fmla="*/ 36 h 786"/>
                  <a:gd name="T28" fmla="*/ 26 w 168"/>
                  <a:gd name="T29" fmla="*/ 24 h 786"/>
                  <a:gd name="T30" fmla="*/ 38 w 168"/>
                  <a:gd name="T31" fmla="*/ 14 h 786"/>
                  <a:gd name="T32" fmla="*/ 52 w 168"/>
                  <a:gd name="T33" fmla="*/ 6 h 786"/>
                  <a:gd name="T34" fmla="*/ 68 w 168"/>
                  <a:gd name="T35" fmla="*/ 2 h 786"/>
                  <a:gd name="T36" fmla="*/ 84 w 168"/>
                  <a:gd name="T37" fmla="*/ 0 h 786"/>
                  <a:gd name="T38" fmla="*/ 84 w 168"/>
                  <a:gd name="T39" fmla="*/ 0 h 786"/>
                  <a:gd name="T40" fmla="*/ 102 w 168"/>
                  <a:gd name="T41" fmla="*/ 2 h 786"/>
                  <a:gd name="T42" fmla="*/ 118 w 168"/>
                  <a:gd name="T43" fmla="*/ 6 h 786"/>
                  <a:gd name="T44" fmla="*/ 132 w 168"/>
                  <a:gd name="T45" fmla="*/ 14 h 786"/>
                  <a:gd name="T46" fmla="*/ 144 w 168"/>
                  <a:gd name="T47" fmla="*/ 24 h 786"/>
                  <a:gd name="T48" fmla="*/ 154 w 168"/>
                  <a:gd name="T49" fmla="*/ 36 h 786"/>
                  <a:gd name="T50" fmla="*/ 162 w 168"/>
                  <a:gd name="T51" fmla="*/ 48 h 786"/>
                  <a:gd name="T52" fmla="*/ 166 w 168"/>
                  <a:gd name="T53" fmla="*/ 64 h 786"/>
                  <a:gd name="T54" fmla="*/ 168 w 168"/>
                  <a:gd name="T55" fmla="*/ 80 h 786"/>
                  <a:gd name="T56" fmla="*/ 168 w 168"/>
                  <a:gd name="T57" fmla="*/ 80 h 786"/>
                  <a:gd name="T58" fmla="*/ 166 w 168"/>
                  <a:gd name="T59" fmla="*/ 96 h 786"/>
                  <a:gd name="T60" fmla="*/ 162 w 168"/>
                  <a:gd name="T61" fmla="*/ 112 h 786"/>
                  <a:gd name="T62" fmla="*/ 154 w 168"/>
                  <a:gd name="T63" fmla="*/ 126 h 786"/>
                  <a:gd name="T64" fmla="*/ 144 w 168"/>
                  <a:gd name="T65" fmla="*/ 138 h 786"/>
                  <a:gd name="T66" fmla="*/ 132 w 168"/>
                  <a:gd name="T67" fmla="*/ 148 h 786"/>
                  <a:gd name="T68" fmla="*/ 118 w 168"/>
                  <a:gd name="T69" fmla="*/ 156 h 786"/>
                  <a:gd name="T70" fmla="*/ 102 w 168"/>
                  <a:gd name="T71" fmla="*/ 160 h 786"/>
                  <a:gd name="T72" fmla="*/ 84 w 168"/>
                  <a:gd name="T73" fmla="*/ 162 h 786"/>
                  <a:gd name="T74" fmla="*/ 84 w 168"/>
                  <a:gd name="T75" fmla="*/ 162 h 786"/>
                  <a:gd name="T76" fmla="*/ 16 w 168"/>
                  <a:gd name="T77" fmla="*/ 786 h 786"/>
                  <a:gd name="T78" fmla="*/ 16 w 168"/>
                  <a:gd name="T79" fmla="*/ 244 h 786"/>
                  <a:gd name="T80" fmla="*/ 152 w 168"/>
                  <a:gd name="T81" fmla="*/ 244 h 786"/>
                  <a:gd name="T82" fmla="*/ 152 w 168"/>
                  <a:gd name="T83" fmla="*/ 244 h 786"/>
                  <a:gd name="T84" fmla="*/ 152 w 168"/>
                  <a:gd name="T85" fmla="*/ 686 h 786"/>
                  <a:gd name="T86" fmla="*/ 152 w 168"/>
                  <a:gd name="T87" fmla="*/ 686 h 786"/>
                  <a:gd name="T88" fmla="*/ 150 w 168"/>
                  <a:gd name="T89" fmla="*/ 704 h 786"/>
                  <a:gd name="T90" fmla="*/ 146 w 168"/>
                  <a:gd name="T91" fmla="*/ 720 h 786"/>
                  <a:gd name="T92" fmla="*/ 138 w 168"/>
                  <a:gd name="T93" fmla="*/ 732 h 786"/>
                  <a:gd name="T94" fmla="*/ 130 w 168"/>
                  <a:gd name="T95" fmla="*/ 744 h 786"/>
                  <a:gd name="T96" fmla="*/ 120 w 168"/>
                  <a:gd name="T97" fmla="*/ 754 h 786"/>
                  <a:gd name="T98" fmla="*/ 108 w 168"/>
                  <a:gd name="T99" fmla="*/ 762 h 786"/>
                  <a:gd name="T100" fmla="*/ 96 w 168"/>
                  <a:gd name="T101" fmla="*/ 768 h 786"/>
                  <a:gd name="T102" fmla="*/ 84 w 168"/>
                  <a:gd name="T103" fmla="*/ 774 h 786"/>
                  <a:gd name="T104" fmla="*/ 60 w 168"/>
                  <a:gd name="T105" fmla="*/ 782 h 786"/>
                  <a:gd name="T106" fmla="*/ 38 w 168"/>
                  <a:gd name="T107" fmla="*/ 784 h 786"/>
                  <a:gd name="T108" fmla="*/ 16 w 168"/>
                  <a:gd name="T109" fmla="*/ 786 h 786"/>
                  <a:gd name="T110" fmla="*/ 16 w 168"/>
                  <a:gd name="T111" fmla="*/ 786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8" h="786">
                    <a:moveTo>
                      <a:pt x="84" y="162"/>
                    </a:moveTo>
                    <a:lnTo>
                      <a:pt x="84" y="162"/>
                    </a:lnTo>
                    <a:lnTo>
                      <a:pt x="68" y="160"/>
                    </a:lnTo>
                    <a:lnTo>
                      <a:pt x="52" y="156"/>
                    </a:lnTo>
                    <a:lnTo>
                      <a:pt x="38" y="148"/>
                    </a:lnTo>
                    <a:lnTo>
                      <a:pt x="26" y="138"/>
                    </a:lnTo>
                    <a:lnTo>
                      <a:pt x="14" y="126"/>
                    </a:lnTo>
                    <a:lnTo>
                      <a:pt x="8" y="112"/>
                    </a:lnTo>
                    <a:lnTo>
                      <a:pt x="2" y="98"/>
                    </a:lnTo>
                    <a:lnTo>
                      <a:pt x="0" y="80"/>
                    </a:lnTo>
                    <a:lnTo>
                      <a:pt x="0" y="80"/>
                    </a:lnTo>
                    <a:lnTo>
                      <a:pt x="2" y="64"/>
                    </a:lnTo>
                    <a:lnTo>
                      <a:pt x="8" y="50"/>
                    </a:lnTo>
                    <a:lnTo>
                      <a:pt x="14" y="36"/>
                    </a:lnTo>
                    <a:lnTo>
                      <a:pt x="26" y="24"/>
                    </a:lnTo>
                    <a:lnTo>
                      <a:pt x="38" y="14"/>
                    </a:lnTo>
                    <a:lnTo>
                      <a:pt x="52" y="6"/>
                    </a:lnTo>
                    <a:lnTo>
                      <a:pt x="68" y="2"/>
                    </a:lnTo>
                    <a:lnTo>
                      <a:pt x="84" y="0"/>
                    </a:lnTo>
                    <a:lnTo>
                      <a:pt x="84" y="0"/>
                    </a:lnTo>
                    <a:lnTo>
                      <a:pt x="102" y="2"/>
                    </a:lnTo>
                    <a:lnTo>
                      <a:pt x="118" y="6"/>
                    </a:lnTo>
                    <a:lnTo>
                      <a:pt x="132" y="14"/>
                    </a:lnTo>
                    <a:lnTo>
                      <a:pt x="144" y="24"/>
                    </a:lnTo>
                    <a:lnTo>
                      <a:pt x="154" y="36"/>
                    </a:lnTo>
                    <a:lnTo>
                      <a:pt x="162" y="48"/>
                    </a:lnTo>
                    <a:lnTo>
                      <a:pt x="166" y="64"/>
                    </a:lnTo>
                    <a:lnTo>
                      <a:pt x="168" y="80"/>
                    </a:lnTo>
                    <a:lnTo>
                      <a:pt x="168" y="80"/>
                    </a:lnTo>
                    <a:lnTo>
                      <a:pt x="166" y="96"/>
                    </a:lnTo>
                    <a:lnTo>
                      <a:pt x="162" y="112"/>
                    </a:lnTo>
                    <a:lnTo>
                      <a:pt x="154" y="126"/>
                    </a:lnTo>
                    <a:lnTo>
                      <a:pt x="144" y="138"/>
                    </a:lnTo>
                    <a:lnTo>
                      <a:pt x="132" y="148"/>
                    </a:lnTo>
                    <a:lnTo>
                      <a:pt x="118" y="156"/>
                    </a:lnTo>
                    <a:lnTo>
                      <a:pt x="102" y="160"/>
                    </a:lnTo>
                    <a:lnTo>
                      <a:pt x="84" y="162"/>
                    </a:lnTo>
                    <a:lnTo>
                      <a:pt x="84" y="162"/>
                    </a:lnTo>
                    <a:close/>
                    <a:moveTo>
                      <a:pt x="16" y="786"/>
                    </a:moveTo>
                    <a:lnTo>
                      <a:pt x="16" y="244"/>
                    </a:lnTo>
                    <a:lnTo>
                      <a:pt x="152" y="244"/>
                    </a:lnTo>
                    <a:lnTo>
                      <a:pt x="152" y="244"/>
                    </a:lnTo>
                    <a:lnTo>
                      <a:pt x="152" y="686"/>
                    </a:lnTo>
                    <a:lnTo>
                      <a:pt x="152" y="686"/>
                    </a:lnTo>
                    <a:lnTo>
                      <a:pt x="150" y="704"/>
                    </a:lnTo>
                    <a:lnTo>
                      <a:pt x="146" y="720"/>
                    </a:lnTo>
                    <a:lnTo>
                      <a:pt x="138" y="732"/>
                    </a:lnTo>
                    <a:lnTo>
                      <a:pt x="130" y="744"/>
                    </a:lnTo>
                    <a:lnTo>
                      <a:pt x="120" y="754"/>
                    </a:lnTo>
                    <a:lnTo>
                      <a:pt x="108" y="762"/>
                    </a:lnTo>
                    <a:lnTo>
                      <a:pt x="96" y="768"/>
                    </a:lnTo>
                    <a:lnTo>
                      <a:pt x="84" y="774"/>
                    </a:lnTo>
                    <a:lnTo>
                      <a:pt x="60" y="782"/>
                    </a:lnTo>
                    <a:lnTo>
                      <a:pt x="38" y="784"/>
                    </a:lnTo>
                    <a:lnTo>
                      <a:pt x="16" y="786"/>
                    </a:lnTo>
                    <a:lnTo>
                      <a:pt x="16" y="7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3" name="Freeform 28"/>
              <p:cNvSpPr>
                <a:spLocks/>
              </p:cNvSpPr>
              <p:nvPr/>
            </p:nvSpPr>
            <p:spPr bwMode="auto">
              <a:xfrm>
                <a:off x="7989468" y="4518126"/>
                <a:ext cx="49837" cy="57313"/>
              </a:xfrm>
              <a:custGeom>
                <a:avLst/>
                <a:gdLst>
                  <a:gd name="T0" fmla="*/ 346 w 480"/>
                  <a:gd name="T1" fmla="*/ 230 h 552"/>
                  <a:gd name="T2" fmla="*/ 344 w 480"/>
                  <a:gd name="T3" fmla="*/ 210 h 552"/>
                  <a:gd name="T4" fmla="*/ 338 w 480"/>
                  <a:gd name="T5" fmla="*/ 170 h 552"/>
                  <a:gd name="T6" fmla="*/ 322 w 480"/>
                  <a:gd name="T7" fmla="*/ 138 h 552"/>
                  <a:gd name="T8" fmla="*/ 308 w 480"/>
                  <a:gd name="T9" fmla="*/ 126 h 552"/>
                  <a:gd name="T10" fmla="*/ 290 w 480"/>
                  <a:gd name="T11" fmla="*/ 118 h 552"/>
                  <a:gd name="T12" fmla="*/ 268 w 480"/>
                  <a:gd name="T13" fmla="*/ 116 h 552"/>
                  <a:gd name="T14" fmla="*/ 250 w 480"/>
                  <a:gd name="T15" fmla="*/ 116 h 552"/>
                  <a:gd name="T16" fmla="*/ 216 w 480"/>
                  <a:gd name="T17" fmla="*/ 126 h 552"/>
                  <a:gd name="T18" fmla="*/ 182 w 480"/>
                  <a:gd name="T19" fmla="*/ 140 h 552"/>
                  <a:gd name="T20" fmla="*/ 134 w 480"/>
                  <a:gd name="T21" fmla="*/ 172 h 552"/>
                  <a:gd name="T22" fmla="*/ 134 w 480"/>
                  <a:gd name="T23" fmla="*/ 452 h 552"/>
                  <a:gd name="T24" fmla="*/ 132 w 480"/>
                  <a:gd name="T25" fmla="*/ 470 h 552"/>
                  <a:gd name="T26" fmla="*/ 120 w 480"/>
                  <a:gd name="T27" fmla="*/ 498 h 552"/>
                  <a:gd name="T28" fmla="*/ 102 w 480"/>
                  <a:gd name="T29" fmla="*/ 518 h 552"/>
                  <a:gd name="T30" fmla="*/ 78 w 480"/>
                  <a:gd name="T31" fmla="*/ 534 h 552"/>
                  <a:gd name="T32" fmla="*/ 42 w 480"/>
                  <a:gd name="T33" fmla="*/ 546 h 552"/>
                  <a:gd name="T34" fmla="*/ 0 w 480"/>
                  <a:gd name="T35" fmla="*/ 552 h 552"/>
                  <a:gd name="T36" fmla="*/ 114 w 480"/>
                  <a:gd name="T37" fmla="*/ 14 h 552"/>
                  <a:gd name="T38" fmla="*/ 128 w 480"/>
                  <a:gd name="T39" fmla="*/ 70 h 552"/>
                  <a:gd name="T40" fmla="*/ 170 w 480"/>
                  <a:gd name="T41" fmla="*/ 42 h 552"/>
                  <a:gd name="T42" fmla="*/ 214 w 480"/>
                  <a:gd name="T43" fmla="*/ 20 h 552"/>
                  <a:gd name="T44" fmla="*/ 262 w 480"/>
                  <a:gd name="T45" fmla="*/ 6 h 552"/>
                  <a:gd name="T46" fmla="*/ 314 w 480"/>
                  <a:gd name="T47" fmla="*/ 0 h 552"/>
                  <a:gd name="T48" fmla="*/ 328 w 480"/>
                  <a:gd name="T49" fmla="*/ 2 h 552"/>
                  <a:gd name="T50" fmla="*/ 358 w 480"/>
                  <a:gd name="T51" fmla="*/ 6 h 552"/>
                  <a:gd name="T52" fmla="*/ 388 w 480"/>
                  <a:gd name="T53" fmla="*/ 16 h 552"/>
                  <a:gd name="T54" fmla="*/ 414 w 480"/>
                  <a:gd name="T55" fmla="*/ 32 h 552"/>
                  <a:gd name="T56" fmla="*/ 438 w 480"/>
                  <a:gd name="T57" fmla="*/ 54 h 552"/>
                  <a:gd name="T58" fmla="*/ 458 w 480"/>
                  <a:gd name="T59" fmla="*/ 84 h 552"/>
                  <a:gd name="T60" fmla="*/ 472 w 480"/>
                  <a:gd name="T61" fmla="*/ 120 h 552"/>
                  <a:gd name="T62" fmla="*/ 478 w 480"/>
                  <a:gd name="T63" fmla="*/ 166 h 552"/>
                  <a:gd name="T64" fmla="*/ 480 w 480"/>
                  <a:gd name="T65" fmla="*/ 190 h 552"/>
                  <a:gd name="T66" fmla="*/ 480 w 480"/>
                  <a:gd name="T67" fmla="*/ 452 h 552"/>
                  <a:gd name="T68" fmla="*/ 474 w 480"/>
                  <a:gd name="T69" fmla="*/ 484 h 552"/>
                  <a:gd name="T70" fmla="*/ 458 w 480"/>
                  <a:gd name="T71" fmla="*/ 510 h 552"/>
                  <a:gd name="T72" fmla="*/ 438 w 480"/>
                  <a:gd name="T73" fmla="*/ 528 h 552"/>
                  <a:gd name="T74" fmla="*/ 412 w 480"/>
                  <a:gd name="T75" fmla="*/ 540 h 552"/>
                  <a:gd name="T76" fmla="*/ 366 w 480"/>
                  <a:gd name="T77" fmla="*/ 550 h 552"/>
                  <a:gd name="T78" fmla="*/ 346 w 480"/>
                  <a:gd name="T79" fmla="*/ 552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80" h="552">
                    <a:moveTo>
                      <a:pt x="346" y="552"/>
                    </a:moveTo>
                    <a:lnTo>
                      <a:pt x="346" y="230"/>
                    </a:lnTo>
                    <a:lnTo>
                      <a:pt x="346" y="230"/>
                    </a:lnTo>
                    <a:lnTo>
                      <a:pt x="344" y="210"/>
                    </a:lnTo>
                    <a:lnTo>
                      <a:pt x="342" y="190"/>
                    </a:lnTo>
                    <a:lnTo>
                      <a:pt x="338" y="170"/>
                    </a:lnTo>
                    <a:lnTo>
                      <a:pt x="332" y="152"/>
                    </a:lnTo>
                    <a:lnTo>
                      <a:pt x="322" y="138"/>
                    </a:lnTo>
                    <a:lnTo>
                      <a:pt x="316" y="132"/>
                    </a:lnTo>
                    <a:lnTo>
                      <a:pt x="308" y="126"/>
                    </a:lnTo>
                    <a:lnTo>
                      <a:pt x="300" y="122"/>
                    </a:lnTo>
                    <a:lnTo>
                      <a:pt x="290" y="118"/>
                    </a:lnTo>
                    <a:lnTo>
                      <a:pt x="280" y="116"/>
                    </a:lnTo>
                    <a:lnTo>
                      <a:pt x="268" y="116"/>
                    </a:lnTo>
                    <a:lnTo>
                      <a:pt x="268" y="116"/>
                    </a:lnTo>
                    <a:lnTo>
                      <a:pt x="250" y="116"/>
                    </a:lnTo>
                    <a:lnTo>
                      <a:pt x="232" y="120"/>
                    </a:lnTo>
                    <a:lnTo>
                      <a:pt x="216" y="126"/>
                    </a:lnTo>
                    <a:lnTo>
                      <a:pt x="198" y="132"/>
                    </a:lnTo>
                    <a:lnTo>
                      <a:pt x="182" y="140"/>
                    </a:lnTo>
                    <a:lnTo>
                      <a:pt x="166" y="150"/>
                    </a:lnTo>
                    <a:lnTo>
                      <a:pt x="134" y="172"/>
                    </a:lnTo>
                    <a:lnTo>
                      <a:pt x="134" y="172"/>
                    </a:lnTo>
                    <a:lnTo>
                      <a:pt x="134" y="452"/>
                    </a:lnTo>
                    <a:lnTo>
                      <a:pt x="134" y="452"/>
                    </a:lnTo>
                    <a:lnTo>
                      <a:pt x="132" y="470"/>
                    </a:lnTo>
                    <a:lnTo>
                      <a:pt x="128" y="484"/>
                    </a:lnTo>
                    <a:lnTo>
                      <a:pt x="120" y="498"/>
                    </a:lnTo>
                    <a:lnTo>
                      <a:pt x="112" y="510"/>
                    </a:lnTo>
                    <a:lnTo>
                      <a:pt x="102" y="518"/>
                    </a:lnTo>
                    <a:lnTo>
                      <a:pt x="90" y="528"/>
                    </a:lnTo>
                    <a:lnTo>
                      <a:pt x="78" y="534"/>
                    </a:lnTo>
                    <a:lnTo>
                      <a:pt x="66" y="540"/>
                    </a:lnTo>
                    <a:lnTo>
                      <a:pt x="42" y="546"/>
                    </a:lnTo>
                    <a:lnTo>
                      <a:pt x="20" y="550"/>
                    </a:lnTo>
                    <a:lnTo>
                      <a:pt x="0" y="552"/>
                    </a:lnTo>
                    <a:lnTo>
                      <a:pt x="0" y="14"/>
                    </a:lnTo>
                    <a:lnTo>
                      <a:pt x="114" y="14"/>
                    </a:lnTo>
                    <a:lnTo>
                      <a:pt x="128" y="70"/>
                    </a:lnTo>
                    <a:lnTo>
                      <a:pt x="128" y="70"/>
                    </a:lnTo>
                    <a:lnTo>
                      <a:pt x="150" y="54"/>
                    </a:lnTo>
                    <a:lnTo>
                      <a:pt x="170" y="42"/>
                    </a:lnTo>
                    <a:lnTo>
                      <a:pt x="192" y="30"/>
                    </a:lnTo>
                    <a:lnTo>
                      <a:pt x="214" y="20"/>
                    </a:lnTo>
                    <a:lnTo>
                      <a:pt x="238" y="12"/>
                    </a:lnTo>
                    <a:lnTo>
                      <a:pt x="262" y="6"/>
                    </a:lnTo>
                    <a:lnTo>
                      <a:pt x="286" y="2"/>
                    </a:lnTo>
                    <a:lnTo>
                      <a:pt x="314" y="0"/>
                    </a:lnTo>
                    <a:lnTo>
                      <a:pt x="314" y="0"/>
                    </a:lnTo>
                    <a:lnTo>
                      <a:pt x="328" y="2"/>
                    </a:lnTo>
                    <a:lnTo>
                      <a:pt x="344" y="2"/>
                    </a:lnTo>
                    <a:lnTo>
                      <a:pt x="358" y="6"/>
                    </a:lnTo>
                    <a:lnTo>
                      <a:pt x="374" y="10"/>
                    </a:lnTo>
                    <a:lnTo>
                      <a:pt x="388" y="16"/>
                    </a:lnTo>
                    <a:lnTo>
                      <a:pt x="402" y="24"/>
                    </a:lnTo>
                    <a:lnTo>
                      <a:pt x="414" y="32"/>
                    </a:lnTo>
                    <a:lnTo>
                      <a:pt x="426" y="42"/>
                    </a:lnTo>
                    <a:lnTo>
                      <a:pt x="438" y="54"/>
                    </a:lnTo>
                    <a:lnTo>
                      <a:pt x="448" y="68"/>
                    </a:lnTo>
                    <a:lnTo>
                      <a:pt x="458" y="84"/>
                    </a:lnTo>
                    <a:lnTo>
                      <a:pt x="464" y="102"/>
                    </a:lnTo>
                    <a:lnTo>
                      <a:pt x="472" y="120"/>
                    </a:lnTo>
                    <a:lnTo>
                      <a:pt x="476" y="142"/>
                    </a:lnTo>
                    <a:lnTo>
                      <a:pt x="478" y="166"/>
                    </a:lnTo>
                    <a:lnTo>
                      <a:pt x="480" y="190"/>
                    </a:lnTo>
                    <a:lnTo>
                      <a:pt x="480" y="190"/>
                    </a:lnTo>
                    <a:lnTo>
                      <a:pt x="480" y="452"/>
                    </a:lnTo>
                    <a:lnTo>
                      <a:pt x="480" y="452"/>
                    </a:lnTo>
                    <a:lnTo>
                      <a:pt x="478" y="470"/>
                    </a:lnTo>
                    <a:lnTo>
                      <a:pt x="474" y="484"/>
                    </a:lnTo>
                    <a:lnTo>
                      <a:pt x="468" y="498"/>
                    </a:lnTo>
                    <a:lnTo>
                      <a:pt x="458" y="510"/>
                    </a:lnTo>
                    <a:lnTo>
                      <a:pt x="448" y="520"/>
                    </a:lnTo>
                    <a:lnTo>
                      <a:pt x="438" y="528"/>
                    </a:lnTo>
                    <a:lnTo>
                      <a:pt x="424" y="534"/>
                    </a:lnTo>
                    <a:lnTo>
                      <a:pt x="412" y="540"/>
                    </a:lnTo>
                    <a:lnTo>
                      <a:pt x="388" y="546"/>
                    </a:lnTo>
                    <a:lnTo>
                      <a:pt x="366" y="550"/>
                    </a:lnTo>
                    <a:lnTo>
                      <a:pt x="346" y="552"/>
                    </a:lnTo>
                    <a:lnTo>
                      <a:pt x="346" y="5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4" name="Freeform 29"/>
              <p:cNvSpPr>
                <a:spLocks/>
              </p:cNvSpPr>
              <p:nvPr/>
            </p:nvSpPr>
            <p:spPr bwMode="auto">
              <a:xfrm>
                <a:off x="8106170" y="4491754"/>
                <a:ext cx="14120" cy="83477"/>
              </a:xfrm>
              <a:custGeom>
                <a:avLst/>
                <a:gdLst>
                  <a:gd name="T0" fmla="*/ 136 w 136"/>
                  <a:gd name="T1" fmla="*/ 704 h 804"/>
                  <a:gd name="T2" fmla="*/ 136 w 136"/>
                  <a:gd name="T3" fmla="*/ 704 h 804"/>
                  <a:gd name="T4" fmla="*/ 134 w 136"/>
                  <a:gd name="T5" fmla="*/ 722 h 804"/>
                  <a:gd name="T6" fmla="*/ 130 w 136"/>
                  <a:gd name="T7" fmla="*/ 738 h 804"/>
                  <a:gd name="T8" fmla="*/ 122 w 136"/>
                  <a:gd name="T9" fmla="*/ 750 h 804"/>
                  <a:gd name="T10" fmla="*/ 114 w 136"/>
                  <a:gd name="T11" fmla="*/ 762 h 804"/>
                  <a:gd name="T12" fmla="*/ 104 w 136"/>
                  <a:gd name="T13" fmla="*/ 772 h 804"/>
                  <a:gd name="T14" fmla="*/ 92 w 136"/>
                  <a:gd name="T15" fmla="*/ 780 h 804"/>
                  <a:gd name="T16" fmla="*/ 80 w 136"/>
                  <a:gd name="T17" fmla="*/ 786 h 804"/>
                  <a:gd name="T18" fmla="*/ 68 w 136"/>
                  <a:gd name="T19" fmla="*/ 792 h 804"/>
                  <a:gd name="T20" fmla="*/ 44 w 136"/>
                  <a:gd name="T21" fmla="*/ 800 h 804"/>
                  <a:gd name="T22" fmla="*/ 22 w 136"/>
                  <a:gd name="T23" fmla="*/ 802 h 804"/>
                  <a:gd name="T24" fmla="*/ 0 w 136"/>
                  <a:gd name="T25" fmla="*/ 804 h 804"/>
                  <a:gd name="T26" fmla="*/ 0 w 136"/>
                  <a:gd name="T27" fmla="*/ 0 h 804"/>
                  <a:gd name="T28" fmla="*/ 136 w 136"/>
                  <a:gd name="T29" fmla="*/ 0 h 804"/>
                  <a:gd name="T30" fmla="*/ 136 w 136"/>
                  <a:gd name="T31" fmla="*/ 0 h 804"/>
                  <a:gd name="T32" fmla="*/ 136 w 136"/>
                  <a:gd name="T33" fmla="*/ 704 h 804"/>
                  <a:gd name="T34" fmla="*/ 136 w 136"/>
                  <a:gd name="T35" fmla="*/ 70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04">
                    <a:moveTo>
                      <a:pt x="136" y="704"/>
                    </a:moveTo>
                    <a:lnTo>
                      <a:pt x="136" y="704"/>
                    </a:lnTo>
                    <a:lnTo>
                      <a:pt x="134" y="722"/>
                    </a:lnTo>
                    <a:lnTo>
                      <a:pt x="130" y="738"/>
                    </a:lnTo>
                    <a:lnTo>
                      <a:pt x="122" y="750"/>
                    </a:lnTo>
                    <a:lnTo>
                      <a:pt x="114" y="762"/>
                    </a:lnTo>
                    <a:lnTo>
                      <a:pt x="104" y="772"/>
                    </a:lnTo>
                    <a:lnTo>
                      <a:pt x="92" y="780"/>
                    </a:lnTo>
                    <a:lnTo>
                      <a:pt x="80" y="786"/>
                    </a:lnTo>
                    <a:lnTo>
                      <a:pt x="68" y="792"/>
                    </a:lnTo>
                    <a:lnTo>
                      <a:pt x="44" y="800"/>
                    </a:lnTo>
                    <a:lnTo>
                      <a:pt x="22" y="802"/>
                    </a:lnTo>
                    <a:lnTo>
                      <a:pt x="0" y="804"/>
                    </a:lnTo>
                    <a:lnTo>
                      <a:pt x="0" y="0"/>
                    </a:lnTo>
                    <a:lnTo>
                      <a:pt x="136" y="0"/>
                    </a:lnTo>
                    <a:lnTo>
                      <a:pt x="136" y="0"/>
                    </a:lnTo>
                    <a:lnTo>
                      <a:pt x="136" y="704"/>
                    </a:lnTo>
                    <a:lnTo>
                      <a:pt x="136" y="7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0" name="Group 99"/>
            <p:cNvGrpSpPr/>
            <p:nvPr userDrawn="1"/>
          </p:nvGrpSpPr>
          <p:grpSpPr>
            <a:xfrm>
              <a:off x="7673274" y="4343117"/>
              <a:ext cx="1123200" cy="148389"/>
              <a:chOff x="7665803" y="4864376"/>
              <a:chExt cx="1123200" cy="148389"/>
            </a:xfrm>
            <a:grpFill/>
          </p:grpSpPr>
          <p:sp>
            <p:nvSpPr>
              <p:cNvPr id="101" name="Freeform 6"/>
              <p:cNvSpPr>
                <a:spLocks/>
              </p:cNvSpPr>
              <p:nvPr userDrawn="1"/>
            </p:nvSpPr>
            <p:spPr bwMode="auto">
              <a:xfrm>
                <a:off x="8119644" y="4924717"/>
                <a:ext cx="103102" cy="66806"/>
              </a:xfrm>
              <a:custGeom>
                <a:avLst/>
                <a:gdLst>
                  <a:gd name="T0" fmla="*/ 111 w 136"/>
                  <a:gd name="T1" fmla="*/ 72 h 92"/>
                  <a:gd name="T2" fmla="*/ 87 w 136"/>
                  <a:gd name="T3" fmla="*/ 88 h 92"/>
                  <a:gd name="T4" fmla="*/ 68 w 136"/>
                  <a:gd name="T5" fmla="*/ 28 h 92"/>
                  <a:gd name="T6" fmla="*/ 67 w 136"/>
                  <a:gd name="T7" fmla="*/ 28 h 92"/>
                  <a:gd name="T8" fmla="*/ 53 w 136"/>
                  <a:gd name="T9" fmla="*/ 72 h 92"/>
                  <a:gd name="T10" fmla="*/ 31 w 136"/>
                  <a:gd name="T11" fmla="*/ 88 h 92"/>
                  <a:gd name="T12" fmla="*/ 0 w 136"/>
                  <a:gd name="T13" fmla="*/ 0 h 92"/>
                  <a:gd name="T14" fmla="*/ 22 w 136"/>
                  <a:gd name="T15" fmla="*/ 0 h 92"/>
                  <a:gd name="T16" fmla="*/ 41 w 136"/>
                  <a:gd name="T17" fmla="*/ 60 h 92"/>
                  <a:gd name="T18" fmla="*/ 41 w 136"/>
                  <a:gd name="T19" fmla="*/ 60 h 92"/>
                  <a:gd name="T20" fmla="*/ 60 w 136"/>
                  <a:gd name="T21" fmla="*/ 0 h 92"/>
                  <a:gd name="T22" fmla="*/ 77 w 136"/>
                  <a:gd name="T23" fmla="*/ 0 h 92"/>
                  <a:gd name="T24" fmla="*/ 96 w 136"/>
                  <a:gd name="T25" fmla="*/ 60 h 92"/>
                  <a:gd name="T26" fmla="*/ 97 w 136"/>
                  <a:gd name="T27" fmla="*/ 60 h 92"/>
                  <a:gd name="T28" fmla="*/ 115 w 136"/>
                  <a:gd name="T29" fmla="*/ 0 h 92"/>
                  <a:gd name="T30" fmla="*/ 136 w 136"/>
                  <a:gd name="T31" fmla="*/ 0 h 92"/>
                  <a:gd name="T32" fmla="*/ 111 w 136"/>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 h="92">
                    <a:moveTo>
                      <a:pt x="111" y="72"/>
                    </a:moveTo>
                    <a:cubicBezTo>
                      <a:pt x="103" y="92"/>
                      <a:pt x="87" y="88"/>
                      <a:pt x="87" y="88"/>
                    </a:cubicBezTo>
                    <a:cubicBezTo>
                      <a:pt x="68" y="28"/>
                      <a:pt x="68" y="28"/>
                      <a:pt x="68" y="28"/>
                    </a:cubicBezTo>
                    <a:cubicBezTo>
                      <a:pt x="67" y="28"/>
                      <a:pt x="67" y="28"/>
                      <a:pt x="67" y="28"/>
                    </a:cubicBezTo>
                    <a:cubicBezTo>
                      <a:pt x="67" y="28"/>
                      <a:pt x="58"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6" y="60"/>
                      <a:pt x="96" y="60"/>
                      <a:pt x="96" y="60"/>
                    </a:cubicBezTo>
                    <a:cubicBezTo>
                      <a:pt x="97" y="60"/>
                      <a:pt x="97" y="60"/>
                      <a:pt x="97" y="60"/>
                    </a:cubicBezTo>
                    <a:cubicBezTo>
                      <a:pt x="115" y="0"/>
                      <a:pt x="115" y="0"/>
                      <a:pt x="115" y="0"/>
                    </a:cubicBezTo>
                    <a:cubicBezTo>
                      <a:pt x="136" y="0"/>
                      <a:pt x="136" y="0"/>
                      <a:pt x="136" y="0"/>
                    </a:cubicBezTo>
                    <a:cubicBezTo>
                      <a:pt x="136"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2" name="Freeform 7"/>
              <p:cNvSpPr>
                <a:spLocks noEditPoints="1"/>
              </p:cNvSpPr>
              <p:nvPr userDrawn="1"/>
            </p:nvSpPr>
            <p:spPr bwMode="auto">
              <a:xfrm>
                <a:off x="8225958" y="4923177"/>
                <a:ext cx="57493" cy="66190"/>
              </a:xfrm>
              <a:custGeom>
                <a:avLst/>
                <a:gdLst>
                  <a:gd name="T0" fmla="*/ 57 w 76"/>
                  <a:gd name="T1" fmla="*/ 90 h 91"/>
                  <a:gd name="T2" fmla="*/ 53 w 76"/>
                  <a:gd name="T3" fmla="*/ 81 h 91"/>
                  <a:gd name="T4" fmla="*/ 28 w 76"/>
                  <a:gd name="T5" fmla="*/ 91 h 91"/>
                  <a:gd name="T6" fmla="*/ 0 w 76"/>
                  <a:gd name="T7" fmla="*/ 63 h 91"/>
                  <a:gd name="T8" fmla="*/ 36 w 76"/>
                  <a:gd name="T9" fmla="*/ 34 h 91"/>
                  <a:gd name="T10" fmla="*/ 51 w 76"/>
                  <a:gd name="T11" fmla="*/ 34 h 91"/>
                  <a:gd name="T12" fmla="*/ 51 w 76"/>
                  <a:gd name="T13" fmla="*/ 31 h 91"/>
                  <a:gd name="T14" fmla="*/ 35 w 76"/>
                  <a:gd name="T15" fmla="*/ 17 h 91"/>
                  <a:gd name="T16" fmla="*/ 12 w 76"/>
                  <a:gd name="T17" fmla="*/ 23 h 91"/>
                  <a:gd name="T18" fmla="*/ 5 w 76"/>
                  <a:gd name="T19" fmla="*/ 9 h 91"/>
                  <a:gd name="T20" fmla="*/ 39 w 76"/>
                  <a:gd name="T21" fmla="*/ 0 h 91"/>
                  <a:gd name="T22" fmla="*/ 74 w 76"/>
                  <a:gd name="T23" fmla="*/ 31 h 91"/>
                  <a:gd name="T24" fmla="*/ 74 w 76"/>
                  <a:gd name="T25" fmla="*/ 66 h 91"/>
                  <a:gd name="T26" fmla="*/ 76 w 76"/>
                  <a:gd name="T27" fmla="*/ 90 h 91"/>
                  <a:gd name="T28" fmla="*/ 57 w 76"/>
                  <a:gd name="T29" fmla="*/ 90 h 91"/>
                  <a:gd name="T30" fmla="*/ 51 w 76"/>
                  <a:gd name="T31" fmla="*/ 49 h 91"/>
                  <a:gd name="T32" fmla="*/ 39 w 76"/>
                  <a:gd name="T33" fmla="*/ 49 h 91"/>
                  <a:gd name="T34" fmla="*/ 22 w 76"/>
                  <a:gd name="T35" fmla="*/ 61 h 91"/>
                  <a:gd name="T36" fmla="*/ 36 w 76"/>
                  <a:gd name="T37" fmla="*/ 73 h 91"/>
                  <a:gd name="T38" fmla="*/ 51 w 76"/>
                  <a:gd name="T39" fmla="*/ 68 h 91"/>
                  <a:gd name="T40" fmla="*/ 51 w 76"/>
                  <a:gd name="T41" fmla="*/ 4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91">
                    <a:moveTo>
                      <a:pt x="57" y="90"/>
                    </a:moveTo>
                    <a:cubicBezTo>
                      <a:pt x="53" y="81"/>
                      <a:pt x="53" y="81"/>
                      <a:pt x="53" y="81"/>
                    </a:cubicBezTo>
                    <a:cubicBezTo>
                      <a:pt x="48" y="86"/>
                      <a:pt x="40" y="91"/>
                      <a:pt x="28" y="91"/>
                    </a:cubicBezTo>
                    <a:cubicBezTo>
                      <a:pt x="12" y="91"/>
                      <a:pt x="0" y="80"/>
                      <a:pt x="0" y="63"/>
                    </a:cubicBezTo>
                    <a:cubicBezTo>
                      <a:pt x="0" y="45"/>
                      <a:pt x="14" y="35"/>
                      <a:pt x="36" y="34"/>
                    </a:cubicBezTo>
                    <a:cubicBezTo>
                      <a:pt x="51" y="34"/>
                      <a:pt x="51" y="34"/>
                      <a:pt x="51" y="34"/>
                    </a:cubicBezTo>
                    <a:cubicBezTo>
                      <a:pt x="51" y="33"/>
                      <a:pt x="51" y="32"/>
                      <a:pt x="51" y="31"/>
                    </a:cubicBezTo>
                    <a:cubicBezTo>
                      <a:pt x="51" y="21"/>
                      <a:pt x="44" y="17"/>
                      <a:pt x="35" y="17"/>
                    </a:cubicBezTo>
                    <a:cubicBezTo>
                      <a:pt x="25" y="17"/>
                      <a:pt x="18" y="20"/>
                      <a:pt x="12" y="23"/>
                    </a:cubicBezTo>
                    <a:cubicBezTo>
                      <a:pt x="5" y="9"/>
                      <a:pt x="5" y="9"/>
                      <a:pt x="5" y="9"/>
                    </a:cubicBezTo>
                    <a:cubicBezTo>
                      <a:pt x="17" y="2"/>
                      <a:pt x="28" y="0"/>
                      <a:pt x="39" y="0"/>
                    </a:cubicBezTo>
                    <a:cubicBezTo>
                      <a:pt x="61" y="0"/>
                      <a:pt x="74" y="9"/>
                      <a:pt x="74" y="31"/>
                    </a:cubicBezTo>
                    <a:cubicBezTo>
                      <a:pt x="74" y="66"/>
                      <a:pt x="74" y="66"/>
                      <a:pt x="74" y="66"/>
                    </a:cubicBezTo>
                    <a:cubicBezTo>
                      <a:pt x="74" y="78"/>
                      <a:pt x="75" y="86"/>
                      <a:pt x="76" y="90"/>
                    </a:cubicBezTo>
                    <a:lnTo>
                      <a:pt x="57" y="90"/>
                    </a:lnTo>
                    <a:close/>
                    <a:moveTo>
                      <a:pt x="51" y="49"/>
                    </a:moveTo>
                    <a:cubicBezTo>
                      <a:pt x="39" y="49"/>
                      <a:pt x="39" y="49"/>
                      <a:pt x="39" y="49"/>
                    </a:cubicBezTo>
                    <a:cubicBezTo>
                      <a:pt x="27" y="50"/>
                      <a:pt x="22" y="54"/>
                      <a:pt x="22" y="61"/>
                    </a:cubicBezTo>
                    <a:cubicBezTo>
                      <a:pt x="22" y="68"/>
                      <a:pt x="27" y="73"/>
                      <a:pt x="36" y="73"/>
                    </a:cubicBezTo>
                    <a:cubicBezTo>
                      <a:pt x="44" y="73"/>
                      <a:pt x="49" y="70"/>
                      <a:pt x="51" y="68"/>
                    </a:cubicBezTo>
                    <a:lnTo>
                      <a:pt x="51" y="4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3" name="Freeform 8"/>
              <p:cNvSpPr>
                <a:spLocks noEditPoints="1"/>
              </p:cNvSpPr>
              <p:nvPr userDrawn="1"/>
            </p:nvSpPr>
            <p:spPr bwMode="auto">
              <a:xfrm>
                <a:off x="8342550" y="4892699"/>
                <a:ext cx="62311" cy="96668"/>
              </a:xfrm>
              <a:custGeom>
                <a:avLst/>
                <a:gdLst>
                  <a:gd name="T0" fmla="*/ 47 w 82"/>
                  <a:gd name="T1" fmla="*/ 133 h 133"/>
                  <a:gd name="T2" fmla="*/ 0 w 82"/>
                  <a:gd name="T3" fmla="*/ 88 h 133"/>
                  <a:gd name="T4" fmla="*/ 48 w 82"/>
                  <a:gd name="T5" fmla="*/ 42 h 133"/>
                  <a:gd name="T6" fmla="*/ 59 w 82"/>
                  <a:gd name="T7" fmla="*/ 42 h 133"/>
                  <a:gd name="T8" fmla="*/ 60 w 82"/>
                  <a:gd name="T9" fmla="*/ 0 h 133"/>
                  <a:gd name="T10" fmla="*/ 82 w 82"/>
                  <a:gd name="T11" fmla="*/ 0 h 133"/>
                  <a:gd name="T12" fmla="*/ 81 w 82"/>
                  <a:gd name="T13" fmla="*/ 126 h 133"/>
                  <a:gd name="T14" fmla="*/ 47 w 82"/>
                  <a:gd name="T15" fmla="*/ 133 h 133"/>
                  <a:gd name="T16" fmla="*/ 59 w 82"/>
                  <a:gd name="T17" fmla="*/ 60 h 133"/>
                  <a:gd name="T18" fmla="*/ 49 w 82"/>
                  <a:gd name="T19" fmla="*/ 59 h 133"/>
                  <a:gd name="T20" fmla="*/ 22 w 82"/>
                  <a:gd name="T21" fmla="*/ 87 h 133"/>
                  <a:gd name="T22" fmla="*/ 49 w 82"/>
                  <a:gd name="T23" fmla="*/ 114 h 133"/>
                  <a:gd name="T24" fmla="*/ 59 w 82"/>
                  <a:gd name="T25" fmla="*/ 113 h 133"/>
                  <a:gd name="T26" fmla="*/ 59 w 82"/>
                  <a:gd name="T27" fmla="*/ 6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3">
                    <a:moveTo>
                      <a:pt x="47" y="133"/>
                    </a:moveTo>
                    <a:cubicBezTo>
                      <a:pt x="21" y="133"/>
                      <a:pt x="0" y="117"/>
                      <a:pt x="0" y="88"/>
                    </a:cubicBezTo>
                    <a:cubicBezTo>
                      <a:pt x="0" y="61"/>
                      <a:pt x="20" y="42"/>
                      <a:pt x="48" y="42"/>
                    </a:cubicBezTo>
                    <a:cubicBezTo>
                      <a:pt x="52" y="42"/>
                      <a:pt x="56" y="42"/>
                      <a:pt x="59" y="42"/>
                    </a:cubicBezTo>
                    <a:cubicBezTo>
                      <a:pt x="60" y="0"/>
                      <a:pt x="60" y="0"/>
                      <a:pt x="60" y="0"/>
                    </a:cubicBezTo>
                    <a:cubicBezTo>
                      <a:pt x="82" y="0"/>
                      <a:pt x="82" y="0"/>
                      <a:pt x="82" y="0"/>
                    </a:cubicBezTo>
                    <a:cubicBezTo>
                      <a:pt x="81" y="126"/>
                      <a:pt x="81" y="126"/>
                      <a:pt x="81" y="126"/>
                    </a:cubicBezTo>
                    <a:cubicBezTo>
                      <a:pt x="73" y="130"/>
                      <a:pt x="62" y="133"/>
                      <a:pt x="47" y="133"/>
                    </a:cubicBezTo>
                    <a:close/>
                    <a:moveTo>
                      <a:pt x="59" y="60"/>
                    </a:moveTo>
                    <a:cubicBezTo>
                      <a:pt x="56" y="60"/>
                      <a:pt x="54" y="59"/>
                      <a:pt x="49" y="59"/>
                    </a:cubicBezTo>
                    <a:cubicBezTo>
                      <a:pt x="33" y="59"/>
                      <a:pt x="22" y="70"/>
                      <a:pt x="22" y="87"/>
                    </a:cubicBezTo>
                    <a:cubicBezTo>
                      <a:pt x="22" y="103"/>
                      <a:pt x="32" y="114"/>
                      <a:pt x="49" y="114"/>
                    </a:cubicBezTo>
                    <a:cubicBezTo>
                      <a:pt x="53" y="114"/>
                      <a:pt x="57" y="114"/>
                      <a:pt x="59" y="113"/>
                    </a:cubicBezTo>
                    <a:lnTo>
                      <a:pt x="59" y="60"/>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4" name="Freeform 9"/>
              <p:cNvSpPr>
                <a:spLocks/>
              </p:cNvSpPr>
              <p:nvPr userDrawn="1"/>
            </p:nvSpPr>
            <p:spPr bwMode="auto">
              <a:xfrm>
                <a:off x="8093949"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5" name="Freeform 10"/>
              <p:cNvSpPr>
                <a:spLocks/>
              </p:cNvSpPr>
              <p:nvPr userDrawn="1"/>
            </p:nvSpPr>
            <p:spPr bwMode="auto">
              <a:xfrm>
                <a:off x="8060545"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6" name="Freeform 11"/>
              <p:cNvSpPr>
                <a:spLocks/>
              </p:cNvSpPr>
              <p:nvPr userDrawn="1"/>
            </p:nvSpPr>
            <p:spPr bwMode="auto">
              <a:xfrm>
                <a:off x="8297262" y="4923177"/>
                <a:ext cx="43039" cy="66190"/>
              </a:xfrm>
              <a:custGeom>
                <a:avLst/>
                <a:gdLst>
                  <a:gd name="T0" fmla="*/ 49 w 57"/>
                  <a:gd name="T1" fmla="*/ 22 h 91"/>
                  <a:gd name="T2" fmla="*/ 39 w 57"/>
                  <a:gd name="T3" fmla="*/ 20 h 91"/>
                  <a:gd name="T4" fmla="*/ 22 w 57"/>
                  <a:gd name="T5" fmla="*/ 27 h 91"/>
                  <a:gd name="T6" fmla="*/ 22 w 57"/>
                  <a:gd name="T7" fmla="*/ 74 h 91"/>
                  <a:gd name="T8" fmla="*/ 0 w 57"/>
                  <a:gd name="T9" fmla="*/ 90 h 91"/>
                  <a:gd name="T10" fmla="*/ 0 w 57"/>
                  <a:gd name="T11" fmla="*/ 2 h 91"/>
                  <a:gd name="T12" fmla="*/ 18 w 57"/>
                  <a:gd name="T13" fmla="*/ 2 h 91"/>
                  <a:gd name="T14" fmla="*/ 21 w 57"/>
                  <a:gd name="T15" fmla="*/ 11 h 91"/>
                  <a:gd name="T16" fmla="*/ 45 w 57"/>
                  <a:gd name="T17" fmla="*/ 0 h 91"/>
                  <a:gd name="T18" fmla="*/ 57 w 57"/>
                  <a:gd name="T19" fmla="*/ 4 h 91"/>
                  <a:gd name="T20" fmla="*/ 49 w 57"/>
                  <a:gd name="T21" fmla="*/ 2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1">
                    <a:moveTo>
                      <a:pt x="49" y="22"/>
                    </a:moveTo>
                    <a:cubicBezTo>
                      <a:pt x="45" y="20"/>
                      <a:pt x="41" y="20"/>
                      <a:pt x="39" y="20"/>
                    </a:cubicBezTo>
                    <a:cubicBezTo>
                      <a:pt x="34" y="20"/>
                      <a:pt x="28" y="22"/>
                      <a:pt x="22" y="27"/>
                    </a:cubicBezTo>
                    <a:cubicBezTo>
                      <a:pt x="22" y="27"/>
                      <a:pt x="22" y="57"/>
                      <a:pt x="22" y="74"/>
                    </a:cubicBezTo>
                    <a:cubicBezTo>
                      <a:pt x="22" y="91"/>
                      <a:pt x="0" y="90"/>
                      <a:pt x="0" y="90"/>
                    </a:cubicBezTo>
                    <a:cubicBezTo>
                      <a:pt x="0" y="2"/>
                      <a:pt x="0" y="2"/>
                      <a:pt x="0" y="2"/>
                    </a:cubicBezTo>
                    <a:cubicBezTo>
                      <a:pt x="18" y="2"/>
                      <a:pt x="18" y="2"/>
                      <a:pt x="18"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7" name="Freeform 12"/>
              <p:cNvSpPr>
                <a:spLocks/>
              </p:cNvSpPr>
              <p:nvPr userDrawn="1"/>
            </p:nvSpPr>
            <p:spPr bwMode="auto">
              <a:xfrm>
                <a:off x="7907980" y="4892699"/>
                <a:ext cx="98605" cy="95129"/>
              </a:xfrm>
              <a:custGeom>
                <a:avLst/>
                <a:gdLst>
                  <a:gd name="T0" fmla="*/ 106 w 130"/>
                  <a:gd name="T1" fmla="*/ 131 h 131"/>
                  <a:gd name="T2" fmla="*/ 106 w 130"/>
                  <a:gd name="T3" fmla="*/ 53 h 131"/>
                  <a:gd name="T4" fmla="*/ 107 w 130"/>
                  <a:gd name="T5" fmla="*/ 39 h 131"/>
                  <a:gd name="T6" fmla="*/ 106 w 130"/>
                  <a:gd name="T7" fmla="*/ 39 h 131"/>
                  <a:gd name="T8" fmla="*/ 99 w 130"/>
                  <a:gd name="T9" fmla="*/ 52 h 131"/>
                  <a:gd name="T10" fmla="*/ 72 w 130"/>
                  <a:gd name="T11" fmla="*/ 93 h 131"/>
                  <a:gd name="T12" fmla="*/ 60 w 130"/>
                  <a:gd name="T13" fmla="*/ 93 h 131"/>
                  <a:gd name="T14" fmla="*/ 32 w 130"/>
                  <a:gd name="T15" fmla="*/ 51 h 131"/>
                  <a:gd name="T16" fmla="*/ 24 w 130"/>
                  <a:gd name="T17" fmla="*/ 39 h 131"/>
                  <a:gd name="T18" fmla="*/ 23 w 130"/>
                  <a:gd name="T19" fmla="*/ 39 h 131"/>
                  <a:gd name="T20" fmla="*/ 24 w 130"/>
                  <a:gd name="T21" fmla="*/ 52 h 131"/>
                  <a:gd name="T22" fmla="*/ 24 w 130"/>
                  <a:gd name="T23" fmla="*/ 131 h 131"/>
                  <a:gd name="T24" fmla="*/ 0 w 130"/>
                  <a:gd name="T25" fmla="*/ 131 h 131"/>
                  <a:gd name="T26" fmla="*/ 0 w 130"/>
                  <a:gd name="T27" fmla="*/ 0 h 131"/>
                  <a:gd name="T28" fmla="*/ 22 w 130"/>
                  <a:gd name="T29" fmla="*/ 0 h 131"/>
                  <a:gd name="T30" fmla="*/ 58 w 130"/>
                  <a:gd name="T31" fmla="*/ 52 h 131"/>
                  <a:gd name="T32" fmla="*/ 66 w 130"/>
                  <a:gd name="T33" fmla="*/ 66 h 131"/>
                  <a:gd name="T34" fmla="*/ 67 w 130"/>
                  <a:gd name="T35" fmla="*/ 66 h 131"/>
                  <a:gd name="T36" fmla="*/ 75 w 130"/>
                  <a:gd name="T37" fmla="*/ 52 h 131"/>
                  <a:gd name="T38" fmla="*/ 108 w 130"/>
                  <a:gd name="T39" fmla="*/ 0 h 131"/>
                  <a:gd name="T40" fmla="*/ 130 w 130"/>
                  <a:gd name="T41" fmla="*/ 0 h 131"/>
                  <a:gd name="T42" fmla="*/ 130 w 130"/>
                  <a:gd name="T43" fmla="*/ 131 h 131"/>
                  <a:gd name="T44" fmla="*/ 106 w 130"/>
                  <a:gd name="T45"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0" h="131">
                    <a:moveTo>
                      <a:pt x="106" y="131"/>
                    </a:moveTo>
                    <a:cubicBezTo>
                      <a:pt x="106" y="53"/>
                      <a:pt x="106" y="53"/>
                      <a:pt x="106" y="53"/>
                    </a:cubicBezTo>
                    <a:cubicBezTo>
                      <a:pt x="106" y="48"/>
                      <a:pt x="106" y="44"/>
                      <a:pt x="107" y="39"/>
                    </a:cubicBezTo>
                    <a:cubicBezTo>
                      <a:pt x="106" y="39"/>
                      <a:pt x="106" y="39"/>
                      <a:pt x="106" y="39"/>
                    </a:cubicBezTo>
                    <a:cubicBezTo>
                      <a:pt x="105" y="43"/>
                      <a:pt x="101" y="49"/>
                      <a:pt x="99" y="52"/>
                    </a:cubicBezTo>
                    <a:cubicBezTo>
                      <a:pt x="72" y="93"/>
                      <a:pt x="72" y="93"/>
                      <a:pt x="72" y="93"/>
                    </a:cubicBezTo>
                    <a:cubicBezTo>
                      <a:pt x="60" y="93"/>
                      <a:pt x="60" y="93"/>
                      <a:pt x="60" y="93"/>
                    </a:cubicBezTo>
                    <a:cubicBezTo>
                      <a:pt x="32" y="51"/>
                      <a:pt x="32" y="51"/>
                      <a:pt x="32" y="51"/>
                    </a:cubicBezTo>
                    <a:cubicBezTo>
                      <a:pt x="29" y="48"/>
                      <a:pt x="26" y="44"/>
                      <a:pt x="24" y="39"/>
                    </a:cubicBezTo>
                    <a:cubicBezTo>
                      <a:pt x="23" y="39"/>
                      <a:pt x="23" y="39"/>
                      <a:pt x="23" y="39"/>
                    </a:cubicBezTo>
                    <a:cubicBezTo>
                      <a:pt x="24" y="44"/>
                      <a:pt x="24" y="48"/>
                      <a:pt x="24" y="52"/>
                    </a:cubicBezTo>
                    <a:cubicBezTo>
                      <a:pt x="24" y="131"/>
                      <a:pt x="24" y="131"/>
                      <a:pt x="24" y="131"/>
                    </a:cubicBezTo>
                    <a:cubicBezTo>
                      <a:pt x="0" y="131"/>
                      <a:pt x="0" y="131"/>
                      <a:pt x="0" y="131"/>
                    </a:cubicBezTo>
                    <a:cubicBezTo>
                      <a:pt x="0" y="0"/>
                      <a:pt x="0" y="0"/>
                      <a:pt x="0" y="0"/>
                    </a:cubicBezTo>
                    <a:cubicBezTo>
                      <a:pt x="22" y="0"/>
                      <a:pt x="22" y="0"/>
                      <a:pt x="22" y="0"/>
                    </a:cubicBezTo>
                    <a:cubicBezTo>
                      <a:pt x="58" y="52"/>
                      <a:pt x="58" y="52"/>
                      <a:pt x="58" y="52"/>
                    </a:cubicBezTo>
                    <a:cubicBezTo>
                      <a:pt x="61" y="57"/>
                      <a:pt x="64" y="61"/>
                      <a:pt x="66" y="66"/>
                    </a:cubicBezTo>
                    <a:cubicBezTo>
                      <a:pt x="67" y="66"/>
                      <a:pt x="67" y="66"/>
                      <a:pt x="67" y="66"/>
                    </a:cubicBezTo>
                    <a:cubicBezTo>
                      <a:pt x="69" y="61"/>
                      <a:pt x="71" y="57"/>
                      <a:pt x="75" y="52"/>
                    </a:cubicBezTo>
                    <a:cubicBezTo>
                      <a:pt x="108" y="0"/>
                      <a:pt x="108" y="0"/>
                      <a:pt x="108" y="0"/>
                    </a:cubicBezTo>
                    <a:cubicBezTo>
                      <a:pt x="130" y="0"/>
                      <a:pt x="130" y="0"/>
                      <a:pt x="130" y="0"/>
                    </a:cubicBezTo>
                    <a:cubicBezTo>
                      <a:pt x="130" y="131"/>
                      <a:pt x="130" y="131"/>
                      <a:pt x="130" y="131"/>
                    </a:cubicBezTo>
                    <a:lnTo>
                      <a:pt x="106" y="131"/>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8" name="Freeform 13"/>
              <p:cNvSpPr>
                <a:spLocks/>
              </p:cNvSpPr>
              <p:nvPr userDrawn="1"/>
            </p:nvSpPr>
            <p:spPr bwMode="auto">
              <a:xfrm>
                <a:off x="7665803" y="4864376"/>
                <a:ext cx="100854" cy="148389"/>
              </a:xfrm>
              <a:custGeom>
                <a:avLst/>
                <a:gdLst>
                  <a:gd name="T0" fmla="*/ 133 w 133"/>
                  <a:gd name="T1" fmla="*/ 23 h 204"/>
                  <a:gd name="T2" fmla="*/ 132 w 133"/>
                  <a:gd name="T3" fmla="*/ 22 h 204"/>
                  <a:gd name="T4" fmla="*/ 65 w 133"/>
                  <a:gd name="T5" fmla="*/ 20 h 204"/>
                  <a:gd name="T6" fmla="*/ 52 w 133"/>
                  <a:gd name="T7" fmla="*/ 52 h 204"/>
                  <a:gd name="T8" fmla="*/ 20 w 133"/>
                  <a:gd name="T9" fmla="*/ 65 h 204"/>
                  <a:gd name="T10" fmla="*/ 22 w 133"/>
                  <a:gd name="T11" fmla="*/ 132 h 204"/>
                  <a:gd name="T12" fmla="*/ 95 w 133"/>
                  <a:gd name="T13" fmla="*/ 204 h 204"/>
                  <a:gd name="T14" fmla="*/ 117 w 133"/>
                  <a:gd name="T15" fmla="*/ 182 h 204"/>
                  <a:gd name="T16" fmla="*/ 44 w 133"/>
                  <a:gd name="T17" fmla="*/ 110 h 204"/>
                  <a:gd name="T18" fmla="*/ 42 w 133"/>
                  <a:gd name="T19" fmla="*/ 86 h 204"/>
                  <a:gd name="T20" fmla="*/ 66 w 133"/>
                  <a:gd name="T21" fmla="*/ 88 h 204"/>
                  <a:gd name="T22" fmla="*/ 133 w 133"/>
                  <a:gd name="T23" fmla="*/ 155 h 204"/>
                  <a:gd name="T24" fmla="*/ 133 w 133"/>
                  <a:gd name="T25" fmla="*/ 111 h 204"/>
                  <a:gd name="T26" fmla="*/ 88 w 133"/>
                  <a:gd name="T27" fmla="*/ 66 h 204"/>
                  <a:gd name="T28" fmla="*/ 86 w 133"/>
                  <a:gd name="T29" fmla="*/ 42 h 204"/>
                  <a:gd name="T30" fmla="*/ 110 w 133"/>
                  <a:gd name="T31" fmla="*/ 44 h 204"/>
                  <a:gd name="T32" fmla="*/ 133 w 133"/>
                  <a:gd name="T33" fmla="*/ 66 h 204"/>
                  <a:gd name="T34" fmla="*/ 133 w 133"/>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204">
                    <a:moveTo>
                      <a:pt x="133" y="23"/>
                    </a:moveTo>
                    <a:cubicBezTo>
                      <a:pt x="132" y="22"/>
                      <a:pt x="132" y="22"/>
                      <a:pt x="132" y="22"/>
                    </a:cubicBezTo>
                    <a:cubicBezTo>
                      <a:pt x="110" y="0"/>
                      <a:pt x="82" y="2"/>
                      <a:pt x="65" y="20"/>
                    </a:cubicBezTo>
                    <a:cubicBezTo>
                      <a:pt x="53" y="32"/>
                      <a:pt x="51" y="46"/>
                      <a:pt x="52" y="52"/>
                    </a:cubicBezTo>
                    <a:cubicBezTo>
                      <a:pt x="47" y="51"/>
                      <a:pt x="32" y="52"/>
                      <a:pt x="20" y="65"/>
                    </a:cubicBezTo>
                    <a:cubicBezTo>
                      <a:pt x="3" y="82"/>
                      <a:pt x="0" y="110"/>
                      <a:pt x="22" y="132"/>
                    </a:cubicBezTo>
                    <a:cubicBezTo>
                      <a:pt x="95" y="204"/>
                      <a:pt x="95" y="204"/>
                      <a:pt x="95" y="204"/>
                    </a:cubicBezTo>
                    <a:cubicBezTo>
                      <a:pt x="117" y="182"/>
                      <a:pt x="117" y="182"/>
                      <a:pt x="117" y="182"/>
                    </a:cubicBezTo>
                    <a:cubicBezTo>
                      <a:pt x="44" y="110"/>
                      <a:pt x="44" y="110"/>
                      <a:pt x="44" y="110"/>
                    </a:cubicBezTo>
                    <a:cubicBezTo>
                      <a:pt x="35" y="101"/>
                      <a:pt x="36" y="91"/>
                      <a:pt x="42" y="86"/>
                    </a:cubicBezTo>
                    <a:cubicBezTo>
                      <a:pt x="47" y="80"/>
                      <a:pt x="58" y="79"/>
                      <a:pt x="66" y="88"/>
                    </a:cubicBezTo>
                    <a:cubicBezTo>
                      <a:pt x="133" y="155"/>
                      <a:pt x="133" y="155"/>
                      <a:pt x="133" y="155"/>
                    </a:cubicBezTo>
                    <a:cubicBezTo>
                      <a:pt x="133" y="111"/>
                      <a:pt x="133" y="111"/>
                      <a:pt x="133" y="111"/>
                    </a:cubicBezTo>
                    <a:cubicBezTo>
                      <a:pt x="88" y="66"/>
                      <a:pt x="88" y="66"/>
                      <a:pt x="88" y="66"/>
                    </a:cubicBezTo>
                    <a:cubicBezTo>
                      <a:pt x="80" y="57"/>
                      <a:pt x="80" y="47"/>
                      <a:pt x="86" y="42"/>
                    </a:cubicBezTo>
                    <a:cubicBezTo>
                      <a:pt x="92" y="36"/>
                      <a:pt x="102" y="35"/>
                      <a:pt x="110" y="44"/>
                    </a:cubicBezTo>
                    <a:cubicBezTo>
                      <a:pt x="133" y="66"/>
                      <a:pt x="133" y="66"/>
                      <a:pt x="133" y="66"/>
                    </a:cubicBezTo>
                    <a:lnTo>
                      <a:pt x="133"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9" name="Freeform 14"/>
              <p:cNvSpPr>
                <a:spLocks noEditPoints="1"/>
              </p:cNvSpPr>
              <p:nvPr userDrawn="1"/>
            </p:nvSpPr>
            <p:spPr bwMode="auto">
              <a:xfrm>
                <a:off x="8023287" y="4895470"/>
                <a:ext cx="20556" cy="93282"/>
              </a:xfrm>
              <a:custGeom>
                <a:avLst/>
                <a:gdLst>
                  <a:gd name="T0" fmla="*/ 14 w 27"/>
                  <a:gd name="T1" fmla="*/ 26 h 128"/>
                  <a:gd name="T2" fmla="*/ 0 w 27"/>
                  <a:gd name="T3" fmla="*/ 13 h 128"/>
                  <a:gd name="T4" fmla="*/ 14 w 27"/>
                  <a:gd name="T5" fmla="*/ 0 h 128"/>
                  <a:gd name="T6" fmla="*/ 27 w 27"/>
                  <a:gd name="T7" fmla="*/ 13 h 128"/>
                  <a:gd name="T8" fmla="*/ 14 w 27"/>
                  <a:gd name="T9" fmla="*/ 26 h 128"/>
                  <a:gd name="T10" fmla="*/ 3 w 27"/>
                  <a:gd name="T11" fmla="*/ 128 h 128"/>
                  <a:gd name="T12" fmla="*/ 3 w 27"/>
                  <a:gd name="T13" fmla="*/ 40 h 128"/>
                  <a:gd name="T14" fmla="*/ 25 w 27"/>
                  <a:gd name="T15" fmla="*/ 40 h 128"/>
                  <a:gd name="T16" fmla="*/ 25 w 27"/>
                  <a:gd name="T17" fmla="*/ 112 h 128"/>
                  <a:gd name="T18" fmla="*/ 3 w 27"/>
                  <a:gd name="T1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128">
                    <a:moveTo>
                      <a:pt x="14" y="26"/>
                    </a:moveTo>
                    <a:cubicBezTo>
                      <a:pt x="6" y="26"/>
                      <a:pt x="0" y="20"/>
                      <a:pt x="0" y="13"/>
                    </a:cubicBezTo>
                    <a:cubicBezTo>
                      <a:pt x="0" y="6"/>
                      <a:pt x="6" y="0"/>
                      <a:pt x="14" y="0"/>
                    </a:cubicBezTo>
                    <a:cubicBezTo>
                      <a:pt x="21" y="0"/>
                      <a:pt x="27" y="5"/>
                      <a:pt x="27" y="13"/>
                    </a:cubicBezTo>
                    <a:cubicBezTo>
                      <a:pt x="27" y="20"/>
                      <a:pt x="21" y="26"/>
                      <a:pt x="14" y="26"/>
                    </a:cubicBezTo>
                    <a:close/>
                    <a:moveTo>
                      <a:pt x="3" y="128"/>
                    </a:moveTo>
                    <a:cubicBezTo>
                      <a:pt x="3" y="40"/>
                      <a:pt x="3" y="40"/>
                      <a:pt x="3" y="40"/>
                    </a:cubicBezTo>
                    <a:cubicBezTo>
                      <a:pt x="25" y="40"/>
                      <a:pt x="25" y="40"/>
                      <a:pt x="25" y="40"/>
                    </a:cubicBezTo>
                    <a:cubicBezTo>
                      <a:pt x="25" y="40"/>
                      <a:pt x="25" y="95"/>
                      <a:pt x="25" y="112"/>
                    </a:cubicBezTo>
                    <a:cubicBezTo>
                      <a:pt x="25" y="128"/>
                      <a:pt x="3" y="128"/>
                      <a:pt x="3" y="1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0" name="Freeform 15"/>
              <p:cNvSpPr>
                <a:spLocks/>
              </p:cNvSpPr>
              <p:nvPr userDrawn="1"/>
            </p:nvSpPr>
            <p:spPr bwMode="auto">
              <a:xfrm>
                <a:off x="8615239" y="4924717"/>
                <a:ext cx="103744" cy="66806"/>
              </a:xfrm>
              <a:custGeom>
                <a:avLst/>
                <a:gdLst>
                  <a:gd name="T0" fmla="*/ 111 w 137"/>
                  <a:gd name="T1" fmla="*/ 72 h 92"/>
                  <a:gd name="T2" fmla="*/ 88 w 137"/>
                  <a:gd name="T3" fmla="*/ 88 h 92"/>
                  <a:gd name="T4" fmla="*/ 68 w 137"/>
                  <a:gd name="T5" fmla="*/ 28 h 92"/>
                  <a:gd name="T6" fmla="*/ 68 w 137"/>
                  <a:gd name="T7" fmla="*/ 28 h 92"/>
                  <a:gd name="T8" fmla="*/ 53 w 137"/>
                  <a:gd name="T9" fmla="*/ 72 h 92"/>
                  <a:gd name="T10" fmla="*/ 31 w 137"/>
                  <a:gd name="T11" fmla="*/ 88 h 92"/>
                  <a:gd name="T12" fmla="*/ 0 w 137"/>
                  <a:gd name="T13" fmla="*/ 0 h 92"/>
                  <a:gd name="T14" fmla="*/ 22 w 137"/>
                  <a:gd name="T15" fmla="*/ 0 h 92"/>
                  <a:gd name="T16" fmla="*/ 41 w 137"/>
                  <a:gd name="T17" fmla="*/ 60 h 92"/>
                  <a:gd name="T18" fmla="*/ 41 w 137"/>
                  <a:gd name="T19" fmla="*/ 60 h 92"/>
                  <a:gd name="T20" fmla="*/ 60 w 137"/>
                  <a:gd name="T21" fmla="*/ 0 h 92"/>
                  <a:gd name="T22" fmla="*/ 77 w 137"/>
                  <a:gd name="T23" fmla="*/ 0 h 92"/>
                  <a:gd name="T24" fmla="*/ 97 w 137"/>
                  <a:gd name="T25" fmla="*/ 60 h 92"/>
                  <a:gd name="T26" fmla="*/ 97 w 137"/>
                  <a:gd name="T27" fmla="*/ 60 h 92"/>
                  <a:gd name="T28" fmla="*/ 115 w 137"/>
                  <a:gd name="T29" fmla="*/ 0 h 92"/>
                  <a:gd name="T30" fmla="*/ 137 w 137"/>
                  <a:gd name="T31" fmla="*/ 0 h 92"/>
                  <a:gd name="T32" fmla="*/ 111 w 137"/>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 h="92">
                    <a:moveTo>
                      <a:pt x="111" y="72"/>
                    </a:moveTo>
                    <a:cubicBezTo>
                      <a:pt x="104" y="92"/>
                      <a:pt x="88" y="88"/>
                      <a:pt x="88" y="88"/>
                    </a:cubicBezTo>
                    <a:cubicBezTo>
                      <a:pt x="68" y="28"/>
                      <a:pt x="68" y="28"/>
                      <a:pt x="68" y="28"/>
                    </a:cubicBezTo>
                    <a:cubicBezTo>
                      <a:pt x="68" y="28"/>
                      <a:pt x="68" y="28"/>
                      <a:pt x="68" y="28"/>
                    </a:cubicBezTo>
                    <a:cubicBezTo>
                      <a:pt x="68" y="28"/>
                      <a:pt x="59"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7" y="60"/>
                      <a:pt x="97" y="60"/>
                      <a:pt x="97" y="60"/>
                    </a:cubicBezTo>
                    <a:cubicBezTo>
                      <a:pt x="97" y="60"/>
                      <a:pt x="97" y="60"/>
                      <a:pt x="97" y="60"/>
                    </a:cubicBezTo>
                    <a:cubicBezTo>
                      <a:pt x="115" y="0"/>
                      <a:pt x="115" y="0"/>
                      <a:pt x="115" y="0"/>
                    </a:cubicBezTo>
                    <a:cubicBezTo>
                      <a:pt x="137" y="0"/>
                      <a:pt x="137" y="0"/>
                      <a:pt x="137" y="0"/>
                    </a:cubicBezTo>
                    <a:cubicBezTo>
                      <a:pt x="137"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1" name="Freeform 16"/>
              <p:cNvSpPr>
                <a:spLocks noEditPoints="1"/>
              </p:cNvSpPr>
              <p:nvPr userDrawn="1"/>
            </p:nvSpPr>
            <p:spPr bwMode="auto">
              <a:xfrm>
                <a:off x="8423168" y="4892699"/>
                <a:ext cx="65844" cy="95129"/>
              </a:xfrm>
              <a:custGeom>
                <a:avLst/>
                <a:gdLst>
                  <a:gd name="T0" fmla="*/ 1 w 87"/>
                  <a:gd name="T1" fmla="*/ 0 h 131"/>
                  <a:gd name="T2" fmla="*/ 0 w 87"/>
                  <a:gd name="T3" fmla="*/ 131 h 131"/>
                  <a:gd name="T4" fmla="*/ 41 w 87"/>
                  <a:gd name="T5" fmla="*/ 131 h 131"/>
                  <a:gd name="T6" fmla="*/ 87 w 87"/>
                  <a:gd name="T7" fmla="*/ 92 h 131"/>
                  <a:gd name="T8" fmla="*/ 65 w 87"/>
                  <a:gd name="T9" fmla="*/ 61 h 131"/>
                  <a:gd name="T10" fmla="*/ 62 w 87"/>
                  <a:gd name="T11" fmla="*/ 60 h 131"/>
                  <a:gd name="T12" fmla="*/ 64 w 87"/>
                  <a:gd name="T13" fmla="*/ 59 h 131"/>
                  <a:gd name="T14" fmla="*/ 79 w 87"/>
                  <a:gd name="T15" fmla="*/ 32 h 131"/>
                  <a:gd name="T16" fmla="*/ 42 w 87"/>
                  <a:gd name="T17" fmla="*/ 0 h 131"/>
                  <a:gd name="T18" fmla="*/ 1 w 87"/>
                  <a:gd name="T19" fmla="*/ 0 h 131"/>
                  <a:gd name="T20" fmla="*/ 23 w 87"/>
                  <a:gd name="T21" fmla="*/ 17 h 131"/>
                  <a:gd name="T22" fmla="*/ 36 w 87"/>
                  <a:gd name="T23" fmla="*/ 17 h 131"/>
                  <a:gd name="T24" fmla="*/ 56 w 87"/>
                  <a:gd name="T25" fmla="*/ 35 h 131"/>
                  <a:gd name="T26" fmla="*/ 38 w 87"/>
                  <a:gd name="T27" fmla="*/ 55 h 131"/>
                  <a:gd name="T28" fmla="*/ 22 w 87"/>
                  <a:gd name="T29" fmla="*/ 55 h 131"/>
                  <a:gd name="T30" fmla="*/ 23 w 87"/>
                  <a:gd name="T31" fmla="*/ 17 h 131"/>
                  <a:gd name="T32" fmla="*/ 22 w 87"/>
                  <a:gd name="T33" fmla="*/ 74 h 131"/>
                  <a:gd name="T34" fmla="*/ 40 w 87"/>
                  <a:gd name="T35" fmla="*/ 74 h 131"/>
                  <a:gd name="T36" fmla="*/ 64 w 87"/>
                  <a:gd name="T37" fmla="*/ 92 h 131"/>
                  <a:gd name="T38" fmla="*/ 39 w 87"/>
                  <a:gd name="T39" fmla="*/ 113 h 131"/>
                  <a:gd name="T40" fmla="*/ 22 w 87"/>
                  <a:gd name="T41" fmla="*/ 113 h 131"/>
                  <a:gd name="T42" fmla="*/ 22 w 87"/>
                  <a:gd name="T43" fmla="*/ 7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131">
                    <a:moveTo>
                      <a:pt x="1" y="0"/>
                    </a:moveTo>
                    <a:cubicBezTo>
                      <a:pt x="1" y="3"/>
                      <a:pt x="0" y="129"/>
                      <a:pt x="0" y="131"/>
                    </a:cubicBezTo>
                    <a:cubicBezTo>
                      <a:pt x="2" y="131"/>
                      <a:pt x="41" y="131"/>
                      <a:pt x="41" y="131"/>
                    </a:cubicBezTo>
                    <a:cubicBezTo>
                      <a:pt x="73" y="131"/>
                      <a:pt x="87" y="111"/>
                      <a:pt x="87" y="92"/>
                    </a:cubicBezTo>
                    <a:cubicBezTo>
                      <a:pt x="87" y="77"/>
                      <a:pt x="79" y="65"/>
                      <a:pt x="65" y="61"/>
                    </a:cubicBezTo>
                    <a:cubicBezTo>
                      <a:pt x="62" y="60"/>
                      <a:pt x="62" y="60"/>
                      <a:pt x="62" y="60"/>
                    </a:cubicBezTo>
                    <a:cubicBezTo>
                      <a:pt x="64" y="59"/>
                      <a:pt x="64" y="59"/>
                      <a:pt x="64" y="59"/>
                    </a:cubicBezTo>
                    <a:cubicBezTo>
                      <a:pt x="74" y="54"/>
                      <a:pt x="79" y="44"/>
                      <a:pt x="79" y="32"/>
                    </a:cubicBezTo>
                    <a:cubicBezTo>
                      <a:pt x="79" y="17"/>
                      <a:pt x="68" y="0"/>
                      <a:pt x="42" y="0"/>
                    </a:cubicBezTo>
                    <a:cubicBezTo>
                      <a:pt x="42" y="0"/>
                      <a:pt x="3" y="0"/>
                      <a:pt x="1" y="0"/>
                    </a:cubicBezTo>
                    <a:close/>
                    <a:moveTo>
                      <a:pt x="23" y="17"/>
                    </a:moveTo>
                    <a:cubicBezTo>
                      <a:pt x="36" y="17"/>
                      <a:pt x="36" y="17"/>
                      <a:pt x="36" y="17"/>
                    </a:cubicBezTo>
                    <a:cubicBezTo>
                      <a:pt x="49" y="17"/>
                      <a:pt x="56" y="24"/>
                      <a:pt x="56" y="35"/>
                    </a:cubicBezTo>
                    <a:cubicBezTo>
                      <a:pt x="56" y="47"/>
                      <a:pt x="47" y="55"/>
                      <a:pt x="38" y="55"/>
                    </a:cubicBezTo>
                    <a:cubicBezTo>
                      <a:pt x="22" y="55"/>
                      <a:pt x="22" y="55"/>
                      <a:pt x="22" y="55"/>
                    </a:cubicBezTo>
                    <a:lnTo>
                      <a:pt x="23" y="17"/>
                    </a:lnTo>
                    <a:close/>
                    <a:moveTo>
                      <a:pt x="22" y="74"/>
                    </a:moveTo>
                    <a:cubicBezTo>
                      <a:pt x="40" y="74"/>
                      <a:pt x="40" y="74"/>
                      <a:pt x="40" y="74"/>
                    </a:cubicBezTo>
                    <a:cubicBezTo>
                      <a:pt x="55" y="74"/>
                      <a:pt x="64" y="81"/>
                      <a:pt x="64" y="92"/>
                    </a:cubicBezTo>
                    <a:cubicBezTo>
                      <a:pt x="64" y="105"/>
                      <a:pt x="55" y="113"/>
                      <a:pt x="39" y="113"/>
                    </a:cubicBezTo>
                    <a:cubicBezTo>
                      <a:pt x="22" y="113"/>
                      <a:pt x="22" y="113"/>
                      <a:pt x="22" y="113"/>
                    </a:cubicBezTo>
                    <a:lnTo>
                      <a:pt x="22" y="74"/>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2" name="Freeform 17"/>
              <p:cNvSpPr>
                <a:spLocks noEditPoints="1"/>
              </p:cNvSpPr>
              <p:nvPr userDrawn="1"/>
            </p:nvSpPr>
            <p:spPr bwMode="auto">
              <a:xfrm>
                <a:off x="8546184" y="4923177"/>
                <a:ext cx="66486" cy="66190"/>
              </a:xfrm>
              <a:custGeom>
                <a:avLst/>
                <a:gdLst>
                  <a:gd name="T0" fmla="*/ 75 w 88"/>
                  <a:gd name="T1" fmla="*/ 78 h 91"/>
                  <a:gd name="T2" fmla="*/ 44 w 88"/>
                  <a:gd name="T3" fmla="*/ 91 h 91"/>
                  <a:gd name="T4" fmla="*/ 14 w 88"/>
                  <a:gd name="T5" fmla="*/ 80 h 91"/>
                  <a:gd name="T6" fmla="*/ 0 w 88"/>
                  <a:gd name="T7" fmla="*/ 46 h 91"/>
                  <a:gd name="T8" fmla="*/ 13 w 88"/>
                  <a:gd name="T9" fmla="*/ 12 h 91"/>
                  <a:gd name="T10" fmla="*/ 44 w 88"/>
                  <a:gd name="T11" fmla="*/ 0 h 91"/>
                  <a:gd name="T12" fmla="*/ 76 w 88"/>
                  <a:gd name="T13" fmla="*/ 12 h 91"/>
                  <a:gd name="T14" fmla="*/ 88 w 88"/>
                  <a:gd name="T15" fmla="*/ 45 h 91"/>
                  <a:gd name="T16" fmla="*/ 75 w 88"/>
                  <a:gd name="T17" fmla="*/ 78 h 91"/>
                  <a:gd name="T18" fmla="*/ 44 w 88"/>
                  <a:gd name="T19" fmla="*/ 17 h 91"/>
                  <a:gd name="T20" fmla="*/ 23 w 88"/>
                  <a:gd name="T21" fmla="*/ 45 h 91"/>
                  <a:gd name="T22" fmla="*/ 44 w 88"/>
                  <a:gd name="T23" fmla="*/ 73 h 91"/>
                  <a:gd name="T24" fmla="*/ 65 w 88"/>
                  <a:gd name="T25" fmla="*/ 45 h 91"/>
                  <a:gd name="T26" fmla="*/ 44 w 88"/>
                  <a:gd name="T27"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91">
                    <a:moveTo>
                      <a:pt x="75" y="78"/>
                    </a:moveTo>
                    <a:cubicBezTo>
                      <a:pt x="68" y="86"/>
                      <a:pt x="57" y="91"/>
                      <a:pt x="44" y="91"/>
                    </a:cubicBezTo>
                    <a:cubicBezTo>
                      <a:pt x="32" y="91"/>
                      <a:pt x="21" y="87"/>
                      <a:pt x="14" y="80"/>
                    </a:cubicBezTo>
                    <a:cubicBezTo>
                      <a:pt x="5" y="72"/>
                      <a:pt x="0" y="60"/>
                      <a:pt x="0" y="46"/>
                    </a:cubicBezTo>
                    <a:cubicBezTo>
                      <a:pt x="0" y="32"/>
                      <a:pt x="5" y="20"/>
                      <a:pt x="13" y="12"/>
                    </a:cubicBezTo>
                    <a:cubicBezTo>
                      <a:pt x="21" y="4"/>
                      <a:pt x="31" y="0"/>
                      <a:pt x="44" y="0"/>
                    </a:cubicBezTo>
                    <a:cubicBezTo>
                      <a:pt x="57" y="0"/>
                      <a:pt x="68" y="4"/>
                      <a:pt x="76" y="12"/>
                    </a:cubicBezTo>
                    <a:cubicBezTo>
                      <a:pt x="84" y="20"/>
                      <a:pt x="88" y="32"/>
                      <a:pt x="88" y="45"/>
                    </a:cubicBezTo>
                    <a:cubicBezTo>
                      <a:pt x="88" y="58"/>
                      <a:pt x="83" y="70"/>
                      <a:pt x="75" y="78"/>
                    </a:cubicBezTo>
                    <a:close/>
                    <a:moveTo>
                      <a:pt x="44" y="17"/>
                    </a:moveTo>
                    <a:cubicBezTo>
                      <a:pt x="30" y="17"/>
                      <a:pt x="23" y="29"/>
                      <a:pt x="23" y="45"/>
                    </a:cubicBezTo>
                    <a:cubicBezTo>
                      <a:pt x="23" y="62"/>
                      <a:pt x="31" y="73"/>
                      <a:pt x="44" y="73"/>
                    </a:cubicBezTo>
                    <a:cubicBezTo>
                      <a:pt x="58" y="73"/>
                      <a:pt x="65" y="61"/>
                      <a:pt x="65" y="45"/>
                    </a:cubicBezTo>
                    <a:cubicBezTo>
                      <a:pt x="65" y="28"/>
                      <a:pt x="57" y="17"/>
                      <a:pt x="44" y="1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3" name="Freeform 18"/>
              <p:cNvSpPr>
                <a:spLocks/>
              </p:cNvSpPr>
              <p:nvPr userDrawn="1"/>
            </p:nvSpPr>
            <p:spPr bwMode="auto">
              <a:xfrm>
                <a:off x="8728298" y="4923177"/>
                <a:ext cx="60705" cy="65574"/>
              </a:xfrm>
              <a:custGeom>
                <a:avLst/>
                <a:gdLst>
                  <a:gd name="T0" fmla="*/ 58 w 80"/>
                  <a:gd name="T1" fmla="*/ 90 h 90"/>
                  <a:gd name="T2" fmla="*/ 58 w 80"/>
                  <a:gd name="T3" fmla="*/ 38 h 90"/>
                  <a:gd name="T4" fmla="*/ 45 w 80"/>
                  <a:gd name="T5" fmla="*/ 19 h 90"/>
                  <a:gd name="T6" fmla="*/ 23 w 80"/>
                  <a:gd name="T7" fmla="*/ 28 h 90"/>
                  <a:gd name="T8" fmla="*/ 23 w 80"/>
                  <a:gd name="T9" fmla="*/ 74 h 90"/>
                  <a:gd name="T10" fmla="*/ 0 w 80"/>
                  <a:gd name="T11" fmla="*/ 90 h 90"/>
                  <a:gd name="T12" fmla="*/ 0 w 80"/>
                  <a:gd name="T13" fmla="*/ 2 h 90"/>
                  <a:gd name="T14" fmla="*/ 19 w 80"/>
                  <a:gd name="T15" fmla="*/ 2 h 90"/>
                  <a:gd name="T16" fmla="*/ 22 w 80"/>
                  <a:gd name="T17" fmla="*/ 11 h 90"/>
                  <a:gd name="T18" fmla="*/ 52 w 80"/>
                  <a:gd name="T19" fmla="*/ 0 h 90"/>
                  <a:gd name="T20" fmla="*/ 80 w 80"/>
                  <a:gd name="T21" fmla="*/ 31 h 90"/>
                  <a:gd name="T22" fmla="*/ 80 w 80"/>
                  <a:gd name="T23" fmla="*/ 74 h 90"/>
                  <a:gd name="T24" fmla="*/ 58 w 80"/>
                  <a:gd name="T2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90">
                    <a:moveTo>
                      <a:pt x="58" y="90"/>
                    </a:moveTo>
                    <a:cubicBezTo>
                      <a:pt x="58" y="38"/>
                      <a:pt x="58" y="38"/>
                      <a:pt x="58" y="38"/>
                    </a:cubicBezTo>
                    <a:cubicBezTo>
                      <a:pt x="58" y="29"/>
                      <a:pt x="56" y="19"/>
                      <a:pt x="45" y="19"/>
                    </a:cubicBezTo>
                    <a:cubicBezTo>
                      <a:pt x="37" y="19"/>
                      <a:pt x="29" y="23"/>
                      <a:pt x="23" y="28"/>
                    </a:cubicBezTo>
                    <a:cubicBezTo>
                      <a:pt x="23" y="28"/>
                      <a:pt x="23" y="57"/>
                      <a:pt x="23" y="74"/>
                    </a:cubicBezTo>
                    <a:cubicBezTo>
                      <a:pt x="23" y="90"/>
                      <a:pt x="0" y="90"/>
                      <a:pt x="0" y="90"/>
                    </a:cubicBezTo>
                    <a:cubicBezTo>
                      <a:pt x="0" y="2"/>
                      <a:pt x="0" y="2"/>
                      <a:pt x="0" y="2"/>
                    </a:cubicBezTo>
                    <a:cubicBezTo>
                      <a:pt x="19" y="2"/>
                      <a:pt x="19" y="2"/>
                      <a:pt x="19" y="2"/>
                    </a:cubicBezTo>
                    <a:cubicBezTo>
                      <a:pt x="22" y="11"/>
                      <a:pt x="22" y="11"/>
                      <a:pt x="22" y="11"/>
                    </a:cubicBezTo>
                    <a:cubicBezTo>
                      <a:pt x="31" y="4"/>
                      <a:pt x="40" y="0"/>
                      <a:pt x="52" y="0"/>
                    </a:cubicBezTo>
                    <a:cubicBezTo>
                      <a:pt x="65" y="0"/>
                      <a:pt x="80" y="8"/>
                      <a:pt x="80" y="31"/>
                    </a:cubicBezTo>
                    <a:cubicBezTo>
                      <a:pt x="80" y="31"/>
                      <a:pt x="80" y="57"/>
                      <a:pt x="80" y="74"/>
                    </a:cubicBezTo>
                    <a:cubicBezTo>
                      <a:pt x="80" y="90"/>
                      <a:pt x="58" y="90"/>
                      <a:pt x="58" y="9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4" name="Freeform 19"/>
              <p:cNvSpPr>
                <a:spLocks/>
              </p:cNvSpPr>
              <p:nvPr userDrawn="1"/>
            </p:nvSpPr>
            <p:spPr bwMode="auto">
              <a:xfrm>
                <a:off x="8501217" y="4923177"/>
                <a:ext cx="43361" cy="65574"/>
              </a:xfrm>
              <a:custGeom>
                <a:avLst/>
                <a:gdLst>
                  <a:gd name="T0" fmla="*/ 49 w 57"/>
                  <a:gd name="T1" fmla="*/ 22 h 90"/>
                  <a:gd name="T2" fmla="*/ 39 w 57"/>
                  <a:gd name="T3" fmla="*/ 20 h 90"/>
                  <a:gd name="T4" fmla="*/ 22 w 57"/>
                  <a:gd name="T5" fmla="*/ 27 h 90"/>
                  <a:gd name="T6" fmla="*/ 22 w 57"/>
                  <a:gd name="T7" fmla="*/ 74 h 90"/>
                  <a:gd name="T8" fmla="*/ 0 w 57"/>
                  <a:gd name="T9" fmla="*/ 90 h 90"/>
                  <a:gd name="T10" fmla="*/ 0 w 57"/>
                  <a:gd name="T11" fmla="*/ 2 h 90"/>
                  <a:gd name="T12" fmla="*/ 19 w 57"/>
                  <a:gd name="T13" fmla="*/ 2 h 90"/>
                  <a:gd name="T14" fmla="*/ 21 w 57"/>
                  <a:gd name="T15" fmla="*/ 11 h 90"/>
                  <a:gd name="T16" fmla="*/ 45 w 57"/>
                  <a:gd name="T17" fmla="*/ 0 h 90"/>
                  <a:gd name="T18" fmla="*/ 57 w 57"/>
                  <a:gd name="T19" fmla="*/ 4 h 90"/>
                  <a:gd name="T20" fmla="*/ 49 w 57"/>
                  <a:gd name="T21" fmla="*/ 2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0">
                    <a:moveTo>
                      <a:pt x="49" y="22"/>
                    </a:moveTo>
                    <a:cubicBezTo>
                      <a:pt x="46" y="20"/>
                      <a:pt x="42" y="20"/>
                      <a:pt x="39" y="20"/>
                    </a:cubicBezTo>
                    <a:cubicBezTo>
                      <a:pt x="34" y="20"/>
                      <a:pt x="28" y="22"/>
                      <a:pt x="22" y="27"/>
                    </a:cubicBezTo>
                    <a:cubicBezTo>
                      <a:pt x="22" y="27"/>
                      <a:pt x="22" y="57"/>
                      <a:pt x="22" y="74"/>
                    </a:cubicBezTo>
                    <a:cubicBezTo>
                      <a:pt x="22" y="90"/>
                      <a:pt x="0" y="90"/>
                      <a:pt x="0" y="90"/>
                    </a:cubicBezTo>
                    <a:cubicBezTo>
                      <a:pt x="0" y="2"/>
                      <a:pt x="0" y="2"/>
                      <a:pt x="0" y="2"/>
                    </a:cubicBezTo>
                    <a:cubicBezTo>
                      <a:pt x="19" y="2"/>
                      <a:pt x="19" y="2"/>
                      <a:pt x="19"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5" name="Freeform 20"/>
              <p:cNvSpPr>
                <a:spLocks/>
              </p:cNvSpPr>
              <p:nvPr userDrawn="1"/>
            </p:nvSpPr>
            <p:spPr bwMode="auto">
              <a:xfrm>
                <a:off x="7766657" y="4864376"/>
                <a:ext cx="100211" cy="148389"/>
              </a:xfrm>
              <a:custGeom>
                <a:avLst/>
                <a:gdLst>
                  <a:gd name="T0" fmla="*/ 0 w 132"/>
                  <a:gd name="T1" fmla="*/ 23 h 204"/>
                  <a:gd name="T2" fmla="*/ 1 w 132"/>
                  <a:gd name="T3" fmla="*/ 22 h 204"/>
                  <a:gd name="T4" fmla="*/ 67 w 132"/>
                  <a:gd name="T5" fmla="*/ 20 h 204"/>
                  <a:gd name="T6" fmla="*/ 80 w 132"/>
                  <a:gd name="T7" fmla="*/ 52 h 204"/>
                  <a:gd name="T8" fmla="*/ 113 w 132"/>
                  <a:gd name="T9" fmla="*/ 65 h 204"/>
                  <a:gd name="T10" fmla="*/ 111 w 132"/>
                  <a:gd name="T11" fmla="*/ 132 h 204"/>
                  <a:gd name="T12" fmla="*/ 38 w 132"/>
                  <a:gd name="T13" fmla="*/ 204 h 204"/>
                  <a:gd name="T14" fmla="*/ 16 w 132"/>
                  <a:gd name="T15" fmla="*/ 182 h 204"/>
                  <a:gd name="T16" fmla="*/ 88 w 132"/>
                  <a:gd name="T17" fmla="*/ 110 h 204"/>
                  <a:gd name="T18" fmla="*/ 91 w 132"/>
                  <a:gd name="T19" fmla="*/ 86 h 204"/>
                  <a:gd name="T20" fmla="*/ 67 w 132"/>
                  <a:gd name="T21" fmla="*/ 88 h 204"/>
                  <a:gd name="T22" fmla="*/ 0 w 132"/>
                  <a:gd name="T23" fmla="*/ 155 h 204"/>
                  <a:gd name="T24" fmla="*/ 0 w 132"/>
                  <a:gd name="T25" fmla="*/ 111 h 204"/>
                  <a:gd name="T26" fmla="*/ 45 w 132"/>
                  <a:gd name="T27" fmla="*/ 66 h 204"/>
                  <a:gd name="T28" fmla="*/ 46 w 132"/>
                  <a:gd name="T29" fmla="*/ 42 h 204"/>
                  <a:gd name="T30" fmla="*/ 22 w 132"/>
                  <a:gd name="T31" fmla="*/ 44 h 204"/>
                  <a:gd name="T32" fmla="*/ 0 w 132"/>
                  <a:gd name="T33" fmla="*/ 66 h 204"/>
                  <a:gd name="T34" fmla="*/ 0 w 132"/>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204">
                    <a:moveTo>
                      <a:pt x="0" y="23"/>
                    </a:moveTo>
                    <a:cubicBezTo>
                      <a:pt x="1" y="22"/>
                      <a:pt x="1" y="22"/>
                      <a:pt x="1" y="22"/>
                    </a:cubicBezTo>
                    <a:cubicBezTo>
                      <a:pt x="23" y="0"/>
                      <a:pt x="50" y="2"/>
                      <a:pt x="67" y="20"/>
                    </a:cubicBezTo>
                    <a:cubicBezTo>
                      <a:pt x="80" y="32"/>
                      <a:pt x="81" y="46"/>
                      <a:pt x="80" y="52"/>
                    </a:cubicBezTo>
                    <a:cubicBezTo>
                      <a:pt x="86" y="51"/>
                      <a:pt x="100" y="52"/>
                      <a:pt x="113" y="65"/>
                    </a:cubicBezTo>
                    <a:cubicBezTo>
                      <a:pt x="130" y="82"/>
                      <a:pt x="132" y="110"/>
                      <a:pt x="111" y="132"/>
                    </a:cubicBezTo>
                    <a:cubicBezTo>
                      <a:pt x="38" y="204"/>
                      <a:pt x="38" y="204"/>
                      <a:pt x="38" y="204"/>
                    </a:cubicBezTo>
                    <a:cubicBezTo>
                      <a:pt x="16" y="182"/>
                      <a:pt x="16" y="182"/>
                      <a:pt x="16" y="182"/>
                    </a:cubicBezTo>
                    <a:cubicBezTo>
                      <a:pt x="88" y="110"/>
                      <a:pt x="88" y="110"/>
                      <a:pt x="88" y="110"/>
                    </a:cubicBezTo>
                    <a:cubicBezTo>
                      <a:pt x="97" y="101"/>
                      <a:pt x="96" y="91"/>
                      <a:pt x="91" y="86"/>
                    </a:cubicBezTo>
                    <a:cubicBezTo>
                      <a:pt x="85" y="80"/>
                      <a:pt x="75" y="79"/>
                      <a:pt x="67" y="88"/>
                    </a:cubicBezTo>
                    <a:cubicBezTo>
                      <a:pt x="0" y="155"/>
                      <a:pt x="0" y="155"/>
                      <a:pt x="0" y="155"/>
                    </a:cubicBezTo>
                    <a:cubicBezTo>
                      <a:pt x="0" y="111"/>
                      <a:pt x="0" y="111"/>
                      <a:pt x="0" y="111"/>
                    </a:cubicBezTo>
                    <a:cubicBezTo>
                      <a:pt x="45" y="66"/>
                      <a:pt x="45" y="66"/>
                      <a:pt x="45" y="66"/>
                    </a:cubicBezTo>
                    <a:cubicBezTo>
                      <a:pt x="53" y="57"/>
                      <a:pt x="52" y="47"/>
                      <a:pt x="46" y="42"/>
                    </a:cubicBezTo>
                    <a:cubicBezTo>
                      <a:pt x="41" y="36"/>
                      <a:pt x="31" y="35"/>
                      <a:pt x="22" y="44"/>
                    </a:cubicBezTo>
                    <a:cubicBezTo>
                      <a:pt x="0" y="66"/>
                      <a:pt x="0" y="66"/>
                      <a:pt x="0" y="66"/>
                    </a:cubicBezTo>
                    <a:lnTo>
                      <a:pt x="0"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grpSp>
      <p:sp>
        <p:nvSpPr>
          <p:cNvPr id="68"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solidFill>
                  <a:schemeClr val="tx2">
                    <a:lumMod val="75000"/>
                  </a:schemeClr>
                </a:solidFill>
                <a:latin typeface="+mn-lt"/>
              </a:rPr>
              <a:t>Private and Confidental</a:t>
            </a:r>
            <a:endParaRPr lang="pt-BR" sz="500" dirty="0">
              <a:solidFill>
                <a:schemeClr val="tx2">
                  <a:lumMod val="75000"/>
                </a:schemeClr>
              </a:solidFill>
              <a:latin typeface="+mn-lt"/>
            </a:endParaRPr>
          </a:p>
        </p:txBody>
      </p:sp>
    </p:spTree>
    <p:extLst>
      <p:ext uri="{BB962C8B-B14F-4D97-AF65-F5344CB8AC3E}">
        <p14:creationId xmlns:p14="http://schemas.microsoft.com/office/powerpoint/2010/main" val="2827506050"/>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_FF_MB_Slate3">
    <p:bg>
      <p:bgPr>
        <a:solidFill>
          <a:schemeClr val="bg1"/>
        </a:solidFill>
        <a:effectLst/>
      </p:bgPr>
    </p:bg>
    <p:spTree>
      <p:nvGrpSpPr>
        <p:cNvPr id="1" name=""/>
        <p:cNvGrpSpPr/>
        <p:nvPr/>
      </p:nvGrpSpPr>
      <p:grpSpPr>
        <a:xfrm>
          <a:off x="0" y="0"/>
          <a:ext cx="0" cy="0"/>
          <a:chOff x="0" y="0"/>
          <a:chExt cx="0" cy="0"/>
        </a:xfrm>
      </p:grpSpPr>
      <p:sp>
        <p:nvSpPr>
          <p:cNvPr id="31" name="Rectangle 30"/>
          <p:cNvSpPr/>
          <p:nvPr userDrawn="1"/>
        </p:nvSpPr>
        <p:spPr>
          <a:xfrm>
            <a:off x="0" y="0"/>
            <a:ext cx="9144000" cy="5148263"/>
          </a:xfrm>
          <a:prstGeom prst="rect">
            <a:avLst/>
          </a:prstGeom>
          <a:solidFill>
            <a:srgbClr val="4B4E53"/>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en-GB" sz="1050" smtClean="0">
              <a:solidFill>
                <a:schemeClr val="bg1"/>
              </a:solidFill>
              <a:latin typeface="Arial" panose="020B0604020202020204" pitchFamily="34" charset="0"/>
              <a:cs typeface="Arial" panose="020B0604020202020204" pitchFamily="34" charset="0"/>
            </a:endParaRPr>
          </a:p>
        </p:txBody>
      </p:sp>
      <p:pic>
        <p:nvPicPr>
          <p:cNvPr id="33" name="Picture 32" descr="cookie_white.png"/>
          <p:cNvPicPr>
            <a:picLocks noChangeAspect="1"/>
          </p:cNvPicPr>
          <p:nvPr userDrawn="1"/>
        </p:nvPicPr>
        <p:blipFill rotWithShape="1">
          <a:blip r:embed="rId2" cstate="screen">
            <a:alphaModFix amt="16000"/>
            <a:extLst>
              <a:ext uri="{28A0092B-C50C-407E-A947-70E740481C1C}">
                <a14:useLocalDpi xmlns:a14="http://schemas.microsoft.com/office/drawing/2010/main"/>
              </a:ext>
            </a:extLst>
          </a:blip>
          <a:srcRect/>
          <a:stretch/>
        </p:blipFill>
        <p:spPr>
          <a:xfrm flipH="1">
            <a:off x="5149029" y="2289839"/>
            <a:ext cx="4020091" cy="2880000"/>
          </a:xfrm>
          <a:prstGeom prst="rect">
            <a:avLst/>
          </a:prstGeom>
        </p:spPr>
      </p:pic>
      <p:cxnSp>
        <p:nvCxnSpPr>
          <p:cNvPr id="32" name="Straight Connector 31"/>
          <p:cNvCxnSpPr/>
          <p:nvPr userDrawn="1"/>
        </p:nvCxnSpPr>
        <p:spPr>
          <a:xfrm>
            <a:off x="343365" y="470176"/>
            <a:ext cx="8460000" cy="0"/>
          </a:xfrm>
          <a:prstGeom prst="line">
            <a:avLst/>
          </a:prstGeom>
          <a:ln w="6350" cmpd="sng">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343365" y="4801146"/>
            <a:ext cx="8460000" cy="0"/>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sp>
        <p:nvSpPr>
          <p:cNvPr id="67"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rgbClr val="FFFFFF"/>
                </a:solidFill>
                <a:latin typeface="+mn-lt"/>
              </a:defRPr>
            </a:lvl1pPr>
          </a:lstStyle>
          <a:p>
            <a:fld id="{19AB4E72-7858-48F1-A40D-12FF09E4BFB8}" type="slidenum">
              <a:rPr lang="en-GB" smtClean="0"/>
              <a:pPr/>
              <a:t>‹Nº›</a:t>
            </a:fld>
            <a:endParaRPr lang="en-GB"/>
          </a:p>
        </p:txBody>
      </p:sp>
      <p:sp>
        <p:nvSpPr>
          <p:cNvPr id="36" name="Title 1"/>
          <p:cNvSpPr>
            <a:spLocks noGrp="1"/>
          </p:cNvSpPr>
          <p:nvPr>
            <p:ph type="ctrTitle" hasCustomPrompt="1"/>
          </p:nvPr>
        </p:nvSpPr>
        <p:spPr>
          <a:xfrm>
            <a:off x="343365" y="2867487"/>
            <a:ext cx="8460000" cy="443198"/>
          </a:xfrm>
          <a:prstGeom prst="rect">
            <a:avLst/>
          </a:prstGeom>
        </p:spPr>
        <p:txBody>
          <a:bodyPr lIns="0" tIns="0" rIns="0" bIns="0" anchor="b"/>
          <a:lstStyle>
            <a:lvl1pPr>
              <a:lnSpc>
                <a:spcPct val="90000"/>
              </a:lnSpc>
              <a:defRPr sz="3200" b="0">
                <a:solidFill>
                  <a:schemeClr val="bg1"/>
                </a:solidFill>
              </a:defRPr>
            </a:lvl1pPr>
          </a:lstStyle>
          <a:p>
            <a:r>
              <a:rPr lang="en-US" dirty="0" smtClean="0"/>
              <a:t>Click to edit Master title Style</a:t>
            </a:r>
            <a:endParaRPr lang="en-US" dirty="0"/>
          </a:p>
        </p:txBody>
      </p:sp>
      <p:sp>
        <p:nvSpPr>
          <p:cNvPr id="37" name="Subtitle 2"/>
          <p:cNvSpPr>
            <a:spLocks noGrp="1"/>
          </p:cNvSpPr>
          <p:nvPr>
            <p:ph type="subTitle" idx="1" hasCustomPrompt="1"/>
          </p:nvPr>
        </p:nvSpPr>
        <p:spPr>
          <a:xfrm>
            <a:off x="343364" y="3474100"/>
            <a:ext cx="8460000" cy="202165"/>
          </a:xfrm>
          <a:prstGeom prst="rect">
            <a:avLst/>
          </a:prstGeom>
        </p:spPr>
        <p:txBody>
          <a:bodyPr lIns="0" tIns="0" rIns="0" bIns="0">
            <a:noAutofit/>
          </a:bodyPr>
          <a:lstStyle>
            <a:lvl1pPr marL="0" indent="0" algn="l">
              <a:buNone/>
              <a:defRPr sz="1400">
                <a:solidFill>
                  <a:schemeClr val="tx2"/>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cxnSp>
        <p:nvCxnSpPr>
          <p:cNvPr id="38" name="Straight Connector 37"/>
          <p:cNvCxnSpPr/>
          <p:nvPr userDrawn="1"/>
        </p:nvCxnSpPr>
        <p:spPr>
          <a:xfrm>
            <a:off x="346086" y="3395058"/>
            <a:ext cx="8460000" cy="0"/>
          </a:xfrm>
          <a:prstGeom prst="line">
            <a:avLst/>
          </a:prstGeom>
          <a:ln w="12700"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73" name="Text Placeholder 2"/>
          <p:cNvSpPr>
            <a:spLocks noGrp="1"/>
          </p:cNvSpPr>
          <p:nvPr>
            <p:ph type="body" sz="quarter" idx="25" hasCustomPrompt="1"/>
          </p:nvPr>
        </p:nvSpPr>
        <p:spPr>
          <a:xfrm>
            <a:off x="3342796" y="4807465"/>
            <a:ext cx="1160462" cy="341313"/>
          </a:xfrm>
          <a:prstGeom prst="rect">
            <a:avLst/>
          </a:prstGeom>
        </p:spPr>
        <p:txBody>
          <a:bodyPr anchor="ctr"/>
          <a:lstStyle>
            <a:lvl1pPr marL="0" indent="0" algn="ctr">
              <a:buNone/>
              <a:defRPr sz="800">
                <a:solidFill>
                  <a:schemeClr val="bg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grpSp>
        <p:nvGrpSpPr>
          <p:cNvPr id="128" name="Group 127"/>
          <p:cNvGrpSpPr/>
          <p:nvPr userDrawn="1"/>
        </p:nvGrpSpPr>
        <p:grpSpPr>
          <a:xfrm>
            <a:off x="7686461" y="4906654"/>
            <a:ext cx="1124815" cy="151147"/>
            <a:chOff x="7686461" y="4581466"/>
            <a:chExt cx="1124815" cy="151147"/>
          </a:xfrm>
          <a:solidFill>
            <a:schemeClr val="bg1"/>
          </a:solidFill>
        </p:grpSpPr>
        <p:sp>
          <p:nvSpPr>
            <p:cNvPr id="129"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30"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31"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32"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33"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34"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35"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36"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37"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38"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39"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40"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41"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42"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43"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grpSp>
      <p:pic>
        <p:nvPicPr>
          <p:cNvPr id="75" name="Picture 7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646701" y="4829728"/>
            <a:ext cx="288000" cy="288000"/>
          </a:xfrm>
          <a:prstGeom prst="rect">
            <a:avLst/>
          </a:prstGeom>
        </p:spPr>
      </p:pic>
      <p:grpSp>
        <p:nvGrpSpPr>
          <p:cNvPr id="76" name="Group 75"/>
          <p:cNvGrpSpPr/>
          <p:nvPr userDrawn="1"/>
        </p:nvGrpSpPr>
        <p:grpSpPr>
          <a:xfrm>
            <a:off x="4750866" y="4846685"/>
            <a:ext cx="1123200" cy="262528"/>
            <a:chOff x="7673274" y="4343117"/>
            <a:chExt cx="1123200" cy="262528"/>
          </a:xfrm>
          <a:solidFill>
            <a:schemeClr val="bg1"/>
          </a:solidFill>
        </p:grpSpPr>
        <p:grpSp>
          <p:nvGrpSpPr>
            <p:cNvPr id="77" name="Group 76"/>
            <p:cNvGrpSpPr/>
            <p:nvPr userDrawn="1"/>
          </p:nvGrpSpPr>
          <p:grpSpPr>
            <a:xfrm>
              <a:off x="7909937" y="4494135"/>
              <a:ext cx="438357" cy="111510"/>
              <a:chOff x="7909937" y="4491754"/>
              <a:chExt cx="438357" cy="111510"/>
            </a:xfrm>
            <a:grpFill/>
          </p:grpSpPr>
          <p:sp>
            <p:nvSpPr>
              <p:cNvPr id="100" name="Freeform 21"/>
              <p:cNvSpPr>
                <a:spLocks noEditPoints="1"/>
              </p:cNvSpPr>
              <p:nvPr/>
            </p:nvSpPr>
            <p:spPr bwMode="auto">
              <a:xfrm>
                <a:off x="7909937" y="4496945"/>
                <a:ext cx="72264" cy="78286"/>
              </a:xfrm>
              <a:custGeom>
                <a:avLst/>
                <a:gdLst>
                  <a:gd name="T0" fmla="*/ 290 w 696"/>
                  <a:gd name="T1" fmla="*/ 0 h 754"/>
                  <a:gd name="T2" fmla="*/ 394 w 696"/>
                  <a:gd name="T3" fmla="*/ 0 h 754"/>
                  <a:gd name="T4" fmla="*/ 696 w 696"/>
                  <a:gd name="T5" fmla="*/ 754 h 754"/>
                  <a:gd name="T6" fmla="*/ 550 w 696"/>
                  <a:gd name="T7" fmla="*/ 754 h 754"/>
                  <a:gd name="T8" fmla="*/ 478 w 696"/>
                  <a:gd name="T9" fmla="*/ 566 h 754"/>
                  <a:gd name="T10" fmla="*/ 210 w 696"/>
                  <a:gd name="T11" fmla="*/ 566 h 754"/>
                  <a:gd name="T12" fmla="*/ 140 w 696"/>
                  <a:gd name="T13" fmla="*/ 754 h 754"/>
                  <a:gd name="T14" fmla="*/ 0 w 696"/>
                  <a:gd name="T15" fmla="*/ 754 h 754"/>
                  <a:gd name="T16" fmla="*/ 290 w 696"/>
                  <a:gd name="T17" fmla="*/ 0 h 754"/>
                  <a:gd name="T18" fmla="*/ 436 w 696"/>
                  <a:gd name="T19" fmla="*/ 456 h 754"/>
                  <a:gd name="T20" fmla="*/ 384 w 696"/>
                  <a:gd name="T21" fmla="*/ 306 h 754"/>
                  <a:gd name="T22" fmla="*/ 384 w 696"/>
                  <a:gd name="T23" fmla="*/ 306 h 754"/>
                  <a:gd name="T24" fmla="*/ 360 w 696"/>
                  <a:gd name="T25" fmla="*/ 236 h 754"/>
                  <a:gd name="T26" fmla="*/ 346 w 696"/>
                  <a:gd name="T27" fmla="*/ 190 h 754"/>
                  <a:gd name="T28" fmla="*/ 344 w 696"/>
                  <a:gd name="T29" fmla="*/ 190 h 754"/>
                  <a:gd name="T30" fmla="*/ 344 w 696"/>
                  <a:gd name="T31" fmla="*/ 190 h 754"/>
                  <a:gd name="T32" fmla="*/ 328 w 696"/>
                  <a:gd name="T33" fmla="*/ 236 h 754"/>
                  <a:gd name="T34" fmla="*/ 304 w 696"/>
                  <a:gd name="T35" fmla="*/ 306 h 754"/>
                  <a:gd name="T36" fmla="*/ 250 w 696"/>
                  <a:gd name="T37" fmla="*/ 456 h 754"/>
                  <a:gd name="T38" fmla="*/ 436 w 696"/>
                  <a:gd name="T39" fmla="*/ 456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6" h="754">
                    <a:moveTo>
                      <a:pt x="290" y="0"/>
                    </a:moveTo>
                    <a:lnTo>
                      <a:pt x="394" y="0"/>
                    </a:lnTo>
                    <a:lnTo>
                      <a:pt x="696" y="754"/>
                    </a:lnTo>
                    <a:lnTo>
                      <a:pt x="550" y="754"/>
                    </a:lnTo>
                    <a:lnTo>
                      <a:pt x="478" y="566"/>
                    </a:lnTo>
                    <a:lnTo>
                      <a:pt x="210" y="566"/>
                    </a:lnTo>
                    <a:lnTo>
                      <a:pt x="140" y="754"/>
                    </a:lnTo>
                    <a:lnTo>
                      <a:pt x="0" y="754"/>
                    </a:lnTo>
                    <a:lnTo>
                      <a:pt x="290" y="0"/>
                    </a:lnTo>
                    <a:close/>
                    <a:moveTo>
                      <a:pt x="436" y="456"/>
                    </a:moveTo>
                    <a:lnTo>
                      <a:pt x="384" y="306"/>
                    </a:lnTo>
                    <a:lnTo>
                      <a:pt x="384" y="306"/>
                    </a:lnTo>
                    <a:lnTo>
                      <a:pt x="360" y="236"/>
                    </a:lnTo>
                    <a:lnTo>
                      <a:pt x="346" y="190"/>
                    </a:lnTo>
                    <a:lnTo>
                      <a:pt x="344" y="190"/>
                    </a:lnTo>
                    <a:lnTo>
                      <a:pt x="344" y="190"/>
                    </a:lnTo>
                    <a:lnTo>
                      <a:pt x="328" y="236"/>
                    </a:lnTo>
                    <a:lnTo>
                      <a:pt x="304" y="306"/>
                    </a:lnTo>
                    <a:lnTo>
                      <a:pt x="250" y="456"/>
                    </a:lnTo>
                    <a:lnTo>
                      <a:pt x="436" y="4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 name="Freeform 22"/>
              <p:cNvSpPr>
                <a:spLocks noEditPoints="1"/>
              </p:cNvSpPr>
              <p:nvPr/>
            </p:nvSpPr>
            <p:spPr bwMode="auto">
              <a:xfrm>
                <a:off x="8047404" y="4517918"/>
                <a:ext cx="48591" cy="58558"/>
              </a:xfrm>
              <a:custGeom>
                <a:avLst/>
                <a:gdLst>
                  <a:gd name="T0" fmla="*/ 334 w 468"/>
                  <a:gd name="T1" fmla="*/ 502 h 564"/>
                  <a:gd name="T2" fmla="*/ 302 w 468"/>
                  <a:gd name="T3" fmla="*/ 526 h 564"/>
                  <a:gd name="T4" fmla="*/ 266 w 468"/>
                  <a:gd name="T5" fmla="*/ 546 h 564"/>
                  <a:gd name="T6" fmla="*/ 226 w 468"/>
                  <a:gd name="T7" fmla="*/ 560 h 564"/>
                  <a:gd name="T8" fmla="*/ 178 w 468"/>
                  <a:gd name="T9" fmla="*/ 564 h 564"/>
                  <a:gd name="T10" fmla="*/ 160 w 468"/>
                  <a:gd name="T11" fmla="*/ 564 h 564"/>
                  <a:gd name="T12" fmla="*/ 124 w 468"/>
                  <a:gd name="T13" fmla="*/ 558 h 564"/>
                  <a:gd name="T14" fmla="*/ 92 w 468"/>
                  <a:gd name="T15" fmla="*/ 546 h 564"/>
                  <a:gd name="T16" fmla="*/ 62 w 468"/>
                  <a:gd name="T17" fmla="*/ 528 h 564"/>
                  <a:gd name="T18" fmla="*/ 38 w 468"/>
                  <a:gd name="T19" fmla="*/ 506 h 564"/>
                  <a:gd name="T20" fmla="*/ 20 w 468"/>
                  <a:gd name="T21" fmla="*/ 478 h 564"/>
                  <a:gd name="T22" fmla="*/ 6 w 468"/>
                  <a:gd name="T23" fmla="*/ 446 h 564"/>
                  <a:gd name="T24" fmla="*/ 0 w 468"/>
                  <a:gd name="T25" fmla="*/ 412 h 564"/>
                  <a:gd name="T26" fmla="*/ 0 w 468"/>
                  <a:gd name="T27" fmla="*/ 392 h 564"/>
                  <a:gd name="T28" fmla="*/ 6 w 468"/>
                  <a:gd name="T29" fmla="*/ 342 h 564"/>
                  <a:gd name="T30" fmla="*/ 24 w 468"/>
                  <a:gd name="T31" fmla="*/ 302 h 564"/>
                  <a:gd name="T32" fmla="*/ 52 w 468"/>
                  <a:gd name="T33" fmla="*/ 270 h 564"/>
                  <a:gd name="T34" fmla="*/ 90 w 468"/>
                  <a:gd name="T35" fmla="*/ 246 h 564"/>
                  <a:gd name="T36" fmla="*/ 120 w 468"/>
                  <a:gd name="T37" fmla="*/ 232 h 564"/>
                  <a:gd name="T38" fmla="*/ 190 w 468"/>
                  <a:gd name="T39" fmla="*/ 218 h 564"/>
                  <a:gd name="T40" fmla="*/ 322 w 468"/>
                  <a:gd name="T41" fmla="*/ 210 h 564"/>
                  <a:gd name="T42" fmla="*/ 322 w 468"/>
                  <a:gd name="T43" fmla="*/ 194 h 564"/>
                  <a:gd name="T44" fmla="*/ 314 w 468"/>
                  <a:gd name="T45" fmla="*/ 154 h 564"/>
                  <a:gd name="T46" fmla="*/ 294 w 468"/>
                  <a:gd name="T47" fmla="*/ 126 h 564"/>
                  <a:gd name="T48" fmla="*/ 260 w 468"/>
                  <a:gd name="T49" fmla="*/ 108 h 564"/>
                  <a:gd name="T50" fmla="*/ 218 w 468"/>
                  <a:gd name="T51" fmla="*/ 104 h 564"/>
                  <a:gd name="T52" fmla="*/ 198 w 468"/>
                  <a:gd name="T53" fmla="*/ 104 h 564"/>
                  <a:gd name="T54" fmla="*/ 160 w 468"/>
                  <a:gd name="T55" fmla="*/ 110 h 564"/>
                  <a:gd name="T56" fmla="*/ 108 w 468"/>
                  <a:gd name="T57" fmla="*/ 126 h 564"/>
                  <a:gd name="T58" fmla="*/ 32 w 468"/>
                  <a:gd name="T59" fmla="*/ 54 h 564"/>
                  <a:gd name="T60" fmla="*/ 56 w 468"/>
                  <a:gd name="T61" fmla="*/ 42 h 564"/>
                  <a:gd name="T62" fmla="*/ 106 w 468"/>
                  <a:gd name="T63" fmla="*/ 22 h 564"/>
                  <a:gd name="T64" fmla="*/ 158 w 468"/>
                  <a:gd name="T65" fmla="*/ 8 h 564"/>
                  <a:gd name="T66" fmla="*/ 212 w 468"/>
                  <a:gd name="T67" fmla="*/ 0 h 564"/>
                  <a:gd name="T68" fmla="*/ 240 w 468"/>
                  <a:gd name="T69" fmla="*/ 0 h 564"/>
                  <a:gd name="T70" fmla="*/ 292 w 468"/>
                  <a:gd name="T71" fmla="*/ 4 h 564"/>
                  <a:gd name="T72" fmla="*/ 336 w 468"/>
                  <a:gd name="T73" fmla="*/ 12 h 564"/>
                  <a:gd name="T74" fmla="*/ 372 w 468"/>
                  <a:gd name="T75" fmla="*/ 28 h 564"/>
                  <a:gd name="T76" fmla="*/ 404 w 468"/>
                  <a:gd name="T77" fmla="*/ 50 h 564"/>
                  <a:gd name="T78" fmla="*/ 426 w 468"/>
                  <a:gd name="T79" fmla="*/ 76 h 564"/>
                  <a:gd name="T80" fmla="*/ 444 w 468"/>
                  <a:gd name="T81" fmla="*/ 110 h 564"/>
                  <a:gd name="T82" fmla="*/ 454 w 468"/>
                  <a:gd name="T83" fmla="*/ 150 h 564"/>
                  <a:gd name="T84" fmla="*/ 458 w 468"/>
                  <a:gd name="T85" fmla="*/ 196 h 564"/>
                  <a:gd name="T86" fmla="*/ 458 w 468"/>
                  <a:gd name="T87" fmla="*/ 414 h 564"/>
                  <a:gd name="T88" fmla="*/ 460 w 468"/>
                  <a:gd name="T89" fmla="*/ 496 h 564"/>
                  <a:gd name="T90" fmla="*/ 468 w 468"/>
                  <a:gd name="T91" fmla="*/ 552 h 564"/>
                  <a:gd name="T92" fmla="*/ 334 w 468"/>
                  <a:gd name="T93" fmla="*/ 502 h 564"/>
                  <a:gd name="T94" fmla="*/ 248 w 468"/>
                  <a:gd name="T95" fmla="*/ 304 h 564"/>
                  <a:gd name="T96" fmla="*/ 204 w 468"/>
                  <a:gd name="T97" fmla="*/ 310 h 564"/>
                  <a:gd name="T98" fmla="*/ 170 w 468"/>
                  <a:gd name="T99" fmla="*/ 322 h 564"/>
                  <a:gd name="T100" fmla="*/ 162 w 468"/>
                  <a:gd name="T101" fmla="*/ 326 h 564"/>
                  <a:gd name="T102" fmla="*/ 150 w 468"/>
                  <a:gd name="T103" fmla="*/ 340 h 564"/>
                  <a:gd name="T104" fmla="*/ 142 w 468"/>
                  <a:gd name="T105" fmla="*/ 354 h 564"/>
                  <a:gd name="T106" fmla="*/ 138 w 468"/>
                  <a:gd name="T107" fmla="*/ 382 h 564"/>
                  <a:gd name="T108" fmla="*/ 138 w 468"/>
                  <a:gd name="T109" fmla="*/ 400 h 564"/>
                  <a:gd name="T110" fmla="*/ 150 w 468"/>
                  <a:gd name="T111" fmla="*/ 426 h 564"/>
                  <a:gd name="T112" fmla="*/ 170 w 468"/>
                  <a:gd name="T113" fmla="*/ 446 h 564"/>
                  <a:gd name="T114" fmla="*/ 200 w 468"/>
                  <a:gd name="T115" fmla="*/ 456 h 564"/>
                  <a:gd name="T116" fmla="*/ 216 w 468"/>
                  <a:gd name="T117" fmla="*/ 456 h 564"/>
                  <a:gd name="T118" fmla="*/ 252 w 468"/>
                  <a:gd name="T119" fmla="*/ 452 h 564"/>
                  <a:gd name="T120" fmla="*/ 282 w 468"/>
                  <a:gd name="T121" fmla="*/ 442 h 564"/>
                  <a:gd name="T122" fmla="*/ 322 w 468"/>
                  <a:gd name="T123" fmla="*/ 418 h 564"/>
                  <a:gd name="T124" fmla="*/ 248 w 468"/>
                  <a:gd name="T125" fmla="*/ 30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8" h="564">
                    <a:moveTo>
                      <a:pt x="334" y="502"/>
                    </a:moveTo>
                    <a:lnTo>
                      <a:pt x="334" y="502"/>
                    </a:lnTo>
                    <a:lnTo>
                      <a:pt x="318" y="514"/>
                    </a:lnTo>
                    <a:lnTo>
                      <a:pt x="302" y="526"/>
                    </a:lnTo>
                    <a:lnTo>
                      <a:pt x="284" y="536"/>
                    </a:lnTo>
                    <a:lnTo>
                      <a:pt x="266" y="546"/>
                    </a:lnTo>
                    <a:lnTo>
                      <a:pt x="246" y="554"/>
                    </a:lnTo>
                    <a:lnTo>
                      <a:pt x="226" y="560"/>
                    </a:lnTo>
                    <a:lnTo>
                      <a:pt x="202" y="562"/>
                    </a:lnTo>
                    <a:lnTo>
                      <a:pt x="178" y="564"/>
                    </a:lnTo>
                    <a:lnTo>
                      <a:pt x="178" y="564"/>
                    </a:lnTo>
                    <a:lnTo>
                      <a:pt x="160" y="564"/>
                    </a:lnTo>
                    <a:lnTo>
                      <a:pt x="140" y="560"/>
                    </a:lnTo>
                    <a:lnTo>
                      <a:pt x="124" y="558"/>
                    </a:lnTo>
                    <a:lnTo>
                      <a:pt x="106" y="552"/>
                    </a:lnTo>
                    <a:lnTo>
                      <a:pt x="92" y="546"/>
                    </a:lnTo>
                    <a:lnTo>
                      <a:pt x="76" y="538"/>
                    </a:lnTo>
                    <a:lnTo>
                      <a:pt x="62" y="528"/>
                    </a:lnTo>
                    <a:lnTo>
                      <a:pt x="50" y="516"/>
                    </a:lnTo>
                    <a:lnTo>
                      <a:pt x="38" y="506"/>
                    </a:lnTo>
                    <a:lnTo>
                      <a:pt x="28" y="492"/>
                    </a:lnTo>
                    <a:lnTo>
                      <a:pt x="20" y="478"/>
                    </a:lnTo>
                    <a:lnTo>
                      <a:pt x="12" y="462"/>
                    </a:lnTo>
                    <a:lnTo>
                      <a:pt x="6" y="446"/>
                    </a:lnTo>
                    <a:lnTo>
                      <a:pt x="2" y="430"/>
                    </a:lnTo>
                    <a:lnTo>
                      <a:pt x="0" y="412"/>
                    </a:lnTo>
                    <a:lnTo>
                      <a:pt x="0" y="392"/>
                    </a:lnTo>
                    <a:lnTo>
                      <a:pt x="0" y="392"/>
                    </a:lnTo>
                    <a:lnTo>
                      <a:pt x="0" y="366"/>
                    </a:lnTo>
                    <a:lnTo>
                      <a:pt x="6" y="342"/>
                    </a:lnTo>
                    <a:lnTo>
                      <a:pt x="14" y="320"/>
                    </a:lnTo>
                    <a:lnTo>
                      <a:pt x="24" y="302"/>
                    </a:lnTo>
                    <a:lnTo>
                      <a:pt x="36" y="284"/>
                    </a:lnTo>
                    <a:lnTo>
                      <a:pt x="52" y="270"/>
                    </a:lnTo>
                    <a:lnTo>
                      <a:pt x="70" y="256"/>
                    </a:lnTo>
                    <a:lnTo>
                      <a:pt x="90" y="246"/>
                    </a:lnTo>
                    <a:lnTo>
                      <a:pt x="90" y="246"/>
                    </a:lnTo>
                    <a:lnTo>
                      <a:pt x="120" y="232"/>
                    </a:lnTo>
                    <a:lnTo>
                      <a:pt x="154" y="224"/>
                    </a:lnTo>
                    <a:lnTo>
                      <a:pt x="190" y="218"/>
                    </a:lnTo>
                    <a:lnTo>
                      <a:pt x="230" y="214"/>
                    </a:lnTo>
                    <a:lnTo>
                      <a:pt x="322" y="210"/>
                    </a:lnTo>
                    <a:lnTo>
                      <a:pt x="322" y="194"/>
                    </a:lnTo>
                    <a:lnTo>
                      <a:pt x="322" y="194"/>
                    </a:lnTo>
                    <a:lnTo>
                      <a:pt x="320" y="172"/>
                    </a:lnTo>
                    <a:lnTo>
                      <a:pt x="314" y="154"/>
                    </a:lnTo>
                    <a:lnTo>
                      <a:pt x="306" y="138"/>
                    </a:lnTo>
                    <a:lnTo>
                      <a:pt x="294" y="126"/>
                    </a:lnTo>
                    <a:lnTo>
                      <a:pt x="278" y="116"/>
                    </a:lnTo>
                    <a:lnTo>
                      <a:pt x="260" y="108"/>
                    </a:lnTo>
                    <a:lnTo>
                      <a:pt x="240" y="106"/>
                    </a:lnTo>
                    <a:lnTo>
                      <a:pt x="218" y="104"/>
                    </a:lnTo>
                    <a:lnTo>
                      <a:pt x="218" y="104"/>
                    </a:lnTo>
                    <a:lnTo>
                      <a:pt x="198" y="104"/>
                    </a:lnTo>
                    <a:lnTo>
                      <a:pt x="178" y="106"/>
                    </a:lnTo>
                    <a:lnTo>
                      <a:pt x="160" y="110"/>
                    </a:lnTo>
                    <a:lnTo>
                      <a:pt x="142" y="114"/>
                    </a:lnTo>
                    <a:lnTo>
                      <a:pt x="108" y="126"/>
                    </a:lnTo>
                    <a:lnTo>
                      <a:pt x="76" y="142"/>
                    </a:lnTo>
                    <a:lnTo>
                      <a:pt x="32" y="54"/>
                    </a:lnTo>
                    <a:lnTo>
                      <a:pt x="32" y="54"/>
                    </a:lnTo>
                    <a:lnTo>
                      <a:pt x="56" y="42"/>
                    </a:lnTo>
                    <a:lnTo>
                      <a:pt x="82" y="30"/>
                    </a:lnTo>
                    <a:lnTo>
                      <a:pt x="106" y="22"/>
                    </a:lnTo>
                    <a:lnTo>
                      <a:pt x="132" y="14"/>
                    </a:lnTo>
                    <a:lnTo>
                      <a:pt x="158" y="8"/>
                    </a:lnTo>
                    <a:lnTo>
                      <a:pt x="186" y="4"/>
                    </a:lnTo>
                    <a:lnTo>
                      <a:pt x="212" y="0"/>
                    </a:lnTo>
                    <a:lnTo>
                      <a:pt x="240" y="0"/>
                    </a:lnTo>
                    <a:lnTo>
                      <a:pt x="240" y="0"/>
                    </a:lnTo>
                    <a:lnTo>
                      <a:pt x="268" y="0"/>
                    </a:lnTo>
                    <a:lnTo>
                      <a:pt x="292" y="4"/>
                    </a:lnTo>
                    <a:lnTo>
                      <a:pt x="314" y="6"/>
                    </a:lnTo>
                    <a:lnTo>
                      <a:pt x="336" y="12"/>
                    </a:lnTo>
                    <a:lnTo>
                      <a:pt x="356" y="20"/>
                    </a:lnTo>
                    <a:lnTo>
                      <a:pt x="372" y="28"/>
                    </a:lnTo>
                    <a:lnTo>
                      <a:pt x="388" y="38"/>
                    </a:lnTo>
                    <a:lnTo>
                      <a:pt x="404" y="50"/>
                    </a:lnTo>
                    <a:lnTo>
                      <a:pt x="416" y="62"/>
                    </a:lnTo>
                    <a:lnTo>
                      <a:pt x="426" y="76"/>
                    </a:lnTo>
                    <a:lnTo>
                      <a:pt x="436" y="94"/>
                    </a:lnTo>
                    <a:lnTo>
                      <a:pt x="444" y="110"/>
                    </a:lnTo>
                    <a:lnTo>
                      <a:pt x="450" y="130"/>
                    </a:lnTo>
                    <a:lnTo>
                      <a:pt x="454" y="150"/>
                    </a:lnTo>
                    <a:lnTo>
                      <a:pt x="456" y="172"/>
                    </a:lnTo>
                    <a:lnTo>
                      <a:pt x="458" y="196"/>
                    </a:lnTo>
                    <a:lnTo>
                      <a:pt x="458" y="414"/>
                    </a:lnTo>
                    <a:lnTo>
                      <a:pt x="458" y="414"/>
                    </a:lnTo>
                    <a:lnTo>
                      <a:pt x="458" y="458"/>
                    </a:lnTo>
                    <a:lnTo>
                      <a:pt x="460" y="496"/>
                    </a:lnTo>
                    <a:lnTo>
                      <a:pt x="462" y="528"/>
                    </a:lnTo>
                    <a:lnTo>
                      <a:pt x="468" y="552"/>
                    </a:lnTo>
                    <a:lnTo>
                      <a:pt x="354" y="552"/>
                    </a:lnTo>
                    <a:lnTo>
                      <a:pt x="334" y="502"/>
                    </a:lnTo>
                    <a:close/>
                    <a:moveTo>
                      <a:pt x="248" y="304"/>
                    </a:moveTo>
                    <a:lnTo>
                      <a:pt x="248" y="304"/>
                    </a:lnTo>
                    <a:lnTo>
                      <a:pt x="224" y="306"/>
                    </a:lnTo>
                    <a:lnTo>
                      <a:pt x="204" y="310"/>
                    </a:lnTo>
                    <a:lnTo>
                      <a:pt x="186" y="314"/>
                    </a:lnTo>
                    <a:lnTo>
                      <a:pt x="170" y="322"/>
                    </a:lnTo>
                    <a:lnTo>
                      <a:pt x="170" y="322"/>
                    </a:lnTo>
                    <a:lnTo>
                      <a:pt x="162" y="326"/>
                    </a:lnTo>
                    <a:lnTo>
                      <a:pt x="156" y="332"/>
                    </a:lnTo>
                    <a:lnTo>
                      <a:pt x="150" y="340"/>
                    </a:lnTo>
                    <a:lnTo>
                      <a:pt x="146" y="346"/>
                    </a:lnTo>
                    <a:lnTo>
                      <a:pt x="142" y="354"/>
                    </a:lnTo>
                    <a:lnTo>
                      <a:pt x="140" y="364"/>
                    </a:lnTo>
                    <a:lnTo>
                      <a:pt x="138" y="382"/>
                    </a:lnTo>
                    <a:lnTo>
                      <a:pt x="138" y="382"/>
                    </a:lnTo>
                    <a:lnTo>
                      <a:pt x="138" y="400"/>
                    </a:lnTo>
                    <a:lnTo>
                      <a:pt x="142" y="414"/>
                    </a:lnTo>
                    <a:lnTo>
                      <a:pt x="150" y="426"/>
                    </a:lnTo>
                    <a:lnTo>
                      <a:pt x="158" y="438"/>
                    </a:lnTo>
                    <a:lnTo>
                      <a:pt x="170" y="446"/>
                    </a:lnTo>
                    <a:lnTo>
                      <a:pt x="184" y="452"/>
                    </a:lnTo>
                    <a:lnTo>
                      <a:pt x="200" y="456"/>
                    </a:lnTo>
                    <a:lnTo>
                      <a:pt x="216" y="456"/>
                    </a:lnTo>
                    <a:lnTo>
                      <a:pt x="216" y="456"/>
                    </a:lnTo>
                    <a:lnTo>
                      <a:pt x="234" y="456"/>
                    </a:lnTo>
                    <a:lnTo>
                      <a:pt x="252" y="452"/>
                    </a:lnTo>
                    <a:lnTo>
                      <a:pt x="268" y="448"/>
                    </a:lnTo>
                    <a:lnTo>
                      <a:pt x="282" y="442"/>
                    </a:lnTo>
                    <a:lnTo>
                      <a:pt x="304" y="430"/>
                    </a:lnTo>
                    <a:lnTo>
                      <a:pt x="322" y="418"/>
                    </a:lnTo>
                    <a:lnTo>
                      <a:pt x="322" y="302"/>
                    </a:lnTo>
                    <a:lnTo>
                      <a:pt x="248" y="3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2" name="Freeform 23"/>
              <p:cNvSpPr>
                <a:spLocks/>
              </p:cNvSpPr>
              <p:nvPr/>
            </p:nvSpPr>
            <p:spPr bwMode="auto">
              <a:xfrm>
                <a:off x="8121536" y="4519372"/>
                <a:ext cx="62089" cy="83892"/>
              </a:xfrm>
              <a:custGeom>
                <a:avLst/>
                <a:gdLst>
                  <a:gd name="T0" fmla="*/ 34 w 598"/>
                  <a:gd name="T1" fmla="*/ 678 h 808"/>
                  <a:gd name="T2" fmla="*/ 34 w 598"/>
                  <a:gd name="T3" fmla="*/ 678 h 808"/>
                  <a:gd name="T4" fmla="*/ 54 w 598"/>
                  <a:gd name="T5" fmla="*/ 688 h 808"/>
                  <a:gd name="T6" fmla="*/ 74 w 598"/>
                  <a:gd name="T7" fmla="*/ 694 h 808"/>
                  <a:gd name="T8" fmla="*/ 94 w 598"/>
                  <a:gd name="T9" fmla="*/ 698 h 808"/>
                  <a:gd name="T10" fmla="*/ 116 w 598"/>
                  <a:gd name="T11" fmla="*/ 700 h 808"/>
                  <a:gd name="T12" fmla="*/ 116 w 598"/>
                  <a:gd name="T13" fmla="*/ 700 h 808"/>
                  <a:gd name="T14" fmla="*/ 138 w 598"/>
                  <a:gd name="T15" fmla="*/ 698 h 808"/>
                  <a:gd name="T16" fmla="*/ 158 w 598"/>
                  <a:gd name="T17" fmla="*/ 692 h 808"/>
                  <a:gd name="T18" fmla="*/ 168 w 598"/>
                  <a:gd name="T19" fmla="*/ 686 h 808"/>
                  <a:gd name="T20" fmla="*/ 178 w 598"/>
                  <a:gd name="T21" fmla="*/ 680 h 808"/>
                  <a:gd name="T22" fmla="*/ 188 w 598"/>
                  <a:gd name="T23" fmla="*/ 672 h 808"/>
                  <a:gd name="T24" fmla="*/ 198 w 598"/>
                  <a:gd name="T25" fmla="*/ 664 h 808"/>
                  <a:gd name="T26" fmla="*/ 216 w 598"/>
                  <a:gd name="T27" fmla="*/ 642 h 808"/>
                  <a:gd name="T28" fmla="*/ 234 w 598"/>
                  <a:gd name="T29" fmla="*/ 612 h 808"/>
                  <a:gd name="T30" fmla="*/ 250 w 598"/>
                  <a:gd name="T31" fmla="*/ 578 h 808"/>
                  <a:gd name="T32" fmla="*/ 266 w 598"/>
                  <a:gd name="T33" fmla="*/ 536 h 808"/>
                  <a:gd name="T34" fmla="*/ 24 w 598"/>
                  <a:gd name="T35" fmla="*/ 0 h 808"/>
                  <a:gd name="T36" fmla="*/ 164 w 598"/>
                  <a:gd name="T37" fmla="*/ 0 h 808"/>
                  <a:gd name="T38" fmla="*/ 328 w 598"/>
                  <a:gd name="T39" fmla="*/ 382 h 808"/>
                  <a:gd name="T40" fmla="*/ 330 w 598"/>
                  <a:gd name="T41" fmla="*/ 382 h 808"/>
                  <a:gd name="T42" fmla="*/ 460 w 598"/>
                  <a:gd name="T43" fmla="*/ 0 h 808"/>
                  <a:gd name="T44" fmla="*/ 598 w 598"/>
                  <a:gd name="T45" fmla="*/ 0 h 808"/>
                  <a:gd name="T46" fmla="*/ 392 w 598"/>
                  <a:gd name="T47" fmla="*/ 556 h 808"/>
                  <a:gd name="T48" fmla="*/ 392 w 598"/>
                  <a:gd name="T49" fmla="*/ 556 h 808"/>
                  <a:gd name="T50" fmla="*/ 376 w 598"/>
                  <a:gd name="T51" fmla="*/ 596 h 808"/>
                  <a:gd name="T52" fmla="*/ 360 w 598"/>
                  <a:gd name="T53" fmla="*/ 632 h 808"/>
                  <a:gd name="T54" fmla="*/ 344 w 598"/>
                  <a:gd name="T55" fmla="*/ 662 h 808"/>
                  <a:gd name="T56" fmla="*/ 326 w 598"/>
                  <a:gd name="T57" fmla="*/ 690 h 808"/>
                  <a:gd name="T58" fmla="*/ 308 w 598"/>
                  <a:gd name="T59" fmla="*/ 714 h 808"/>
                  <a:gd name="T60" fmla="*/ 292 w 598"/>
                  <a:gd name="T61" fmla="*/ 734 h 808"/>
                  <a:gd name="T62" fmla="*/ 274 w 598"/>
                  <a:gd name="T63" fmla="*/ 752 h 808"/>
                  <a:gd name="T64" fmla="*/ 256 w 598"/>
                  <a:gd name="T65" fmla="*/ 766 h 808"/>
                  <a:gd name="T66" fmla="*/ 238 w 598"/>
                  <a:gd name="T67" fmla="*/ 778 h 808"/>
                  <a:gd name="T68" fmla="*/ 220 w 598"/>
                  <a:gd name="T69" fmla="*/ 788 h 808"/>
                  <a:gd name="T70" fmla="*/ 200 w 598"/>
                  <a:gd name="T71" fmla="*/ 796 h 808"/>
                  <a:gd name="T72" fmla="*/ 182 w 598"/>
                  <a:gd name="T73" fmla="*/ 800 h 808"/>
                  <a:gd name="T74" fmla="*/ 164 w 598"/>
                  <a:gd name="T75" fmla="*/ 804 h 808"/>
                  <a:gd name="T76" fmla="*/ 146 w 598"/>
                  <a:gd name="T77" fmla="*/ 808 h 808"/>
                  <a:gd name="T78" fmla="*/ 108 w 598"/>
                  <a:gd name="T79" fmla="*/ 808 h 808"/>
                  <a:gd name="T80" fmla="*/ 108 w 598"/>
                  <a:gd name="T81" fmla="*/ 808 h 808"/>
                  <a:gd name="T82" fmla="*/ 78 w 598"/>
                  <a:gd name="T83" fmla="*/ 808 h 808"/>
                  <a:gd name="T84" fmla="*/ 52 w 598"/>
                  <a:gd name="T85" fmla="*/ 802 h 808"/>
                  <a:gd name="T86" fmla="*/ 26 w 598"/>
                  <a:gd name="T87" fmla="*/ 794 h 808"/>
                  <a:gd name="T88" fmla="*/ 0 w 598"/>
                  <a:gd name="T89" fmla="*/ 784 h 808"/>
                  <a:gd name="T90" fmla="*/ 34 w 598"/>
                  <a:gd name="T91" fmla="*/ 678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98" h="808">
                    <a:moveTo>
                      <a:pt x="34" y="678"/>
                    </a:moveTo>
                    <a:lnTo>
                      <a:pt x="34" y="678"/>
                    </a:lnTo>
                    <a:lnTo>
                      <a:pt x="54" y="688"/>
                    </a:lnTo>
                    <a:lnTo>
                      <a:pt x="74" y="694"/>
                    </a:lnTo>
                    <a:lnTo>
                      <a:pt x="94" y="698"/>
                    </a:lnTo>
                    <a:lnTo>
                      <a:pt x="116" y="700"/>
                    </a:lnTo>
                    <a:lnTo>
                      <a:pt x="116" y="700"/>
                    </a:lnTo>
                    <a:lnTo>
                      <a:pt x="138" y="698"/>
                    </a:lnTo>
                    <a:lnTo>
                      <a:pt x="158" y="692"/>
                    </a:lnTo>
                    <a:lnTo>
                      <a:pt x="168" y="686"/>
                    </a:lnTo>
                    <a:lnTo>
                      <a:pt x="178" y="680"/>
                    </a:lnTo>
                    <a:lnTo>
                      <a:pt x="188" y="672"/>
                    </a:lnTo>
                    <a:lnTo>
                      <a:pt x="198" y="664"/>
                    </a:lnTo>
                    <a:lnTo>
                      <a:pt x="216" y="642"/>
                    </a:lnTo>
                    <a:lnTo>
                      <a:pt x="234" y="612"/>
                    </a:lnTo>
                    <a:lnTo>
                      <a:pt x="250" y="578"/>
                    </a:lnTo>
                    <a:lnTo>
                      <a:pt x="266" y="536"/>
                    </a:lnTo>
                    <a:lnTo>
                      <a:pt x="24" y="0"/>
                    </a:lnTo>
                    <a:lnTo>
                      <a:pt x="164" y="0"/>
                    </a:lnTo>
                    <a:lnTo>
                      <a:pt x="328" y="382"/>
                    </a:lnTo>
                    <a:lnTo>
                      <a:pt x="330" y="382"/>
                    </a:lnTo>
                    <a:lnTo>
                      <a:pt x="460" y="0"/>
                    </a:lnTo>
                    <a:lnTo>
                      <a:pt x="598" y="0"/>
                    </a:lnTo>
                    <a:lnTo>
                      <a:pt x="392" y="556"/>
                    </a:lnTo>
                    <a:lnTo>
                      <a:pt x="392" y="556"/>
                    </a:lnTo>
                    <a:lnTo>
                      <a:pt x="376" y="596"/>
                    </a:lnTo>
                    <a:lnTo>
                      <a:pt x="360" y="632"/>
                    </a:lnTo>
                    <a:lnTo>
                      <a:pt x="344" y="662"/>
                    </a:lnTo>
                    <a:lnTo>
                      <a:pt x="326" y="690"/>
                    </a:lnTo>
                    <a:lnTo>
                      <a:pt x="308" y="714"/>
                    </a:lnTo>
                    <a:lnTo>
                      <a:pt x="292" y="734"/>
                    </a:lnTo>
                    <a:lnTo>
                      <a:pt x="274" y="752"/>
                    </a:lnTo>
                    <a:lnTo>
                      <a:pt x="256" y="766"/>
                    </a:lnTo>
                    <a:lnTo>
                      <a:pt x="238" y="778"/>
                    </a:lnTo>
                    <a:lnTo>
                      <a:pt x="220" y="788"/>
                    </a:lnTo>
                    <a:lnTo>
                      <a:pt x="200" y="796"/>
                    </a:lnTo>
                    <a:lnTo>
                      <a:pt x="182" y="800"/>
                    </a:lnTo>
                    <a:lnTo>
                      <a:pt x="164" y="804"/>
                    </a:lnTo>
                    <a:lnTo>
                      <a:pt x="146" y="808"/>
                    </a:lnTo>
                    <a:lnTo>
                      <a:pt x="108" y="808"/>
                    </a:lnTo>
                    <a:lnTo>
                      <a:pt x="108" y="808"/>
                    </a:lnTo>
                    <a:lnTo>
                      <a:pt x="78" y="808"/>
                    </a:lnTo>
                    <a:lnTo>
                      <a:pt x="52" y="802"/>
                    </a:lnTo>
                    <a:lnTo>
                      <a:pt x="26" y="794"/>
                    </a:lnTo>
                    <a:lnTo>
                      <a:pt x="0" y="784"/>
                    </a:lnTo>
                    <a:lnTo>
                      <a:pt x="34" y="6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3" name="Freeform 24"/>
              <p:cNvSpPr>
                <a:spLocks/>
              </p:cNvSpPr>
              <p:nvPr/>
            </p:nvSpPr>
            <p:spPr bwMode="auto">
              <a:xfrm>
                <a:off x="8179056" y="4502136"/>
                <a:ext cx="45269" cy="74340"/>
              </a:xfrm>
              <a:custGeom>
                <a:avLst/>
                <a:gdLst>
                  <a:gd name="T0" fmla="*/ 124 w 436"/>
                  <a:gd name="T1" fmla="*/ 572 h 716"/>
                  <a:gd name="T2" fmla="*/ 124 w 436"/>
                  <a:gd name="T3" fmla="*/ 272 h 716"/>
                  <a:gd name="T4" fmla="*/ 0 w 436"/>
                  <a:gd name="T5" fmla="*/ 272 h 716"/>
                  <a:gd name="T6" fmla="*/ 28 w 436"/>
                  <a:gd name="T7" fmla="*/ 166 h 716"/>
                  <a:gd name="T8" fmla="*/ 124 w 436"/>
                  <a:gd name="T9" fmla="*/ 166 h 716"/>
                  <a:gd name="T10" fmla="*/ 124 w 436"/>
                  <a:gd name="T11" fmla="*/ 40 h 716"/>
                  <a:gd name="T12" fmla="*/ 260 w 436"/>
                  <a:gd name="T13" fmla="*/ 0 h 716"/>
                  <a:gd name="T14" fmla="*/ 260 w 436"/>
                  <a:gd name="T15" fmla="*/ 166 h 716"/>
                  <a:gd name="T16" fmla="*/ 424 w 436"/>
                  <a:gd name="T17" fmla="*/ 166 h 716"/>
                  <a:gd name="T18" fmla="*/ 390 w 436"/>
                  <a:gd name="T19" fmla="*/ 272 h 716"/>
                  <a:gd name="T20" fmla="*/ 260 w 436"/>
                  <a:gd name="T21" fmla="*/ 272 h 716"/>
                  <a:gd name="T22" fmla="*/ 260 w 436"/>
                  <a:gd name="T23" fmla="*/ 538 h 716"/>
                  <a:gd name="T24" fmla="*/ 260 w 436"/>
                  <a:gd name="T25" fmla="*/ 538 h 716"/>
                  <a:gd name="T26" fmla="*/ 262 w 436"/>
                  <a:gd name="T27" fmla="*/ 556 h 716"/>
                  <a:gd name="T28" fmla="*/ 264 w 436"/>
                  <a:gd name="T29" fmla="*/ 570 h 716"/>
                  <a:gd name="T30" fmla="*/ 268 w 436"/>
                  <a:gd name="T31" fmla="*/ 582 h 716"/>
                  <a:gd name="T32" fmla="*/ 274 w 436"/>
                  <a:gd name="T33" fmla="*/ 592 h 716"/>
                  <a:gd name="T34" fmla="*/ 280 w 436"/>
                  <a:gd name="T35" fmla="*/ 598 h 716"/>
                  <a:gd name="T36" fmla="*/ 290 w 436"/>
                  <a:gd name="T37" fmla="*/ 604 h 716"/>
                  <a:gd name="T38" fmla="*/ 300 w 436"/>
                  <a:gd name="T39" fmla="*/ 606 h 716"/>
                  <a:gd name="T40" fmla="*/ 312 w 436"/>
                  <a:gd name="T41" fmla="*/ 606 h 716"/>
                  <a:gd name="T42" fmla="*/ 312 w 436"/>
                  <a:gd name="T43" fmla="*/ 606 h 716"/>
                  <a:gd name="T44" fmla="*/ 336 w 436"/>
                  <a:gd name="T45" fmla="*/ 604 h 716"/>
                  <a:gd name="T46" fmla="*/ 358 w 436"/>
                  <a:gd name="T47" fmla="*/ 598 h 716"/>
                  <a:gd name="T48" fmla="*/ 378 w 436"/>
                  <a:gd name="T49" fmla="*/ 590 h 716"/>
                  <a:gd name="T50" fmla="*/ 394 w 436"/>
                  <a:gd name="T51" fmla="*/ 580 h 716"/>
                  <a:gd name="T52" fmla="*/ 436 w 436"/>
                  <a:gd name="T53" fmla="*/ 674 h 716"/>
                  <a:gd name="T54" fmla="*/ 436 w 436"/>
                  <a:gd name="T55" fmla="*/ 674 h 716"/>
                  <a:gd name="T56" fmla="*/ 420 w 436"/>
                  <a:gd name="T57" fmla="*/ 684 h 716"/>
                  <a:gd name="T58" fmla="*/ 402 w 436"/>
                  <a:gd name="T59" fmla="*/ 692 h 716"/>
                  <a:gd name="T60" fmla="*/ 384 w 436"/>
                  <a:gd name="T61" fmla="*/ 698 h 716"/>
                  <a:gd name="T62" fmla="*/ 362 w 436"/>
                  <a:gd name="T63" fmla="*/ 704 h 716"/>
                  <a:gd name="T64" fmla="*/ 342 w 436"/>
                  <a:gd name="T65" fmla="*/ 710 h 716"/>
                  <a:gd name="T66" fmla="*/ 320 w 436"/>
                  <a:gd name="T67" fmla="*/ 714 h 716"/>
                  <a:gd name="T68" fmla="*/ 300 w 436"/>
                  <a:gd name="T69" fmla="*/ 716 h 716"/>
                  <a:gd name="T70" fmla="*/ 278 w 436"/>
                  <a:gd name="T71" fmla="*/ 716 h 716"/>
                  <a:gd name="T72" fmla="*/ 278 w 436"/>
                  <a:gd name="T73" fmla="*/ 716 h 716"/>
                  <a:gd name="T74" fmla="*/ 260 w 436"/>
                  <a:gd name="T75" fmla="*/ 716 h 716"/>
                  <a:gd name="T76" fmla="*/ 244 w 436"/>
                  <a:gd name="T77" fmla="*/ 714 h 716"/>
                  <a:gd name="T78" fmla="*/ 228 w 436"/>
                  <a:gd name="T79" fmla="*/ 710 h 716"/>
                  <a:gd name="T80" fmla="*/ 214 w 436"/>
                  <a:gd name="T81" fmla="*/ 706 h 716"/>
                  <a:gd name="T82" fmla="*/ 200 w 436"/>
                  <a:gd name="T83" fmla="*/ 700 h 716"/>
                  <a:gd name="T84" fmla="*/ 188 w 436"/>
                  <a:gd name="T85" fmla="*/ 694 h 716"/>
                  <a:gd name="T86" fmla="*/ 176 w 436"/>
                  <a:gd name="T87" fmla="*/ 686 h 716"/>
                  <a:gd name="T88" fmla="*/ 166 w 436"/>
                  <a:gd name="T89" fmla="*/ 678 h 716"/>
                  <a:gd name="T90" fmla="*/ 156 w 436"/>
                  <a:gd name="T91" fmla="*/ 668 h 716"/>
                  <a:gd name="T92" fmla="*/ 148 w 436"/>
                  <a:gd name="T93" fmla="*/ 656 h 716"/>
                  <a:gd name="T94" fmla="*/ 142 w 436"/>
                  <a:gd name="T95" fmla="*/ 644 h 716"/>
                  <a:gd name="T96" fmla="*/ 136 w 436"/>
                  <a:gd name="T97" fmla="*/ 632 h 716"/>
                  <a:gd name="T98" fmla="*/ 130 w 436"/>
                  <a:gd name="T99" fmla="*/ 618 h 716"/>
                  <a:gd name="T100" fmla="*/ 128 w 436"/>
                  <a:gd name="T101" fmla="*/ 604 h 716"/>
                  <a:gd name="T102" fmla="*/ 126 w 436"/>
                  <a:gd name="T103" fmla="*/ 588 h 716"/>
                  <a:gd name="T104" fmla="*/ 124 w 436"/>
                  <a:gd name="T105" fmla="*/ 572 h 716"/>
                  <a:gd name="T106" fmla="*/ 124 w 436"/>
                  <a:gd name="T107" fmla="*/ 57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6" h="716">
                    <a:moveTo>
                      <a:pt x="124" y="572"/>
                    </a:moveTo>
                    <a:lnTo>
                      <a:pt x="124" y="272"/>
                    </a:lnTo>
                    <a:lnTo>
                      <a:pt x="0" y="272"/>
                    </a:lnTo>
                    <a:lnTo>
                      <a:pt x="28" y="166"/>
                    </a:lnTo>
                    <a:lnTo>
                      <a:pt x="124" y="166"/>
                    </a:lnTo>
                    <a:lnTo>
                      <a:pt x="124" y="40"/>
                    </a:lnTo>
                    <a:lnTo>
                      <a:pt x="260" y="0"/>
                    </a:lnTo>
                    <a:lnTo>
                      <a:pt x="260" y="166"/>
                    </a:lnTo>
                    <a:lnTo>
                      <a:pt x="424" y="166"/>
                    </a:lnTo>
                    <a:lnTo>
                      <a:pt x="390" y="272"/>
                    </a:lnTo>
                    <a:lnTo>
                      <a:pt x="260" y="272"/>
                    </a:lnTo>
                    <a:lnTo>
                      <a:pt x="260" y="538"/>
                    </a:lnTo>
                    <a:lnTo>
                      <a:pt x="260" y="538"/>
                    </a:lnTo>
                    <a:lnTo>
                      <a:pt x="262" y="556"/>
                    </a:lnTo>
                    <a:lnTo>
                      <a:pt x="264" y="570"/>
                    </a:lnTo>
                    <a:lnTo>
                      <a:pt x="268" y="582"/>
                    </a:lnTo>
                    <a:lnTo>
                      <a:pt x="274" y="592"/>
                    </a:lnTo>
                    <a:lnTo>
                      <a:pt x="280" y="598"/>
                    </a:lnTo>
                    <a:lnTo>
                      <a:pt x="290" y="604"/>
                    </a:lnTo>
                    <a:lnTo>
                      <a:pt x="300" y="606"/>
                    </a:lnTo>
                    <a:lnTo>
                      <a:pt x="312" y="606"/>
                    </a:lnTo>
                    <a:lnTo>
                      <a:pt x="312" y="606"/>
                    </a:lnTo>
                    <a:lnTo>
                      <a:pt x="336" y="604"/>
                    </a:lnTo>
                    <a:lnTo>
                      <a:pt x="358" y="598"/>
                    </a:lnTo>
                    <a:lnTo>
                      <a:pt x="378" y="590"/>
                    </a:lnTo>
                    <a:lnTo>
                      <a:pt x="394" y="580"/>
                    </a:lnTo>
                    <a:lnTo>
                      <a:pt x="436" y="674"/>
                    </a:lnTo>
                    <a:lnTo>
                      <a:pt x="436" y="674"/>
                    </a:lnTo>
                    <a:lnTo>
                      <a:pt x="420" y="684"/>
                    </a:lnTo>
                    <a:lnTo>
                      <a:pt x="402" y="692"/>
                    </a:lnTo>
                    <a:lnTo>
                      <a:pt x="384" y="698"/>
                    </a:lnTo>
                    <a:lnTo>
                      <a:pt x="362" y="704"/>
                    </a:lnTo>
                    <a:lnTo>
                      <a:pt x="342" y="710"/>
                    </a:lnTo>
                    <a:lnTo>
                      <a:pt x="320" y="714"/>
                    </a:lnTo>
                    <a:lnTo>
                      <a:pt x="300" y="716"/>
                    </a:lnTo>
                    <a:lnTo>
                      <a:pt x="278" y="716"/>
                    </a:lnTo>
                    <a:lnTo>
                      <a:pt x="278" y="716"/>
                    </a:lnTo>
                    <a:lnTo>
                      <a:pt x="260" y="716"/>
                    </a:lnTo>
                    <a:lnTo>
                      <a:pt x="244" y="714"/>
                    </a:lnTo>
                    <a:lnTo>
                      <a:pt x="228" y="710"/>
                    </a:lnTo>
                    <a:lnTo>
                      <a:pt x="214" y="706"/>
                    </a:lnTo>
                    <a:lnTo>
                      <a:pt x="200" y="700"/>
                    </a:lnTo>
                    <a:lnTo>
                      <a:pt x="188" y="694"/>
                    </a:lnTo>
                    <a:lnTo>
                      <a:pt x="176" y="686"/>
                    </a:lnTo>
                    <a:lnTo>
                      <a:pt x="166" y="678"/>
                    </a:lnTo>
                    <a:lnTo>
                      <a:pt x="156" y="668"/>
                    </a:lnTo>
                    <a:lnTo>
                      <a:pt x="148" y="656"/>
                    </a:lnTo>
                    <a:lnTo>
                      <a:pt x="142" y="644"/>
                    </a:lnTo>
                    <a:lnTo>
                      <a:pt x="136" y="632"/>
                    </a:lnTo>
                    <a:lnTo>
                      <a:pt x="130" y="618"/>
                    </a:lnTo>
                    <a:lnTo>
                      <a:pt x="128" y="604"/>
                    </a:lnTo>
                    <a:lnTo>
                      <a:pt x="126" y="588"/>
                    </a:lnTo>
                    <a:lnTo>
                      <a:pt x="124" y="572"/>
                    </a:lnTo>
                    <a:lnTo>
                      <a:pt x="124" y="5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 name="Freeform 25"/>
              <p:cNvSpPr>
                <a:spLocks/>
              </p:cNvSpPr>
              <p:nvPr/>
            </p:nvSpPr>
            <p:spPr bwMode="auto">
              <a:xfrm>
                <a:off x="8254227" y="4517918"/>
                <a:ext cx="47345" cy="58558"/>
              </a:xfrm>
              <a:custGeom>
                <a:avLst/>
                <a:gdLst>
                  <a:gd name="T0" fmla="*/ 0 w 456"/>
                  <a:gd name="T1" fmla="*/ 288 h 564"/>
                  <a:gd name="T2" fmla="*/ 4 w 456"/>
                  <a:gd name="T3" fmla="*/ 226 h 564"/>
                  <a:gd name="T4" fmla="*/ 22 w 456"/>
                  <a:gd name="T5" fmla="*/ 172 h 564"/>
                  <a:gd name="T6" fmla="*/ 48 w 456"/>
                  <a:gd name="T7" fmla="*/ 122 h 564"/>
                  <a:gd name="T8" fmla="*/ 82 w 456"/>
                  <a:gd name="T9" fmla="*/ 80 h 564"/>
                  <a:gd name="T10" fmla="*/ 124 w 456"/>
                  <a:gd name="T11" fmla="*/ 46 h 564"/>
                  <a:gd name="T12" fmla="*/ 172 w 456"/>
                  <a:gd name="T13" fmla="*/ 22 h 564"/>
                  <a:gd name="T14" fmla="*/ 226 w 456"/>
                  <a:gd name="T15" fmla="*/ 6 h 564"/>
                  <a:gd name="T16" fmla="*/ 284 w 456"/>
                  <a:gd name="T17" fmla="*/ 0 h 564"/>
                  <a:gd name="T18" fmla="*/ 308 w 456"/>
                  <a:gd name="T19" fmla="*/ 0 h 564"/>
                  <a:gd name="T20" fmla="*/ 352 w 456"/>
                  <a:gd name="T21" fmla="*/ 6 h 564"/>
                  <a:gd name="T22" fmla="*/ 388 w 456"/>
                  <a:gd name="T23" fmla="*/ 16 h 564"/>
                  <a:gd name="T24" fmla="*/ 428 w 456"/>
                  <a:gd name="T25" fmla="*/ 36 h 564"/>
                  <a:gd name="T26" fmla="*/ 428 w 456"/>
                  <a:gd name="T27" fmla="*/ 152 h 564"/>
                  <a:gd name="T28" fmla="*/ 400 w 456"/>
                  <a:gd name="T29" fmla="*/ 134 h 564"/>
                  <a:gd name="T30" fmla="*/ 368 w 456"/>
                  <a:gd name="T31" fmla="*/ 120 h 564"/>
                  <a:gd name="T32" fmla="*/ 336 w 456"/>
                  <a:gd name="T33" fmla="*/ 112 h 564"/>
                  <a:gd name="T34" fmla="*/ 298 w 456"/>
                  <a:gd name="T35" fmla="*/ 110 h 564"/>
                  <a:gd name="T36" fmla="*/ 280 w 456"/>
                  <a:gd name="T37" fmla="*/ 110 h 564"/>
                  <a:gd name="T38" fmla="*/ 246 w 456"/>
                  <a:gd name="T39" fmla="*/ 118 h 564"/>
                  <a:gd name="T40" fmla="*/ 216 w 456"/>
                  <a:gd name="T41" fmla="*/ 130 h 564"/>
                  <a:gd name="T42" fmla="*/ 192 w 456"/>
                  <a:gd name="T43" fmla="*/ 148 h 564"/>
                  <a:gd name="T44" fmla="*/ 170 w 456"/>
                  <a:gd name="T45" fmla="*/ 172 h 564"/>
                  <a:gd name="T46" fmla="*/ 156 w 456"/>
                  <a:gd name="T47" fmla="*/ 200 h 564"/>
                  <a:gd name="T48" fmla="*/ 144 w 456"/>
                  <a:gd name="T49" fmla="*/ 230 h 564"/>
                  <a:gd name="T50" fmla="*/ 140 w 456"/>
                  <a:gd name="T51" fmla="*/ 266 h 564"/>
                  <a:gd name="T52" fmla="*/ 138 w 456"/>
                  <a:gd name="T53" fmla="*/ 284 h 564"/>
                  <a:gd name="T54" fmla="*/ 142 w 456"/>
                  <a:gd name="T55" fmla="*/ 322 h 564"/>
                  <a:gd name="T56" fmla="*/ 150 w 456"/>
                  <a:gd name="T57" fmla="*/ 358 h 564"/>
                  <a:gd name="T58" fmla="*/ 162 w 456"/>
                  <a:gd name="T59" fmla="*/ 386 h 564"/>
                  <a:gd name="T60" fmla="*/ 180 w 456"/>
                  <a:gd name="T61" fmla="*/ 410 h 564"/>
                  <a:gd name="T62" fmla="*/ 202 w 456"/>
                  <a:gd name="T63" fmla="*/ 430 h 564"/>
                  <a:gd name="T64" fmla="*/ 228 w 456"/>
                  <a:gd name="T65" fmla="*/ 444 h 564"/>
                  <a:gd name="T66" fmla="*/ 258 w 456"/>
                  <a:gd name="T67" fmla="*/ 452 h 564"/>
                  <a:gd name="T68" fmla="*/ 292 w 456"/>
                  <a:gd name="T69" fmla="*/ 454 h 564"/>
                  <a:gd name="T70" fmla="*/ 310 w 456"/>
                  <a:gd name="T71" fmla="*/ 454 h 564"/>
                  <a:gd name="T72" fmla="*/ 342 w 456"/>
                  <a:gd name="T73" fmla="*/ 448 h 564"/>
                  <a:gd name="T74" fmla="*/ 388 w 456"/>
                  <a:gd name="T75" fmla="*/ 432 h 564"/>
                  <a:gd name="T76" fmla="*/ 456 w 456"/>
                  <a:gd name="T77" fmla="*/ 512 h 564"/>
                  <a:gd name="T78" fmla="*/ 438 w 456"/>
                  <a:gd name="T79" fmla="*/ 522 h 564"/>
                  <a:gd name="T80" fmla="*/ 398 w 456"/>
                  <a:gd name="T81" fmla="*/ 542 h 564"/>
                  <a:gd name="T82" fmla="*/ 352 w 456"/>
                  <a:gd name="T83" fmla="*/ 556 h 564"/>
                  <a:gd name="T84" fmla="*/ 300 w 456"/>
                  <a:gd name="T85" fmla="*/ 564 h 564"/>
                  <a:gd name="T86" fmla="*/ 272 w 456"/>
                  <a:gd name="T87" fmla="*/ 564 h 564"/>
                  <a:gd name="T88" fmla="*/ 210 w 456"/>
                  <a:gd name="T89" fmla="*/ 558 h 564"/>
                  <a:gd name="T90" fmla="*/ 156 w 456"/>
                  <a:gd name="T91" fmla="*/ 542 h 564"/>
                  <a:gd name="T92" fmla="*/ 108 w 456"/>
                  <a:gd name="T93" fmla="*/ 518 h 564"/>
                  <a:gd name="T94" fmla="*/ 70 w 456"/>
                  <a:gd name="T95" fmla="*/ 484 h 564"/>
                  <a:gd name="T96" fmla="*/ 40 w 456"/>
                  <a:gd name="T97" fmla="*/ 444 h 564"/>
                  <a:gd name="T98" fmla="*/ 18 w 456"/>
                  <a:gd name="T99" fmla="*/ 396 h 564"/>
                  <a:gd name="T100" fmla="*/ 4 w 456"/>
                  <a:gd name="T101" fmla="*/ 344 h 564"/>
                  <a:gd name="T102" fmla="*/ 0 w 456"/>
                  <a:gd name="T103" fmla="*/ 288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56" h="564">
                    <a:moveTo>
                      <a:pt x="0" y="288"/>
                    </a:moveTo>
                    <a:lnTo>
                      <a:pt x="0" y="288"/>
                    </a:lnTo>
                    <a:lnTo>
                      <a:pt x="0" y="256"/>
                    </a:lnTo>
                    <a:lnTo>
                      <a:pt x="4" y="226"/>
                    </a:lnTo>
                    <a:lnTo>
                      <a:pt x="12" y="198"/>
                    </a:lnTo>
                    <a:lnTo>
                      <a:pt x="22" y="172"/>
                    </a:lnTo>
                    <a:lnTo>
                      <a:pt x="32" y="146"/>
                    </a:lnTo>
                    <a:lnTo>
                      <a:pt x="48" y="122"/>
                    </a:lnTo>
                    <a:lnTo>
                      <a:pt x="64" y="100"/>
                    </a:lnTo>
                    <a:lnTo>
                      <a:pt x="82" y="80"/>
                    </a:lnTo>
                    <a:lnTo>
                      <a:pt x="102" y="62"/>
                    </a:lnTo>
                    <a:lnTo>
                      <a:pt x="124" y="46"/>
                    </a:lnTo>
                    <a:lnTo>
                      <a:pt x="146" y="32"/>
                    </a:lnTo>
                    <a:lnTo>
                      <a:pt x="172" y="22"/>
                    </a:lnTo>
                    <a:lnTo>
                      <a:pt x="198" y="12"/>
                    </a:lnTo>
                    <a:lnTo>
                      <a:pt x="226" y="6"/>
                    </a:lnTo>
                    <a:lnTo>
                      <a:pt x="254" y="2"/>
                    </a:lnTo>
                    <a:lnTo>
                      <a:pt x="284" y="0"/>
                    </a:lnTo>
                    <a:lnTo>
                      <a:pt x="284" y="0"/>
                    </a:lnTo>
                    <a:lnTo>
                      <a:pt x="308" y="0"/>
                    </a:lnTo>
                    <a:lnTo>
                      <a:pt x="332" y="4"/>
                    </a:lnTo>
                    <a:lnTo>
                      <a:pt x="352" y="6"/>
                    </a:lnTo>
                    <a:lnTo>
                      <a:pt x="372" y="12"/>
                    </a:lnTo>
                    <a:lnTo>
                      <a:pt x="388" y="16"/>
                    </a:lnTo>
                    <a:lnTo>
                      <a:pt x="404" y="24"/>
                    </a:lnTo>
                    <a:lnTo>
                      <a:pt x="428" y="36"/>
                    </a:lnTo>
                    <a:lnTo>
                      <a:pt x="428" y="152"/>
                    </a:lnTo>
                    <a:lnTo>
                      <a:pt x="428" y="152"/>
                    </a:lnTo>
                    <a:lnTo>
                      <a:pt x="414" y="142"/>
                    </a:lnTo>
                    <a:lnTo>
                      <a:pt x="400" y="134"/>
                    </a:lnTo>
                    <a:lnTo>
                      <a:pt x="384" y="126"/>
                    </a:lnTo>
                    <a:lnTo>
                      <a:pt x="368" y="120"/>
                    </a:lnTo>
                    <a:lnTo>
                      <a:pt x="352" y="116"/>
                    </a:lnTo>
                    <a:lnTo>
                      <a:pt x="336" y="112"/>
                    </a:lnTo>
                    <a:lnTo>
                      <a:pt x="316" y="110"/>
                    </a:lnTo>
                    <a:lnTo>
                      <a:pt x="298" y="110"/>
                    </a:lnTo>
                    <a:lnTo>
                      <a:pt x="298" y="110"/>
                    </a:lnTo>
                    <a:lnTo>
                      <a:pt x="280" y="110"/>
                    </a:lnTo>
                    <a:lnTo>
                      <a:pt x="262" y="112"/>
                    </a:lnTo>
                    <a:lnTo>
                      <a:pt x="246" y="118"/>
                    </a:lnTo>
                    <a:lnTo>
                      <a:pt x="230" y="122"/>
                    </a:lnTo>
                    <a:lnTo>
                      <a:pt x="216" y="130"/>
                    </a:lnTo>
                    <a:lnTo>
                      <a:pt x="204" y="138"/>
                    </a:lnTo>
                    <a:lnTo>
                      <a:pt x="192" y="148"/>
                    </a:lnTo>
                    <a:lnTo>
                      <a:pt x="180" y="160"/>
                    </a:lnTo>
                    <a:lnTo>
                      <a:pt x="170" y="172"/>
                    </a:lnTo>
                    <a:lnTo>
                      <a:pt x="162" y="186"/>
                    </a:lnTo>
                    <a:lnTo>
                      <a:pt x="156" y="200"/>
                    </a:lnTo>
                    <a:lnTo>
                      <a:pt x="150" y="214"/>
                    </a:lnTo>
                    <a:lnTo>
                      <a:pt x="144" y="230"/>
                    </a:lnTo>
                    <a:lnTo>
                      <a:pt x="142" y="248"/>
                    </a:lnTo>
                    <a:lnTo>
                      <a:pt x="140" y="266"/>
                    </a:lnTo>
                    <a:lnTo>
                      <a:pt x="138" y="284"/>
                    </a:lnTo>
                    <a:lnTo>
                      <a:pt x="138" y="284"/>
                    </a:lnTo>
                    <a:lnTo>
                      <a:pt x="140" y="304"/>
                    </a:lnTo>
                    <a:lnTo>
                      <a:pt x="142" y="322"/>
                    </a:lnTo>
                    <a:lnTo>
                      <a:pt x="144" y="340"/>
                    </a:lnTo>
                    <a:lnTo>
                      <a:pt x="150" y="358"/>
                    </a:lnTo>
                    <a:lnTo>
                      <a:pt x="156" y="372"/>
                    </a:lnTo>
                    <a:lnTo>
                      <a:pt x="162" y="386"/>
                    </a:lnTo>
                    <a:lnTo>
                      <a:pt x="170" y="400"/>
                    </a:lnTo>
                    <a:lnTo>
                      <a:pt x="180" y="410"/>
                    </a:lnTo>
                    <a:lnTo>
                      <a:pt x="190" y="420"/>
                    </a:lnTo>
                    <a:lnTo>
                      <a:pt x="202" y="430"/>
                    </a:lnTo>
                    <a:lnTo>
                      <a:pt x="214" y="438"/>
                    </a:lnTo>
                    <a:lnTo>
                      <a:pt x="228" y="444"/>
                    </a:lnTo>
                    <a:lnTo>
                      <a:pt x="242" y="448"/>
                    </a:lnTo>
                    <a:lnTo>
                      <a:pt x="258" y="452"/>
                    </a:lnTo>
                    <a:lnTo>
                      <a:pt x="274" y="454"/>
                    </a:lnTo>
                    <a:lnTo>
                      <a:pt x="292" y="454"/>
                    </a:lnTo>
                    <a:lnTo>
                      <a:pt x="292" y="454"/>
                    </a:lnTo>
                    <a:lnTo>
                      <a:pt x="310" y="454"/>
                    </a:lnTo>
                    <a:lnTo>
                      <a:pt x="326" y="452"/>
                    </a:lnTo>
                    <a:lnTo>
                      <a:pt x="342" y="448"/>
                    </a:lnTo>
                    <a:lnTo>
                      <a:pt x="358" y="444"/>
                    </a:lnTo>
                    <a:lnTo>
                      <a:pt x="388" y="432"/>
                    </a:lnTo>
                    <a:lnTo>
                      <a:pt x="416" y="418"/>
                    </a:lnTo>
                    <a:lnTo>
                      <a:pt x="456" y="512"/>
                    </a:lnTo>
                    <a:lnTo>
                      <a:pt x="456" y="512"/>
                    </a:lnTo>
                    <a:lnTo>
                      <a:pt x="438" y="522"/>
                    </a:lnTo>
                    <a:lnTo>
                      <a:pt x="420" y="532"/>
                    </a:lnTo>
                    <a:lnTo>
                      <a:pt x="398" y="542"/>
                    </a:lnTo>
                    <a:lnTo>
                      <a:pt x="376" y="550"/>
                    </a:lnTo>
                    <a:lnTo>
                      <a:pt x="352" y="556"/>
                    </a:lnTo>
                    <a:lnTo>
                      <a:pt x="326" y="560"/>
                    </a:lnTo>
                    <a:lnTo>
                      <a:pt x="300" y="564"/>
                    </a:lnTo>
                    <a:lnTo>
                      <a:pt x="272" y="564"/>
                    </a:lnTo>
                    <a:lnTo>
                      <a:pt x="272" y="564"/>
                    </a:lnTo>
                    <a:lnTo>
                      <a:pt x="240" y="562"/>
                    </a:lnTo>
                    <a:lnTo>
                      <a:pt x="210" y="558"/>
                    </a:lnTo>
                    <a:lnTo>
                      <a:pt x="182" y="552"/>
                    </a:lnTo>
                    <a:lnTo>
                      <a:pt x="156" y="542"/>
                    </a:lnTo>
                    <a:lnTo>
                      <a:pt x="130" y="532"/>
                    </a:lnTo>
                    <a:lnTo>
                      <a:pt x="108" y="518"/>
                    </a:lnTo>
                    <a:lnTo>
                      <a:pt x="88" y="502"/>
                    </a:lnTo>
                    <a:lnTo>
                      <a:pt x="70" y="484"/>
                    </a:lnTo>
                    <a:lnTo>
                      <a:pt x="54" y="464"/>
                    </a:lnTo>
                    <a:lnTo>
                      <a:pt x="40" y="444"/>
                    </a:lnTo>
                    <a:lnTo>
                      <a:pt x="28" y="420"/>
                    </a:lnTo>
                    <a:lnTo>
                      <a:pt x="18" y="396"/>
                    </a:lnTo>
                    <a:lnTo>
                      <a:pt x="10" y="370"/>
                    </a:lnTo>
                    <a:lnTo>
                      <a:pt x="4" y="344"/>
                    </a:lnTo>
                    <a:lnTo>
                      <a:pt x="0" y="316"/>
                    </a:lnTo>
                    <a:lnTo>
                      <a:pt x="0" y="288"/>
                    </a:lnTo>
                    <a:lnTo>
                      <a:pt x="0"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5" name="Freeform 26"/>
              <p:cNvSpPr>
                <a:spLocks/>
              </p:cNvSpPr>
              <p:nvPr/>
            </p:nvSpPr>
            <p:spPr bwMode="auto">
              <a:xfrm>
                <a:off x="8304894" y="4517918"/>
                <a:ext cx="43400" cy="58558"/>
              </a:xfrm>
              <a:custGeom>
                <a:avLst/>
                <a:gdLst>
                  <a:gd name="T0" fmla="*/ 58 w 418"/>
                  <a:gd name="T1" fmla="*/ 422 h 564"/>
                  <a:gd name="T2" fmla="*/ 112 w 418"/>
                  <a:gd name="T3" fmla="*/ 444 h 564"/>
                  <a:gd name="T4" fmla="*/ 170 w 418"/>
                  <a:gd name="T5" fmla="*/ 456 h 564"/>
                  <a:gd name="T6" fmla="*/ 210 w 418"/>
                  <a:gd name="T7" fmla="*/ 456 h 564"/>
                  <a:gd name="T8" fmla="*/ 258 w 418"/>
                  <a:gd name="T9" fmla="*/ 444 h 564"/>
                  <a:gd name="T10" fmla="*/ 282 w 418"/>
                  <a:gd name="T11" fmla="*/ 414 h 564"/>
                  <a:gd name="T12" fmla="*/ 284 w 418"/>
                  <a:gd name="T13" fmla="*/ 392 h 564"/>
                  <a:gd name="T14" fmla="*/ 274 w 418"/>
                  <a:gd name="T15" fmla="*/ 372 h 564"/>
                  <a:gd name="T16" fmla="*/ 226 w 418"/>
                  <a:gd name="T17" fmla="*/ 340 h 564"/>
                  <a:gd name="T18" fmla="*/ 134 w 418"/>
                  <a:gd name="T19" fmla="*/ 304 h 564"/>
                  <a:gd name="T20" fmla="*/ 72 w 418"/>
                  <a:gd name="T21" fmla="*/ 264 h 564"/>
                  <a:gd name="T22" fmla="*/ 48 w 418"/>
                  <a:gd name="T23" fmla="*/ 232 h 564"/>
                  <a:gd name="T24" fmla="*/ 34 w 418"/>
                  <a:gd name="T25" fmla="*/ 194 h 564"/>
                  <a:gd name="T26" fmla="*/ 32 w 418"/>
                  <a:gd name="T27" fmla="*/ 162 h 564"/>
                  <a:gd name="T28" fmla="*/ 40 w 418"/>
                  <a:gd name="T29" fmla="*/ 112 h 564"/>
                  <a:gd name="T30" fmla="*/ 62 w 418"/>
                  <a:gd name="T31" fmla="*/ 70 h 564"/>
                  <a:gd name="T32" fmla="*/ 100 w 418"/>
                  <a:gd name="T33" fmla="*/ 36 h 564"/>
                  <a:gd name="T34" fmla="*/ 150 w 418"/>
                  <a:gd name="T35" fmla="*/ 12 h 564"/>
                  <a:gd name="T36" fmla="*/ 212 w 418"/>
                  <a:gd name="T37" fmla="*/ 0 h 564"/>
                  <a:gd name="T38" fmla="*/ 280 w 418"/>
                  <a:gd name="T39" fmla="*/ 2 h 564"/>
                  <a:gd name="T40" fmla="*/ 394 w 418"/>
                  <a:gd name="T41" fmla="*/ 26 h 564"/>
                  <a:gd name="T42" fmla="*/ 358 w 418"/>
                  <a:gd name="T43" fmla="*/ 128 h 564"/>
                  <a:gd name="T44" fmla="*/ 262 w 418"/>
                  <a:gd name="T45" fmla="*/ 108 h 564"/>
                  <a:gd name="T46" fmla="*/ 224 w 418"/>
                  <a:gd name="T47" fmla="*/ 108 h 564"/>
                  <a:gd name="T48" fmla="*/ 186 w 418"/>
                  <a:gd name="T49" fmla="*/ 118 h 564"/>
                  <a:gd name="T50" fmla="*/ 166 w 418"/>
                  <a:gd name="T51" fmla="*/ 144 h 564"/>
                  <a:gd name="T52" fmla="*/ 166 w 418"/>
                  <a:gd name="T53" fmla="*/ 164 h 564"/>
                  <a:gd name="T54" fmla="*/ 176 w 418"/>
                  <a:gd name="T55" fmla="*/ 184 h 564"/>
                  <a:gd name="T56" fmla="*/ 224 w 418"/>
                  <a:gd name="T57" fmla="*/ 212 h 564"/>
                  <a:gd name="T58" fmla="*/ 314 w 418"/>
                  <a:gd name="T59" fmla="*/ 248 h 564"/>
                  <a:gd name="T60" fmla="*/ 378 w 418"/>
                  <a:gd name="T61" fmla="*/ 292 h 564"/>
                  <a:gd name="T62" fmla="*/ 402 w 418"/>
                  <a:gd name="T63" fmla="*/ 324 h 564"/>
                  <a:gd name="T64" fmla="*/ 414 w 418"/>
                  <a:gd name="T65" fmla="*/ 364 h 564"/>
                  <a:gd name="T66" fmla="*/ 418 w 418"/>
                  <a:gd name="T67" fmla="*/ 396 h 564"/>
                  <a:gd name="T68" fmla="*/ 408 w 418"/>
                  <a:gd name="T69" fmla="*/ 456 h 564"/>
                  <a:gd name="T70" fmla="*/ 380 w 418"/>
                  <a:gd name="T71" fmla="*/ 502 h 564"/>
                  <a:gd name="T72" fmla="*/ 336 w 418"/>
                  <a:gd name="T73" fmla="*/ 534 h 564"/>
                  <a:gd name="T74" fmla="*/ 282 w 418"/>
                  <a:gd name="T75" fmla="*/ 554 h 564"/>
                  <a:gd name="T76" fmla="*/ 220 w 418"/>
                  <a:gd name="T77" fmla="*/ 564 h 564"/>
                  <a:gd name="T78" fmla="*/ 168 w 418"/>
                  <a:gd name="T79" fmla="*/ 562 h 564"/>
                  <a:gd name="T80" fmla="*/ 84 w 418"/>
                  <a:gd name="T81" fmla="*/ 548 h 564"/>
                  <a:gd name="T82" fmla="*/ 18 w 418"/>
                  <a:gd name="T83" fmla="*/ 522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8" h="564">
                    <a:moveTo>
                      <a:pt x="42" y="412"/>
                    </a:moveTo>
                    <a:lnTo>
                      <a:pt x="42" y="412"/>
                    </a:lnTo>
                    <a:lnTo>
                      <a:pt x="58" y="422"/>
                    </a:lnTo>
                    <a:lnTo>
                      <a:pt x="76" y="430"/>
                    </a:lnTo>
                    <a:lnTo>
                      <a:pt x="94" y="438"/>
                    </a:lnTo>
                    <a:lnTo>
                      <a:pt x="112" y="444"/>
                    </a:lnTo>
                    <a:lnTo>
                      <a:pt x="130" y="450"/>
                    </a:lnTo>
                    <a:lnTo>
                      <a:pt x="150" y="454"/>
                    </a:lnTo>
                    <a:lnTo>
                      <a:pt x="170" y="456"/>
                    </a:lnTo>
                    <a:lnTo>
                      <a:pt x="190" y="456"/>
                    </a:lnTo>
                    <a:lnTo>
                      <a:pt x="190" y="456"/>
                    </a:lnTo>
                    <a:lnTo>
                      <a:pt x="210" y="456"/>
                    </a:lnTo>
                    <a:lnTo>
                      <a:pt x="228" y="454"/>
                    </a:lnTo>
                    <a:lnTo>
                      <a:pt x="244" y="450"/>
                    </a:lnTo>
                    <a:lnTo>
                      <a:pt x="258" y="444"/>
                    </a:lnTo>
                    <a:lnTo>
                      <a:pt x="268" y="436"/>
                    </a:lnTo>
                    <a:lnTo>
                      <a:pt x="278" y="426"/>
                    </a:lnTo>
                    <a:lnTo>
                      <a:pt x="282" y="414"/>
                    </a:lnTo>
                    <a:lnTo>
                      <a:pt x="284" y="400"/>
                    </a:lnTo>
                    <a:lnTo>
                      <a:pt x="284" y="400"/>
                    </a:lnTo>
                    <a:lnTo>
                      <a:pt x="284" y="392"/>
                    </a:lnTo>
                    <a:lnTo>
                      <a:pt x="282" y="384"/>
                    </a:lnTo>
                    <a:lnTo>
                      <a:pt x="278" y="378"/>
                    </a:lnTo>
                    <a:lnTo>
                      <a:pt x="274" y="372"/>
                    </a:lnTo>
                    <a:lnTo>
                      <a:pt x="262" y="360"/>
                    </a:lnTo>
                    <a:lnTo>
                      <a:pt x="244" y="350"/>
                    </a:lnTo>
                    <a:lnTo>
                      <a:pt x="226" y="340"/>
                    </a:lnTo>
                    <a:lnTo>
                      <a:pt x="204" y="332"/>
                    </a:lnTo>
                    <a:lnTo>
                      <a:pt x="158" y="314"/>
                    </a:lnTo>
                    <a:lnTo>
                      <a:pt x="134" y="304"/>
                    </a:lnTo>
                    <a:lnTo>
                      <a:pt x="112" y="294"/>
                    </a:lnTo>
                    <a:lnTo>
                      <a:pt x="90" y="280"/>
                    </a:lnTo>
                    <a:lnTo>
                      <a:pt x="72" y="264"/>
                    </a:lnTo>
                    <a:lnTo>
                      <a:pt x="62" y="254"/>
                    </a:lnTo>
                    <a:lnTo>
                      <a:pt x="54" y="244"/>
                    </a:lnTo>
                    <a:lnTo>
                      <a:pt x="48" y="232"/>
                    </a:lnTo>
                    <a:lnTo>
                      <a:pt x="42" y="222"/>
                    </a:lnTo>
                    <a:lnTo>
                      <a:pt x="38" y="208"/>
                    </a:lnTo>
                    <a:lnTo>
                      <a:pt x="34" y="194"/>
                    </a:lnTo>
                    <a:lnTo>
                      <a:pt x="32" y="180"/>
                    </a:lnTo>
                    <a:lnTo>
                      <a:pt x="32" y="162"/>
                    </a:lnTo>
                    <a:lnTo>
                      <a:pt x="32" y="162"/>
                    </a:lnTo>
                    <a:lnTo>
                      <a:pt x="32" y="146"/>
                    </a:lnTo>
                    <a:lnTo>
                      <a:pt x="36" y="128"/>
                    </a:lnTo>
                    <a:lnTo>
                      <a:pt x="40" y="112"/>
                    </a:lnTo>
                    <a:lnTo>
                      <a:pt x="46" y="98"/>
                    </a:lnTo>
                    <a:lnTo>
                      <a:pt x="54" y="82"/>
                    </a:lnTo>
                    <a:lnTo>
                      <a:pt x="62" y="70"/>
                    </a:lnTo>
                    <a:lnTo>
                      <a:pt x="74" y="56"/>
                    </a:lnTo>
                    <a:lnTo>
                      <a:pt x="86" y="46"/>
                    </a:lnTo>
                    <a:lnTo>
                      <a:pt x="100" y="36"/>
                    </a:lnTo>
                    <a:lnTo>
                      <a:pt x="116" y="26"/>
                    </a:lnTo>
                    <a:lnTo>
                      <a:pt x="132" y="18"/>
                    </a:lnTo>
                    <a:lnTo>
                      <a:pt x="150" y="12"/>
                    </a:lnTo>
                    <a:lnTo>
                      <a:pt x="170" y="6"/>
                    </a:lnTo>
                    <a:lnTo>
                      <a:pt x="190" y="4"/>
                    </a:lnTo>
                    <a:lnTo>
                      <a:pt x="212" y="0"/>
                    </a:lnTo>
                    <a:lnTo>
                      <a:pt x="236" y="0"/>
                    </a:lnTo>
                    <a:lnTo>
                      <a:pt x="236" y="0"/>
                    </a:lnTo>
                    <a:lnTo>
                      <a:pt x="280" y="2"/>
                    </a:lnTo>
                    <a:lnTo>
                      <a:pt x="320" y="8"/>
                    </a:lnTo>
                    <a:lnTo>
                      <a:pt x="358" y="16"/>
                    </a:lnTo>
                    <a:lnTo>
                      <a:pt x="394" y="26"/>
                    </a:lnTo>
                    <a:lnTo>
                      <a:pt x="394" y="142"/>
                    </a:lnTo>
                    <a:lnTo>
                      <a:pt x="394" y="142"/>
                    </a:lnTo>
                    <a:lnTo>
                      <a:pt x="358" y="128"/>
                    </a:lnTo>
                    <a:lnTo>
                      <a:pt x="322" y="116"/>
                    </a:lnTo>
                    <a:lnTo>
                      <a:pt x="282" y="110"/>
                    </a:lnTo>
                    <a:lnTo>
                      <a:pt x="262" y="108"/>
                    </a:lnTo>
                    <a:lnTo>
                      <a:pt x="242" y="108"/>
                    </a:lnTo>
                    <a:lnTo>
                      <a:pt x="242" y="108"/>
                    </a:lnTo>
                    <a:lnTo>
                      <a:pt x="224" y="108"/>
                    </a:lnTo>
                    <a:lnTo>
                      <a:pt x="210" y="110"/>
                    </a:lnTo>
                    <a:lnTo>
                      <a:pt x="198" y="114"/>
                    </a:lnTo>
                    <a:lnTo>
                      <a:pt x="186" y="118"/>
                    </a:lnTo>
                    <a:lnTo>
                      <a:pt x="176" y="126"/>
                    </a:lnTo>
                    <a:lnTo>
                      <a:pt x="170" y="134"/>
                    </a:lnTo>
                    <a:lnTo>
                      <a:pt x="166" y="144"/>
                    </a:lnTo>
                    <a:lnTo>
                      <a:pt x="164" y="156"/>
                    </a:lnTo>
                    <a:lnTo>
                      <a:pt x="164" y="156"/>
                    </a:lnTo>
                    <a:lnTo>
                      <a:pt x="166" y="164"/>
                    </a:lnTo>
                    <a:lnTo>
                      <a:pt x="168" y="170"/>
                    </a:lnTo>
                    <a:lnTo>
                      <a:pt x="172" y="178"/>
                    </a:lnTo>
                    <a:lnTo>
                      <a:pt x="176" y="184"/>
                    </a:lnTo>
                    <a:lnTo>
                      <a:pt x="188" y="194"/>
                    </a:lnTo>
                    <a:lnTo>
                      <a:pt x="204" y="204"/>
                    </a:lnTo>
                    <a:lnTo>
                      <a:pt x="224" y="212"/>
                    </a:lnTo>
                    <a:lnTo>
                      <a:pt x="244" y="220"/>
                    </a:lnTo>
                    <a:lnTo>
                      <a:pt x="292" y="238"/>
                    </a:lnTo>
                    <a:lnTo>
                      <a:pt x="314" y="248"/>
                    </a:lnTo>
                    <a:lnTo>
                      <a:pt x="338" y="260"/>
                    </a:lnTo>
                    <a:lnTo>
                      <a:pt x="360" y="274"/>
                    </a:lnTo>
                    <a:lnTo>
                      <a:pt x="378" y="292"/>
                    </a:lnTo>
                    <a:lnTo>
                      <a:pt x="386" y="302"/>
                    </a:lnTo>
                    <a:lnTo>
                      <a:pt x="394" y="312"/>
                    </a:lnTo>
                    <a:lnTo>
                      <a:pt x="402" y="324"/>
                    </a:lnTo>
                    <a:lnTo>
                      <a:pt x="406" y="336"/>
                    </a:lnTo>
                    <a:lnTo>
                      <a:pt x="412" y="350"/>
                    </a:lnTo>
                    <a:lnTo>
                      <a:pt x="414" y="364"/>
                    </a:lnTo>
                    <a:lnTo>
                      <a:pt x="418" y="380"/>
                    </a:lnTo>
                    <a:lnTo>
                      <a:pt x="418" y="396"/>
                    </a:lnTo>
                    <a:lnTo>
                      <a:pt x="418" y="396"/>
                    </a:lnTo>
                    <a:lnTo>
                      <a:pt x="416" y="418"/>
                    </a:lnTo>
                    <a:lnTo>
                      <a:pt x="414" y="438"/>
                    </a:lnTo>
                    <a:lnTo>
                      <a:pt x="408" y="456"/>
                    </a:lnTo>
                    <a:lnTo>
                      <a:pt x="400" y="472"/>
                    </a:lnTo>
                    <a:lnTo>
                      <a:pt x="390" y="488"/>
                    </a:lnTo>
                    <a:lnTo>
                      <a:pt x="380" y="502"/>
                    </a:lnTo>
                    <a:lnTo>
                      <a:pt x="366" y="514"/>
                    </a:lnTo>
                    <a:lnTo>
                      <a:pt x="352" y="524"/>
                    </a:lnTo>
                    <a:lnTo>
                      <a:pt x="336" y="534"/>
                    </a:lnTo>
                    <a:lnTo>
                      <a:pt x="320" y="542"/>
                    </a:lnTo>
                    <a:lnTo>
                      <a:pt x="302" y="550"/>
                    </a:lnTo>
                    <a:lnTo>
                      <a:pt x="282" y="554"/>
                    </a:lnTo>
                    <a:lnTo>
                      <a:pt x="262" y="558"/>
                    </a:lnTo>
                    <a:lnTo>
                      <a:pt x="242" y="562"/>
                    </a:lnTo>
                    <a:lnTo>
                      <a:pt x="220" y="564"/>
                    </a:lnTo>
                    <a:lnTo>
                      <a:pt x="200" y="564"/>
                    </a:lnTo>
                    <a:lnTo>
                      <a:pt x="200" y="564"/>
                    </a:lnTo>
                    <a:lnTo>
                      <a:pt x="168" y="562"/>
                    </a:lnTo>
                    <a:lnTo>
                      <a:pt x="138" y="560"/>
                    </a:lnTo>
                    <a:lnTo>
                      <a:pt x="110" y="554"/>
                    </a:lnTo>
                    <a:lnTo>
                      <a:pt x="84" y="548"/>
                    </a:lnTo>
                    <a:lnTo>
                      <a:pt x="60" y="540"/>
                    </a:lnTo>
                    <a:lnTo>
                      <a:pt x="38" y="532"/>
                    </a:lnTo>
                    <a:lnTo>
                      <a:pt x="18" y="522"/>
                    </a:lnTo>
                    <a:lnTo>
                      <a:pt x="0" y="512"/>
                    </a:lnTo>
                    <a:lnTo>
                      <a:pt x="42" y="4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6" name="Freeform 27"/>
              <p:cNvSpPr>
                <a:spLocks noEditPoints="1"/>
              </p:cNvSpPr>
              <p:nvPr/>
            </p:nvSpPr>
            <p:spPr bwMode="auto">
              <a:xfrm>
                <a:off x="8230347" y="4493623"/>
                <a:ext cx="17443" cy="81608"/>
              </a:xfrm>
              <a:custGeom>
                <a:avLst/>
                <a:gdLst>
                  <a:gd name="T0" fmla="*/ 84 w 168"/>
                  <a:gd name="T1" fmla="*/ 162 h 786"/>
                  <a:gd name="T2" fmla="*/ 84 w 168"/>
                  <a:gd name="T3" fmla="*/ 162 h 786"/>
                  <a:gd name="T4" fmla="*/ 68 w 168"/>
                  <a:gd name="T5" fmla="*/ 160 h 786"/>
                  <a:gd name="T6" fmla="*/ 52 w 168"/>
                  <a:gd name="T7" fmla="*/ 156 h 786"/>
                  <a:gd name="T8" fmla="*/ 38 w 168"/>
                  <a:gd name="T9" fmla="*/ 148 h 786"/>
                  <a:gd name="T10" fmla="*/ 26 w 168"/>
                  <a:gd name="T11" fmla="*/ 138 h 786"/>
                  <a:gd name="T12" fmla="*/ 14 w 168"/>
                  <a:gd name="T13" fmla="*/ 126 h 786"/>
                  <a:gd name="T14" fmla="*/ 8 w 168"/>
                  <a:gd name="T15" fmla="*/ 112 h 786"/>
                  <a:gd name="T16" fmla="*/ 2 w 168"/>
                  <a:gd name="T17" fmla="*/ 98 h 786"/>
                  <a:gd name="T18" fmla="*/ 0 w 168"/>
                  <a:gd name="T19" fmla="*/ 80 h 786"/>
                  <a:gd name="T20" fmla="*/ 0 w 168"/>
                  <a:gd name="T21" fmla="*/ 80 h 786"/>
                  <a:gd name="T22" fmla="*/ 2 w 168"/>
                  <a:gd name="T23" fmla="*/ 64 h 786"/>
                  <a:gd name="T24" fmla="*/ 8 w 168"/>
                  <a:gd name="T25" fmla="*/ 50 h 786"/>
                  <a:gd name="T26" fmla="*/ 14 w 168"/>
                  <a:gd name="T27" fmla="*/ 36 h 786"/>
                  <a:gd name="T28" fmla="*/ 26 w 168"/>
                  <a:gd name="T29" fmla="*/ 24 h 786"/>
                  <a:gd name="T30" fmla="*/ 38 w 168"/>
                  <a:gd name="T31" fmla="*/ 14 h 786"/>
                  <a:gd name="T32" fmla="*/ 52 w 168"/>
                  <a:gd name="T33" fmla="*/ 6 h 786"/>
                  <a:gd name="T34" fmla="*/ 68 w 168"/>
                  <a:gd name="T35" fmla="*/ 2 h 786"/>
                  <a:gd name="T36" fmla="*/ 84 w 168"/>
                  <a:gd name="T37" fmla="*/ 0 h 786"/>
                  <a:gd name="T38" fmla="*/ 84 w 168"/>
                  <a:gd name="T39" fmla="*/ 0 h 786"/>
                  <a:gd name="T40" fmla="*/ 102 w 168"/>
                  <a:gd name="T41" fmla="*/ 2 h 786"/>
                  <a:gd name="T42" fmla="*/ 118 w 168"/>
                  <a:gd name="T43" fmla="*/ 6 h 786"/>
                  <a:gd name="T44" fmla="*/ 132 w 168"/>
                  <a:gd name="T45" fmla="*/ 14 h 786"/>
                  <a:gd name="T46" fmla="*/ 144 w 168"/>
                  <a:gd name="T47" fmla="*/ 24 h 786"/>
                  <a:gd name="T48" fmla="*/ 154 w 168"/>
                  <a:gd name="T49" fmla="*/ 36 h 786"/>
                  <a:gd name="T50" fmla="*/ 162 w 168"/>
                  <a:gd name="T51" fmla="*/ 48 h 786"/>
                  <a:gd name="T52" fmla="*/ 166 w 168"/>
                  <a:gd name="T53" fmla="*/ 64 h 786"/>
                  <a:gd name="T54" fmla="*/ 168 w 168"/>
                  <a:gd name="T55" fmla="*/ 80 h 786"/>
                  <a:gd name="T56" fmla="*/ 168 w 168"/>
                  <a:gd name="T57" fmla="*/ 80 h 786"/>
                  <a:gd name="T58" fmla="*/ 166 w 168"/>
                  <a:gd name="T59" fmla="*/ 96 h 786"/>
                  <a:gd name="T60" fmla="*/ 162 w 168"/>
                  <a:gd name="T61" fmla="*/ 112 h 786"/>
                  <a:gd name="T62" fmla="*/ 154 w 168"/>
                  <a:gd name="T63" fmla="*/ 126 h 786"/>
                  <a:gd name="T64" fmla="*/ 144 w 168"/>
                  <a:gd name="T65" fmla="*/ 138 h 786"/>
                  <a:gd name="T66" fmla="*/ 132 w 168"/>
                  <a:gd name="T67" fmla="*/ 148 h 786"/>
                  <a:gd name="T68" fmla="*/ 118 w 168"/>
                  <a:gd name="T69" fmla="*/ 156 h 786"/>
                  <a:gd name="T70" fmla="*/ 102 w 168"/>
                  <a:gd name="T71" fmla="*/ 160 h 786"/>
                  <a:gd name="T72" fmla="*/ 84 w 168"/>
                  <a:gd name="T73" fmla="*/ 162 h 786"/>
                  <a:gd name="T74" fmla="*/ 84 w 168"/>
                  <a:gd name="T75" fmla="*/ 162 h 786"/>
                  <a:gd name="T76" fmla="*/ 16 w 168"/>
                  <a:gd name="T77" fmla="*/ 786 h 786"/>
                  <a:gd name="T78" fmla="*/ 16 w 168"/>
                  <a:gd name="T79" fmla="*/ 244 h 786"/>
                  <a:gd name="T80" fmla="*/ 152 w 168"/>
                  <a:gd name="T81" fmla="*/ 244 h 786"/>
                  <a:gd name="T82" fmla="*/ 152 w 168"/>
                  <a:gd name="T83" fmla="*/ 244 h 786"/>
                  <a:gd name="T84" fmla="*/ 152 w 168"/>
                  <a:gd name="T85" fmla="*/ 686 h 786"/>
                  <a:gd name="T86" fmla="*/ 152 w 168"/>
                  <a:gd name="T87" fmla="*/ 686 h 786"/>
                  <a:gd name="T88" fmla="*/ 150 w 168"/>
                  <a:gd name="T89" fmla="*/ 704 h 786"/>
                  <a:gd name="T90" fmla="*/ 146 w 168"/>
                  <a:gd name="T91" fmla="*/ 720 h 786"/>
                  <a:gd name="T92" fmla="*/ 138 w 168"/>
                  <a:gd name="T93" fmla="*/ 732 h 786"/>
                  <a:gd name="T94" fmla="*/ 130 w 168"/>
                  <a:gd name="T95" fmla="*/ 744 h 786"/>
                  <a:gd name="T96" fmla="*/ 120 w 168"/>
                  <a:gd name="T97" fmla="*/ 754 h 786"/>
                  <a:gd name="T98" fmla="*/ 108 w 168"/>
                  <a:gd name="T99" fmla="*/ 762 h 786"/>
                  <a:gd name="T100" fmla="*/ 96 w 168"/>
                  <a:gd name="T101" fmla="*/ 768 h 786"/>
                  <a:gd name="T102" fmla="*/ 84 w 168"/>
                  <a:gd name="T103" fmla="*/ 774 h 786"/>
                  <a:gd name="T104" fmla="*/ 60 w 168"/>
                  <a:gd name="T105" fmla="*/ 782 h 786"/>
                  <a:gd name="T106" fmla="*/ 38 w 168"/>
                  <a:gd name="T107" fmla="*/ 784 h 786"/>
                  <a:gd name="T108" fmla="*/ 16 w 168"/>
                  <a:gd name="T109" fmla="*/ 786 h 786"/>
                  <a:gd name="T110" fmla="*/ 16 w 168"/>
                  <a:gd name="T111" fmla="*/ 786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8" h="786">
                    <a:moveTo>
                      <a:pt x="84" y="162"/>
                    </a:moveTo>
                    <a:lnTo>
                      <a:pt x="84" y="162"/>
                    </a:lnTo>
                    <a:lnTo>
                      <a:pt x="68" y="160"/>
                    </a:lnTo>
                    <a:lnTo>
                      <a:pt x="52" y="156"/>
                    </a:lnTo>
                    <a:lnTo>
                      <a:pt x="38" y="148"/>
                    </a:lnTo>
                    <a:lnTo>
                      <a:pt x="26" y="138"/>
                    </a:lnTo>
                    <a:lnTo>
                      <a:pt x="14" y="126"/>
                    </a:lnTo>
                    <a:lnTo>
                      <a:pt x="8" y="112"/>
                    </a:lnTo>
                    <a:lnTo>
                      <a:pt x="2" y="98"/>
                    </a:lnTo>
                    <a:lnTo>
                      <a:pt x="0" y="80"/>
                    </a:lnTo>
                    <a:lnTo>
                      <a:pt x="0" y="80"/>
                    </a:lnTo>
                    <a:lnTo>
                      <a:pt x="2" y="64"/>
                    </a:lnTo>
                    <a:lnTo>
                      <a:pt x="8" y="50"/>
                    </a:lnTo>
                    <a:lnTo>
                      <a:pt x="14" y="36"/>
                    </a:lnTo>
                    <a:lnTo>
                      <a:pt x="26" y="24"/>
                    </a:lnTo>
                    <a:lnTo>
                      <a:pt x="38" y="14"/>
                    </a:lnTo>
                    <a:lnTo>
                      <a:pt x="52" y="6"/>
                    </a:lnTo>
                    <a:lnTo>
                      <a:pt x="68" y="2"/>
                    </a:lnTo>
                    <a:lnTo>
                      <a:pt x="84" y="0"/>
                    </a:lnTo>
                    <a:lnTo>
                      <a:pt x="84" y="0"/>
                    </a:lnTo>
                    <a:lnTo>
                      <a:pt x="102" y="2"/>
                    </a:lnTo>
                    <a:lnTo>
                      <a:pt x="118" y="6"/>
                    </a:lnTo>
                    <a:lnTo>
                      <a:pt x="132" y="14"/>
                    </a:lnTo>
                    <a:lnTo>
                      <a:pt x="144" y="24"/>
                    </a:lnTo>
                    <a:lnTo>
                      <a:pt x="154" y="36"/>
                    </a:lnTo>
                    <a:lnTo>
                      <a:pt x="162" y="48"/>
                    </a:lnTo>
                    <a:lnTo>
                      <a:pt x="166" y="64"/>
                    </a:lnTo>
                    <a:lnTo>
                      <a:pt x="168" y="80"/>
                    </a:lnTo>
                    <a:lnTo>
                      <a:pt x="168" y="80"/>
                    </a:lnTo>
                    <a:lnTo>
                      <a:pt x="166" y="96"/>
                    </a:lnTo>
                    <a:lnTo>
                      <a:pt x="162" y="112"/>
                    </a:lnTo>
                    <a:lnTo>
                      <a:pt x="154" y="126"/>
                    </a:lnTo>
                    <a:lnTo>
                      <a:pt x="144" y="138"/>
                    </a:lnTo>
                    <a:lnTo>
                      <a:pt x="132" y="148"/>
                    </a:lnTo>
                    <a:lnTo>
                      <a:pt x="118" y="156"/>
                    </a:lnTo>
                    <a:lnTo>
                      <a:pt x="102" y="160"/>
                    </a:lnTo>
                    <a:lnTo>
                      <a:pt x="84" y="162"/>
                    </a:lnTo>
                    <a:lnTo>
                      <a:pt x="84" y="162"/>
                    </a:lnTo>
                    <a:close/>
                    <a:moveTo>
                      <a:pt x="16" y="786"/>
                    </a:moveTo>
                    <a:lnTo>
                      <a:pt x="16" y="244"/>
                    </a:lnTo>
                    <a:lnTo>
                      <a:pt x="152" y="244"/>
                    </a:lnTo>
                    <a:lnTo>
                      <a:pt x="152" y="244"/>
                    </a:lnTo>
                    <a:lnTo>
                      <a:pt x="152" y="686"/>
                    </a:lnTo>
                    <a:lnTo>
                      <a:pt x="152" y="686"/>
                    </a:lnTo>
                    <a:lnTo>
                      <a:pt x="150" y="704"/>
                    </a:lnTo>
                    <a:lnTo>
                      <a:pt x="146" y="720"/>
                    </a:lnTo>
                    <a:lnTo>
                      <a:pt x="138" y="732"/>
                    </a:lnTo>
                    <a:lnTo>
                      <a:pt x="130" y="744"/>
                    </a:lnTo>
                    <a:lnTo>
                      <a:pt x="120" y="754"/>
                    </a:lnTo>
                    <a:lnTo>
                      <a:pt x="108" y="762"/>
                    </a:lnTo>
                    <a:lnTo>
                      <a:pt x="96" y="768"/>
                    </a:lnTo>
                    <a:lnTo>
                      <a:pt x="84" y="774"/>
                    </a:lnTo>
                    <a:lnTo>
                      <a:pt x="60" y="782"/>
                    </a:lnTo>
                    <a:lnTo>
                      <a:pt x="38" y="784"/>
                    </a:lnTo>
                    <a:lnTo>
                      <a:pt x="16" y="786"/>
                    </a:lnTo>
                    <a:lnTo>
                      <a:pt x="16" y="7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7" name="Freeform 28"/>
              <p:cNvSpPr>
                <a:spLocks/>
              </p:cNvSpPr>
              <p:nvPr/>
            </p:nvSpPr>
            <p:spPr bwMode="auto">
              <a:xfrm>
                <a:off x="7989468" y="4518126"/>
                <a:ext cx="49837" cy="57313"/>
              </a:xfrm>
              <a:custGeom>
                <a:avLst/>
                <a:gdLst>
                  <a:gd name="T0" fmla="*/ 346 w 480"/>
                  <a:gd name="T1" fmla="*/ 230 h 552"/>
                  <a:gd name="T2" fmla="*/ 344 w 480"/>
                  <a:gd name="T3" fmla="*/ 210 h 552"/>
                  <a:gd name="T4" fmla="*/ 338 w 480"/>
                  <a:gd name="T5" fmla="*/ 170 h 552"/>
                  <a:gd name="T6" fmla="*/ 322 w 480"/>
                  <a:gd name="T7" fmla="*/ 138 h 552"/>
                  <a:gd name="T8" fmla="*/ 308 w 480"/>
                  <a:gd name="T9" fmla="*/ 126 h 552"/>
                  <a:gd name="T10" fmla="*/ 290 w 480"/>
                  <a:gd name="T11" fmla="*/ 118 h 552"/>
                  <a:gd name="T12" fmla="*/ 268 w 480"/>
                  <a:gd name="T13" fmla="*/ 116 h 552"/>
                  <a:gd name="T14" fmla="*/ 250 w 480"/>
                  <a:gd name="T15" fmla="*/ 116 h 552"/>
                  <a:gd name="T16" fmla="*/ 216 w 480"/>
                  <a:gd name="T17" fmla="*/ 126 h 552"/>
                  <a:gd name="T18" fmla="*/ 182 w 480"/>
                  <a:gd name="T19" fmla="*/ 140 h 552"/>
                  <a:gd name="T20" fmla="*/ 134 w 480"/>
                  <a:gd name="T21" fmla="*/ 172 h 552"/>
                  <a:gd name="T22" fmla="*/ 134 w 480"/>
                  <a:gd name="T23" fmla="*/ 452 h 552"/>
                  <a:gd name="T24" fmla="*/ 132 w 480"/>
                  <a:gd name="T25" fmla="*/ 470 h 552"/>
                  <a:gd name="T26" fmla="*/ 120 w 480"/>
                  <a:gd name="T27" fmla="*/ 498 h 552"/>
                  <a:gd name="T28" fmla="*/ 102 w 480"/>
                  <a:gd name="T29" fmla="*/ 518 h 552"/>
                  <a:gd name="T30" fmla="*/ 78 w 480"/>
                  <a:gd name="T31" fmla="*/ 534 h 552"/>
                  <a:gd name="T32" fmla="*/ 42 w 480"/>
                  <a:gd name="T33" fmla="*/ 546 h 552"/>
                  <a:gd name="T34" fmla="*/ 0 w 480"/>
                  <a:gd name="T35" fmla="*/ 552 h 552"/>
                  <a:gd name="T36" fmla="*/ 114 w 480"/>
                  <a:gd name="T37" fmla="*/ 14 h 552"/>
                  <a:gd name="T38" fmla="*/ 128 w 480"/>
                  <a:gd name="T39" fmla="*/ 70 h 552"/>
                  <a:gd name="T40" fmla="*/ 170 w 480"/>
                  <a:gd name="T41" fmla="*/ 42 h 552"/>
                  <a:gd name="T42" fmla="*/ 214 w 480"/>
                  <a:gd name="T43" fmla="*/ 20 h 552"/>
                  <a:gd name="T44" fmla="*/ 262 w 480"/>
                  <a:gd name="T45" fmla="*/ 6 h 552"/>
                  <a:gd name="T46" fmla="*/ 314 w 480"/>
                  <a:gd name="T47" fmla="*/ 0 h 552"/>
                  <a:gd name="T48" fmla="*/ 328 w 480"/>
                  <a:gd name="T49" fmla="*/ 2 h 552"/>
                  <a:gd name="T50" fmla="*/ 358 w 480"/>
                  <a:gd name="T51" fmla="*/ 6 h 552"/>
                  <a:gd name="T52" fmla="*/ 388 w 480"/>
                  <a:gd name="T53" fmla="*/ 16 h 552"/>
                  <a:gd name="T54" fmla="*/ 414 w 480"/>
                  <a:gd name="T55" fmla="*/ 32 h 552"/>
                  <a:gd name="T56" fmla="*/ 438 w 480"/>
                  <a:gd name="T57" fmla="*/ 54 h 552"/>
                  <a:gd name="T58" fmla="*/ 458 w 480"/>
                  <a:gd name="T59" fmla="*/ 84 h 552"/>
                  <a:gd name="T60" fmla="*/ 472 w 480"/>
                  <a:gd name="T61" fmla="*/ 120 h 552"/>
                  <a:gd name="T62" fmla="*/ 478 w 480"/>
                  <a:gd name="T63" fmla="*/ 166 h 552"/>
                  <a:gd name="T64" fmla="*/ 480 w 480"/>
                  <a:gd name="T65" fmla="*/ 190 h 552"/>
                  <a:gd name="T66" fmla="*/ 480 w 480"/>
                  <a:gd name="T67" fmla="*/ 452 h 552"/>
                  <a:gd name="T68" fmla="*/ 474 w 480"/>
                  <a:gd name="T69" fmla="*/ 484 h 552"/>
                  <a:gd name="T70" fmla="*/ 458 w 480"/>
                  <a:gd name="T71" fmla="*/ 510 h 552"/>
                  <a:gd name="T72" fmla="*/ 438 w 480"/>
                  <a:gd name="T73" fmla="*/ 528 h 552"/>
                  <a:gd name="T74" fmla="*/ 412 w 480"/>
                  <a:gd name="T75" fmla="*/ 540 h 552"/>
                  <a:gd name="T76" fmla="*/ 366 w 480"/>
                  <a:gd name="T77" fmla="*/ 550 h 552"/>
                  <a:gd name="T78" fmla="*/ 346 w 480"/>
                  <a:gd name="T79" fmla="*/ 552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80" h="552">
                    <a:moveTo>
                      <a:pt x="346" y="552"/>
                    </a:moveTo>
                    <a:lnTo>
                      <a:pt x="346" y="230"/>
                    </a:lnTo>
                    <a:lnTo>
                      <a:pt x="346" y="230"/>
                    </a:lnTo>
                    <a:lnTo>
                      <a:pt x="344" y="210"/>
                    </a:lnTo>
                    <a:lnTo>
                      <a:pt x="342" y="190"/>
                    </a:lnTo>
                    <a:lnTo>
                      <a:pt x="338" y="170"/>
                    </a:lnTo>
                    <a:lnTo>
                      <a:pt x="332" y="152"/>
                    </a:lnTo>
                    <a:lnTo>
                      <a:pt x="322" y="138"/>
                    </a:lnTo>
                    <a:lnTo>
                      <a:pt x="316" y="132"/>
                    </a:lnTo>
                    <a:lnTo>
                      <a:pt x="308" y="126"/>
                    </a:lnTo>
                    <a:lnTo>
                      <a:pt x="300" y="122"/>
                    </a:lnTo>
                    <a:lnTo>
                      <a:pt x="290" y="118"/>
                    </a:lnTo>
                    <a:lnTo>
                      <a:pt x="280" y="116"/>
                    </a:lnTo>
                    <a:lnTo>
                      <a:pt x="268" y="116"/>
                    </a:lnTo>
                    <a:lnTo>
                      <a:pt x="268" y="116"/>
                    </a:lnTo>
                    <a:lnTo>
                      <a:pt x="250" y="116"/>
                    </a:lnTo>
                    <a:lnTo>
                      <a:pt x="232" y="120"/>
                    </a:lnTo>
                    <a:lnTo>
                      <a:pt x="216" y="126"/>
                    </a:lnTo>
                    <a:lnTo>
                      <a:pt x="198" y="132"/>
                    </a:lnTo>
                    <a:lnTo>
                      <a:pt x="182" y="140"/>
                    </a:lnTo>
                    <a:lnTo>
                      <a:pt x="166" y="150"/>
                    </a:lnTo>
                    <a:lnTo>
                      <a:pt x="134" y="172"/>
                    </a:lnTo>
                    <a:lnTo>
                      <a:pt x="134" y="172"/>
                    </a:lnTo>
                    <a:lnTo>
                      <a:pt x="134" y="452"/>
                    </a:lnTo>
                    <a:lnTo>
                      <a:pt x="134" y="452"/>
                    </a:lnTo>
                    <a:lnTo>
                      <a:pt x="132" y="470"/>
                    </a:lnTo>
                    <a:lnTo>
                      <a:pt x="128" y="484"/>
                    </a:lnTo>
                    <a:lnTo>
                      <a:pt x="120" y="498"/>
                    </a:lnTo>
                    <a:lnTo>
                      <a:pt x="112" y="510"/>
                    </a:lnTo>
                    <a:lnTo>
                      <a:pt x="102" y="518"/>
                    </a:lnTo>
                    <a:lnTo>
                      <a:pt x="90" y="528"/>
                    </a:lnTo>
                    <a:lnTo>
                      <a:pt x="78" y="534"/>
                    </a:lnTo>
                    <a:lnTo>
                      <a:pt x="66" y="540"/>
                    </a:lnTo>
                    <a:lnTo>
                      <a:pt x="42" y="546"/>
                    </a:lnTo>
                    <a:lnTo>
                      <a:pt x="20" y="550"/>
                    </a:lnTo>
                    <a:lnTo>
                      <a:pt x="0" y="552"/>
                    </a:lnTo>
                    <a:lnTo>
                      <a:pt x="0" y="14"/>
                    </a:lnTo>
                    <a:lnTo>
                      <a:pt x="114" y="14"/>
                    </a:lnTo>
                    <a:lnTo>
                      <a:pt x="128" y="70"/>
                    </a:lnTo>
                    <a:lnTo>
                      <a:pt x="128" y="70"/>
                    </a:lnTo>
                    <a:lnTo>
                      <a:pt x="150" y="54"/>
                    </a:lnTo>
                    <a:lnTo>
                      <a:pt x="170" y="42"/>
                    </a:lnTo>
                    <a:lnTo>
                      <a:pt x="192" y="30"/>
                    </a:lnTo>
                    <a:lnTo>
                      <a:pt x="214" y="20"/>
                    </a:lnTo>
                    <a:lnTo>
                      <a:pt x="238" y="12"/>
                    </a:lnTo>
                    <a:lnTo>
                      <a:pt x="262" y="6"/>
                    </a:lnTo>
                    <a:lnTo>
                      <a:pt x="286" y="2"/>
                    </a:lnTo>
                    <a:lnTo>
                      <a:pt x="314" y="0"/>
                    </a:lnTo>
                    <a:lnTo>
                      <a:pt x="314" y="0"/>
                    </a:lnTo>
                    <a:lnTo>
                      <a:pt x="328" y="2"/>
                    </a:lnTo>
                    <a:lnTo>
                      <a:pt x="344" y="2"/>
                    </a:lnTo>
                    <a:lnTo>
                      <a:pt x="358" y="6"/>
                    </a:lnTo>
                    <a:lnTo>
                      <a:pt x="374" y="10"/>
                    </a:lnTo>
                    <a:lnTo>
                      <a:pt x="388" y="16"/>
                    </a:lnTo>
                    <a:lnTo>
                      <a:pt x="402" y="24"/>
                    </a:lnTo>
                    <a:lnTo>
                      <a:pt x="414" y="32"/>
                    </a:lnTo>
                    <a:lnTo>
                      <a:pt x="426" y="42"/>
                    </a:lnTo>
                    <a:lnTo>
                      <a:pt x="438" y="54"/>
                    </a:lnTo>
                    <a:lnTo>
                      <a:pt x="448" y="68"/>
                    </a:lnTo>
                    <a:lnTo>
                      <a:pt x="458" y="84"/>
                    </a:lnTo>
                    <a:lnTo>
                      <a:pt x="464" y="102"/>
                    </a:lnTo>
                    <a:lnTo>
                      <a:pt x="472" y="120"/>
                    </a:lnTo>
                    <a:lnTo>
                      <a:pt x="476" y="142"/>
                    </a:lnTo>
                    <a:lnTo>
                      <a:pt x="478" y="166"/>
                    </a:lnTo>
                    <a:lnTo>
                      <a:pt x="480" y="190"/>
                    </a:lnTo>
                    <a:lnTo>
                      <a:pt x="480" y="190"/>
                    </a:lnTo>
                    <a:lnTo>
                      <a:pt x="480" y="452"/>
                    </a:lnTo>
                    <a:lnTo>
                      <a:pt x="480" y="452"/>
                    </a:lnTo>
                    <a:lnTo>
                      <a:pt x="478" y="470"/>
                    </a:lnTo>
                    <a:lnTo>
                      <a:pt x="474" y="484"/>
                    </a:lnTo>
                    <a:lnTo>
                      <a:pt x="468" y="498"/>
                    </a:lnTo>
                    <a:lnTo>
                      <a:pt x="458" y="510"/>
                    </a:lnTo>
                    <a:lnTo>
                      <a:pt x="448" y="520"/>
                    </a:lnTo>
                    <a:lnTo>
                      <a:pt x="438" y="528"/>
                    </a:lnTo>
                    <a:lnTo>
                      <a:pt x="424" y="534"/>
                    </a:lnTo>
                    <a:lnTo>
                      <a:pt x="412" y="540"/>
                    </a:lnTo>
                    <a:lnTo>
                      <a:pt x="388" y="546"/>
                    </a:lnTo>
                    <a:lnTo>
                      <a:pt x="366" y="550"/>
                    </a:lnTo>
                    <a:lnTo>
                      <a:pt x="346" y="552"/>
                    </a:lnTo>
                    <a:lnTo>
                      <a:pt x="346" y="5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 name="Freeform 29"/>
              <p:cNvSpPr>
                <a:spLocks/>
              </p:cNvSpPr>
              <p:nvPr/>
            </p:nvSpPr>
            <p:spPr bwMode="auto">
              <a:xfrm>
                <a:off x="8106170" y="4491754"/>
                <a:ext cx="14120" cy="83477"/>
              </a:xfrm>
              <a:custGeom>
                <a:avLst/>
                <a:gdLst>
                  <a:gd name="T0" fmla="*/ 136 w 136"/>
                  <a:gd name="T1" fmla="*/ 704 h 804"/>
                  <a:gd name="T2" fmla="*/ 136 w 136"/>
                  <a:gd name="T3" fmla="*/ 704 h 804"/>
                  <a:gd name="T4" fmla="*/ 134 w 136"/>
                  <a:gd name="T5" fmla="*/ 722 h 804"/>
                  <a:gd name="T6" fmla="*/ 130 w 136"/>
                  <a:gd name="T7" fmla="*/ 738 h 804"/>
                  <a:gd name="T8" fmla="*/ 122 w 136"/>
                  <a:gd name="T9" fmla="*/ 750 h 804"/>
                  <a:gd name="T10" fmla="*/ 114 w 136"/>
                  <a:gd name="T11" fmla="*/ 762 h 804"/>
                  <a:gd name="T12" fmla="*/ 104 w 136"/>
                  <a:gd name="T13" fmla="*/ 772 h 804"/>
                  <a:gd name="T14" fmla="*/ 92 w 136"/>
                  <a:gd name="T15" fmla="*/ 780 h 804"/>
                  <a:gd name="T16" fmla="*/ 80 w 136"/>
                  <a:gd name="T17" fmla="*/ 786 h 804"/>
                  <a:gd name="T18" fmla="*/ 68 w 136"/>
                  <a:gd name="T19" fmla="*/ 792 h 804"/>
                  <a:gd name="T20" fmla="*/ 44 w 136"/>
                  <a:gd name="T21" fmla="*/ 800 h 804"/>
                  <a:gd name="T22" fmla="*/ 22 w 136"/>
                  <a:gd name="T23" fmla="*/ 802 h 804"/>
                  <a:gd name="T24" fmla="*/ 0 w 136"/>
                  <a:gd name="T25" fmla="*/ 804 h 804"/>
                  <a:gd name="T26" fmla="*/ 0 w 136"/>
                  <a:gd name="T27" fmla="*/ 0 h 804"/>
                  <a:gd name="T28" fmla="*/ 136 w 136"/>
                  <a:gd name="T29" fmla="*/ 0 h 804"/>
                  <a:gd name="T30" fmla="*/ 136 w 136"/>
                  <a:gd name="T31" fmla="*/ 0 h 804"/>
                  <a:gd name="T32" fmla="*/ 136 w 136"/>
                  <a:gd name="T33" fmla="*/ 704 h 804"/>
                  <a:gd name="T34" fmla="*/ 136 w 136"/>
                  <a:gd name="T35" fmla="*/ 70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04">
                    <a:moveTo>
                      <a:pt x="136" y="704"/>
                    </a:moveTo>
                    <a:lnTo>
                      <a:pt x="136" y="704"/>
                    </a:lnTo>
                    <a:lnTo>
                      <a:pt x="134" y="722"/>
                    </a:lnTo>
                    <a:lnTo>
                      <a:pt x="130" y="738"/>
                    </a:lnTo>
                    <a:lnTo>
                      <a:pt x="122" y="750"/>
                    </a:lnTo>
                    <a:lnTo>
                      <a:pt x="114" y="762"/>
                    </a:lnTo>
                    <a:lnTo>
                      <a:pt x="104" y="772"/>
                    </a:lnTo>
                    <a:lnTo>
                      <a:pt x="92" y="780"/>
                    </a:lnTo>
                    <a:lnTo>
                      <a:pt x="80" y="786"/>
                    </a:lnTo>
                    <a:lnTo>
                      <a:pt x="68" y="792"/>
                    </a:lnTo>
                    <a:lnTo>
                      <a:pt x="44" y="800"/>
                    </a:lnTo>
                    <a:lnTo>
                      <a:pt x="22" y="802"/>
                    </a:lnTo>
                    <a:lnTo>
                      <a:pt x="0" y="804"/>
                    </a:lnTo>
                    <a:lnTo>
                      <a:pt x="0" y="0"/>
                    </a:lnTo>
                    <a:lnTo>
                      <a:pt x="136" y="0"/>
                    </a:lnTo>
                    <a:lnTo>
                      <a:pt x="136" y="0"/>
                    </a:lnTo>
                    <a:lnTo>
                      <a:pt x="136" y="704"/>
                    </a:lnTo>
                    <a:lnTo>
                      <a:pt x="136" y="7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8" name="Group 77"/>
            <p:cNvGrpSpPr/>
            <p:nvPr userDrawn="1"/>
          </p:nvGrpSpPr>
          <p:grpSpPr>
            <a:xfrm>
              <a:off x="7673274" y="4343117"/>
              <a:ext cx="1123200" cy="148389"/>
              <a:chOff x="7665803" y="4864376"/>
              <a:chExt cx="1123200" cy="148389"/>
            </a:xfrm>
            <a:grpFill/>
          </p:grpSpPr>
          <p:sp>
            <p:nvSpPr>
              <p:cNvPr id="79" name="Freeform 6"/>
              <p:cNvSpPr>
                <a:spLocks/>
              </p:cNvSpPr>
              <p:nvPr userDrawn="1"/>
            </p:nvSpPr>
            <p:spPr bwMode="auto">
              <a:xfrm>
                <a:off x="8119644" y="4924717"/>
                <a:ext cx="103102" cy="66806"/>
              </a:xfrm>
              <a:custGeom>
                <a:avLst/>
                <a:gdLst>
                  <a:gd name="T0" fmla="*/ 111 w 136"/>
                  <a:gd name="T1" fmla="*/ 72 h 92"/>
                  <a:gd name="T2" fmla="*/ 87 w 136"/>
                  <a:gd name="T3" fmla="*/ 88 h 92"/>
                  <a:gd name="T4" fmla="*/ 68 w 136"/>
                  <a:gd name="T5" fmla="*/ 28 h 92"/>
                  <a:gd name="T6" fmla="*/ 67 w 136"/>
                  <a:gd name="T7" fmla="*/ 28 h 92"/>
                  <a:gd name="T8" fmla="*/ 53 w 136"/>
                  <a:gd name="T9" fmla="*/ 72 h 92"/>
                  <a:gd name="T10" fmla="*/ 31 w 136"/>
                  <a:gd name="T11" fmla="*/ 88 h 92"/>
                  <a:gd name="T12" fmla="*/ 0 w 136"/>
                  <a:gd name="T13" fmla="*/ 0 h 92"/>
                  <a:gd name="T14" fmla="*/ 22 w 136"/>
                  <a:gd name="T15" fmla="*/ 0 h 92"/>
                  <a:gd name="T16" fmla="*/ 41 w 136"/>
                  <a:gd name="T17" fmla="*/ 60 h 92"/>
                  <a:gd name="T18" fmla="*/ 41 w 136"/>
                  <a:gd name="T19" fmla="*/ 60 h 92"/>
                  <a:gd name="T20" fmla="*/ 60 w 136"/>
                  <a:gd name="T21" fmla="*/ 0 h 92"/>
                  <a:gd name="T22" fmla="*/ 77 w 136"/>
                  <a:gd name="T23" fmla="*/ 0 h 92"/>
                  <a:gd name="T24" fmla="*/ 96 w 136"/>
                  <a:gd name="T25" fmla="*/ 60 h 92"/>
                  <a:gd name="T26" fmla="*/ 97 w 136"/>
                  <a:gd name="T27" fmla="*/ 60 h 92"/>
                  <a:gd name="T28" fmla="*/ 115 w 136"/>
                  <a:gd name="T29" fmla="*/ 0 h 92"/>
                  <a:gd name="T30" fmla="*/ 136 w 136"/>
                  <a:gd name="T31" fmla="*/ 0 h 92"/>
                  <a:gd name="T32" fmla="*/ 111 w 136"/>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 h="92">
                    <a:moveTo>
                      <a:pt x="111" y="72"/>
                    </a:moveTo>
                    <a:cubicBezTo>
                      <a:pt x="103" y="92"/>
                      <a:pt x="87" y="88"/>
                      <a:pt x="87" y="88"/>
                    </a:cubicBezTo>
                    <a:cubicBezTo>
                      <a:pt x="68" y="28"/>
                      <a:pt x="68" y="28"/>
                      <a:pt x="68" y="28"/>
                    </a:cubicBezTo>
                    <a:cubicBezTo>
                      <a:pt x="67" y="28"/>
                      <a:pt x="67" y="28"/>
                      <a:pt x="67" y="28"/>
                    </a:cubicBezTo>
                    <a:cubicBezTo>
                      <a:pt x="67" y="28"/>
                      <a:pt x="58"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6" y="60"/>
                      <a:pt x="96" y="60"/>
                      <a:pt x="96" y="60"/>
                    </a:cubicBezTo>
                    <a:cubicBezTo>
                      <a:pt x="97" y="60"/>
                      <a:pt x="97" y="60"/>
                      <a:pt x="97" y="60"/>
                    </a:cubicBezTo>
                    <a:cubicBezTo>
                      <a:pt x="115" y="0"/>
                      <a:pt x="115" y="0"/>
                      <a:pt x="115" y="0"/>
                    </a:cubicBezTo>
                    <a:cubicBezTo>
                      <a:pt x="136" y="0"/>
                      <a:pt x="136" y="0"/>
                      <a:pt x="136" y="0"/>
                    </a:cubicBezTo>
                    <a:cubicBezTo>
                      <a:pt x="136"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0" name="Freeform 7"/>
              <p:cNvSpPr>
                <a:spLocks noEditPoints="1"/>
              </p:cNvSpPr>
              <p:nvPr userDrawn="1"/>
            </p:nvSpPr>
            <p:spPr bwMode="auto">
              <a:xfrm>
                <a:off x="8225958" y="4923177"/>
                <a:ext cx="57493" cy="66190"/>
              </a:xfrm>
              <a:custGeom>
                <a:avLst/>
                <a:gdLst>
                  <a:gd name="T0" fmla="*/ 57 w 76"/>
                  <a:gd name="T1" fmla="*/ 90 h 91"/>
                  <a:gd name="T2" fmla="*/ 53 w 76"/>
                  <a:gd name="T3" fmla="*/ 81 h 91"/>
                  <a:gd name="T4" fmla="*/ 28 w 76"/>
                  <a:gd name="T5" fmla="*/ 91 h 91"/>
                  <a:gd name="T6" fmla="*/ 0 w 76"/>
                  <a:gd name="T7" fmla="*/ 63 h 91"/>
                  <a:gd name="T8" fmla="*/ 36 w 76"/>
                  <a:gd name="T9" fmla="*/ 34 h 91"/>
                  <a:gd name="T10" fmla="*/ 51 w 76"/>
                  <a:gd name="T11" fmla="*/ 34 h 91"/>
                  <a:gd name="T12" fmla="*/ 51 w 76"/>
                  <a:gd name="T13" fmla="*/ 31 h 91"/>
                  <a:gd name="T14" fmla="*/ 35 w 76"/>
                  <a:gd name="T15" fmla="*/ 17 h 91"/>
                  <a:gd name="T16" fmla="*/ 12 w 76"/>
                  <a:gd name="T17" fmla="*/ 23 h 91"/>
                  <a:gd name="T18" fmla="*/ 5 w 76"/>
                  <a:gd name="T19" fmla="*/ 9 h 91"/>
                  <a:gd name="T20" fmla="*/ 39 w 76"/>
                  <a:gd name="T21" fmla="*/ 0 h 91"/>
                  <a:gd name="T22" fmla="*/ 74 w 76"/>
                  <a:gd name="T23" fmla="*/ 31 h 91"/>
                  <a:gd name="T24" fmla="*/ 74 w 76"/>
                  <a:gd name="T25" fmla="*/ 66 h 91"/>
                  <a:gd name="T26" fmla="*/ 76 w 76"/>
                  <a:gd name="T27" fmla="*/ 90 h 91"/>
                  <a:gd name="T28" fmla="*/ 57 w 76"/>
                  <a:gd name="T29" fmla="*/ 90 h 91"/>
                  <a:gd name="T30" fmla="*/ 51 w 76"/>
                  <a:gd name="T31" fmla="*/ 49 h 91"/>
                  <a:gd name="T32" fmla="*/ 39 w 76"/>
                  <a:gd name="T33" fmla="*/ 49 h 91"/>
                  <a:gd name="T34" fmla="*/ 22 w 76"/>
                  <a:gd name="T35" fmla="*/ 61 h 91"/>
                  <a:gd name="T36" fmla="*/ 36 w 76"/>
                  <a:gd name="T37" fmla="*/ 73 h 91"/>
                  <a:gd name="T38" fmla="*/ 51 w 76"/>
                  <a:gd name="T39" fmla="*/ 68 h 91"/>
                  <a:gd name="T40" fmla="*/ 51 w 76"/>
                  <a:gd name="T41" fmla="*/ 4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91">
                    <a:moveTo>
                      <a:pt x="57" y="90"/>
                    </a:moveTo>
                    <a:cubicBezTo>
                      <a:pt x="53" y="81"/>
                      <a:pt x="53" y="81"/>
                      <a:pt x="53" y="81"/>
                    </a:cubicBezTo>
                    <a:cubicBezTo>
                      <a:pt x="48" y="86"/>
                      <a:pt x="40" y="91"/>
                      <a:pt x="28" y="91"/>
                    </a:cubicBezTo>
                    <a:cubicBezTo>
                      <a:pt x="12" y="91"/>
                      <a:pt x="0" y="80"/>
                      <a:pt x="0" y="63"/>
                    </a:cubicBezTo>
                    <a:cubicBezTo>
                      <a:pt x="0" y="45"/>
                      <a:pt x="14" y="35"/>
                      <a:pt x="36" y="34"/>
                    </a:cubicBezTo>
                    <a:cubicBezTo>
                      <a:pt x="51" y="34"/>
                      <a:pt x="51" y="34"/>
                      <a:pt x="51" y="34"/>
                    </a:cubicBezTo>
                    <a:cubicBezTo>
                      <a:pt x="51" y="33"/>
                      <a:pt x="51" y="32"/>
                      <a:pt x="51" y="31"/>
                    </a:cubicBezTo>
                    <a:cubicBezTo>
                      <a:pt x="51" y="21"/>
                      <a:pt x="44" y="17"/>
                      <a:pt x="35" y="17"/>
                    </a:cubicBezTo>
                    <a:cubicBezTo>
                      <a:pt x="25" y="17"/>
                      <a:pt x="18" y="20"/>
                      <a:pt x="12" y="23"/>
                    </a:cubicBezTo>
                    <a:cubicBezTo>
                      <a:pt x="5" y="9"/>
                      <a:pt x="5" y="9"/>
                      <a:pt x="5" y="9"/>
                    </a:cubicBezTo>
                    <a:cubicBezTo>
                      <a:pt x="17" y="2"/>
                      <a:pt x="28" y="0"/>
                      <a:pt x="39" y="0"/>
                    </a:cubicBezTo>
                    <a:cubicBezTo>
                      <a:pt x="61" y="0"/>
                      <a:pt x="74" y="9"/>
                      <a:pt x="74" y="31"/>
                    </a:cubicBezTo>
                    <a:cubicBezTo>
                      <a:pt x="74" y="66"/>
                      <a:pt x="74" y="66"/>
                      <a:pt x="74" y="66"/>
                    </a:cubicBezTo>
                    <a:cubicBezTo>
                      <a:pt x="74" y="78"/>
                      <a:pt x="75" y="86"/>
                      <a:pt x="76" y="90"/>
                    </a:cubicBezTo>
                    <a:lnTo>
                      <a:pt x="57" y="90"/>
                    </a:lnTo>
                    <a:close/>
                    <a:moveTo>
                      <a:pt x="51" y="49"/>
                    </a:moveTo>
                    <a:cubicBezTo>
                      <a:pt x="39" y="49"/>
                      <a:pt x="39" y="49"/>
                      <a:pt x="39" y="49"/>
                    </a:cubicBezTo>
                    <a:cubicBezTo>
                      <a:pt x="27" y="50"/>
                      <a:pt x="22" y="54"/>
                      <a:pt x="22" y="61"/>
                    </a:cubicBezTo>
                    <a:cubicBezTo>
                      <a:pt x="22" y="68"/>
                      <a:pt x="27" y="73"/>
                      <a:pt x="36" y="73"/>
                    </a:cubicBezTo>
                    <a:cubicBezTo>
                      <a:pt x="44" y="73"/>
                      <a:pt x="49" y="70"/>
                      <a:pt x="51" y="68"/>
                    </a:cubicBezTo>
                    <a:lnTo>
                      <a:pt x="51" y="4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1" name="Freeform 8"/>
              <p:cNvSpPr>
                <a:spLocks noEditPoints="1"/>
              </p:cNvSpPr>
              <p:nvPr userDrawn="1"/>
            </p:nvSpPr>
            <p:spPr bwMode="auto">
              <a:xfrm>
                <a:off x="8342550" y="4892699"/>
                <a:ext cx="62311" cy="96668"/>
              </a:xfrm>
              <a:custGeom>
                <a:avLst/>
                <a:gdLst>
                  <a:gd name="T0" fmla="*/ 47 w 82"/>
                  <a:gd name="T1" fmla="*/ 133 h 133"/>
                  <a:gd name="T2" fmla="*/ 0 w 82"/>
                  <a:gd name="T3" fmla="*/ 88 h 133"/>
                  <a:gd name="T4" fmla="*/ 48 w 82"/>
                  <a:gd name="T5" fmla="*/ 42 h 133"/>
                  <a:gd name="T6" fmla="*/ 59 w 82"/>
                  <a:gd name="T7" fmla="*/ 42 h 133"/>
                  <a:gd name="T8" fmla="*/ 60 w 82"/>
                  <a:gd name="T9" fmla="*/ 0 h 133"/>
                  <a:gd name="T10" fmla="*/ 82 w 82"/>
                  <a:gd name="T11" fmla="*/ 0 h 133"/>
                  <a:gd name="T12" fmla="*/ 81 w 82"/>
                  <a:gd name="T13" fmla="*/ 126 h 133"/>
                  <a:gd name="T14" fmla="*/ 47 w 82"/>
                  <a:gd name="T15" fmla="*/ 133 h 133"/>
                  <a:gd name="T16" fmla="*/ 59 w 82"/>
                  <a:gd name="T17" fmla="*/ 60 h 133"/>
                  <a:gd name="T18" fmla="*/ 49 w 82"/>
                  <a:gd name="T19" fmla="*/ 59 h 133"/>
                  <a:gd name="T20" fmla="*/ 22 w 82"/>
                  <a:gd name="T21" fmla="*/ 87 h 133"/>
                  <a:gd name="T22" fmla="*/ 49 w 82"/>
                  <a:gd name="T23" fmla="*/ 114 h 133"/>
                  <a:gd name="T24" fmla="*/ 59 w 82"/>
                  <a:gd name="T25" fmla="*/ 113 h 133"/>
                  <a:gd name="T26" fmla="*/ 59 w 82"/>
                  <a:gd name="T27" fmla="*/ 6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3">
                    <a:moveTo>
                      <a:pt x="47" y="133"/>
                    </a:moveTo>
                    <a:cubicBezTo>
                      <a:pt x="21" y="133"/>
                      <a:pt x="0" y="117"/>
                      <a:pt x="0" y="88"/>
                    </a:cubicBezTo>
                    <a:cubicBezTo>
                      <a:pt x="0" y="61"/>
                      <a:pt x="20" y="42"/>
                      <a:pt x="48" y="42"/>
                    </a:cubicBezTo>
                    <a:cubicBezTo>
                      <a:pt x="52" y="42"/>
                      <a:pt x="56" y="42"/>
                      <a:pt x="59" y="42"/>
                    </a:cubicBezTo>
                    <a:cubicBezTo>
                      <a:pt x="60" y="0"/>
                      <a:pt x="60" y="0"/>
                      <a:pt x="60" y="0"/>
                    </a:cubicBezTo>
                    <a:cubicBezTo>
                      <a:pt x="82" y="0"/>
                      <a:pt x="82" y="0"/>
                      <a:pt x="82" y="0"/>
                    </a:cubicBezTo>
                    <a:cubicBezTo>
                      <a:pt x="81" y="126"/>
                      <a:pt x="81" y="126"/>
                      <a:pt x="81" y="126"/>
                    </a:cubicBezTo>
                    <a:cubicBezTo>
                      <a:pt x="73" y="130"/>
                      <a:pt x="62" y="133"/>
                      <a:pt x="47" y="133"/>
                    </a:cubicBezTo>
                    <a:close/>
                    <a:moveTo>
                      <a:pt x="59" y="60"/>
                    </a:moveTo>
                    <a:cubicBezTo>
                      <a:pt x="56" y="60"/>
                      <a:pt x="54" y="59"/>
                      <a:pt x="49" y="59"/>
                    </a:cubicBezTo>
                    <a:cubicBezTo>
                      <a:pt x="33" y="59"/>
                      <a:pt x="22" y="70"/>
                      <a:pt x="22" y="87"/>
                    </a:cubicBezTo>
                    <a:cubicBezTo>
                      <a:pt x="22" y="103"/>
                      <a:pt x="32" y="114"/>
                      <a:pt x="49" y="114"/>
                    </a:cubicBezTo>
                    <a:cubicBezTo>
                      <a:pt x="53" y="114"/>
                      <a:pt x="57" y="114"/>
                      <a:pt x="59" y="113"/>
                    </a:cubicBezTo>
                    <a:lnTo>
                      <a:pt x="59" y="60"/>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2" name="Freeform 9"/>
              <p:cNvSpPr>
                <a:spLocks/>
              </p:cNvSpPr>
              <p:nvPr userDrawn="1"/>
            </p:nvSpPr>
            <p:spPr bwMode="auto">
              <a:xfrm>
                <a:off x="8093949"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3" name="Freeform 10"/>
              <p:cNvSpPr>
                <a:spLocks/>
              </p:cNvSpPr>
              <p:nvPr userDrawn="1"/>
            </p:nvSpPr>
            <p:spPr bwMode="auto">
              <a:xfrm>
                <a:off x="8060545"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4" name="Freeform 11"/>
              <p:cNvSpPr>
                <a:spLocks/>
              </p:cNvSpPr>
              <p:nvPr userDrawn="1"/>
            </p:nvSpPr>
            <p:spPr bwMode="auto">
              <a:xfrm>
                <a:off x="8297262" y="4923177"/>
                <a:ext cx="43039" cy="66190"/>
              </a:xfrm>
              <a:custGeom>
                <a:avLst/>
                <a:gdLst>
                  <a:gd name="T0" fmla="*/ 49 w 57"/>
                  <a:gd name="T1" fmla="*/ 22 h 91"/>
                  <a:gd name="T2" fmla="*/ 39 w 57"/>
                  <a:gd name="T3" fmla="*/ 20 h 91"/>
                  <a:gd name="T4" fmla="*/ 22 w 57"/>
                  <a:gd name="T5" fmla="*/ 27 h 91"/>
                  <a:gd name="T6" fmla="*/ 22 w 57"/>
                  <a:gd name="T7" fmla="*/ 74 h 91"/>
                  <a:gd name="T8" fmla="*/ 0 w 57"/>
                  <a:gd name="T9" fmla="*/ 90 h 91"/>
                  <a:gd name="T10" fmla="*/ 0 w 57"/>
                  <a:gd name="T11" fmla="*/ 2 h 91"/>
                  <a:gd name="T12" fmla="*/ 18 w 57"/>
                  <a:gd name="T13" fmla="*/ 2 h 91"/>
                  <a:gd name="T14" fmla="*/ 21 w 57"/>
                  <a:gd name="T15" fmla="*/ 11 h 91"/>
                  <a:gd name="T16" fmla="*/ 45 w 57"/>
                  <a:gd name="T17" fmla="*/ 0 h 91"/>
                  <a:gd name="T18" fmla="*/ 57 w 57"/>
                  <a:gd name="T19" fmla="*/ 4 h 91"/>
                  <a:gd name="T20" fmla="*/ 49 w 57"/>
                  <a:gd name="T21" fmla="*/ 2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1">
                    <a:moveTo>
                      <a:pt x="49" y="22"/>
                    </a:moveTo>
                    <a:cubicBezTo>
                      <a:pt x="45" y="20"/>
                      <a:pt x="41" y="20"/>
                      <a:pt x="39" y="20"/>
                    </a:cubicBezTo>
                    <a:cubicBezTo>
                      <a:pt x="34" y="20"/>
                      <a:pt x="28" y="22"/>
                      <a:pt x="22" y="27"/>
                    </a:cubicBezTo>
                    <a:cubicBezTo>
                      <a:pt x="22" y="27"/>
                      <a:pt x="22" y="57"/>
                      <a:pt x="22" y="74"/>
                    </a:cubicBezTo>
                    <a:cubicBezTo>
                      <a:pt x="22" y="91"/>
                      <a:pt x="0" y="90"/>
                      <a:pt x="0" y="90"/>
                    </a:cubicBezTo>
                    <a:cubicBezTo>
                      <a:pt x="0" y="2"/>
                      <a:pt x="0" y="2"/>
                      <a:pt x="0" y="2"/>
                    </a:cubicBezTo>
                    <a:cubicBezTo>
                      <a:pt x="18" y="2"/>
                      <a:pt x="18" y="2"/>
                      <a:pt x="18"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5" name="Freeform 12"/>
              <p:cNvSpPr>
                <a:spLocks/>
              </p:cNvSpPr>
              <p:nvPr userDrawn="1"/>
            </p:nvSpPr>
            <p:spPr bwMode="auto">
              <a:xfrm>
                <a:off x="7907980" y="4892699"/>
                <a:ext cx="98605" cy="95129"/>
              </a:xfrm>
              <a:custGeom>
                <a:avLst/>
                <a:gdLst>
                  <a:gd name="T0" fmla="*/ 106 w 130"/>
                  <a:gd name="T1" fmla="*/ 131 h 131"/>
                  <a:gd name="T2" fmla="*/ 106 w 130"/>
                  <a:gd name="T3" fmla="*/ 53 h 131"/>
                  <a:gd name="T4" fmla="*/ 107 w 130"/>
                  <a:gd name="T5" fmla="*/ 39 h 131"/>
                  <a:gd name="T6" fmla="*/ 106 w 130"/>
                  <a:gd name="T7" fmla="*/ 39 h 131"/>
                  <a:gd name="T8" fmla="*/ 99 w 130"/>
                  <a:gd name="T9" fmla="*/ 52 h 131"/>
                  <a:gd name="T10" fmla="*/ 72 w 130"/>
                  <a:gd name="T11" fmla="*/ 93 h 131"/>
                  <a:gd name="T12" fmla="*/ 60 w 130"/>
                  <a:gd name="T13" fmla="*/ 93 h 131"/>
                  <a:gd name="T14" fmla="*/ 32 w 130"/>
                  <a:gd name="T15" fmla="*/ 51 h 131"/>
                  <a:gd name="T16" fmla="*/ 24 w 130"/>
                  <a:gd name="T17" fmla="*/ 39 h 131"/>
                  <a:gd name="T18" fmla="*/ 23 w 130"/>
                  <a:gd name="T19" fmla="*/ 39 h 131"/>
                  <a:gd name="T20" fmla="*/ 24 w 130"/>
                  <a:gd name="T21" fmla="*/ 52 h 131"/>
                  <a:gd name="T22" fmla="*/ 24 w 130"/>
                  <a:gd name="T23" fmla="*/ 131 h 131"/>
                  <a:gd name="T24" fmla="*/ 0 w 130"/>
                  <a:gd name="T25" fmla="*/ 131 h 131"/>
                  <a:gd name="T26" fmla="*/ 0 w 130"/>
                  <a:gd name="T27" fmla="*/ 0 h 131"/>
                  <a:gd name="T28" fmla="*/ 22 w 130"/>
                  <a:gd name="T29" fmla="*/ 0 h 131"/>
                  <a:gd name="T30" fmla="*/ 58 w 130"/>
                  <a:gd name="T31" fmla="*/ 52 h 131"/>
                  <a:gd name="T32" fmla="*/ 66 w 130"/>
                  <a:gd name="T33" fmla="*/ 66 h 131"/>
                  <a:gd name="T34" fmla="*/ 67 w 130"/>
                  <a:gd name="T35" fmla="*/ 66 h 131"/>
                  <a:gd name="T36" fmla="*/ 75 w 130"/>
                  <a:gd name="T37" fmla="*/ 52 h 131"/>
                  <a:gd name="T38" fmla="*/ 108 w 130"/>
                  <a:gd name="T39" fmla="*/ 0 h 131"/>
                  <a:gd name="T40" fmla="*/ 130 w 130"/>
                  <a:gd name="T41" fmla="*/ 0 h 131"/>
                  <a:gd name="T42" fmla="*/ 130 w 130"/>
                  <a:gd name="T43" fmla="*/ 131 h 131"/>
                  <a:gd name="T44" fmla="*/ 106 w 130"/>
                  <a:gd name="T45"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0" h="131">
                    <a:moveTo>
                      <a:pt x="106" y="131"/>
                    </a:moveTo>
                    <a:cubicBezTo>
                      <a:pt x="106" y="53"/>
                      <a:pt x="106" y="53"/>
                      <a:pt x="106" y="53"/>
                    </a:cubicBezTo>
                    <a:cubicBezTo>
                      <a:pt x="106" y="48"/>
                      <a:pt x="106" y="44"/>
                      <a:pt x="107" y="39"/>
                    </a:cubicBezTo>
                    <a:cubicBezTo>
                      <a:pt x="106" y="39"/>
                      <a:pt x="106" y="39"/>
                      <a:pt x="106" y="39"/>
                    </a:cubicBezTo>
                    <a:cubicBezTo>
                      <a:pt x="105" y="43"/>
                      <a:pt x="101" y="49"/>
                      <a:pt x="99" y="52"/>
                    </a:cubicBezTo>
                    <a:cubicBezTo>
                      <a:pt x="72" y="93"/>
                      <a:pt x="72" y="93"/>
                      <a:pt x="72" y="93"/>
                    </a:cubicBezTo>
                    <a:cubicBezTo>
                      <a:pt x="60" y="93"/>
                      <a:pt x="60" y="93"/>
                      <a:pt x="60" y="93"/>
                    </a:cubicBezTo>
                    <a:cubicBezTo>
                      <a:pt x="32" y="51"/>
                      <a:pt x="32" y="51"/>
                      <a:pt x="32" y="51"/>
                    </a:cubicBezTo>
                    <a:cubicBezTo>
                      <a:pt x="29" y="48"/>
                      <a:pt x="26" y="44"/>
                      <a:pt x="24" y="39"/>
                    </a:cubicBezTo>
                    <a:cubicBezTo>
                      <a:pt x="23" y="39"/>
                      <a:pt x="23" y="39"/>
                      <a:pt x="23" y="39"/>
                    </a:cubicBezTo>
                    <a:cubicBezTo>
                      <a:pt x="24" y="44"/>
                      <a:pt x="24" y="48"/>
                      <a:pt x="24" y="52"/>
                    </a:cubicBezTo>
                    <a:cubicBezTo>
                      <a:pt x="24" y="131"/>
                      <a:pt x="24" y="131"/>
                      <a:pt x="24" y="131"/>
                    </a:cubicBezTo>
                    <a:cubicBezTo>
                      <a:pt x="0" y="131"/>
                      <a:pt x="0" y="131"/>
                      <a:pt x="0" y="131"/>
                    </a:cubicBezTo>
                    <a:cubicBezTo>
                      <a:pt x="0" y="0"/>
                      <a:pt x="0" y="0"/>
                      <a:pt x="0" y="0"/>
                    </a:cubicBezTo>
                    <a:cubicBezTo>
                      <a:pt x="22" y="0"/>
                      <a:pt x="22" y="0"/>
                      <a:pt x="22" y="0"/>
                    </a:cubicBezTo>
                    <a:cubicBezTo>
                      <a:pt x="58" y="52"/>
                      <a:pt x="58" y="52"/>
                      <a:pt x="58" y="52"/>
                    </a:cubicBezTo>
                    <a:cubicBezTo>
                      <a:pt x="61" y="57"/>
                      <a:pt x="64" y="61"/>
                      <a:pt x="66" y="66"/>
                    </a:cubicBezTo>
                    <a:cubicBezTo>
                      <a:pt x="67" y="66"/>
                      <a:pt x="67" y="66"/>
                      <a:pt x="67" y="66"/>
                    </a:cubicBezTo>
                    <a:cubicBezTo>
                      <a:pt x="69" y="61"/>
                      <a:pt x="71" y="57"/>
                      <a:pt x="75" y="52"/>
                    </a:cubicBezTo>
                    <a:cubicBezTo>
                      <a:pt x="108" y="0"/>
                      <a:pt x="108" y="0"/>
                      <a:pt x="108" y="0"/>
                    </a:cubicBezTo>
                    <a:cubicBezTo>
                      <a:pt x="130" y="0"/>
                      <a:pt x="130" y="0"/>
                      <a:pt x="130" y="0"/>
                    </a:cubicBezTo>
                    <a:cubicBezTo>
                      <a:pt x="130" y="131"/>
                      <a:pt x="130" y="131"/>
                      <a:pt x="130" y="131"/>
                    </a:cubicBezTo>
                    <a:lnTo>
                      <a:pt x="106" y="131"/>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2" name="Freeform 13"/>
              <p:cNvSpPr>
                <a:spLocks/>
              </p:cNvSpPr>
              <p:nvPr userDrawn="1"/>
            </p:nvSpPr>
            <p:spPr bwMode="auto">
              <a:xfrm>
                <a:off x="7665803" y="4864376"/>
                <a:ext cx="100854" cy="148389"/>
              </a:xfrm>
              <a:custGeom>
                <a:avLst/>
                <a:gdLst>
                  <a:gd name="T0" fmla="*/ 133 w 133"/>
                  <a:gd name="T1" fmla="*/ 23 h 204"/>
                  <a:gd name="T2" fmla="*/ 132 w 133"/>
                  <a:gd name="T3" fmla="*/ 22 h 204"/>
                  <a:gd name="T4" fmla="*/ 65 w 133"/>
                  <a:gd name="T5" fmla="*/ 20 h 204"/>
                  <a:gd name="T6" fmla="*/ 52 w 133"/>
                  <a:gd name="T7" fmla="*/ 52 h 204"/>
                  <a:gd name="T8" fmla="*/ 20 w 133"/>
                  <a:gd name="T9" fmla="*/ 65 h 204"/>
                  <a:gd name="T10" fmla="*/ 22 w 133"/>
                  <a:gd name="T11" fmla="*/ 132 h 204"/>
                  <a:gd name="T12" fmla="*/ 95 w 133"/>
                  <a:gd name="T13" fmla="*/ 204 h 204"/>
                  <a:gd name="T14" fmla="*/ 117 w 133"/>
                  <a:gd name="T15" fmla="*/ 182 h 204"/>
                  <a:gd name="T16" fmla="*/ 44 w 133"/>
                  <a:gd name="T17" fmla="*/ 110 h 204"/>
                  <a:gd name="T18" fmla="*/ 42 w 133"/>
                  <a:gd name="T19" fmla="*/ 86 h 204"/>
                  <a:gd name="T20" fmla="*/ 66 w 133"/>
                  <a:gd name="T21" fmla="*/ 88 h 204"/>
                  <a:gd name="T22" fmla="*/ 133 w 133"/>
                  <a:gd name="T23" fmla="*/ 155 h 204"/>
                  <a:gd name="T24" fmla="*/ 133 w 133"/>
                  <a:gd name="T25" fmla="*/ 111 h 204"/>
                  <a:gd name="T26" fmla="*/ 88 w 133"/>
                  <a:gd name="T27" fmla="*/ 66 h 204"/>
                  <a:gd name="T28" fmla="*/ 86 w 133"/>
                  <a:gd name="T29" fmla="*/ 42 h 204"/>
                  <a:gd name="T30" fmla="*/ 110 w 133"/>
                  <a:gd name="T31" fmla="*/ 44 h 204"/>
                  <a:gd name="T32" fmla="*/ 133 w 133"/>
                  <a:gd name="T33" fmla="*/ 66 h 204"/>
                  <a:gd name="T34" fmla="*/ 133 w 133"/>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204">
                    <a:moveTo>
                      <a:pt x="133" y="23"/>
                    </a:moveTo>
                    <a:cubicBezTo>
                      <a:pt x="132" y="22"/>
                      <a:pt x="132" y="22"/>
                      <a:pt x="132" y="22"/>
                    </a:cubicBezTo>
                    <a:cubicBezTo>
                      <a:pt x="110" y="0"/>
                      <a:pt x="82" y="2"/>
                      <a:pt x="65" y="20"/>
                    </a:cubicBezTo>
                    <a:cubicBezTo>
                      <a:pt x="53" y="32"/>
                      <a:pt x="51" y="46"/>
                      <a:pt x="52" y="52"/>
                    </a:cubicBezTo>
                    <a:cubicBezTo>
                      <a:pt x="47" y="51"/>
                      <a:pt x="32" y="52"/>
                      <a:pt x="20" y="65"/>
                    </a:cubicBezTo>
                    <a:cubicBezTo>
                      <a:pt x="3" y="82"/>
                      <a:pt x="0" y="110"/>
                      <a:pt x="22" y="132"/>
                    </a:cubicBezTo>
                    <a:cubicBezTo>
                      <a:pt x="95" y="204"/>
                      <a:pt x="95" y="204"/>
                      <a:pt x="95" y="204"/>
                    </a:cubicBezTo>
                    <a:cubicBezTo>
                      <a:pt x="117" y="182"/>
                      <a:pt x="117" y="182"/>
                      <a:pt x="117" y="182"/>
                    </a:cubicBezTo>
                    <a:cubicBezTo>
                      <a:pt x="44" y="110"/>
                      <a:pt x="44" y="110"/>
                      <a:pt x="44" y="110"/>
                    </a:cubicBezTo>
                    <a:cubicBezTo>
                      <a:pt x="35" y="101"/>
                      <a:pt x="36" y="91"/>
                      <a:pt x="42" y="86"/>
                    </a:cubicBezTo>
                    <a:cubicBezTo>
                      <a:pt x="47" y="80"/>
                      <a:pt x="58" y="79"/>
                      <a:pt x="66" y="88"/>
                    </a:cubicBezTo>
                    <a:cubicBezTo>
                      <a:pt x="133" y="155"/>
                      <a:pt x="133" y="155"/>
                      <a:pt x="133" y="155"/>
                    </a:cubicBezTo>
                    <a:cubicBezTo>
                      <a:pt x="133" y="111"/>
                      <a:pt x="133" y="111"/>
                      <a:pt x="133" y="111"/>
                    </a:cubicBezTo>
                    <a:cubicBezTo>
                      <a:pt x="88" y="66"/>
                      <a:pt x="88" y="66"/>
                      <a:pt x="88" y="66"/>
                    </a:cubicBezTo>
                    <a:cubicBezTo>
                      <a:pt x="80" y="57"/>
                      <a:pt x="80" y="47"/>
                      <a:pt x="86" y="42"/>
                    </a:cubicBezTo>
                    <a:cubicBezTo>
                      <a:pt x="92" y="36"/>
                      <a:pt x="102" y="35"/>
                      <a:pt x="110" y="44"/>
                    </a:cubicBezTo>
                    <a:cubicBezTo>
                      <a:pt x="133" y="66"/>
                      <a:pt x="133" y="66"/>
                      <a:pt x="133" y="66"/>
                    </a:cubicBezTo>
                    <a:lnTo>
                      <a:pt x="133"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3" name="Freeform 14"/>
              <p:cNvSpPr>
                <a:spLocks noEditPoints="1"/>
              </p:cNvSpPr>
              <p:nvPr userDrawn="1"/>
            </p:nvSpPr>
            <p:spPr bwMode="auto">
              <a:xfrm>
                <a:off x="8023287" y="4895470"/>
                <a:ext cx="20556" cy="93282"/>
              </a:xfrm>
              <a:custGeom>
                <a:avLst/>
                <a:gdLst>
                  <a:gd name="T0" fmla="*/ 14 w 27"/>
                  <a:gd name="T1" fmla="*/ 26 h 128"/>
                  <a:gd name="T2" fmla="*/ 0 w 27"/>
                  <a:gd name="T3" fmla="*/ 13 h 128"/>
                  <a:gd name="T4" fmla="*/ 14 w 27"/>
                  <a:gd name="T5" fmla="*/ 0 h 128"/>
                  <a:gd name="T6" fmla="*/ 27 w 27"/>
                  <a:gd name="T7" fmla="*/ 13 h 128"/>
                  <a:gd name="T8" fmla="*/ 14 w 27"/>
                  <a:gd name="T9" fmla="*/ 26 h 128"/>
                  <a:gd name="T10" fmla="*/ 3 w 27"/>
                  <a:gd name="T11" fmla="*/ 128 h 128"/>
                  <a:gd name="T12" fmla="*/ 3 w 27"/>
                  <a:gd name="T13" fmla="*/ 40 h 128"/>
                  <a:gd name="T14" fmla="*/ 25 w 27"/>
                  <a:gd name="T15" fmla="*/ 40 h 128"/>
                  <a:gd name="T16" fmla="*/ 25 w 27"/>
                  <a:gd name="T17" fmla="*/ 112 h 128"/>
                  <a:gd name="T18" fmla="*/ 3 w 27"/>
                  <a:gd name="T1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128">
                    <a:moveTo>
                      <a:pt x="14" y="26"/>
                    </a:moveTo>
                    <a:cubicBezTo>
                      <a:pt x="6" y="26"/>
                      <a:pt x="0" y="20"/>
                      <a:pt x="0" y="13"/>
                    </a:cubicBezTo>
                    <a:cubicBezTo>
                      <a:pt x="0" y="6"/>
                      <a:pt x="6" y="0"/>
                      <a:pt x="14" y="0"/>
                    </a:cubicBezTo>
                    <a:cubicBezTo>
                      <a:pt x="21" y="0"/>
                      <a:pt x="27" y="5"/>
                      <a:pt x="27" y="13"/>
                    </a:cubicBezTo>
                    <a:cubicBezTo>
                      <a:pt x="27" y="20"/>
                      <a:pt x="21" y="26"/>
                      <a:pt x="14" y="26"/>
                    </a:cubicBezTo>
                    <a:close/>
                    <a:moveTo>
                      <a:pt x="3" y="128"/>
                    </a:moveTo>
                    <a:cubicBezTo>
                      <a:pt x="3" y="40"/>
                      <a:pt x="3" y="40"/>
                      <a:pt x="3" y="40"/>
                    </a:cubicBezTo>
                    <a:cubicBezTo>
                      <a:pt x="25" y="40"/>
                      <a:pt x="25" y="40"/>
                      <a:pt x="25" y="40"/>
                    </a:cubicBezTo>
                    <a:cubicBezTo>
                      <a:pt x="25" y="40"/>
                      <a:pt x="25" y="95"/>
                      <a:pt x="25" y="112"/>
                    </a:cubicBezTo>
                    <a:cubicBezTo>
                      <a:pt x="25" y="128"/>
                      <a:pt x="3" y="128"/>
                      <a:pt x="3" y="1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4" name="Freeform 15"/>
              <p:cNvSpPr>
                <a:spLocks/>
              </p:cNvSpPr>
              <p:nvPr userDrawn="1"/>
            </p:nvSpPr>
            <p:spPr bwMode="auto">
              <a:xfrm>
                <a:off x="8615239" y="4924717"/>
                <a:ext cx="103744" cy="66806"/>
              </a:xfrm>
              <a:custGeom>
                <a:avLst/>
                <a:gdLst>
                  <a:gd name="T0" fmla="*/ 111 w 137"/>
                  <a:gd name="T1" fmla="*/ 72 h 92"/>
                  <a:gd name="T2" fmla="*/ 88 w 137"/>
                  <a:gd name="T3" fmla="*/ 88 h 92"/>
                  <a:gd name="T4" fmla="*/ 68 w 137"/>
                  <a:gd name="T5" fmla="*/ 28 h 92"/>
                  <a:gd name="T6" fmla="*/ 68 w 137"/>
                  <a:gd name="T7" fmla="*/ 28 h 92"/>
                  <a:gd name="T8" fmla="*/ 53 w 137"/>
                  <a:gd name="T9" fmla="*/ 72 h 92"/>
                  <a:gd name="T10" fmla="*/ 31 w 137"/>
                  <a:gd name="T11" fmla="*/ 88 h 92"/>
                  <a:gd name="T12" fmla="*/ 0 w 137"/>
                  <a:gd name="T13" fmla="*/ 0 h 92"/>
                  <a:gd name="T14" fmla="*/ 22 w 137"/>
                  <a:gd name="T15" fmla="*/ 0 h 92"/>
                  <a:gd name="T16" fmla="*/ 41 w 137"/>
                  <a:gd name="T17" fmla="*/ 60 h 92"/>
                  <a:gd name="T18" fmla="*/ 41 w 137"/>
                  <a:gd name="T19" fmla="*/ 60 h 92"/>
                  <a:gd name="T20" fmla="*/ 60 w 137"/>
                  <a:gd name="T21" fmla="*/ 0 h 92"/>
                  <a:gd name="T22" fmla="*/ 77 w 137"/>
                  <a:gd name="T23" fmla="*/ 0 h 92"/>
                  <a:gd name="T24" fmla="*/ 97 w 137"/>
                  <a:gd name="T25" fmla="*/ 60 h 92"/>
                  <a:gd name="T26" fmla="*/ 97 w 137"/>
                  <a:gd name="T27" fmla="*/ 60 h 92"/>
                  <a:gd name="T28" fmla="*/ 115 w 137"/>
                  <a:gd name="T29" fmla="*/ 0 h 92"/>
                  <a:gd name="T30" fmla="*/ 137 w 137"/>
                  <a:gd name="T31" fmla="*/ 0 h 92"/>
                  <a:gd name="T32" fmla="*/ 111 w 137"/>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 h="92">
                    <a:moveTo>
                      <a:pt x="111" y="72"/>
                    </a:moveTo>
                    <a:cubicBezTo>
                      <a:pt x="104" y="92"/>
                      <a:pt x="88" y="88"/>
                      <a:pt x="88" y="88"/>
                    </a:cubicBezTo>
                    <a:cubicBezTo>
                      <a:pt x="68" y="28"/>
                      <a:pt x="68" y="28"/>
                      <a:pt x="68" y="28"/>
                    </a:cubicBezTo>
                    <a:cubicBezTo>
                      <a:pt x="68" y="28"/>
                      <a:pt x="68" y="28"/>
                      <a:pt x="68" y="28"/>
                    </a:cubicBezTo>
                    <a:cubicBezTo>
                      <a:pt x="68" y="28"/>
                      <a:pt x="59"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7" y="60"/>
                      <a:pt x="97" y="60"/>
                      <a:pt x="97" y="60"/>
                    </a:cubicBezTo>
                    <a:cubicBezTo>
                      <a:pt x="97" y="60"/>
                      <a:pt x="97" y="60"/>
                      <a:pt x="97" y="60"/>
                    </a:cubicBezTo>
                    <a:cubicBezTo>
                      <a:pt x="115" y="0"/>
                      <a:pt x="115" y="0"/>
                      <a:pt x="115" y="0"/>
                    </a:cubicBezTo>
                    <a:cubicBezTo>
                      <a:pt x="137" y="0"/>
                      <a:pt x="137" y="0"/>
                      <a:pt x="137" y="0"/>
                    </a:cubicBezTo>
                    <a:cubicBezTo>
                      <a:pt x="137"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5" name="Freeform 16"/>
              <p:cNvSpPr>
                <a:spLocks noEditPoints="1"/>
              </p:cNvSpPr>
              <p:nvPr userDrawn="1"/>
            </p:nvSpPr>
            <p:spPr bwMode="auto">
              <a:xfrm>
                <a:off x="8423168" y="4892699"/>
                <a:ext cx="65844" cy="95129"/>
              </a:xfrm>
              <a:custGeom>
                <a:avLst/>
                <a:gdLst>
                  <a:gd name="T0" fmla="*/ 1 w 87"/>
                  <a:gd name="T1" fmla="*/ 0 h 131"/>
                  <a:gd name="T2" fmla="*/ 0 w 87"/>
                  <a:gd name="T3" fmla="*/ 131 h 131"/>
                  <a:gd name="T4" fmla="*/ 41 w 87"/>
                  <a:gd name="T5" fmla="*/ 131 h 131"/>
                  <a:gd name="T6" fmla="*/ 87 w 87"/>
                  <a:gd name="T7" fmla="*/ 92 h 131"/>
                  <a:gd name="T8" fmla="*/ 65 w 87"/>
                  <a:gd name="T9" fmla="*/ 61 h 131"/>
                  <a:gd name="T10" fmla="*/ 62 w 87"/>
                  <a:gd name="T11" fmla="*/ 60 h 131"/>
                  <a:gd name="T12" fmla="*/ 64 w 87"/>
                  <a:gd name="T13" fmla="*/ 59 h 131"/>
                  <a:gd name="T14" fmla="*/ 79 w 87"/>
                  <a:gd name="T15" fmla="*/ 32 h 131"/>
                  <a:gd name="T16" fmla="*/ 42 w 87"/>
                  <a:gd name="T17" fmla="*/ 0 h 131"/>
                  <a:gd name="T18" fmla="*/ 1 w 87"/>
                  <a:gd name="T19" fmla="*/ 0 h 131"/>
                  <a:gd name="T20" fmla="*/ 23 w 87"/>
                  <a:gd name="T21" fmla="*/ 17 h 131"/>
                  <a:gd name="T22" fmla="*/ 36 w 87"/>
                  <a:gd name="T23" fmla="*/ 17 h 131"/>
                  <a:gd name="T24" fmla="*/ 56 w 87"/>
                  <a:gd name="T25" fmla="*/ 35 h 131"/>
                  <a:gd name="T26" fmla="*/ 38 w 87"/>
                  <a:gd name="T27" fmla="*/ 55 h 131"/>
                  <a:gd name="T28" fmla="*/ 22 w 87"/>
                  <a:gd name="T29" fmla="*/ 55 h 131"/>
                  <a:gd name="T30" fmla="*/ 23 w 87"/>
                  <a:gd name="T31" fmla="*/ 17 h 131"/>
                  <a:gd name="T32" fmla="*/ 22 w 87"/>
                  <a:gd name="T33" fmla="*/ 74 h 131"/>
                  <a:gd name="T34" fmla="*/ 40 w 87"/>
                  <a:gd name="T35" fmla="*/ 74 h 131"/>
                  <a:gd name="T36" fmla="*/ 64 w 87"/>
                  <a:gd name="T37" fmla="*/ 92 h 131"/>
                  <a:gd name="T38" fmla="*/ 39 w 87"/>
                  <a:gd name="T39" fmla="*/ 113 h 131"/>
                  <a:gd name="T40" fmla="*/ 22 w 87"/>
                  <a:gd name="T41" fmla="*/ 113 h 131"/>
                  <a:gd name="T42" fmla="*/ 22 w 87"/>
                  <a:gd name="T43" fmla="*/ 7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131">
                    <a:moveTo>
                      <a:pt x="1" y="0"/>
                    </a:moveTo>
                    <a:cubicBezTo>
                      <a:pt x="1" y="3"/>
                      <a:pt x="0" y="129"/>
                      <a:pt x="0" y="131"/>
                    </a:cubicBezTo>
                    <a:cubicBezTo>
                      <a:pt x="2" y="131"/>
                      <a:pt x="41" y="131"/>
                      <a:pt x="41" y="131"/>
                    </a:cubicBezTo>
                    <a:cubicBezTo>
                      <a:pt x="73" y="131"/>
                      <a:pt x="87" y="111"/>
                      <a:pt x="87" y="92"/>
                    </a:cubicBezTo>
                    <a:cubicBezTo>
                      <a:pt x="87" y="77"/>
                      <a:pt x="79" y="65"/>
                      <a:pt x="65" y="61"/>
                    </a:cubicBezTo>
                    <a:cubicBezTo>
                      <a:pt x="62" y="60"/>
                      <a:pt x="62" y="60"/>
                      <a:pt x="62" y="60"/>
                    </a:cubicBezTo>
                    <a:cubicBezTo>
                      <a:pt x="64" y="59"/>
                      <a:pt x="64" y="59"/>
                      <a:pt x="64" y="59"/>
                    </a:cubicBezTo>
                    <a:cubicBezTo>
                      <a:pt x="74" y="54"/>
                      <a:pt x="79" y="44"/>
                      <a:pt x="79" y="32"/>
                    </a:cubicBezTo>
                    <a:cubicBezTo>
                      <a:pt x="79" y="17"/>
                      <a:pt x="68" y="0"/>
                      <a:pt x="42" y="0"/>
                    </a:cubicBezTo>
                    <a:cubicBezTo>
                      <a:pt x="42" y="0"/>
                      <a:pt x="3" y="0"/>
                      <a:pt x="1" y="0"/>
                    </a:cubicBezTo>
                    <a:close/>
                    <a:moveTo>
                      <a:pt x="23" y="17"/>
                    </a:moveTo>
                    <a:cubicBezTo>
                      <a:pt x="36" y="17"/>
                      <a:pt x="36" y="17"/>
                      <a:pt x="36" y="17"/>
                    </a:cubicBezTo>
                    <a:cubicBezTo>
                      <a:pt x="49" y="17"/>
                      <a:pt x="56" y="24"/>
                      <a:pt x="56" y="35"/>
                    </a:cubicBezTo>
                    <a:cubicBezTo>
                      <a:pt x="56" y="47"/>
                      <a:pt x="47" y="55"/>
                      <a:pt x="38" y="55"/>
                    </a:cubicBezTo>
                    <a:cubicBezTo>
                      <a:pt x="22" y="55"/>
                      <a:pt x="22" y="55"/>
                      <a:pt x="22" y="55"/>
                    </a:cubicBezTo>
                    <a:lnTo>
                      <a:pt x="23" y="17"/>
                    </a:lnTo>
                    <a:close/>
                    <a:moveTo>
                      <a:pt x="22" y="74"/>
                    </a:moveTo>
                    <a:cubicBezTo>
                      <a:pt x="40" y="74"/>
                      <a:pt x="40" y="74"/>
                      <a:pt x="40" y="74"/>
                    </a:cubicBezTo>
                    <a:cubicBezTo>
                      <a:pt x="55" y="74"/>
                      <a:pt x="64" y="81"/>
                      <a:pt x="64" y="92"/>
                    </a:cubicBezTo>
                    <a:cubicBezTo>
                      <a:pt x="64" y="105"/>
                      <a:pt x="55" y="113"/>
                      <a:pt x="39" y="113"/>
                    </a:cubicBezTo>
                    <a:cubicBezTo>
                      <a:pt x="22" y="113"/>
                      <a:pt x="22" y="113"/>
                      <a:pt x="22" y="113"/>
                    </a:cubicBezTo>
                    <a:lnTo>
                      <a:pt x="22" y="74"/>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6" name="Freeform 17"/>
              <p:cNvSpPr>
                <a:spLocks noEditPoints="1"/>
              </p:cNvSpPr>
              <p:nvPr userDrawn="1"/>
            </p:nvSpPr>
            <p:spPr bwMode="auto">
              <a:xfrm>
                <a:off x="8546184" y="4923177"/>
                <a:ext cx="66486" cy="66190"/>
              </a:xfrm>
              <a:custGeom>
                <a:avLst/>
                <a:gdLst>
                  <a:gd name="T0" fmla="*/ 75 w 88"/>
                  <a:gd name="T1" fmla="*/ 78 h 91"/>
                  <a:gd name="T2" fmla="*/ 44 w 88"/>
                  <a:gd name="T3" fmla="*/ 91 h 91"/>
                  <a:gd name="T4" fmla="*/ 14 w 88"/>
                  <a:gd name="T5" fmla="*/ 80 h 91"/>
                  <a:gd name="T6" fmla="*/ 0 w 88"/>
                  <a:gd name="T7" fmla="*/ 46 h 91"/>
                  <a:gd name="T8" fmla="*/ 13 w 88"/>
                  <a:gd name="T9" fmla="*/ 12 h 91"/>
                  <a:gd name="T10" fmla="*/ 44 w 88"/>
                  <a:gd name="T11" fmla="*/ 0 h 91"/>
                  <a:gd name="T12" fmla="*/ 76 w 88"/>
                  <a:gd name="T13" fmla="*/ 12 h 91"/>
                  <a:gd name="T14" fmla="*/ 88 w 88"/>
                  <a:gd name="T15" fmla="*/ 45 h 91"/>
                  <a:gd name="T16" fmla="*/ 75 w 88"/>
                  <a:gd name="T17" fmla="*/ 78 h 91"/>
                  <a:gd name="T18" fmla="*/ 44 w 88"/>
                  <a:gd name="T19" fmla="*/ 17 h 91"/>
                  <a:gd name="T20" fmla="*/ 23 w 88"/>
                  <a:gd name="T21" fmla="*/ 45 h 91"/>
                  <a:gd name="T22" fmla="*/ 44 w 88"/>
                  <a:gd name="T23" fmla="*/ 73 h 91"/>
                  <a:gd name="T24" fmla="*/ 65 w 88"/>
                  <a:gd name="T25" fmla="*/ 45 h 91"/>
                  <a:gd name="T26" fmla="*/ 44 w 88"/>
                  <a:gd name="T27"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91">
                    <a:moveTo>
                      <a:pt x="75" y="78"/>
                    </a:moveTo>
                    <a:cubicBezTo>
                      <a:pt x="68" y="86"/>
                      <a:pt x="57" y="91"/>
                      <a:pt x="44" y="91"/>
                    </a:cubicBezTo>
                    <a:cubicBezTo>
                      <a:pt x="32" y="91"/>
                      <a:pt x="21" y="87"/>
                      <a:pt x="14" y="80"/>
                    </a:cubicBezTo>
                    <a:cubicBezTo>
                      <a:pt x="5" y="72"/>
                      <a:pt x="0" y="60"/>
                      <a:pt x="0" y="46"/>
                    </a:cubicBezTo>
                    <a:cubicBezTo>
                      <a:pt x="0" y="32"/>
                      <a:pt x="5" y="20"/>
                      <a:pt x="13" y="12"/>
                    </a:cubicBezTo>
                    <a:cubicBezTo>
                      <a:pt x="21" y="4"/>
                      <a:pt x="31" y="0"/>
                      <a:pt x="44" y="0"/>
                    </a:cubicBezTo>
                    <a:cubicBezTo>
                      <a:pt x="57" y="0"/>
                      <a:pt x="68" y="4"/>
                      <a:pt x="76" y="12"/>
                    </a:cubicBezTo>
                    <a:cubicBezTo>
                      <a:pt x="84" y="20"/>
                      <a:pt x="88" y="32"/>
                      <a:pt x="88" y="45"/>
                    </a:cubicBezTo>
                    <a:cubicBezTo>
                      <a:pt x="88" y="58"/>
                      <a:pt x="83" y="70"/>
                      <a:pt x="75" y="78"/>
                    </a:cubicBezTo>
                    <a:close/>
                    <a:moveTo>
                      <a:pt x="44" y="17"/>
                    </a:moveTo>
                    <a:cubicBezTo>
                      <a:pt x="30" y="17"/>
                      <a:pt x="23" y="29"/>
                      <a:pt x="23" y="45"/>
                    </a:cubicBezTo>
                    <a:cubicBezTo>
                      <a:pt x="23" y="62"/>
                      <a:pt x="31" y="73"/>
                      <a:pt x="44" y="73"/>
                    </a:cubicBezTo>
                    <a:cubicBezTo>
                      <a:pt x="58" y="73"/>
                      <a:pt x="65" y="61"/>
                      <a:pt x="65" y="45"/>
                    </a:cubicBezTo>
                    <a:cubicBezTo>
                      <a:pt x="65" y="28"/>
                      <a:pt x="57" y="17"/>
                      <a:pt x="44" y="1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7" name="Freeform 18"/>
              <p:cNvSpPr>
                <a:spLocks/>
              </p:cNvSpPr>
              <p:nvPr userDrawn="1"/>
            </p:nvSpPr>
            <p:spPr bwMode="auto">
              <a:xfrm>
                <a:off x="8728298" y="4923177"/>
                <a:ext cx="60705" cy="65574"/>
              </a:xfrm>
              <a:custGeom>
                <a:avLst/>
                <a:gdLst>
                  <a:gd name="T0" fmla="*/ 58 w 80"/>
                  <a:gd name="T1" fmla="*/ 90 h 90"/>
                  <a:gd name="T2" fmla="*/ 58 w 80"/>
                  <a:gd name="T3" fmla="*/ 38 h 90"/>
                  <a:gd name="T4" fmla="*/ 45 w 80"/>
                  <a:gd name="T5" fmla="*/ 19 h 90"/>
                  <a:gd name="T6" fmla="*/ 23 w 80"/>
                  <a:gd name="T7" fmla="*/ 28 h 90"/>
                  <a:gd name="T8" fmla="*/ 23 w 80"/>
                  <a:gd name="T9" fmla="*/ 74 h 90"/>
                  <a:gd name="T10" fmla="*/ 0 w 80"/>
                  <a:gd name="T11" fmla="*/ 90 h 90"/>
                  <a:gd name="T12" fmla="*/ 0 w 80"/>
                  <a:gd name="T13" fmla="*/ 2 h 90"/>
                  <a:gd name="T14" fmla="*/ 19 w 80"/>
                  <a:gd name="T15" fmla="*/ 2 h 90"/>
                  <a:gd name="T16" fmla="*/ 22 w 80"/>
                  <a:gd name="T17" fmla="*/ 11 h 90"/>
                  <a:gd name="T18" fmla="*/ 52 w 80"/>
                  <a:gd name="T19" fmla="*/ 0 h 90"/>
                  <a:gd name="T20" fmla="*/ 80 w 80"/>
                  <a:gd name="T21" fmla="*/ 31 h 90"/>
                  <a:gd name="T22" fmla="*/ 80 w 80"/>
                  <a:gd name="T23" fmla="*/ 74 h 90"/>
                  <a:gd name="T24" fmla="*/ 58 w 80"/>
                  <a:gd name="T2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90">
                    <a:moveTo>
                      <a:pt x="58" y="90"/>
                    </a:moveTo>
                    <a:cubicBezTo>
                      <a:pt x="58" y="38"/>
                      <a:pt x="58" y="38"/>
                      <a:pt x="58" y="38"/>
                    </a:cubicBezTo>
                    <a:cubicBezTo>
                      <a:pt x="58" y="29"/>
                      <a:pt x="56" y="19"/>
                      <a:pt x="45" y="19"/>
                    </a:cubicBezTo>
                    <a:cubicBezTo>
                      <a:pt x="37" y="19"/>
                      <a:pt x="29" y="23"/>
                      <a:pt x="23" y="28"/>
                    </a:cubicBezTo>
                    <a:cubicBezTo>
                      <a:pt x="23" y="28"/>
                      <a:pt x="23" y="57"/>
                      <a:pt x="23" y="74"/>
                    </a:cubicBezTo>
                    <a:cubicBezTo>
                      <a:pt x="23" y="90"/>
                      <a:pt x="0" y="90"/>
                      <a:pt x="0" y="90"/>
                    </a:cubicBezTo>
                    <a:cubicBezTo>
                      <a:pt x="0" y="2"/>
                      <a:pt x="0" y="2"/>
                      <a:pt x="0" y="2"/>
                    </a:cubicBezTo>
                    <a:cubicBezTo>
                      <a:pt x="19" y="2"/>
                      <a:pt x="19" y="2"/>
                      <a:pt x="19" y="2"/>
                    </a:cubicBezTo>
                    <a:cubicBezTo>
                      <a:pt x="22" y="11"/>
                      <a:pt x="22" y="11"/>
                      <a:pt x="22" y="11"/>
                    </a:cubicBezTo>
                    <a:cubicBezTo>
                      <a:pt x="31" y="4"/>
                      <a:pt x="40" y="0"/>
                      <a:pt x="52" y="0"/>
                    </a:cubicBezTo>
                    <a:cubicBezTo>
                      <a:pt x="65" y="0"/>
                      <a:pt x="80" y="8"/>
                      <a:pt x="80" y="31"/>
                    </a:cubicBezTo>
                    <a:cubicBezTo>
                      <a:pt x="80" y="31"/>
                      <a:pt x="80" y="57"/>
                      <a:pt x="80" y="74"/>
                    </a:cubicBezTo>
                    <a:cubicBezTo>
                      <a:pt x="80" y="90"/>
                      <a:pt x="58" y="90"/>
                      <a:pt x="58" y="9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8" name="Freeform 19"/>
              <p:cNvSpPr>
                <a:spLocks/>
              </p:cNvSpPr>
              <p:nvPr userDrawn="1"/>
            </p:nvSpPr>
            <p:spPr bwMode="auto">
              <a:xfrm>
                <a:off x="8501217" y="4923177"/>
                <a:ext cx="43361" cy="65574"/>
              </a:xfrm>
              <a:custGeom>
                <a:avLst/>
                <a:gdLst>
                  <a:gd name="T0" fmla="*/ 49 w 57"/>
                  <a:gd name="T1" fmla="*/ 22 h 90"/>
                  <a:gd name="T2" fmla="*/ 39 w 57"/>
                  <a:gd name="T3" fmla="*/ 20 h 90"/>
                  <a:gd name="T4" fmla="*/ 22 w 57"/>
                  <a:gd name="T5" fmla="*/ 27 h 90"/>
                  <a:gd name="T6" fmla="*/ 22 w 57"/>
                  <a:gd name="T7" fmla="*/ 74 h 90"/>
                  <a:gd name="T8" fmla="*/ 0 w 57"/>
                  <a:gd name="T9" fmla="*/ 90 h 90"/>
                  <a:gd name="T10" fmla="*/ 0 w 57"/>
                  <a:gd name="T11" fmla="*/ 2 h 90"/>
                  <a:gd name="T12" fmla="*/ 19 w 57"/>
                  <a:gd name="T13" fmla="*/ 2 h 90"/>
                  <a:gd name="T14" fmla="*/ 21 w 57"/>
                  <a:gd name="T15" fmla="*/ 11 h 90"/>
                  <a:gd name="T16" fmla="*/ 45 w 57"/>
                  <a:gd name="T17" fmla="*/ 0 h 90"/>
                  <a:gd name="T18" fmla="*/ 57 w 57"/>
                  <a:gd name="T19" fmla="*/ 4 h 90"/>
                  <a:gd name="T20" fmla="*/ 49 w 57"/>
                  <a:gd name="T21" fmla="*/ 2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0">
                    <a:moveTo>
                      <a:pt x="49" y="22"/>
                    </a:moveTo>
                    <a:cubicBezTo>
                      <a:pt x="46" y="20"/>
                      <a:pt x="42" y="20"/>
                      <a:pt x="39" y="20"/>
                    </a:cubicBezTo>
                    <a:cubicBezTo>
                      <a:pt x="34" y="20"/>
                      <a:pt x="28" y="22"/>
                      <a:pt x="22" y="27"/>
                    </a:cubicBezTo>
                    <a:cubicBezTo>
                      <a:pt x="22" y="27"/>
                      <a:pt x="22" y="57"/>
                      <a:pt x="22" y="74"/>
                    </a:cubicBezTo>
                    <a:cubicBezTo>
                      <a:pt x="22" y="90"/>
                      <a:pt x="0" y="90"/>
                      <a:pt x="0" y="90"/>
                    </a:cubicBezTo>
                    <a:cubicBezTo>
                      <a:pt x="0" y="2"/>
                      <a:pt x="0" y="2"/>
                      <a:pt x="0" y="2"/>
                    </a:cubicBezTo>
                    <a:cubicBezTo>
                      <a:pt x="19" y="2"/>
                      <a:pt x="19" y="2"/>
                      <a:pt x="19"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9" name="Freeform 20"/>
              <p:cNvSpPr>
                <a:spLocks/>
              </p:cNvSpPr>
              <p:nvPr userDrawn="1"/>
            </p:nvSpPr>
            <p:spPr bwMode="auto">
              <a:xfrm>
                <a:off x="7766657" y="4864376"/>
                <a:ext cx="100211" cy="148389"/>
              </a:xfrm>
              <a:custGeom>
                <a:avLst/>
                <a:gdLst>
                  <a:gd name="T0" fmla="*/ 0 w 132"/>
                  <a:gd name="T1" fmla="*/ 23 h 204"/>
                  <a:gd name="T2" fmla="*/ 1 w 132"/>
                  <a:gd name="T3" fmla="*/ 22 h 204"/>
                  <a:gd name="T4" fmla="*/ 67 w 132"/>
                  <a:gd name="T5" fmla="*/ 20 h 204"/>
                  <a:gd name="T6" fmla="*/ 80 w 132"/>
                  <a:gd name="T7" fmla="*/ 52 h 204"/>
                  <a:gd name="T8" fmla="*/ 113 w 132"/>
                  <a:gd name="T9" fmla="*/ 65 h 204"/>
                  <a:gd name="T10" fmla="*/ 111 w 132"/>
                  <a:gd name="T11" fmla="*/ 132 h 204"/>
                  <a:gd name="T12" fmla="*/ 38 w 132"/>
                  <a:gd name="T13" fmla="*/ 204 h 204"/>
                  <a:gd name="T14" fmla="*/ 16 w 132"/>
                  <a:gd name="T15" fmla="*/ 182 h 204"/>
                  <a:gd name="T16" fmla="*/ 88 w 132"/>
                  <a:gd name="T17" fmla="*/ 110 h 204"/>
                  <a:gd name="T18" fmla="*/ 91 w 132"/>
                  <a:gd name="T19" fmla="*/ 86 h 204"/>
                  <a:gd name="T20" fmla="*/ 67 w 132"/>
                  <a:gd name="T21" fmla="*/ 88 h 204"/>
                  <a:gd name="T22" fmla="*/ 0 w 132"/>
                  <a:gd name="T23" fmla="*/ 155 h 204"/>
                  <a:gd name="T24" fmla="*/ 0 w 132"/>
                  <a:gd name="T25" fmla="*/ 111 h 204"/>
                  <a:gd name="T26" fmla="*/ 45 w 132"/>
                  <a:gd name="T27" fmla="*/ 66 h 204"/>
                  <a:gd name="T28" fmla="*/ 46 w 132"/>
                  <a:gd name="T29" fmla="*/ 42 h 204"/>
                  <a:gd name="T30" fmla="*/ 22 w 132"/>
                  <a:gd name="T31" fmla="*/ 44 h 204"/>
                  <a:gd name="T32" fmla="*/ 0 w 132"/>
                  <a:gd name="T33" fmla="*/ 66 h 204"/>
                  <a:gd name="T34" fmla="*/ 0 w 132"/>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204">
                    <a:moveTo>
                      <a:pt x="0" y="23"/>
                    </a:moveTo>
                    <a:cubicBezTo>
                      <a:pt x="1" y="22"/>
                      <a:pt x="1" y="22"/>
                      <a:pt x="1" y="22"/>
                    </a:cubicBezTo>
                    <a:cubicBezTo>
                      <a:pt x="23" y="0"/>
                      <a:pt x="50" y="2"/>
                      <a:pt x="67" y="20"/>
                    </a:cubicBezTo>
                    <a:cubicBezTo>
                      <a:pt x="80" y="32"/>
                      <a:pt x="81" y="46"/>
                      <a:pt x="80" y="52"/>
                    </a:cubicBezTo>
                    <a:cubicBezTo>
                      <a:pt x="86" y="51"/>
                      <a:pt x="100" y="52"/>
                      <a:pt x="113" y="65"/>
                    </a:cubicBezTo>
                    <a:cubicBezTo>
                      <a:pt x="130" y="82"/>
                      <a:pt x="132" y="110"/>
                      <a:pt x="111" y="132"/>
                    </a:cubicBezTo>
                    <a:cubicBezTo>
                      <a:pt x="38" y="204"/>
                      <a:pt x="38" y="204"/>
                      <a:pt x="38" y="204"/>
                    </a:cubicBezTo>
                    <a:cubicBezTo>
                      <a:pt x="16" y="182"/>
                      <a:pt x="16" y="182"/>
                      <a:pt x="16" y="182"/>
                    </a:cubicBezTo>
                    <a:cubicBezTo>
                      <a:pt x="88" y="110"/>
                      <a:pt x="88" y="110"/>
                      <a:pt x="88" y="110"/>
                    </a:cubicBezTo>
                    <a:cubicBezTo>
                      <a:pt x="97" y="101"/>
                      <a:pt x="96" y="91"/>
                      <a:pt x="91" y="86"/>
                    </a:cubicBezTo>
                    <a:cubicBezTo>
                      <a:pt x="85" y="80"/>
                      <a:pt x="75" y="79"/>
                      <a:pt x="67" y="88"/>
                    </a:cubicBezTo>
                    <a:cubicBezTo>
                      <a:pt x="0" y="155"/>
                      <a:pt x="0" y="155"/>
                      <a:pt x="0" y="155"/>
                    </a:cubicBezTo>
                    <a:cubicBezTo>
                      <a:pt x="0" y="111"/>
                      <a:pt x="0" y="111"/>
                      <a:pt x="0" y="111"/>
                    </a:cubicBezTo>
                    <a:cubicBezTo>
                      <a:pt x="45" y="66"/>
                      <a:pt x="45" y="66"/>
                      <a:pt x="45" y="66"/>
                    </a:cubicBezTo>
                    <a:cubicBezTo>
                      <a:pt x="53" y="57"/>
                      <a:pt x="52" y="47"/>
                      <a:pt x="46" y="42"/>
                    </a:cubicBezTo>
                    <a:cubicBezTo>
                      <a:pt x="41" y="36"/>
                      <a:pt x="31" y="35"/>
                      <a:pt x="22" y="44"/>
                    </a:cubicBezTo>
                    <a:cubicBezTo>
                      <a:pt x="0" y="66"/>
                      <a:pt x="0" y="66"/>
                      <a:pt x="0" y="66"/>
                    </a:cubicBezTo>
                    <a:lnTo>
                      <a:pt x="0"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grpSp>
      <p:sp>
        <p:nvSpPr>
          <p:cNvPr id="55"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solidFill>
                  <a:schemeClr val="tx1">
                    <a:lumMod val="50000"/>
                    <a:lumOff val="50000"/>
                  </a:schemeClr>
                </a:solidFill>
                <a:latin typeface="+mn-lt"/>
              </a:rPr>
              <a:t>Private and Confidental</a:t>
            </a:r>
            <a:endParaRPr lang="pt-BR" sz="500" dirty="0">
              <a:solidFill>
                <a:schemeClr val="tx1">
                  <a:lumMod val="50000"/>
                  <a:lumOff val="50000"/>
                </a:schemeClr>
              </a:solidFill>
              <a:latin typeface="+mn-lt"/>
            </a:endParaRPr>
          </a:p>
        </p:txBody>
      </p:sp>
    </p:spTree>
    <p:extLst>
      <p:ext uri="{BB962C8B-B14F-4D97-AF65-F5344CB8AC3E}">
        <p14:creationId xmlns:p14="http://schemas.microsoft.com/office/powerpoint/2010/main" val="240825016"/>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_D_MB_Leaf">
    <p:bg>
      <p:bgPr>
        <a:solidFill>
          <a:schemeClr val="bg1"/>
        </a:solidFill>
        <a:effectLst/>
      </p:bgPr>
    </p:bg>
    <p:spTree>
      <p:nvGrpSpPr>
        <p:cNvPr id="1" name=""/>
        <p:cNvGrpSpPr/>
        <p:nvPr/>
      </p:nvGrpSpPr>
      <p:grpSpPr>
        <a:xfrm>
          <a:off x="0" y="0"/>
          <a:ext cx="0" cy="0"/>
          <a:chOff x="0" y="0"/>
          <a:chExt cx="0" cy="0"/>
        </a:xfrm>
      </p:grpSpPr>
      <p:sp>
        <p:nvSpPr>
          <p:cNvPr id="31" name="Rectangle 30"/>
          <p:cNvSpPr/>
          <p:nvPr userDrawn="1"/>
        </p:nvSpPr>
        <p:spPr>
          <a:xfrm>
            <a:off x="0" y="0"/>
            <a:ext cx="9144000" cy="5148263"/>
          </a:xfrm>
          <a:prstGeom prst="rect">
            <a:avLst/>
          </a:prstGeom>
          <a:solidFill>
            <a:schemeClr val="tx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en-GB" sz="1050" smtClean="0">
              <a:solidFill>
                <a:schemeClr val="bg1"/>
              </a:solidFill>
              <a:latin typeface="Arial" panose="020B0604020202020204" pitchFamily="34" charset="0"/>
              <a:cs typeface="Arial" panose="020B0604020202020204" pitchFamily="34" charset="0"/>
            </a:endParaRPr>
          </a:p>
        </p:txBody>
      </p:sp>
      <p:sp>
        <p:nvSpPr>
          <p:cNvPr id="191" name="Text Placeholder 2"/>
          <p:cNvSpPr>
            <a:spLocks noGrp="1"/>
          </p:cNvSpPr>
          <p:nvPr>
            <p:ph type="body" sz="quarter" idx="25" hasCustomPrompt="1"/>
          </p:nvPr>
        </p:nvSpPr>
        <p:spPr>
          <a:xfrm>
            <a:off x="3342796" y="4807465"/>
            <a:ext cx="1160462" cy="341313"/>
          </a:xfrm>
          <a:prstGeom prst="rect">
            <a:avLst/>
          </a:prstGeom>
        </p:spPr>
        <p:txBody>
          <a:bodyPr anchor="ctr"/>
          <a:lstStyle>
            <a:lvl1pPr marL="0" indent="0" algn="ctr">
              <a:buNone/>
              <a:defRPr sz="800">
                <a:solidFill>
                  <a:schemeClr val="bg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pic>
        <p:nvPicPr>
          <p:cNvPr id="33" name="Picture 32" descr="cookie_white.png"/>
          <p:cNvPicPr>
            <a:picLocks noChangeAspect="1"/>
          </p:cNvPicPr>
          <p:nvPr userDrawn="1"/>
        </p:nvPicPr>
        <p:blipFill rotWithShape="1">
          <a:blip r:embed="rId2" cstate="screen">
            <a:alphaModFix amt="16000"/>
            <a:extLst>
              <a:ext uri="{28A0092B-C50C-407E-A947-70E740481C1C}">
                <a14:useLocalDpi xmlns:a14="http://schemas.microsoft.com/office/drawing/2010/main"/>
              </a:ext>
            </a:extLst>
          </a:blip>
          <a:srcRect/>
          <a:stretch/>
        </p:blipFill>
        <p:spPr>
          <a:xfrm flipH="1">
            <a:off x="5149029" y="2289839"/>
            <a:ext cx="4020091" cy="2880000"/>
          </a:xfrm>
          <a:prstGeom prst="rect">
            <a:avLst/>
          </a:prstGeom>
        </p:spPr>
      </p:pic>
      <p:cxnSp>
        <p:nvCxnSpPr>
          <p:cNvPr id="32" name="Straight Connector 31"/>
          <p:cNvCxnSpPr/>
          <p:nvPr userDrawn="1"/>
        </p:nvCxnSpPr>
        <p:spPr>
          <a:xfrm>
            <a:off x="343365" y="470176"/>
            <a:ext cx="8460000" cy="0"/>
          </a:xfrm>
          <a:prstGeom prst="line">
            <a:avLst/>
          </a:prstGeom>
          <a:ln w="6350" cmpd="sng">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343365" y="4801146"/>
            <a:ext cx="8460000" cy="0"/>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sp>
        <p:nvSpPr>
          <p:cNvPr id="67"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rgbClr val="FFFFFF"/>
                </a:solidFill>
                <a:latin typeface="+mn-lt"/>
              </a:defRPr>
            </a:lvl1pPr>
          </a:lstStyle>
          <a:p>
            <a:fld id="{19AB4E72-7858-48F1-A40D-12FF09E4BFB8}" type="slidenum">
              <a:rPr lang="en-GB" smtClean="0"/>
              <a:pPr/>
              <a:t>‹Nº›</a:t>
            </a:fld>
            <a:endParaRPr lang="en-GB"/>
          </a:p>
        </p:txBody>
      </p:sp>
      <p:sp>
        <p:nvSpPr>
          <p:cNvPr id="36" name="Title 1"/>
          <p:cNvSpPr>
            <a:spLocks noGrp="1"/>
          </p:cNvSpPr>
          <p:nvPr>
            <p:ph type="ctrTitle" hasCustomPrompt="1"/>
          </p:nvPr>
        </p:nvSpPr>
        <p:spPr>
          <a:xfrm>
            <a:off x="343365" y="2867487"/>
            <a:ext cx="8460000" cy="443198"/>
          </a:xfrm>
          <a:prstGeom prst="rect">
            <a:avLst/>
          </a:prstGeom>
        </p:spPr>
        <p:txBody>
          <a:bodyPr lIns="0" tIns="0" rIns="0" bIns="0" anchor="b"/>
          <a:lstStyle>
            <a:lvl1pPr>
              <a:lnSpc>
                <a:spcPct val="90000"/>
              </a:lnSpc>
              <a:defRPr sz="3200" b="0">
                <a:solidFill>
                  <a:schemeClr val="bg1"/>
                </a:solidFill>
              </a:defRPr>
            </a:lvl1pPr>
          </a:lstStyle>
          <a:p>
            <a:r>
              <a:rPr lang="en-US" dirty="0" smtClean="0"/>
              <a:t>Click to edit Master title Style</a:t>
            </a:r>
            <a:endParaRPr lang="en-US" dirty="0"/>
          </a:p>
        </p:txBody>
      </p:sp>
      <p:sp>
        <p:nvSpPr>
          <p:cNvPr id="37" name="Subtitle 2"/>
          <p:cNvSpPr>
            <a:spLocks noGrp="1"/>
          </p:cNvSpPr>
          <p:nvPr>
            <p:ph type="subTitle" idx="1" hasCustomPrompt="1"/>
          </p:nvPr>
        </p:nvSpPr>
        <p:spPr>
          <a:xfrm>
            <a:off x="343364" y="3474100"/>
            <a:ext cx="8460000" cy="202165"/>
          </a:xfrm>
          <a:prstGeom prst="rect">
            <a:avLst/>
          </a:prstGeom>
        </p:spPr>
        <p:txBody>
          <a:bodyPr lIns="0" tIns="0" rIns="0" bIns="0">
            <a:noAutofit/>
          </a:bodyPr>
          <a:lstStyle>
            <a:lvl1pPr marL="0" indent="0" algn="l">
              <a:buNone/>
              <a:defRPr sz="14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cxnSp>
        <p:nvCxnSpPr>
          <p:cNvPr id="38" name="Straight Connector 37"/>
          <p:cNvCxnSpPr/>
          <p:nvPr userDrawn="1"/>
        </p:nvCxnSpPr>
        <p:spPr>
          <a:xfrm>
            <a:off x="346086" y="3395058"/>
            <a:ext cx="8460000" cy="0"/>
          </a:xfrm>
          <a:prstGeom prst="line">
            <a:avLst/>
          </a:prstGeom>
          <a:ln w="12700" cmpd="sng">
            <a:solidFill>
              <a:schemeClr val="bg1"/>
            </a:solidFill>
          </a:ln>
        </p:spPr>
        <p:style>
          <a:lnRef idx="1">
            <a:schemeClr val="accent1"/>
          </a:lnRef>
          <a:fillRef idx="0">
            <a:schemeClr val="accent1"/>
          </a:fillRef>
          <a:effectRef idx="0">
            <a:schemeClr val="accent1"/>
          </a:effectRef>
          <a:fontRef idx="minor">
            <a:schemeClr val="tx1"/>
          </a:fontRef>
        </p:style>
      </p:cxnSp>
      <p:grpSp>
        <p:nvGrpSpPr>
          <p:cNvPr id="75" name="Group 74"/>
          <p:cNvGrpSpPr/>
          <p:nvPr userDrawn="1"/>
        </p:nvGrpSpPr>
        <p:grpSpPr>
          <a:xfrm>
            <a:off x="7686461" y="4906654"/>
            <a:ext cx="1124815" cy="151147"/>
            <a:chOff x="7686461" y="4581466"/>
            <a:chExt cx="1124815" cy="151147"/>
          </a:xfrm>
          <a:solidFill>
            <a:schemeClr val="bg1"/>
          </a:solidFill>
        </p:grpSpPr>
        <p:sp>
          <p:nvSpPr>
            <p:cNvPr id="76"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77"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78"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79"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0"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1"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2"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3"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4"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5"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6"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7"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8"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89"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90"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grpSp>
      <p:grpSp>
        <p:nvGrpSpPr>
          <p:cNvPr id="98" name="Group 97"/>
          <p:cNvGrpSpPr/>
          <p:nvPr userDrawn="1"/>
        </p:nvGrpSpPr>
        <p:grpSpPr>
          <a:xfrm>
            <a:off x="6226041" y="4843403"/>
            <a:ext cx="1123200" cy="262117"/>
            <a:chOff x="7686782" y="4354553"/>
            <a:chExt cx="1123200" cy="262117"/>
          </a:xfrm>
          <a:solidFill>
            <a:schemeClr val="bg1"/>
          </a:solidFill>
        </p:grpSpPr>
        <p:sp>
          <p:nvSpPr>
            <p:cNvPr id="99" name="Freeform 98"/>
            <p:cNvSpPr>
              <a:spLocks/>
            </p:cNvSpPr>
            <p:nvPr/>
          </p:nvSpPr>
          <p:spPr bwMode="auto">
            <a:xfrm>
              <a:off x="8637817" y="4415076"/>
              <a:ext cx="103629" cy="66531"/>
            </a:xfrm>
            <a:custGeom>
              <a:avLst/>
              <a:gdLst>
                <a:gd name="T0" fmla="*/ 50 w 62"/>
                <a:gd name="T1" fmla="*/ 33 h 42"/>
                <a:gd name="T2" fmla="*/ 39 w 62"/>
                <a:gd name="T3" fmla="*/ 40 h 42"/>
                <a:gd name="T4" fmla="*/ 31 w 62"/>
                <a:gd name="T5" fmla="*/ 13 h 42"/>
                <a:gd name="T6" fmla="*/ 30 w 62"/>
                <a:gd name="T7" fmla="*/ 13 h 42"/>
                <a:gd name="T8" fmla="*/ 24 w 62"/>
                <a:gd name="T9" fmla="*/ 33 h 42"/>
                <a:gd name="T10" fmla="*/ 14 w 62"/>
                <a:gd name="T11" fmla="*/ 40 h 42"/>
                <a:gd name="T12" fmla="*/ 0 w 62"/>
                <a:gd name="T13" fmla="*/ 0 h 42"/>
                <a:gd name="T14" fmla="*/ 10 w 62"/>
                <a:gd name="T15" fmla="*/ 0 h 42"/>
                <a:gd name="T16" fmla="*/ 18 w 62"/>
                <a:gd name="T17" fmla="*/ 27 h 42"/>
                <a:gd name="T18" fmla="*/ 18 w 62"/>
                <a:gd name="T19" fmla="*/ 27 h 42"/>
                <a:gd name="T20" fmla="*/ 27 w 62"/>
                <a:gd name="T21" fmla="*/ 0 h 42"/>
                <a:gd name="T22" fmla="*/ 35 w 62"/>
                <a:gd name="T23" fmla="*/ 0 h 42"/>
                <a:gd name="T24" fmla="*/ 43 w 62"/>
                <a:gd name="T25" fmla="*/ 27 h 42"/>
                <a:gd name="T26" fmla="*/ 44 w 62"/>
                <a:gd name="T27" fmla="*/ 27 h 42"/>
                <a:gd name="T28" fmla="*/ 52 w 62"/>
                <a:gd name="T29" fmla="*/ 0 h 42"/>
                <a:gd name="T30" fmla="*/ 62 w 62"/>
                <a:gd name="T31" fmla="*/ 0 h 42"/>
                <a:gd name="T32" fmla="*/ 50 w 62"/>
                <a:gd name="T33" fmla="*/ 3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 h="42">
                  <a:moveTo>
                    <a:pt x="50" y="33"/>
                  </a:moveTo>
                  <a:cubicBezTo>
                    <a:pt x="47" y="42"/>
                    <a:pt x="39" y="40"/>
                    <a:pt x="39" y="40"/>
                  </a:cubicBezTo>
                  <a:cubicBezTo>
                    <a:pt x="31" y="13"/>
                    <a:pt x="31" y="13"/>
                    <a:pt x="31" y="13"/>
                  </a:cubicBezTo>
                  <a:cubicBezTo>
                    <a:pt x="30" y="13"/>
                    <a:pt x="30" y="13"/>
                    <a:pt x="30" y="13"/>
                  </a:cubicBezTo>
                  <a:cubicBezTo>
                    <a:pt x="30" y="13"/>
                    <a:pt x="26" y="26"/>
                    <a:pt x="24" y="33"/>
                  </a:cubicBezTo>
                  <a:cubicBezTo>
                    <a:pt x="21" y="42"/>
                    <a:pt x="14" y="40"/>
                    <a:pt x="14" y="40"/>
                  </a:cubicBezTo>
                  <a:cubicBezTo>
                    <a:pt x="0" y="0"/>
                    <a:pt x="0" y="0"/>
                    <a:pt x="0" y="0"/>
                  </a:cubicBezTo>
                  <a:cubicBezTo>
                    <a:pt x="10" y="0"/>
                    <a:pt x="10" y="0"/>
                    <a:pt x="10" y="0"/>
                  </a:cubicBezTo>
                  <a:cubicBezTo>
                    <a:pt x="18" y="27"/>
                    <a:pt x="18" y="27"/>
                    <a:pt x="18" y="27"/>
                  </a:cubicBezTo>
                  <a:cubicBezTo>
                    <a:pt x="18" y="27"/>
                    <a:pt x="18" y="27"/>
                    <a:pt x="18" y="27"/>
                  </a:cubicBezTo>
                  <a:cubicBezTo>
                    <a:pt x="27" y="0"/>
                    <a:pt x="27" y="0"/>
                    <a:pt x="27" y="0"/>
                  </a:cubicBezTo>
                  <a:cubicBezTo>
                    <a:pt x="35" y="0"/>
                    <a:pt x="35" y="0"/>
                    <a:pt x="35" y="0"/>
                  </a:cubicBezTo>
                  <a:cubicBezTo>
                    <a:pt x="43" y="27"/>
                    <a:pt x="43" y="27"/>
                    <a:pt x="43" y="27"/>
                  </a:cubicBezTo>
                  <a:cubicBezTo>
                    <a:pt x="44" y="27"/>
                    <a:pt x="44" y="27"/>
                    <a:pt x="44" y="27"/>
                  </a:cubicBezTo>
                  <a:cubicBezTo>
                    <a:pt x="52" y="0"/>
                    <a:pt x="52" y="0"/>
                    <a:pt x="52" y="0"/>
                  </a:cubicBezTo>
                  <a:cubicBezTo>
                    <a:pt x="62" y="0"/>
                    <a:pt x="62" y="0"/>
                    <a:pt x="62" y="0"/>
                  </a:cubicBezTo>
                  <a:cubicBezTo>
                    <a:pt x="62" y="0"/>
                    <a:pt x="52" y="26"/>
                    <a:pt x="5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 name="Freeform 99"/>
            <p:cNvSpPr>
              <a:spLocks noEditPoints="1"/>
            </p:cNvSpPr>
            <p:nvPr/>
          </p:nvSpPr>
          <p:spPr bwMode="auto">
            <a:xfrm>
              <a:off x="8445631" y="4383257"/>
              <a:ext cx="65239" cy="93677"/>
            </a:xfrm>
            <a:custGeom>
              <a:avLst/>
              <a:gdLst>
                <a:gd name="T0" fmla="*/ 0 w 39"/>
                <a:gd name="T1" fmla="*/ 0 h 59"/>
                <a:gd name="T2" fmla="*/ 0 w 39"/>
                <a:gd name="T3" fmla="*/ 59 h 59"/>
                <a:gd name="T4" fmla="*/ 18 w 39"/>
                <a:gd name="T5" fmla="*/ 59 h 59"/>
                <a:gd name="T6" fmla="*/ 39 w 39"/>
                <a:gd name="T7" fmla="*/ 42 h 59"/>
                <a:gd name="T8" fmla="*/ 29 w 39"/>
                <a:gd name="T9" fmla="*/ 28 h 59"/>
                <a:gd name="T10" fmla="*/ 28 w 39"/>
                <a:gd name="T11" fmla="*/ 27 h 59"/>
                <a:gd name="T12" fmla="*/ 29 w 39"/>
                <a:gd name="T13" fmla="*/ 27 h 59"/>
                <a:gd name="T14" fmla="*/ 35 w 39"/>
                <a:gd name="T15" fmla="*/ 15 h 59"/>
                <a:gd name="T16" fmla="*/ 19 w 39"/>
                <a:gd name="T17" fmla="*/ 0 h 59"/>
                <a:gd name="T18" fmla="*/ 0 w 39"/>
                <a:gd name="T19" fmla="*/ 0 h 59"/>
                <a:gd name="T20" fmla="*/ 10 w 39"/>
                <a:gd name="T21" fmla="*/ 8 h 59"/>
                <a:gd name="T22" fmla="*/ 16 w 39"/>
                <a:gd name="T23" fmla="*/ 8 h 59"/>
                <a:gd name="T24" fmla="*/ 25 w 39"/>
                <a:gd name="T25" fmla="*/ 16 h 59"/>
                <a:gd name="T26" fmla="*/ 17 w 39"/>
                <a:gd name="T27" fmla="*/ 25 h 59"/>
                <a:gd name="T28" fmla="*/ 10 w 39"/>
                <a:gd name="T29" fmla="*/ 25 h 59"/>
                <a:gd name="T30" fmla="*/ 10 w 39"/>
                <a:gd name="T31" fmla="*/ 8 h 59"/>
                <a:gd name="T32" fmla="*/ 10 w 39"/>
                <a:gd name="T33" fmla="*/ 33 h 59"/>
                <a:gd name="T34" fmla="*/ 18 w 39"/>
                <a:gd name="T35" fmla="*/ 33 h 59"/>
                <a:gd name="T36" fmla="*/ 29 w 39"/>
                <a:gd name="T37" fmla="*/ 42 h 59"/>
                <a:gd name="T38" fmla="*/ 17 w 39"/>
                <a:gd name="T39" fmla="*/ 51 h 59"/>
                <a:gd name="T40" fmla="*/ 10 w 39"/>
                <a:gd name="T41" fmla="*/ 51 h 59"/>
                <a:gd name="T42" fmla="*/ 10 w 39"/>
                <a:gd name="T43"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9">
                  <a:moveTo>
                    <a:pt x="0" y="0"/>
                  </a:moveTo>
                  <a:cubicBezTo>
                    <a:pt x="0" y="1"/>
                    <a:pt x="0" y="59"/>
                    <a:pt x="0" y="59"/>
                  </a:cubicBezTo>
                  <a:cubicBezTo>
                    <a:pt x="1" y="59"/>
                    <a:pt x="18" y="59"/>
                    <a:pt x="18" y="59"/>
                  </a:cubicBezTo>
                  <a:cubicBezTo>
                    <a:pt x="33" y="59"/>
                    <a:pt x="39" y="51"/>
                    <a:pt x="39" y="42"/>
                  </a:cubicBezTo>
                  <a:cubicBezTo>
                    <a:pt x="39" y="35"/>
                    <a:pt x="36" y="29"/>
                    <a:pt x="29" y="28"/>
                  </a:cubicBezTo>
                  <a:cubicBezTo>
                    <a:pt x="28" y="27"/>
                    <a:pt x="28" y="27"/>
                    <a:pt x="28" y="27"/>
                  </a:cubicBezTo>
                  <a:cubicBezTo>
                    <a:pt x="29" y="27"/>
                    <a:pt x="29" y="27"/>
                    <a:pt x="29" y="27"/>
                  </a:cubicBezTo>
                  <a:cubicBezTo>
                    <a:pt x="33" y="24"/>
                    <a:pt x="35" y="20"/>
                    <a:pt x="35" y="15"/>
                  </a:cubicBezTo>
                  <a:cubicBezTo>
                    <a:pt x="35" y="8"/>
                    <a:pt x="30" y="0"/>
                    <a:pt x="19" y="0"/>
                  </a:cubicBezTo>
                  <a:cubicBezTo>
                    <a:pt x="19" y="0"/>
                    <a:pt x="1" y="0"/>
                    <a:pt x="0" y="0"/>
                  </a:cubicBezTo>
                  <a:close/>
                  <a:moveTo>
                    <a:pt x="10" y="8"/>
                  </a:moveTo>
                  <a:cubicBezTo>
                    <a:pt x="16" y="8"/>
                    <a:pt x="16" y="8"/>
                    <a:pt x="16" y="8"/>
                  </a:cubicBezTo>
                  <a:cubicBezTo>
                    <a:pt x="22" y="8"/>
                    <a:pt x="25" y="11"/>
                    <a:pt x="25" y="16"/>
                  </a:cubicBezTo>
                  <a:cubicBezTo>
                    <a:pt x="25" y="21"/>
                    <a:pt x="21" y="25"/>
                    <a:pt x="17" y="25"/>
                  </a:cubicBezTo>
                  <a:cubicBezTo>
                    <a:pt x="10" y="25"/>
                    <a:pt x="10" y="25"/>
                    <a:pt x="10" y="25"/>
                  </a:cubicBezTo>
                  <a:lnTo>
                    <a:pt x="10" y="8"/>
                  </a:lnTo>
                  <a:close/>
                  <a:moveTo>
                    <a:pt x="10" y="33"/>
                  </a:moveTo>
                  <a:cubicBezTo>
                    <a:pt x="18" y="33"/>
                    <a:pt x="18" y="33"/>
                    <a:pt x="18" y="33"/>
                  </a:cubicBezTo>
                  <a:cubicBezTo>
                    <a:pt x="25" y="33"/>
                    <a:pt x="29" y="37"/>
                    <a:pt x="29" y="42"/>
                  </a:cubicBezTo>
                  <a:cubicBezTo>
                    <a:pt x="29" y="48"/>
                    <a:pt x="25" y="51"/>
                    <a:pt x="17" y="51"/>
                  </a:cubicBezTo>
                  <a:cubicBezTo>
                    <a:pt x="10" y="51"/>
                    <a:pt x="10" y="51"/>
                    <a:pt x="10" y="51"/>
                  </a:cubicBezTo>
                  <a:lnTo>
                    <a:pt x="1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 name="Freeform 100"/>
            <p:cNvSpPr>
              <a:spLocks noEditPoints="1"/>
            </p:cNvSpPr>
            <p:nvPr/>
          </p:nvSpPr>
          <p:spPr bwMode="auto">
            <a:xfrm>
              <a:off x="8567631" y="4413518"/>
              <a:ext cx="66888" cy="64973"/>
            </a:xfrm>
            <a:custGeom>
              <a:avLst/>
              <a:gdLst>
                <a:gd name="T0" fmla="*/ 34 w 40"/>
                <a:gd name="T1" fmla="*/ 36 h 41"/>
                <a:gd name="T2" fmla="*/ 20 w 40"/>
                <a:gd name="T3" fmla="*/ 41 h 41"/>
                <a:gd name="T4" fmla="*/ 7 w 40"/>
                <a:gd name="T5" fmla="*/ 36 h 41"/>
                <a:gd name="T6" fmla="*/ 0 w 40"/>
                <a:gd name="T7" fmla="*/ 21 h 41"/>
                <a:gd name="T8" fmla="*/ 6 w 40"/>
                <a:gd name="T9" fmla="*/ 6 h 41"/>
                <a:gd name="T10" fmla="*/ 20 w 40"/>
                <a:gd name="T11" fmla="*/ 0 h 41"/>
                <a:gd name="T12" fmla="*/ 35 w 40"/>
                <a:gd name="T13" fmla="*/ 6 h 41"/>
                <a:gd name="T14" fmla="*/ 40 w 40"/>
                <a:gd name="T15" fmla="*/ 20 h 41"/>
                <a:gd name="T16" fmla="*/ 34 w 40"/>
                <a:gd name="T17" fmla="*/ 36 h 41"/>
                <a:gd name="T18" fmla="*/ 20 w 40"/>
                <a:gd name="T19" fmla="*/ 8 h 41"/>
                <a:gd name="T20" fmla="*/ 11 w 40"/>
                <a:gd name="T21" fmla="*/ 21 h 41"/>
                <a:gd name="T22" fmla="*/ 20 w 40"/>
                <a:gd name="T23" fmla="*/ 33 h 41"/>
                <a:gd name="T24" fmla="*/ 30 w 40"/>
                <a:gd name="T25" fmla="*/ 21 h 41"/>
                <a:gd name="T26" fmla="*/ 20 w 40"/>
                <a:gd name="T27" fmla="*/ 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4" y="36"/>
                  </a:moveTo>
                  <a:cubicBezTo>
                    <a:pt x="31" y="39"/>
                    <a:pt x="26" y="41"/>
                    <a:pt x="20" y="41"/>
                  </a:cubicBezTo>
                  <a:cubicBezTo>
                    <a:pt x="15" y="41"/>
                    <a:pt x="10" y="39"/>
                    <a:pt x="7" y="36"/>
                  </a:cubicBezTo>
                  <a:cubicBezTo>
                    <a:pt x="3" y="33"/>
                    <a:pt x="0" y="27"/>
                    <a:pt x="0" y="21"/>
                  </a:cubicBezTo>
                  <a:cubicBezTo>
                    <a:pt x="0" y="15"/>
                    <a:pt x="2" y="9"/>
                    <a:pt x="6" y="6"/>
                  </a:cubicBezTo>
                  <a:cubicBezTo>
                    <a:pt x="10" y="2"/>
                    <a:pt x="14" y="0"/>
                    <a:pt x="20" y="0"/>
                  </a:cubicBezTo>
                  <a:cubicBezTo>
                    <a:pt x="26" y="0"/>
                    <a:pt x="31" y="2"/>
                    <a:pt x="35" y="6"/>
                  </a:cubicBezTo>
                  <a:cubicBezTo>
                    <a:pt x="38" y="9"/>
                    <a:pt x="40" y="14"/>
                    <a:pt x="40" y="20"/>
                  </a:cubicBezTo>
                  <a:cubicBezTo>
                    <a:pt x="40" y="26"/>
                    <a:pt x="38" y="32"/>
                    <a:pt x="34" y="36"/>
                  </a:cubicBezTo>
                  <a:close/>
                  <a:moveTo>
                    <a:pt x="20" y="8"/>
                  </a:moveTo>
                  <a:cubicBezTo>
                    <a:pt x="14" y="8"/>
                    <a:pt x="11" y="13"/>
                    <a:pt x="11" y="21"/>
                  </a:cubicBezTo>
                  <a:cubicBezTo>
                    <a:pt x="11" y="28"/>
                    <a:pt x="14" y="33"/>
                    <a:pt x="20" y="33"/>
                  </a:cubicBezTo>
                  <a:cubicBezTo>
                    <a:pt x="27" y="33"/>
                    <a:pt x="30" y="28"/>
                    <a:pt x="30" y="21"/>
                  </a:cubicBezTo>
                  <a:cubicBezTo>
                    <a:pt x="30" y="13"/>
                    <a:pt x="26" y="8"/>
                    <a:pt x="2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 name="Freeform 101"/>
            <p:cNvSpPr>
              <a:spLocks/>
            </p:cNvSpPr>
            <p:nvPr/>
          </p:nvSpPr>
          <p:spPr bwMode="auto">
            <a:xfrm>
              <a:off x="8751573" y="4413518"/>
              <a:ext cx="58409" cy="64973"/>
            </a:xfrm>
            <a:custGeom>
              <a:avLst/>
              <a:gdLst>
                <a:gd name="T0" fmla="*/ 25 w 35"/>
                <a:gd name="T1" fmla="*/ 41 h 41"/>
                <a:gd name="T2" fmla="*/ 25 w 35"/>
                <a:gd name="T3" fmla="*/ 17 h 41"/>
                <a:gd name="T4" fmla="*/ 20 w 35"/>
                <a:gd name="T5" fmla="*/ 9 h 41"/>
                <a:gd name="T6" fmla="*/ 10 w 35"/>
                <a:gd name="T7" fmla="*/ 13 h 41"/>
                <a:gd name="T8" fmla="*/ 10 w 35"/>
                <a:gd name="T9" fmla="*/ 34 h 41"/>
                <a:gd name="T10" fmla="*/ 0 w 35"/>
                <a:gd name="T11" fmla="*/ 41 h 41"/>
                <a:gd name="T12" fmla="*/ 0 w 35"/>
                <a:gd name="T13" fmla="*/ 1 h 41"/>
                <a:gd name="T14" fmla="*/ 8 w 35"/>
                <a:gd name="T15" fmla="*/ 1 h 41"/>
                <a:gd name="T16" fmla="*/ 9 w 35"/>
                <a:gd name="T17" fmla="*/ 5 h 41"/>
                <a:gd name="T18" fmla="*/ 23 w 35"/>
                <a:gd name="T19" fmla="*/ 0 h 41"/>
                <a:gd name="T20" fmla="*/ 35 w 35"/>
                <a:gd name="T21" fmla="*/ 14 h 41"/>
                <a:gd name="T22" fmla="*/ 35 w 35"/>
                <a:gd name="T23" fmla="*/ 34 h 41"/>
                <a:gd name="T24" fmla="*/ 25 w 35"/>
                <a:gd name="T25"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41">
                  <a:moveTo>
                    <a:pt x="25" y="41"/>
                  </a:moveTo>
                  <a:cubicBezTo>
                    <a:pt x="25" y="17"/>
                    <a:pt x="25" y="17"/>
                    <a:pt x="25" y="17"/>
                  </a:cubicBezTo>
                  <a:cubicBezTo>
                    <a:pt x="25" y="13"/>
                    <a:pt x="25" y="9"/>
                    <a:pt x="20" y="9"/>
                  </a:cubicBezTo>
                  <a:cubicBezTo>
                    <a:pt x="16" y="9"/>
                    <a:pt x="13" y="10"/>
                    <a:pt x="10" y="13"/>
                  </a:cubicBezTo>
                  <a:cubicBezTo>
                    <a:pt x="10" y="13"/>
                    <a:pt x="10" y="26"/>
                    <a:pt x="10" y="34"/>
                  </a:cubicBezTo>
                  <a:cubicBezTo>
                    <a:pt x="10" y="41"/>
                    <a:pt x="0" y="41"/>
                    <a:pt x="0" y="41"/>
                  </a:cubicBezTo>
                  <a:cubicBezTo>
                    <a:pt x="0" y="1"/>
                    <a:pt x="0" y="1"/>
                    <a:pt x="0" y="1"/>
                  </a:cubicBezTo>
                  <a:cubicBezTo>
                    <a:pt x="8" y="1"/>
                    <a:pt x="8" y="1"/>
                    <a:pt x="8" y="1"/>
                  </a:cubicBezTo>
                  <a:cubicBezTo>
                    <a:pt x="9" y="5"/>
                    <a:pt x="9" y="5"/>
                    <a:pt x="9" y="5"/>
                  </a:cubicBezTo>
                  <a:cubicBezTo>
                    <a:pt x="13" y="2"/>
                    <a:pt x="18" y="0"/>
                    <a:pt x="23" y="0"/>
                  </a:cubicBezTo>
                  <a:cubicBezTo>
                    <a:pt x="29" y="0"/>
                    <a:pt x="35" y="3"/>
                    <a:pt x="35" y="14"/>
                  </a:cubicBezTo>
                  <a:cubicBezTo>
                    <a:pt x="35" y="14"/>
                    <a:pt x="35" y="26"/>
                    <a:pt x="35" y="34"/>
                  </a:cubicBezTo>
                  <a:cubicBezTo>
                    <a:pt x="35" y="41"/>
                    <a:pt x="25" y="41"/>
                    <a:pt x="2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 name="Freeform 102"/>
            <p:cNvSpPr>
              <a:spLocks/>
            </p:cNvSpPr>
            <p:nvPr/>
          </p:nvSpPr>
          <p:spPr bwMode="auto">
            <a:xfrm>
              <a:off x="8522411" y="4413518"/>
              <a:ext cx="43571" cy="64973"/>
            </a:xfrm>
            <a:custGeom>
              <a:avLst/>
              <a:gdLst>
                <a:gd name="T0" fmla="*/ 23 w 26"/>
                <a:gd name="T1" fmla="*/ 10 h 41"/>
                <a:gd name="T2" fmla="*/ 18 w 26"/>
                <a:gd name="T3" fmla="*/ 9 h 41"/>
                <a:gd name="T4" fmla="*/ 11 w 26"/>
                <a:gd name="T5" fmla="*/ 12 h 41"/>
                <a:gd name="T6" fmla="*/ 11 w 26"/>
                <a:gd name="T7" fmla="*/ 34 h 41"/>
                <a:gd name="T8" fmla="*/ 0 w 26"/>
                <a:gd name="T9" fmla="*/ 41 h 41"/>
                <a:gd name="T10" fmla="*/ 0 w 26"/>
                <a:gd name="T11" fmla="*/ 1 h 41"/>
                <a:gd name="T12" fmla="*/ 9 w 26"/>
                <a:gd name="T13" fmla="*/ 1 h 41"/>
                <a:gd name="T14" fmla="*/ 10 w 26"/>
                <a:gd name="T15" fmla="*/ 5 h 41"/>
                <a:gd name="T16" fmla="*/ 21 w 26"/>
                <a:gd name="T17" fmla="*/ 0 h 41"/>
                <a:gd name="T18" fmla="*/ 26 w 26"/>
                <a:gd name="T19" fmla="*/ 2 h 41"/>
                <a:gd name="T20" fmla="*/ 23 w 26"/>
                <a:gd name="T21" fmla="*/ 1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41">
                  <a:moveTo>
                    <a:pt x="23" y="10"/>
                  </a:moveTo>
                  <a:cubicBezTo>
                    <a:pt x="21" y="9"/>
                    <a:pt x="19" y="9"/>
                    <a:pt x="18" y="9"/>
                  </a:cubicBezTo>
                  <a:cubicBezTo>
                    <a:pt x="16" y="9"/>
                    <a:pt x="13" y="10"/>
                    <a:pt x="11" y="12"/>
                  </a:cubicBezTo>
                  <a:cubicBezTo>
                    <a:pt x="11" y="12"/>
                    <a:pt x="11" y="26"/>
                    <a:pt x="11" y="34"/>
                  </a:cubicBezTo>
                  <a:cubicBezTo>
                    <a:pt x="11" y="41"/>
                    <a:pt x="0" y="41"/>
                    <a:pt x="0" y="41"/>
                  </a:cubicBezTo>
                  <a:cubicBezTo>
                    <a:pt x="0" y="1"/>
                    <a:pt x="0" y="1"/>
                    <a:pt x="0" y="1"/>
                  </a:cubicBezTo>
                  <a:cubicBezTo>
                    <a:pt x="9" y="1"/>
                    <a:pt x="9" y="1"/>
                    <a:pt x="9" y="1"/>
                  </a:cubicBezTo>
                  <a:cubicBezTo>
                    <a:pt x="10" y="5"/>
                    <a:pt x="10" y="5"/>
                    <a:pt x="10" y="5"/>
                  </a:cubicBezTo>
                  <a:cubicBezTo>
                    <a:pt x="14" y="2"/>
                    <a:pt x="17" y="0"/>
                    <a:pt x="21" y="0"/>
                  </a:cubicBezTo>
                  <a:cubicBezTo>
                    <a:pt x="23" y="0"/>
                    <a:pt x="25" y="1"/>
                    <a:pt x="26" y="2"/>
                  </a:cubicBezTo>
                  <a:lnTo>
                    <a:pt x="23"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 name="Freeform 103"/>
            <p:cNvSpPr>
              <a:spLocks/>
            </p:cNvSpPr>
            <p:nvPr/>
          </p:nvSpPr>
          <p:spPr bwMode="auto">
            <a:xfrm>
              <a:off x="7787114" y="4354553"/>
              <a:ext cx="101745" cy="147747"/>
            </a:xfrm>
            <a:custGeom>
              <a:avLst/>
              <a:gdLst>
                <a:gd name="T0" fmla="*/ 0 w 61"/>
                <a:gd name="T1" fmla="*/ 11 h 93"/>
                <a:gd name="T2" fmla="*/ 1 w 61"/>
                <a:gd name="T3" fmla="*/ 10 h 93"/>
                <a:gd name="T4" fmla="*/ 31 w 61"/>
                <a:gd name="T5" fmla="*/ 9 h 93"/>
                <a:gd name="T6" fmla="*/ 37 w 61"/>
                <a:gd name="T7" fmla="*/ 24 h 93"/>
                <a:gd name="T8" fmla="*/ 52 w 61"/>
                <a:gd name="T9" fmla="*/ 30 h 93"/>
                <a:gd name="T10" fmla="*/ 51 w 61"/>
                <a:gd name="T11" fmla="*/ 60 h 93"/>
                <a:gd name="T12" fmla="*/ 18 w 61"/>
                <a:gd name="T13" fmla="*/ 93 h 93"/>
                <a:gd name="T14" fmla="*/ 8 w 61"/>
                <a:gd name="T15" fmla="*/ 83 h 93"/>
                <a:gd name="T16" fmla="*/ 41 w 61"/>
                <a:gd name="T17" fmla="*/ 50 h 93"/>
                <a:gd name="T18" fmla="*/ 42 w 61"/>
                <a:gd name="T19" fmla="*/ 39 h 93"/>
                <a:gd name="T20" fmla="*/ 31 w 61"/>
                <a:gd name="T21" fmla="*/ 40 h 93"/>
                <a:gd name="T22" fmla="*/ 0 w 61"/>
                <a:gd name="T23" fmla="*/ 70 h 93"/>
                <a:gd name="T24" fmla="*/ 0 w 61"/>
                <a:gd name="T25" fmla="*/ 50 h 93"/>
                <a:gd name="T26" fmla="*/ 21 w 61"/>
                <a:gd name="T27" fmla="*/ 30 h 93"/>
                <a:gd name="T28" fmla="*/ 22 w 61"/>
                <a:gd name="T29" fmla="*/ 19 h 93"/>
                <a:gd name="T30" fmla="*/ 11 w 61"/>
                <a:gd name="T31" fmla="*/ 20 h 93"/>
                <a:gd name="T32" fmla="*/ 0 w 61"/>
                <a:gd name="T33" fmla="*/ 30 h 93"/>
                <a:gd name="T34" fmla="*/ 0 w 61"/>
                <a:gd name="T35" fmla="*/ 1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 h="93">
                  <a:moveTo>
                    <a:pt x="0" y="11"/>
                  </a:moveTo>
                  <a:cubicBezTo>
                    <a:pt x="1" y="10"/>
                    <a:pt x="1" y="10"/>
                    <a:pt x="1" y="10"/>
                  </a:cubicBezTo>
                  <a:cubicBezTo>
                    <a:pt x="11" y="0"/>
                    <a:pt x="23" y="1"/>
                    <a:pt x="31" y="9"/>
                  </a:cubicBezTo>
                  <a:cubicBezTo>
                    <a:pt x="37" y="15"/>
                    <a:pt x="37" y="21"/>
                    <a:pt x="37" y="24"/>
                  </a:cubicBezTo>
                  <a:cubicBezTo>
                    <a:pt x="40" y="24"/>
                    <a:pt x="46" y="24"/>
                    <a:pt x="52" y="30"/>
                  </a:cubicBezTo>
                  <a:cubicBezTo>
                    <a:pt x="60" y="38"/>
                    <a:pt x="61" y="50"/>
                    <a:pt x="51" y="60"/>
                  </a:cubicBezTo>
                  <a:cubicBezTo>
                    <a:pt x="18" y="93"/>
                    <a:pt x="18" y="93"/>
                    <a:pt x="18" y="93"/>
                  </a:cubicBezTo>
                  <a:cubicBezTo>
                    <a:pt x="8" y="83"/>
                    <a:pt x="8" y="83"/>
                    <a:pt x="8" y="83"/>
                  </a:cubicBezTo>
                  <a:cubicBezTo>
                    <a:pt x="41" y="50"/>
                    <a:pt x="41" y="50"/>
                    <a:pt x="41" y="50"/>
                  </a:cubicBezTo>
                  <a:cubicBezTo>
                    <a:pt x="45" y="46"/>
                    <a:pt x="44" y="42"/>
                    <a:pt x="42" y="39"/>
                  </a:cubicBezTo>
                  <a:cubicBezTo>
                    <a:pt x="39" y="37"/>
                    <a:pt x="35" y="36"/>
                    <a:pt x="31" y="40"/>
                  </a:cubicBezTo>
                  <a:cubicBezTo>
                    <a:pt x="0" y="70"/>
                    <a:pt x="0" y="70"/>
                    <a:pt x="0" y="70"/>
                  </a:cubicBezTo>
                  <a:cubicBezTo>
                    <a:pt x="0" y="50"/>
                    <a:pt x="0" y="50"/>
                    <a:pt x="0" y="50"/>
                  </a:cubicBezTo>
                  <a:cubicBezTo>
                    <a:pt x="21" y="30"/>
                    <a:pt x="21" y="30"/>
                    <a:pt x="21" y="30"/>
                  </a:cubicBezTo>
                  <a:cubicBezTo>
                    <a:pt x="25" y="26"/>
                    <a:pt x="24" y="22"/>
                    <a:pt x="22" y="19"/>
                  </a:cubicBezTo>
                  <a:cubicBezTo>
                    <a:pt x="19" y="17"/>
                    <a:pt x="15" y="16"/>
                    <a:pt x="11" y="20"/>
                  </a:cubicBezTo>
                  <a:cubicBezTo>
                    <a:pt x="0" y="30"/>
                    <a:pt x="0" y="30"/>
                    <a:pt x="0" y="30"/>
                  </a:cubicBezTo>
                  <a:lnTo>
                    <a:pt x="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104"/>
            <p:cNvSpPr>
              <a:spLocks/>
            </p:cNvSpPr>
            <p:nvPr/>
          </p:nvSpPr>
          <p:spPr bwMode="auto">
            <a:xfrm>
              <a:off x="7686782" y="4354553"/>
              <a:ext cx="100332" cy="147747"/>
            </a:xfrm>
            <a:custGeom>
              <a:avLst/>
              <a:gdLst>
                <a:gd name="T0" fmla="*/ 60 w 60"/>
                <a:gd name="T1" fmla="*/ 11 h 93"/>
                <a:gd name="T2" fmla="*/ 60 w 60"/>
                <a:gd name="T3" fmla="*/ 10 h 93"/>
                <a:gd name="T4" fmla="*/ 30 w 60"/>
                <a:gd name="T5" fmla="*/ 9 h 93"/>
                <a:gd name="T6" fmla="*/ 24 w 60"/>
                <a:gd name="T7" fmla="*/ 24 h 93"/>
                <a:gd name="T8" fmla="*/ 9 w 60"/>
                <a:gd name="T9" fmla="*/ 30 h 93"/>
                <a:gd name="T10" fmla="*/ 10 w 60"/>
                <a:gd name="T11" fmla="*/ 60 h 93"/>
                <a:gd name="T12" fmla="*/ 43 w 60"/>
                <a:gd name="T13" fmla="*/ 93 h 93"/>
                <a:gd name="T14" fmla="*/ 53 w 60"/>
                <a:gd name="T15" fmla="*/ 83 h 93"/>
                <a:gd name="T16" fmla="*/ 20 w 60"/>
                <a:gd name="T17" fmla="*/ 50 h 93"/>
                <a:gd name="T18" fmla="*/ 19 w 60"/>
                <a:gd name="T19" fmla="*/ 39 h 93"/>
                <a:gd name="T20" fmla="*/ 30 w 60"/>
                <a:gd name="T21" fmla="*/ 40 h 93"/>
                <a:gd name="T22" fmla="*/ 60 w 60"/>
                <a:gd name="T23" fmla="*/ 70 h 93"/>
                <a:gd name="T24" fmla="*/ 60 w 60"/>
                <a:gd name="T25" fmla="*/ 50 h 93"/>
                <a:gd name="T26" fmla="*/ 40 w 60"/>
                <a:gd name="T27" fmla="*/ 30 h 93"/>
                <a:gd name="T28" fmla="*/ 39 w 60"/>
                <a:gd name="T29" fmla="*/ 19 h 93"/>
                <a:gd name="T30" fmla="*/ 50 w 60"/>
                <a:gd name="T31" fmla="*/ 20 h 93"/>
                <a:gd name="T32" fmla="*/ 60 w 60"/>
                <a:gd name="T33" fmla="*/ 30 h 93"/>
                <a:gd name="T34" fmla="*/ 60 w 60"/>
                <a:gd name="T35" fmla="*/ 1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93">
                  <a:moveTo>
                    <a:pt x="60" y="11"/>
                  </a:moveTo>
                  <a:cubicBezTo>
                    <a:pt x="60" y="10"/>
                    <a:pt x="60" y="10"/>
                    <a:pt x="60" y="10"/>
                  </a:cubicBezTo>
                  <a:cubicBezTo>
                    <a:pt x="50" y="0"/>
                    <a:pt x="37" y="1"/>
                    <a:pt x="30" y="9"/>
                  </a:cubicBezTo>
                  <a:cubicBezTo>
                    <a:pt x="24" y="15"/>
                    <a:pt x="23" y="21"/>
                    <a:pt x="24" y="24"/>
                  </a:cubicBezTo>
                  <a:cubicBezTo>
                    <a:pt x="21" y="24"/>
                    <a:pt x="15" y="24"/>
                    <a:pt x="9" y="30"/>
                  </a:cubicBezTo>
                  <a:cubicBezTo>
                    <a:pt x="1" y="38"/>
                    <a:pt x="0" y="50"/>
                    <a:pt x="10" y="60"/>
                  </a:cubicBezTo>
                  <a:cubicBezTo>
                    <a:pt x="43" y="93"/>
                    <a:pt x="43" y="93"/>
                    <a:pt x="43" y="93"/>
                  </a:cubicBezTo>
                  <a:cubicBezTo>
                    <a:pt x="53" y="83"/>
                    <a:pt x="53" y="83"/>
                    <a:pt x="53" y="83"/>
                  </a:cubicBezTo>
                  <a:cubicBezTo>
                    <a:pt x="20" y="50"/>
                    <a:pt x="20" y="50"/>
                    <a:pt x="20" y="50"/>
                  </a:cubicBezTo>
                  <a:cubicBezTo>
                    <a:pt x="16" y="46"/>
                    <a:pt x="17" y="42"/>
                    <a:pt x="19" y="39"/>
                  </a:cubicBezTo>
                  <a:cubicBezTo>
                    <a:pt x="22" y="37"/>
                    <a:pt x="26" y="36"/>
                    <a:pt x="30" y="40"/>
                  </a:cubicBezTo>
                  <a:cubicBezTo>
                    <a:pt x="60" y="70"/>
                    <a:pt x="60" y="70"/>
                    <a:pt x="60" y="70"/>
                  </a:cubicBezTo>
                  <a:cubicBezTo>
                    <a:pt x="60" y="50"/>
                    <a:pt x="60" y="50"/>
                    <a:pt x="60" y="50"/>
                  </a:cubicBezTo>
                  <a:cubicBezTo>
                    <a:pt x="40" y="30"/>
                    <a:pt x="40" y="30"/>
                    <a:pt x="40" y="30"/>
                  </a:cubicBezTo>
                  <a:cubicBezTo>
                    <a:pt x="36" y="26"/>
                    <a:pt x="37" y="22"/>
                    <a:pt x="39" y="19"/>
                  </a:cubicBezTo>
                  <a:cubicBezTo>
                    <a:pt x="42" y="17"/>
                    <a:pt x="46" y="16"/>
                    <a:pt x="50" y="20"/>
                  </a:cubicBezTo>
                  <a:cubicBezTo>
                    <a:pt x="60" y="30"/>
                    <a:pt x="60" y="30"/>
                    <a:pt x="60" y="30"/>
                  </a:cubicBezTo>
                  <a:lnTo>
                    <a:pt x="60" y="11"/>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105"/>
            <p:cNvSpPr>
              <a:spLocks/>
            </p:cNvSpPr>
            <p:nvPr/>
          </p:nvSpPr>
          <p:spPr bwMode="auto">
            <a:xfrm>
              <a:off x="8141337" y="4415076"/>
              <a:ext cx="103629" cy="66531"/>
            </a:xfrm>
            <a:custGeom>
              <a:avLst/>
              <a:gdLst>
                <a:gd name="T0" fmla="*/ 50 w 62"/>
                <a:gd name="T1" fmla="*/ 33 h 42"/>
                <a:gd name="T2" fmla="*/ 40 w 62"/>
                <a:gd name="T3" fmla="*/ 40 h 42"/>
                <a:gd name="T4" fmla="*/ 31 w 62"/>
                <a:gd name="T5" fmla="*/ 13 h 42"/>
                <a:gd name="T6" fmla="*/ 30 w 62"/>
                <a:gd name="T7" fmla="*/ 13 h 42"/>
                <a:gd name="T8" fmla="*/ 24 w 62"/>
                <a:gd name="T9" fmla="*/ 33 h 42"/>
                <a:gd name="T10" fmla="*/ 14 w 62"/>
                <a:gd name="T11" fmla="*/ 40 h 42"/>
                <a:gd name="T12" fmla="*/ 0 w 62"/>
                <a:gd name="T13" fmla="*/ 0 h 42"/>
                <a:gd name="T14" fmla="*/ 10 w 62"/>
                <a:gd name="T15" fmla="*/ 0 h 42"/>
                <a:gd name="T16" fmla="*/ 18 w 62"/>
                <a:gd name="T17" fmla="*/ 27 h 42"/>
                <a:gd name="T18" fmla="*/ 18 w 62"/>
                <a:gd name="T19" fmla="*/ 27 h 42"/>
                <a:gd name="T20" fmla="*/ 27 w 62"/>
                <a:gd name="T21" fmla="*/ 0 h 42"/>
                <a:gd name="T22" fmla="*/ 35 w 62"/>
                <a:gd name="T23" fmla="*/ 0 h 42"/>
                <a:gd name="T24" fmla="*/ 44 w 62"/>
                <a:gd name="T25" fmla="*/ 27 h 42"/>
                <a:gd name="T26" fmla="*/ 44 w 62"/>
                <a:gd name="T27" fmla="*/ 27 h 42"/>
                <a:gd name="T28" fmla="*/ 52 w 62"/>
                <a:gd name="T29" fmla="*/ 0 h 42"/>
                <a:gd name="T30" fmla="*/ 62 w 62"/>
                <a:gd name="T31" fmla="*/ 0 h 42"/>
                <a:gd name="T32" fmla="*/ 50 w 62"/>
                <a:gd name="T33" fmla="*/ 3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 h="42">
                  <a:moveTo>
                    <a:pt x="50" y="33"/>
                  </a:moveTo>
                  <a:cubicBezTo>
                    <a:pt x="47" y="42"/>
                    <a:pt x="40" y="40"/>
                    <a:pt x="40" y="40"/>
                  </a:cubicBezTo>
                  <a:cubicBezTo>
                    <a:pt x="31" y="13"/>
                    <a:pt x="31" y="13"/>
                    <a:pt x="31" y="13"/>
                  </a:cubicBezTo>
                  <a:cubicBezTo>
                    <a:pt x="30" y="13"/>
                    <a:pt x="30" y="13"/>
                    <a:pt x="30" y="13"/>
                  </a:cubicBezTo>
                  <a:cubicBezTo>
                    <a:pt x="30" y="13"/>
                    <a:pt x="26" y="26"/>
                    <a:pt x="24" y="33"/>
                  </a:cubicBezTo>
                  <a:cubicBezTo>
                    <a:pt x="21" y="42"/>
                    <a:pt x="14" y="40"/>
                    <a:pt x="14" y="40"/>
                  </a:cubicBezTo>
                  <a:cubicBezTo>
                    <a:pt x="0" y="0"/>
                    <a:pt x="0" y="0"/>
                    <a:pt x="0" y="0"/>
                  </a:cubicBezTo>
                  <a:cubicBezTo>
                    <a:pt x="10" y="0"/>
                    <a:pt x="10" y="0"/>
                    <a:pt x="10" y="0"/>
                  </a:cubicBezTo>
                  <a:cubicBezTo>
                    <a:pt x="18" y="27"/>
                    <a:pt x="18" y="27"/>
                    <a:pt x="18" y="27"/>
                  </a:cubicBezTo>
                  <a:cubicBezTo>
                    <a:pt x="18" y="27"/>
                    <a:pt x="18" y="27"/>
                    <a:pt x="18" y="27"/>
                  </a:cubicBezTo>
                  <a:cubicBezTo>
                    <a:pt x="27" y="0"/>
                    <a:pt x="27" y="0"/>
                    <a:pt x="27" y="0"/>
                  </a:cubicBezTo>
                  <a:cubicBezTo>
                    <a:pt x="35" y="0"/>
                    <a:pt x="35" y="0"/>
                    <a:pt x="35" y="0"/>
                  </a:cubicBezTo>
                  <a:cubicBezTo>
                    <a:pt x="44" y="27"/>
                    <a:pt x="44" y="27"/>
                    <a:pt x="44" y="27"/>
                  </a:cubicBezTo>
                  <a:cubicBezTo>
                    <a:pt x="44" y="27"/>
                    <a:pt x="44" y="27"/>
                    <a:pt x="44" y="27"/>
                  </a:cubicBezTo>
                  <a:cubicBezTo>
                    <a:pt x="52" y="0"/>
                    <a:pt x="52" y="0"/>
                    <a:pt x="52" y="0"/>
                  </a:cubicBezTo>
                  <a:cubicBezTo>
                    <a:pt x="62" y="0"/>
                    <a:pt x="62" y="0"/>
                    <a:pt x="62" y="0"/>
                  </a:cubicBezTo>
                  <a:cubicBezTo>
                    <a:pt x="62" y="0"/>
                    <a:pt x="53" y="26"/>
                    <a:pt x="50" y="33"/>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07" name="Freeform 106"/>
            <p:cNvSpPr>
              <a:spLocks noEditPoints="1"/>
            </p:cNvSpPr>
            <p:nvPr/>
          </p:nvSpPr>
          <p:spPr bwMode="auto">
            <a:xfrm>
              <a:off x="8246615" y="4413518"/>
              <a:ext cx="58645" cy="64973"/>
            </a:xfrm>
            <a:custGeom>
              <a:avLst/>
              <a:gdLst>
                <a:gd name="T0" fmla="*/ 27 w 35"/>
                <a:gd name="T1" fmla="*/ 41 h 41"/>
                <a:gd name="T2" fmla="*/ 25 w 35"/>
                <a:gd name="T3" fmla="*/ 37 h 41"/>
                <a:gd name="T4" fmla="*/ 13 w 35"/>
                <a:gd name="T5" fmla="*/ 41 h 41"/>
                <a:gd name="T6" fmla="*/ 0 w 35"/>
                <a:gd name="T7" fmla="*/ 29 h 41"/>
                <a:gd name="T8" fmla="*/ 17 w 35"/>
                <a:gd name="T9" fmla="*/ 16 h 41"/>
                <a:gd name="T10" fmla="*/ 24 w 35"/>
                <a:gd name="T11" fmla="*/ 15 h 41"/>
                <a:gd name="T12" fmla="*/ 24 w 35"/>
                <a:gd name="T13" fmla="*/ 14 h 41"/>
                <a:gd name="T14" fmla="*/ 16 w 35"/>
                <a:gd name="T15" fmla="*/ 8 h 41"/>
                <a:gd name="T16" fmla="*/ 6 w 35"/>
                <a:gd name="T17" fmla="*/ 11 h 41"/>
                <a:gd name="T18" fmla="*/ 3 w 35"/>
                <a:gd name="T19" fmla="*/ 4 h 41"/>
                <a:gd name="T20" fmla="*/ 18 w 35"/>
                <a:gd name="T21" fmla="*/ 0 h 41"/>
                <a:gd name="T22" fmla="*/ 34 w 35"/>
                <a:gd name="T23" fmla="*/ 14 h 41"/>
                <a:gd name="T24" fmla="*/ 34 w 35"/>
                <a:gd name="T25" fmla="*/ 30 h 41"/>
                <a:gd name="T26" fmla="*/ 35 w 35"/>
                <a:gd name="T27" fmla="*/ 41 h 41"/>
                <a:gd name="T28" fmla="*/ 27 w 35"/>
                <a:gd name="T29" fmla="*/ 41 h 41"/>
                <a:gd name="T30" fmla="*/ 24 w 35"/>
                <a:gd name="T31" fmla="*/ 22 h 41"/>
                <a:gd name="T32" fmla="*/ 18 w 35"/>
                <a:gd name="T33" fmla="*/ 22 h 41"/>
                <a:gd name="T34" fmla="*/ 10 w 35"/>
                <a:gd name="T35" fmla="*/ 28 h 41"/>
                <a:gd name="T36" fmla="*/ 17 w 35"/>
                <a:gd name="T37" fmla="*/ 33 h 41"/>
                <a:gd name="T38" fmla="*/ 24 w 35"/>
                <a:gd name="T39" fmla="*/ 31 h 41"/>
                <a:gd name="T40" fmla="*/ 24 w 35"/>
                <a:gd name="T41" fmla="*/ 2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 h="41">
                  <a:moveTo>
                    <a:pt x="27" y="41"/>
                  </a:moveTo>
                  <a:cubicBezTo>
                    <a:pt x="25" y="37"/>
                    <a:pt x="25" y="37"/>
                    <a:pt x="25" y="37"/>
                  </a:cubicBezTo>
                  <a:cubicBezTo>
                    <a:pt x="22" y="39"/>
                    <a:pt x="18" y="41"/>
                    <a:pt x="13" y="41"/>
                  </a:cubicBezTo>
                  <a:cubicBezTo>
                    <a:pt x="6" y="41"/>
                    <a:pt x="0" y="36"/>
                    <a:pt x="0" y="29"/>
                  </a:cubicBezTo>
                  <a:cubicBezTo>
                    <a:pt x="0" y="20"/>
                    <a:pt x="7" y="16"/>
                    <a:pt x="17" y="16"/>
                  </a:cubicBezTo>
                  <a:cubicBezTo>
                    <a:pt x="24" y="15"/>
                    <a:pt x="24" y="15"/>
                    <a:pt x="24" y="15"/>
                  </a:cubicBezTo>
                  <a:cubicBezTo>
                    <a:pt x="24" y="15"/>
                    <a:pt x="24" y="15"/>
                    <a:pt x="24" y="14"/>
                  </a:cubicBezTo>
                  <a:cubicBezTo>
                    <a:pt x="24" y="10"/>
                    <a:pt x="21" y="8"/>
                    <a:pt x="16" y="8"/>
                  </a:cubicBezTo>
                  <a:cubicBezTo>
                    <a:pt x="12" y="8"/>
                    <a:pt x="9" y="9"/>
                    <a:pt x="6" y="11"/>
                  </a:cubicBezTo>
                  <a:cubicBezTo>
                    <a:pt x="3" y="4"/>
                    <a:pt x="3" y="4"/>
                    <a:pt x="3" y="4"/>
                  </a:cubicBezTo>
                  <a:cubicBezTo>
                    <a:pt x="8" y="1"/>
                    <a:pt x="13" y="0"/>
                    <a:pt x="18" y="0"/>
                  </a:cubicBezTo>
                  <a:cubicBezTo>
                    <a:pt x="28" y="0"/>
                    <a:pt x="34" y="4"/>
                    <a:pt x="34" y="14"/>
                  </a:cubicBezTo>
                  <a:cubicBezTo>
                    <a:pt x="34" y="30"/>
                    <a:pt x="34" y="30"/>
                    <a:pt x="34" y="30"/>
                  </a:cubicBezTo>
                  <a:cubicBezTo>
                    <a:pt x="34" y="36"/>
                    <a:pt x="34" y="39"/>
                    <a:pt x="35" y="41"/>
                  </a:cubicBezTo>
                  <a:lnTo>
                    <a:pt x="27" y="41"/>
                  </a:lnTo>
                  <a:close/>
                  <a:moveTo>
                    <a:pt x="24" y="22"/>
                  </a:moveTo>
                  <a:cubicBezTo>
                    <a:pt x="18" y="22"/>
                    <a:pt x="18" y="22"/>
                    <a:pt x="18" y="22"/>
                  </a:cubicBezTo>
                  <a:cubicBezTo>
                    <a:pt x="13" y="23"/>
                    <a:pt x="10" y="24"/>
                    <a:pt x="10" y="28"/>
                  </a:cubicBezTo>
                  <a:cubicBezTo>
                    <a:pt x="10" y="31"/>
                    <a:pt x="13" y="33"/>
                    <a:pt x="17" y="33"/>
                  </a:cubicBezTo>
                  <a:cubicBezTo>
                    <a:pt x="20" y="33"/>
                    <a:pt x="23" y="32"/>
                    <a:pt x="24" y="31"/>
                  </a:cubicBezTo>
                  <a:lnTo>
                    <a:pt x="24" y="22"/>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08" name="Freeform 107"/>
            <p:cNvSpPr>
              <a:spLocks noEditPoints="1"/>
            </p:cNvSpPr>
            <p:nvPr/>
          </p:nvSpPr>
          <p:spPr bwMode="auto">
            <a:xfrm>
              <a:off x="8363669" y="4383257"/>
              <a:ext cx="63591" cy="95234"/>
            </a:xfrm>
            <a:custGeom>
              <a:avLst/>
              <a:gdLst>
                <a:gd name="T0" fmla="*/ 22 w 38"/>
                <a:gd name="T1" fmla="*/ 60 h 60"/>
                <a:gd name="T2" fmla="*/ 0 w 38"/>
                <a:gd name="T3" fmla="*/ 40 h 60"/>
                <a:gd name="T4" fmla="*/ 22 w 38"/>
                <a:gd name="T5" fmla="*/ 19 h 60"/>
                <a:gd name="T6" fmla="*/ 27 w 38"/>
                <a:gd name="T7" fmla="*/ 19 h 60"/>
                <a:gd name="T8" fmla="*/ 28 w 38"/>
                <a:gd name="T9" fmla="*/ 0 h 60"/>
                <a:gd name="T10" fmla="*/ 38 w 38"/>
                <a:gd name="T11" fmla="*/ 0 h 60"/>
                <a:gd name="T12" fmla="*/ 37 w 38"/>
                <a:gd name="T13" fmla="*/ 57 h 60"/>
                <a:gd name="T14" fmla="*/ 22 w 38"/>
                <a:gd name="T15" fmla="*/ 60 h 60"/>
                <a:gd name="T16" fmla="*/ 27 w 38"/>
                <a:gd name="T17" fmla="*/ 27 h 60"/>
                <a:gd name="T18" fmla="*/ 23 w 38"/>
                <a:gd name="T19" fmla="*/ 27 h 60"/>
                <a:gd name="T20" fmla="*/ 10 w 38"/>
                <a:gd name="T21" fmla="*/ 39 h 60"/>
                <a:gd name="T22" fmla="*/ 23 w 38"/>
                <a:gd name="T23" fmla="*/ 52 h 60"/>
                <a:gd name="T24" fmla="*/ 27 w 38"/>
                <a:gd name="T25" fmla="*/ 51 h 60"/>
                <a:gd name="T26" fmla="*/ 27 w 38"/>
                <a:gd name="T27" fmla="*/ 2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60">
                  <a:moveTo>
                    <a:pt x="22" y="60"/>
                  </a:moveTo>
                  <a:cubicBezTo>
                    <a:pt x="10" y="60"/>
                    <a:pt x="0" y="53"/>
                    <a:pt x="0" y="40"/>
                  </a:cubicBezTo>
                  <a:cubicBezTo>
                    <a:pt x="0" y="28"/>
                    <a:pt x="9" y="19"/>
                    <a:pt x="22" y="19"/>
                  </a:cubicBezTo>
                  <a:cubicBezTo>
                    <a:pt x="24" y="19"/>
                    <a:pt x="26" y="19"/>
                    <a:pt x="27" y="19"/>
                  </a:cubicBezTo>
                  <a:cubicBezTo>
                    <a:pt x="28" y="0"/>
                    <a:pt x="28" y="0"/>
                    <a:pt x="28" y="0"/>
                  </a:cubicBezTo>
                  <a:cubicBezTo>
                    <a:pt x="38" y="0"/>
                    <a:pt x="38" y="0"/>
                    <a:pt x="38" y="0"/>
                  </a:cubicBezTo>
                  <a:cubicBezTo>
                    <a:pt x="37" y="57"/>
                    <a:pt x="37" y="57"/>
                    <a:pt x="37" y="57"/>
                  </a:cubicBezTo>
                  <a:cubicBezTo>
                    <a:pt x="34" y="59"/>
                    <a:pt x="29" y="60"/>
                    <a:pt x="22" y="60"/>
                  </a:cubicBezTo>
                  <a:close/>
                  <a:moveTo>
                    <a:pt x="27" y="27"/>
                  </a:moveTo>
                  <a:cubicBezTo>
                    <a:pt x="26" y="27"/>
                    <a:pt x="25" y="27"/>
                    <a:pt x="23" y="27"/>
                  </a:cubicBezTo>
                  <a:cubicBezTo>
                    <a:pt x="16" y="27"/>
                    <a:pt x="10" y="32"/>
                    <a:pt x="10" y="39"/>
                  </a:cubicBezTo>
                  <a:cubicBezTo>
                    <a:pt x="10" y="47"/>
                    <a:pt x="15" y="52"/>
                    <a:pt x="23" y="52"/>
                  </a:cubicBezTo>
                  <a:cubicBezTo>
                    <a:pt x="24" y="52"/>
                    <a:pt x="26" y="52"/>
                    <a:pt x="27" y="51"/>
                  </a:cubicBezTo>
                  <a:lnTo>
                    <a:pt x="27" y="2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09" name="Freeform 108"/>
            <p:cNvSpPr>
              <a:spLocks/>
            </p:cNvSpPr>
            <p:nvPr/>
          </p:nvSpPr>
          <p:spPr bwMode="auto">
            <a:xfrm>
              <a:off x="8114724" y="4383257"/>
              <a:ext cx="16722" cy="95234"/>
            </a:xfrm>
            <a:custGeom>
              <a:avLst/>
              <a:gdLst>
                <a:gd name="T0" fmla="*/ 10 w 10"/>
                <a:gd name="T1" fmla="*/ 53 h 60"/>
                <a:gd name="T2" fmla="*/ 0 w 10"/>
                <a:gd name="T3" fmla="*/ 60 h 60"/>
                <a:gd name="T4" fmla="*/ 0 w 10"/>
                <a:gd name="T5" fmla="*/ 0 h 60"/>
                <a:gd name="T6" fmla="*/ 10 w 10"/>
                <a:gd name="T7" fmla="*/ 0 h 60"/>
                <a:gd name="T8" fmla="*/ 10 w 10"/>
                <a:gd name="T9" fmla="*/ 53 h 60"/>
              </a:gdLst>
              <a:ahLst/>
              <a:cxnLst>
                <a:cxn ang="0">
                  <a:pos x="T0" y="T1"/>
                </a:cxn>
                <a:cxn ang="0">
                  <a:pos x="T2" y="T3"/>
                </a:cxn>
                <a:cxn ang="0">
                  <a:pos x="T4" y="T5"/>
                </a:cxn>
                <a:cxn ang="0">
                  <a:pos x="T6" y="T7"/>
                </a:cxn>
                <a:cxn ang="0">
                  <a:pos x="T8" y="T9"/>
                </a:cxn>
              </a:cxnLst>
              <a:rect l="0" t="0" r="r" b="b"/>
              <a:pathLst>
                <a:path w="10" h="60">
                  <a:moveTo>
                    <a:pt x="10" y="53"/>
                  </a:moveTo>
                  <a:cubicBezTo>
                    <a:pt x="10" y="60"/>
                    <a:pt x="0" y="60"/>
                    <a:pt x="0" y="60"/>
                  </a:cubicBezTo>
                  <a:cubicBezTo>
                    <a:pt x="0" y="0"/>
                    <a:pt x="0" y="0"/>
                    <a:pt x="0" y="0"/>
                  </a:cubicBezTo>
                  <a:cubicBezTo>
                    <a:pt x="10" y="0"/>
                    <a:pt x="10" y="0"/>
                    <a:pt x="10" y="0"/>
                  </a:cubicBezTo>
                  <a:cubicBezTo>
                    <a:pt x="10" y="0"/>
                    <a:pt x="10" y="45"/>
                    <a:pt x="10" y="53"/>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10" name="Freeform 109"/>
            <p:cNvSpPr>
              <a:spLocks/>
            </p:cNvSpPr>
            <p:nvPr/>
          </p:nvSpPr>
          <p:spPr bwMode="auto">
            <a:xfrm>
              <a:off x="8081279" y="4383257"/>
              <a:ext cx="16722" cy="95234"/>
            </a:xfrm>
            <a:custGeom>
              <a:avLst/>
              <a:gdLst>
                <a:gd name="T0" fmla="*/ 10 w 10"/>
                <a:gd name="T1" fmla="*/ 53 h 60"/>
                <a:gd name="T2" fmla="*/ 0 w 10"/>
                <a:gd name="T3" fmla="*/ 60 h 60"/>
                <a:gd name="T4" fmla="*/ 0 w 10"/>
                <a:gd name="T5" fmla="*/ 0 h 60"/>
                <a:gd name="T6" fmla="*/ 10 w 10"/>
                <a:gd name="T7" fmla="*/ 0 h 60"/>
                <a:gd name="T8" fmla="*/ 10 w 10"/>
                <a:gd name="T9" fmla="*/ 53 h 60"/>
              </a:gdLst>
              <a:ahLst/>
              <a:cxnLst>
                <a:cxn ang="0">
                  <a:pos x="T0" y="T1"/>
                </a:cxn>
                <a:cxn ang="0">
                  <a:pos x="T2" y="T3"/>
                </a:cxn>
                <a:cxn ang="0">
                  <a:pos x="T4" y="T5"/>
                </a:cxn>
                <a:cxn ang="0">
                  <a:pos x="T6" y="T7"/>
                </a:cxn>
                <a:cxn ang="0">
                  <a:pos x="T8" y="T9"/>
                </a:cxn>
              </a:cxnLst>
              <a:rect l="0" t="0" r="r" b="b"/>
              <a:pathLst>
                <a:path w="10" h="60">
                  <a:moveTo>
                    <a:pt x="10" y="53"/>
                  </a:moveTo>
                  <a:cubicBezTo>
                    <a:pt x="10" y="60"/>
                    <a:pt x="0" y="60"/>
                    <a:pt x="0" y="60"/>
                  </a:cubicBezTo>
                  <a:cubicBezTo>
                    <a:pt x="0" y="0"/>
                    <a:pt x="0" y="0"/>
                    <a:pt x="0" y="0"/>
                  </a:cubicBezTo>
                  <a:cubicBezTo>
                    <a:pt x="10" y="0"/>
                    <a:pt x="10" y="0"/>
                    <a:pt x="10" y="0"/>
                  </a:cubicBezTo>
                  <a:cubicBezTo>
                    <a:pt x="10" y="0"/>
                    <a:pt x="10" y="45"/>
                    <a:pt x="10" y="53"/>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11" name="Freeform 110"/>
            <p:cNvSpPr>
              <a:spLocks/>
            </p:cNvSpPr>
            <p:nvPr/>
          </p:nvSpPr>
          <p:spPr bwMode="auto">
            <a:xfrm>
              <a:off x="8318450" y="4413518"/>
              <a:ext cx="43571" cy="64973"/>
            </a:xfrm>
            <a:custGeom>
              <a:avLst/>
              <a:gdLst>
                <a:gd name="T0" fmla="*/ 22 w 26"/>
                <a:gd name="T1" fmla="*/ 10 h 41"/>
                <a:gd name="T2" fmla="*/ 18 w 26"/>
                <a:gd name="T3" fmla="*/ 9 h 41"/>
                <a:gd name="T4" fmla="*/ 10 w 26"/>
                <a:gd name="T5" fmla="*/ 12 h 41"/>
                <a:gd name="T6" fmla="*/ 10 w 26"/>
                <a:gd name="T7" fmla="*/ 34 h 41"/>
                <a:gd name="T8" fmla="*/ 0 w 26"/>
                <a:gd name="T9" fmla="*/ 41 h 41"/>
                <a:gd name="T10" fmla="*/ 0 w 26"/>
                <a:gd name="T11" fmla="*/ 1 h 41"/>
                <a:gd name="T12" fmla="*/ 9 w 26"/>
                <a:gd name="T13" fmla="*/ 1 h 41"/>
                <a:gd name="T14" fmla="*/ 10 w 26"/>
                <a:gd name="T15" fmla="*/ 5 h 41"/>
                <a:gd name="T16" fmla="*/ 21 w 26"/>
                <a:gd name="T17" fmla="*/ 0 h 41"/>
                <a:gd name="T18" fmla="*/ 26 w 26"/>
                <a:gd name="T19" fmla="*/ 2 h 41"/>
                <a:gd name="T20" fmla="*/ 22 w 26"/>
                <a:gd name="T21" fmla="*/ 1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41">
                  <a:moveTo>
                    <a:pt x="22" y="10"/>
                  </a:moveTo>
                  <a:cubicBezTo>
                    <a:pt x="21" y="9"/>
                    <a:pt x="19" y="9"/>
                    <a:pt x="18" y="9"/>
                  </a:cubicBezTo>
                  <a:cubicBezTo>
                    <a:pt x="15" y="9"/>
                    <a:pt x="13" y="10"/>
                    <a:pt x="10" y="12"/>
                  </a:cubicBezTo>
                  <a:cubicBezTo>
                    <a:pt x="10" y="12"/>
                    <a:pt x="10" y="26"/>
                    <a:pt x="10" y="34"/>
                  </a:cubicBezTo>
                  <a:cubicBezTo>
                    <a:pt x="10" y="41"/>
                    <a:pt x="0" y="41"/>
                    <a:pt x="0" y="41"/>
                  </a:cubicBezTo>
                  <a:cubicBezTo>
                    <a:pt x="0" y="1"/>
                    <a:pt x="0" y="1"/>
                    <a:pt x="0" y="1"/>
                  </a:cubicBezTo>
                  <a:cubicBezTo>
                    <a:pt x="9" y="1"/>
                    <a:pt x="9" y="1"/>
                    <a:pt x="9" y="1"/>
                  </a:cubicBezTo>
                  <a:cubicBezTo>
                    <a:pt x="10" y="5"/>
                    <a:pt x="10" y="5"/>
                    <a:pt x="10" y="5"/>
                  </a:cubicBezTo>
                  <a:cubicBezTo>
                    <a:pt x="14" y="2"/>
                    <a:pt x="17" y="0"/>
                    <a:pt x="21" y="0"/>
                  </a:cubicBezTo>
                  <a:cubicBezTo>
                    <a:pt x="23" y="0"/>
                    <a:pt x="25" y="1"/>
                    <a:pt x="26" y="2"/>
                  </a:cubicBezTo>
                  <a:lnTo>
                    <a:pt x="22" y="1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12" name="Freeform 111"/>
            <p:cNvSpPr>
              <a:spLocks/>
            </p:cNvSpPr>
            <p:nvPr/>
          </p:nvSpPr>
          <p:spPr bwMode="auto">
            <a:xfrm>
              <a:off x="7929133" y="4383257"/>
              <a:ext cx="98684" cy="93677"/>
            </a:xfrm>
            <a:custGeom>
              <a:avLst/>
              <a:gdLst>
                <a:gd name="T0" fmla="*/ 48 w 59"/>
                <a:gd name="T1" fmla="*/ 59 h 59"/>
                <a:gd name="T2" fmla="*/ 48 w 59"/>
                <a:gd name="T3" fmla="*/ 24 h 59"/>
                <a:gd name="T4" fmla="*/ 49 w 59"/>
                <a:gd name="T5" fmla="*/ 18 h 59"/>
                <a:gd name="T6" fmla="*/ 48 w 59"/>
                <a:gd name="T7" fmla="*/ 18 h 59"/>
                <a:gd name="T8" fmla="*/ 45 w 59"/>
                <a:gd name="T9" fmla="*/ 24 h 59"/>
                <a:gd name="T10" fmla="*/ 33 w 59"/>
                <a:gd name="T11" fmla="*/ 42 h 59"/>
                <a:gd name="T12" fmla="*/ 28 w 59"/>
                <a:gd name="T13" fmla="*/ 42 h 59"/>
                <a:gd name="T14" fmla="*/ 14 w 59"/>
                <a:gd name="T15" fmla="*/ 23 h 59"/>
                <a:gd name="T16" fmla="*/ 11 w 59"/>
                <a:gd name="T17" fmla="*/ 18 h 59"/>
                <a:gd name="T18" fmla="*/ 11 w 59"/>
                <a:gd name="T19" fmla="*/ 18 h 59"/>
                <a:gd name="T20" fmla="*/ 11 w 59"/>
                <a:gd name="T21" fmla="*/ 24 h 59"/>
                <a:gd name="T22" fmla="*/ 11 w 59"/>
                <a:gd name="T23" fmla="*/ 59 h 59"/>
                <a:gd name="T24" fmla="*/ 0 w 59"/>
                <a:gd name="T25" fmla="*/ 59 h 59"/>
                <a:gd name="T26" fmla="*/ 0 w 59"/>
                <a:gd name="T27" fmla="*/ 0 h 59"/>
                <a:gd name="T28" fmla="*/ 10 w 59"/>
                <a:gd name="T29" fmla="*/ 0 h 59"/>
                <a:gd name="T30" fmla="*/ 26 w 59"/>
                <a:gd name="T31" fmla="*/ 24 h 59"/>
                <a:gd name="T32" fmla="*/ 30 w 59"/>
                <a:gd name="T33" fmla="*/ 30 h 59"/>
                <a:gd name="T34" fmla="*/ 30 w 59"/>
                <a:gd name="T35" fmla="*/ 30 h 59"/>
                <a:gd name="T36" fmla="*/ 34 w 59"/>
                <a:gd name="T37" fmla="*/ 24 h 59"/>
                <a:gd name="T38" fmla="*/ 49 w 59"/>
                <a:gd name="T39" fmla="*/ 0 h 59"/>
                <a:gd name="T40" fmla="*/ 59 w 59"/>
                <a:gd name="T41" fmla="*/ 0 h 59"/>
                <a:gd name="T42" fmla="*/ 59 w 59"/>
                <a:gd name="T43" fmla="*/ 59 h 59"/>
                <a:gd name="T44" fmla="*/ 48 w 59"/>
                <a:gd name="T4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9" h="59">
                  <a:moveTo>
                    <a:pt x="48" y="59"/>
                  </a:moveTo>
                  <a:cubicBezTo>
                    <a:pt x="48" y="24"/>
                    <a:pt x="48" y="24"/>
                    <a:pt x="48" y="24"/>
                  </a:cubicBezTo>
                  <a:cubicBezTo>
                    <a:pt x="48" y="22"/>
                    <a:pt x="48" y="20"/>
                    <a:pt x="49" y="18"/>
                  </a:cubicBezTo>
                  <a:cubicBezTo>
                    <a:pt x="48" y="18"/>
                    <a:pt x="48" y="18"/>
                    <a:pt x="48" y="18"/>
                  </a:cubicBezTo>
                  <a:cubicBezTo>
                    <a:pt x="48" y="19"/>
                    <a:pt x="46" y="22"/>
                    <a:pt x="45" y="24"/>
                  </a:cubicBezTo>
                  <a:cubicBezTo>
                    <a:pt x="33" y="42"/>
                    <a:pt x="33" y="42"/>
                    <a:pt x="33" y="42"/>
                  </a:cubicBezTo>
                  <a:cubicBezTo>
                    <a:pt x="28" y="42"/>
                    <a:pt x="28" y="42"/>
                    <a:pt x="28" y="42"/>
                  </a:cubicBezTo>
                  <a:cubicBezTo>
                    <a:pt x="14" y="23"/>
                    <a:pt x="14" y="23"/>
                    <a:pt x="14" y="23"/>
                  </a:cubicBezTo>
                  <a:cubicBezTo>
                    <a:pt x="13" y="22"/>
                    <a:pt x="12" y="20"/>
                    <a:pt x="11" y="18"/>
                  </a:cubicBezTo>
                  <a:cubicBezTo>
                    <a:pt x="11" y="18"/>
                    <a:pt x="11" y="18"/>
                    <a:pt x="11" y="18"/>
                  </a:cubicBezTo>
                  <a:cubicBezTo>
                    <a:pt x="11" y="20"/>
                    <a:pt x="11" y="22"/>
                    <a:pt x="11" y="24"/>
                  </a:cubicBezTo>
                  <a:cubicBezTo>
                    <a:pt x="11" y="59"/>
                    <a:pt x="11" y="59"/>
                    <a:pt x="11" y="59"/>
                  </a:cubicBezTo>
                  <a:cubicBezTo>
                    <a:pt x="0" y="59"/>
                    <a:pt x="0" y="59"/>
                    <a:pt x="0" y="59"/>
                  </a:cubicBezTo>
                  <a:cubicBezTo>
                    <a:pt x="0" y="0"/>
                    <a:pt x="0" y="0"/>
                    <a:pt x="0" y="0"/>
                  </a:cubicBezTo>
                  <a:cubicBezTo>
                    <a:pt x="10" y="0"/>
                    <a:pt x="10" y="0"/>
                    <a:pt x="10" y="0"/>
                  </a:cubicBezTo>
                  <a:cubicBezTo>
                    <a:pt x="26" y="24"/>
                    <a:pt x="26" y="24"/>
                    <a:pt x="26" y="24"/>
                  </a:cubicBezTo>
                  <a:cubicBezTo>
                    <a:pt x="28" y="26"/>
                    <a:pt x="29" y="28"/>
                    <a:pt x="30" y="30"/>
                  </a:cubicBezTo>
                  <a:cubicBezTo>
                    <a:pt x="30" y="30"/>
                    <a:pt x="30" y="30"/>
                    <a:pt x="30" y="30"/>
                  </a:cubicBezTo>
                  <a:cubicBezTo>
                    <a:pt x="31" y="28"/>
                    <a:pt x="32" y="26"/>
                    <a:pt x="34" y="24"/>
                  </a:cubicBezTo>
                  <a:cubicBezTo>
                    <a:pt x="49" y="0"/>
                    <a:pt x="49" y="0"/>
                    <a:pt x="49" y="0"/>
                  </a:cubicBezTo>
                  <a:cubicBezTo>
                    <a:pt x="59" y="0"/>
                    <a:pt x="59" y="0"/>
                    <a:pt x="59" y="0"/>
                  </a:cubicBezTo>
                  <a:cubicBezTo>
                    <a:pt x="59" y="59"/>
                    <a:pt x="59" y="59"/>
                    <a:pt x="59" y="59"/>
                  </a:cubicBezTo>
                  <a:lnTo>
                    <a:pt x="48" y="5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13" name="Freeform 112"/>
            <p:cNvSpPr>
              <a:spLocks noEditPoints="1"/>
            </p:cNvSpPr>
            <p:nvPr/>
          </p:nvSpPr>
          <p:spPr bwMode="auto">
            <a:xfrm>
              <a:off x="8044539" y="4386372"/>
              <a:ext cx="21668" cy="92119"/>
            </a:xfrm>
            <a:custGeom>
              <a:avLst/>
              <a:gdLst>
                <a:gd name="T0" fmla="*/ 6 w 13"/>
                <a:gd name="T1" fmla="*/ 12 h 58"/>
                <a:gd name="T2" fmla="*/ 0 w 13"/>
                <a:gd name="T3" fmla="*/ 6 h 58"/>
                <a:gd name="T4" fmla="*/ 6 w 13"/>
                <a:gd name="T5" fmla="*/ 0 h 58"/>
                <a:gd name="T6" fmla="*/ 13 w 13"/>
                <a:gd name="T7" fmla="*/ 6 h 58"/>
                <a:gd name="T8" fmla="*/ 6 w 13"/>
                <a:gd name="T9" fmla="*/ 12 h 58"/>
                <a:gd name="T10" fmla="*/ 1 w 13"/>
                <a:gd name="T11" fmla="*/ 58 h 58"/>
                <a:gd name="T12" fmla="*/ 1 w 13"/>
                <a:gd name="T13" fmla="*/ 18 h 58"/>
                <a:gd name="T14" fmla="*/ 11 w 13"/>
                <a:gd name="T15" fmla="*/ 18 h 58"/>
                <a:gd name="T16" fmla="*/ 11 w 13"/>
                <a:gd name="T17" fmla="*/ 51 h 58"/>
                <a:gd name="T18" fmla="*/ 1 w 13"/>
                <a:gd name="T19"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58">
                  <a:moveTo>
                    <a:pt x="6" y="12"/>
                  </a:moveTo>
                  <a:cubicBezTo>
                    <a:pt x="3" y="12"/>
                    <a:pt x="0" y="9"/>
                    <a:pt x="0" y="6"/>
                  </a:cubicBezTo>
                  <a:cubicBezTo>
                    <a:pt x="0" y="2"/>
                    <a:pt x="3" y="0"/>
                    <a:pt x="6" y="0"/>
                  </a:cubicBezTo>
                  <a:cubicBezTo>
                    <a:pt x="10" y="0"/>
                    <a:pt x="13" y="2"/>
                    <a:pt x="13" y="6"/>
                  </a:cubicBezTo>
                  <a:cubicBezTo>
                    <a:pt x="13" y="9"/>
                    <a:pt x="10" y="12"/>
                    <a:pt x="6" y="12"/>
                  </a:cubicBezTo>
                  <a:close/>
                  <a:moveTo>
                    <a:pt x="1" y="58"/>
                  </a:moveTo>
                  <a:cubicBezTo>
                    <a:pt x="1" y="18"/>
                    <a:pt x="1" y="18"/>
                    <a:pt x="1" y="18"/>
                  </a:cubicBezTo>
                  <a:cubicBezTo>
                    <a:pt x="11" y="18"/>
                    <a:pt x="11" y="18"/>
                    <a:pt x="11" y="18"/>
                  </a:cubicBezTo>
                  <a:cubicBezTo>
                    <a:pt x="11" y="18"/>
                    <a:pt x="11" y="43"/>
                    <a:pt x="11" y="51"/>
                  </a:cubicBezTo>
                  <a:cubicBezTo>
                    <a:pt x="11" y="58"/>
                    <a:pt x="1" y="58"/>
                    <a:pt x="1" y="58"/>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14" name="Freeform 113"/>
            <p:cNvSpPr>
              <a:spLocks/>
            </p:cNvSpPr>
            <p:nvPr/>
          </p:nvSpPr>
          <p:spPr bwMode="auto">
            <a:xfrm>
              <a:off x="8224947" y="4510310"/>
              <a:ext cx="13425" cy="79436"/>
            </a:xfrm>
            <a:custGeom>
              <a:avLst/>
              <a:gdLst>
                <a:gd name="T0" fmla="*/ 8 w 8"/>
                <a:gd name="T1" fmla="*/ 44 h 50"/>
                <a:gd name="T2" fmla="*/ 0 w 8"/>
                <a:gd name="T3" fmla="*/ 50 h 50"/>
                <a:gd name="T4" fmla="*/ 0 w 8"/>
                <a:gd name="T5" fmla="*/ 0 h 50"/>
                <a:gd name="T6" fmla="*/ 8 w 8"/>
                <a:gd name="T7" fmla="*/ 0 h 50"/>
                <a:gd name="T8" fmla="*/ 8 w 8"/>
                <a:gd name="T9" fmla="*/ 44 h 50"/>
              </a:gdLst>
              <a:ahLst/>
              <a:cxnLst>
                <a:cxn ang="0">
                  <a:pos x="T0" y="T1"/>
                </a:cxn>
                <a:cxn ang="0">
                  <a:pos x="T2" y="T3"/>
                </a:cxn>
                <a:cxn ang="0">
                  <a:pos x="T4" y="T5"/>
                </a:cxn>
                <a:cxn ang="0">
                  <a:pos x="T6" y="T7"/>
                </a:cxn>
                <a:cxn ang="0">
                  <a:pos x="T8" y="T9"/>
                </a:cxn>
              </a:cxnLst>
              <a:rect l="0" t="0" r="r" b="b"/>
              <a:pathLst>
                <a:path w="8" h="50">
                  <a:moveTo>
                    <a:pt x="8" y="44"/>
                  </a:moveTo>
                  <a:cubicBezTo>
                    <a:pt x="8" y="50"/>
                    <a:pt x="0" y="50"/>
                    <a:pt x="0" y="50"/>
                  </a:cubicBezTo>
                  <a:cubicBezTo>
                    <a:pt x="0" y="0"/>
                    <a:pt x="0" y="0"/>
                    <a:pt x="0" y="0"/>
                  </a:cubicBezTo>
                  <a:cubicBezTo>
                    <a:pt x="8" y="0"/>
                    <a:pt x="8" y="0"/>
                    <a:pt x="8" y="0"/>
                  </a:cubicBezTo>
                  <a:cubicBezTo>
                    <a:pt x="8" y="0"/>
                    <a:pt x="8" y="37"/>
                    <a:pt x="8"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 name="Freeform 114"/>
            <p:cNvSpPr>
              <a:spLocks noEditPoints="1"/>
            </p:cNvSpPr>
            <p:nvPr/>
          </p:nvSpPr>
          <p:spPr bwMode="auto">
            <a:xfrm>
              <a:off x="8007562" y="4513425"/>
              <a:ext cx="18371" cy="76321"/>
            </a:xfrm>
            <a:custGeom>
              <a:avLst/>
              <a:gdLst>
                <a:gd name="T0" fmla="*/ 5 w 11"/>
                <a:gd name="T1" fmla="*/ 10 h 48"/>
                <a:gd name="T2" fmla="*/ 0 w 11"/>
                <a:gd name="T3" fmla="*/ 5 h 48"/>
                <a:gd name="T4" fmla="*/ 5 w 11"/>
                <a:gd name="T5" fmla="*/ 0 h 48"/>
                <a:gd name="T6" fmla="*/ 11 w 11"/>
                <a:gd name="T7" fmla="*/ 5 h 48"/>
                <a:gd name="T8" fmla="*/ 5 w 11"/>
                <a:gd name="T9" fmla="*/ 10 h 48"/>
                <a:gd name="T10" fmla="*/ 1 w 11"/>
                <a:gd name="T11" fmla="*/ 48 h 48"/>
                <a:gd name="T12" fmla="*/ 1 w 11"/>
                <a:gd name="T13" fmla="*/ 15 h 48"/>
                <a:gd name="T14" fmla="*/ 10 w 11"/>
                <a:gd name="T15" fmla="*/ 15 h 48"/>
                <a:gd name="T16" fmla="*/ 10 w 11"/>
                <a:gd name="T17" fmla="*/ 42 h 48"/>
                <a:gd name="T18" fmla="*/ 1 w 11"/>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48">
                  <a:moveTo>
                    <a:pt x="5" y="10"/>
                  </a:moveTo>
                  <a:cubicBezTo>
                    <a:pt x="3" y="10"/>
                    <a:pt x="0" y="7"/>
                    <a:pt x="0" y="5"/>
                  </a:cubicBezTo>
                  <a:cubicBezTo>
                    <a:pt x="0" y="2"/>
                    <a:pt x="3" y="0"/>
                    <a:pt x="5" y="0"/>
                  </a:cubicBezTo>
                  <a:cubicBezTo>
                    <a:pt x="8" y="0"/>
                    <a:pt x="11" y="2"/>
                    <a:pt x="11" y="5"/>
                  </a:cubicBezTo>
                  <a:cubicBezTo>
                    <a:pt x="11" y="7"/>
                    <a:pt x="8" y="10"/>
                    <a:pt x="5" y="10"/>
                  </a:cubicBezTo>
                  <a:close/>
                  <a:moveTo>
                    <a:pt x="1" y="48"/>
                  </a:moveTo>
                  <a:cubicBezTo>
                    <a:pt x="1" y="15"/>
                    <a:pt x="1" y="15"/>
                    <a:pt x="1" y="15"/>
                  </a:cubicBezTo>
                  <a:cubicBezTo>
                    <a:pt x="10" y="15"/>
                    <a:pt x="10" y="15"/>
                    <a:pt x="10" y="15"/>
                  </a:cubicBezTo>
                  <a:cubicBezTo>
                    <a:pt x="10" y="15"/>
                    <a:pt x="10" y="36"/>
                    <a:pt x="10" y="42"/>
                  </a:cubicBezTo>
                  <a:cubicBezTo>
                    <a:pt x="10" y="48"/>
                    <a:pt x="1" y="48"/>
                    <a:pt x="1"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 name="Freeform 115"/>
            <p:cNvSpPr>
              <a:spLocks noEditPoints="1"/>
            </p:cNvSpPr>
            <p:nvPr/>
          </p:nvSpPr>
          <p:spPr bwMode="auto">
            <a:xfrm>
              <a:off x="8094469" y="4513425"/>
              <a:ext cx="16722" cy="76321"/>
            </a:xfrm>
            <a:custGeom>
              <a:avLst/>
              <a:gdLst>
                <a:gd name="T0" fmla="*/ 5 w 10"/>
                <a:gd name="T1" fmla="*/ 10 h 48"/>
                <a:gd name="T2" fmla="*/ 0 w 10"/>
                <a:gd name="T3" fmla="*/ 5 h 48"/>
                <a:gd name="T4" fmla="*/ 5 w 10"/>
                <a:gd name="T5" fmla="*/ 0 h 48"/>
                <a:gd name="T6" fmla="*/ 10 w 10"/>
                <a:gd name="T7" fmla="*/ 5 h 48"/>
                <a:gd name="T8" fmla="*/ 5 w 10"/>
                <a:gd name="T9" fmla="*/ 10 h 48"/>
                <a:gd name="T10" fmla="*/ 1 w 10"/>
                <a:gd name="T11" fmla="*/ 48 h 48"/>
                <a:gd name="T12" fmla="*/ 1 w 10"/>
                <a:gd name="T13" fmla="*/ 15 h 48"/>
                <a:gd name="T14" fmla="*/ 9 w 10"/>
                <a:gd name="T15" fmla="*/ 15 h 48"/>
                <a:gd name="T16" fmla="*/ 9 w 10"/>
                <a:gd name="T17" fmla="*/ 42 h 48"/>
                <a:gd name="T18" fmla="*/ 1 w 10"/>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48">
                  <a:moveTo>
                    <a:pt x="5" y="10"/>
                  </a:moveTo>
                  <a:cubicBezTo>
                    <a:pt x="2" y="10"/>
                    <a:pt x="0" y="8"/>
                    <a:pt x="0" y="5"/>
                  </a:cubicBezTo>
                  <a:cubicBezTo>
                    <a:pt x="0" y="2"/>
                    <a:pt x="2" y="0"/>
                    <a:pt x="5" y="0"/>
                  </a:cubicBezTo>
                  <a:cubicBezTo>
                    <a:pt x="8" y="0"/>
                    <a:pt x="10" y="2"/>
                    <a:pt x="10" y="5"/>
                  </a:cubicBezTo>
                  <a:cubicBezTo>
                    <a:pt x="10" y="8"/>
                    <a:pt x="8" y="10"/>
                    <a:pt x="5" y="10"/>
                  </a:cubicBezTo>
                  <a:close/>
                  <a:moveTo>
                    <a:pt x="1" y="48"/>
                  </a:moveTo>
                  <a:cubicBezTo>
                    <a:pt x="1" y="15"/>
                    <a:pt x="1" y="15"/>
                    <a:pt x="1" y="15"/>
                  </a:cubicBezTo>
                  <a:cubicBezTo>
                    <a:pt x="9" y="15"/>
                    <a:pt x="9" y="15"/>
                    <a:pt x="9" y="15"/>
                  </a:cubicBezTo>
                  <a:cubicBezTo>
                    <a:pt x="9" y="15"/>
                    <a:pt x="9" y="36"/>
                    <a:pt x="9" y="42"/>
                  </a:cubicBezTo>
                  <a:cubicBezTo>
                    <a:pt x="9" y="48"/>
                    <a:pt x="1" y="48"/>
                    <a:pt x="1"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 name="Freeform 116"/>
            <p:cNvSpPr>
              <a:spLocks noEditPoints="1"/>
            </p:cNvSpPr>
            <p:nvPr/>
          </p:nvSpPr>
          <p:spPr bwMode="auto">
            <a:xfrm>
              <a:off x="7929133" y="4510310"/>
              <a:ext cx="70185" cy="77879"/>
            </a:xfrm>
            <a:custGeom>
              <a:avLst/>
              <a:gdLst>
                <a:gd name="T0" fmla="*/ 0 w 42"/>
                <a:gd name="T1" fmla="*/ 0 h 49"/>
                <a:gd name="T2" fmla="*/ 15 w 42"/>
                <a:gd name="T3" fmla="*/ 0 h 49"/>
                <a:gd name="T4" fmla="*/ 42 w 42"/>
                <a:gd name="T5" fmla="*/ 25 h 49"/>
                <a:gd name="T6" fmla="*/ 14 w 42"/>
                <a:gd name="T7" fmla="*/ 49 h 49"/>
                <a:gd name="T8" fmla="*/ 0 w 42"/>
                <a:gd name="T9" fmla="*/ 49 h 49"/>
                <a:gd name="T10" fmla="*/ 0 w 42"/>
                <a:gd name="T11" fmla="*/ 0 h 49"/>
                <a:gd name="T12" fmla="*/ 14 w 42"/>
                <a:gd name="T13" fmla="*/ 42 h 49"/>
                <a:gd name="T14" fmla="*/ 32 w 42"/>
                <a:gd name="T15" fmla="*/ 25 h 49"/>
                <a:gd name="T16" fmla="*/ 14 w 42"/>
                <a:gd name="T17" fmla="*/ 8 h 49"/>
                <a:gd name="T18" fmla="*/ 8 w 42"/>
                <a:gd name="T19" fmla="*/ 8 h 49"/>
                <a:gd name="T20" fmla="*/ 8 w 42"/>
                <a:gd name="T21" fmla="*/ 42 h 49"/>
                <a:gd name="T22" fmla="*/ 14 w 42"/>
                <a:gd name="T23" fmla="*/ 4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49">
                  <a:moveTo>
                    <a:pt x="0" y="0"/>
                  </a:moveTo>
                  <a:cubicBezTo>
                    <a:pt x="15" y="0"/>
                    <a:pt x="15" y="0"/>
                    <a:pt x="15" y="0"/>
                  </a:cubicBezTo>
                  <a:cubicBezTo>
                    <a:pt x="32" y="0"/>
                    <a:pt x="42" y="10"/>
                    <a:pt x="42" y="25"/>
                  </a:cubicBezTo>
                  <a:cubicBezTo>
                    <a:pt x="42" y="40"/>
                    <a:pt x="31" y="49"/>
                    <a:pt x="14" y="49"/>
                  </a:cubicBezTo>
                  <a:cubicBezTo>
                    <a:pt x="0" y="49"/>
                    <a:pt x="0" y="49"/>
                    <a:pt x="0" y="49"/>
                  </a:cubicBezTo>
                  <a:lnTo>
                    <a:pt x="0" y="0"/>
                  </a:lnTo>
                  <a:close/>
                  <a:moveTo>
                    <a:pt x="14" y="42"/>
                  </a:moveTo>
                  <a:cubicBezTo>
                    <a:pt x="27" y="42"/>
                    <a:pt x="32" y="34"/>
                    <a:pt x="32" y="25"/>
                  </a:cubicBezTo>
                  <a:cubicBezTo>
                    <a:pt x="32" y="15"/>
                    <a:pt x="26" y="8"/>
                    <a:pt x="14" y="8"/>
                  </a:cubicBezTo>
                  <a:cubicBezTo>
                    <a:pt x="8" y="8"/>
                    <a:pt x="8" y="8"/>
                    <a:pt x="8" y="8"/>
                  </a:cubicBezTo>
                  <a:cubicBezTo>
                    <a:pt x="8" y="42"/>
                    <a:pt x="8" y="42"/>
                    <a:pt x="8" y="42"/>
                  </a:cubicBezTo>
                  <a:lnTo>
                    <a:pt x="1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 name="Freeform 117"/>
            <p:cNvSpPr>
              <a:spLocks noEditPoints="1"/>
            </p:cNvSpPr>
            <p:nvPr/>
          </p:nvSpPr>
          <p:spPr bwMode="auto">
            <a:xfrm>
              <a:off x="8031114" y="4529223"/>
              <a:ext cx="58409" cy="87447"/>
            </a:xfrm>
            <a:custGeom>
              <a:avLst/>
              <a:gdLst>
                <a:gd name="T0" fmla="*/ 0 w 35"/>
                <a:gd name="T1" fmla="*/ 45 h 55"/>
                <a:gd name="T2" fmla="*/ 6 w 35"/>
                <a:gd name="T3" fmla="*/ 37 h 55"/>
                <a:gd name="T4" fmla="*/ 4 w 35"/>
                <a:gd name="T5" fmla="*/ 32 h 55"/>
                <a:gd name="T6" fmla="*/ 8 w 35"/>
                <a:gd name="T7" fmla="*/ 26 h 55"/>
                <a:gd name="T8" fmla="*/ 2 w 35"/>
                <a:gd name="T9" fmla="*/ 15 h 55"/>
                <a:gd name="T10" fmla="*/ 16 w 35"/>
                <a:gd name="T11" fmla="*/ 2 h 55"/>
                <a:gd name="T12" fmla="*/ 23 w 35"/>
                <a:gd name="T13" fmla="*/ 3 h 55"/>
                <a:gd name="T14" fmla="*/ 24 w 35"/>
                <a:gd name="T15" fmla="*/ 3 h 55"/>
                <a:gd name="T16" fmla="*/ 33 w 35"/>
                <a:gd name="T17" fmla="*/ 0 h 55"/>
                <a:gd name="T18" fmla="*/ 35 w 35"/>
                <a:gd name="T19" fmla="*/ 0 h 55"/>
                <a:gd name="T20" fmla="*/ 33 w 35"/>
                <a:gd name="T21" fmla="*/ 7 h 55"/>
                <a:gd name="T22" fmla="*/ 31 w 35"/>
                <a:gd name="T23" fmla="*/ 6 h 55"/>
                <a:gd name="T24" fmla="*/ 28 w 35"/>
                <a:gd name="T25" fmla="*/ 7 h 55"/>
                <a:gd name="T26" fmla="*/ 31 w 35"/>
                <a:gd name="T27" fmla="*/ 15 h 55"/>
                <a:gd name="T28" fmla="*/ 17 w 35"/>
                <a:gd name="T29" fmla="*/ 28 h 55"/>
                <a:gd name="T30" fmla="*/ 12 w 35"/>
                <a:gd name="T31" fmla="*/ 28 h 55"/>
                <a:gd name="T32" fmla="*/ 12 w 35"/>
                <a:gd name="T33" fmla="*/ 30 h 55"/>
                <a:gd name="T34" fmla="*/ 35 w 35"/>
                <a:gd name="T35" fmla="*/ 44 h 55"/>
                <a:gd name="T36" fmla="*/ 16 w 35"/>
                <a:gd name="T37" fmla="*/ 55 h 55"/>
                <a:gd name="T38" fmla="*/ 0 w 35"/>
                <a:gd name="T39" fmla="*/ 45 h 55"/>
                <a:gd name="T40" fmla="*/ 26 w 35"/>
                <a:gd name="T41" fmla="*/ 45 h 55"/>
                <a:gd name="T42" fmla="*/ 10 w 35"/>
                <a:gd name="T43" fmla="*/ 39 h 55"/>
                <a:gd name="T44" fmla="*/ 8 w 35"/>
                <a:gd name="T45" fmla="*/ 44 h 55"/>
                <a:gd name="T46" fmla="*/ 17 w 35"/>
                <a:gd name="T47" fmla="*/ 49 h 55"/>
                <a:gd name="T48" fmla="*/ 26 w 35"/>
                <a:gd name="T49" fmla="*/ 45 h 55"/>
                <a:gd name="T50" fmla="*/ 23 w 35"/>
                <a:gd name="T51" fmla="*/ 15 h 55"/>
                <a:gd name="T52" fmla="*/ 17 w 35"/>
                <a:gd name="T53" fmla="*/ 9 h 55"/>
                <a:gd name="T54" fmla="*/ 10 w 35"/>
                <a:gd name="T55" fmla="*/ 15 h 55"/>
                <a:gd name="T56" fmla="*/ 17 w 35"/>
                <a:gd name="T57" fmla="*/ 22 h 55"/>
                <a:gd name="T58" fmla="*/ 23 w 35"/>
                <a:gd name="T59" fmla="*/ 1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 h="55">
                  <a:moveTo>
                    <a:pt x="0" y="45"/>
                  </a:moveTo>
                  <a:cubicBezTo>
                    <a:pt x="0" y="41"/>
                    <a:pt x="2" y="38"/>
                    <a:pt x="6" y="37"/>
                  </a:cubicBezTo>
                  <a:cubicBezTo>
                    <a:pt x="5" y="36"/>
                    <a:pt x="4" y="34"/>
                    <a:pt x="4" y="32"/>
                  </a:cubicBezTo>
                  <a:cubicBezTo>
                    <a:pt x="4" y="30"/>
                    <a:pt x="5" y="28"/>
                    <a:pt x="8" y="26"/>
                  </a:cubicBezTo>
                  <a:cubicBezTo>
                    <a:pt x="4" y="24"/>
                    <a:pt x="2" y="19"/>
                    <a:pt x="2" y="15"/>
                  </a:cubicBezTo>
                  <a:cubicBezTo>
                    <a:pt x="2" y="8"/>
                    <a:pt x="7" y="2"/>
                    <a:pt x="16" y="2"/>
                  </a:cubicBezTo>
                  <a:cubicBezTo>
                    <a:pt x="20" y="2"/>
                    <a:pt x="22" y="3"/>
                    <a:pt x="23" y="3"/>
                  </a:cubicBezTo>
                  <a:cubicBezTo>
                    <a:pt x="24" y="4"/>
                    <a:pt x="24" y="3"/>
                    <a:pt x="24" y="3"/>
                  </a:cubicBezTo>
                  <a:cubicBezTo>
                    <a:pt x="26" y="1"/>
                    <a:pt x="28" y="0"/>
                    <a:pt x="33" y="0"/>
                  </a:cubicBezTo>
                  <a:cubicBezTo>
                    <a:pt x="34" y="0"/>
                    <a:pt x="35" y="0"/>
                    <a:pt x="35" y="0"/>
                  </a:cubicBezTo>
                  <a:cubicBezTo>
                    <a:pt x="33" y="7"/>
                    <a:pt x="33" y="7"/>
                    <a:pt x="33" y="7"/>
                  </a:cubicBezTo>
                  <a:cubicBezTo>
                    <a:pt x="33" y="7"/>
                    <a:pt x="32" y="6"/>
                    <a:pt x="31" y="6"/>
                  </a:cubicBezTo>
                  <a:cubicBezTo>
                    <a:pt x="30" y="6"/>
                    <a:pt x="29" y="7"/>
                    <a:pt x="28" y="7"/>
                  </a:cubicBezTo>
                  <a:cubicBezTo>
                    <a:pt x="30" y="9"/>
                    <a:pt x="31" y="12"/>
                    <a:pt x="31" y="15"/>
                  </a:cubicBezTo>
                  <a:cubicBezTo>
                    <a:pt x="31" y="23"/>
                    <a:pt x="25" y="28"/>
                    <a:pt x="17" y="28"/>
                  </a:cubicBezTo>
                  <a:cubicBezTo>
                    <a:pt x="15" y="28"/>
                    <a:pt x="14" y="28"/>
                    <a:pt x="12" y="28"/>
                  </a:cubicBezTo>
                  <a:cubicBezTo>
                    <a:pt x="12" y="29"/>
                    <a:pt x="12" y="30"/>
                    <a:pt x="12" y="30"/>
                  </a:cubicBezTo>
                  <a:cubicBezTo>
                    <a:pt x="12" y="37"/>
                    <a:pt x="35" y="31"/>
                    <a:pt x="35" y="44"/>
                  </a:cubicBezTo>
                  <a:cubicBezTo>
                    <a:pt x="35" y="50"/>
                    <a:pt x="28" y="55"/>
                    <a:pt x="16" y="55"/>
                  </a:cubicBezTo>
                  <a:cubicBezTo>
                    <a:pt x="6" y="55"/>
                    <a:pt x="0" y="51"/>
                    <a:pt x="0" y="45"/>
                  </a:cubicBezTo>
                  <a:close/>
                  <a:moveTo>
                    <a:pt x="26" y="45"/>
                  </a:moveTo>
                  <a:cubicBezTo>
                    <a:pt x="26" y="40"/>
                    <a:pt x="15" y="41"/>
                    <a:pt x="10" y="39"/>
                  </a:cubicBezTo>
                  <a:cubicBezTo>
                    <a:pt x="9" y="40"/>
                    <a:pt x="8" y="41"/>
                    <a:pt x="8" y="44"/>
                  </a:cubicBezTo>
                  <a:cubicBezTo>
                    <a:pt x="8" y="47"/>
                    <a:pt x="11" y="49"/>
                    <a:pt x="17" y="49"/>
                  </a:cubicBezTo>
                  <a:cubicBezTo>
                    <a:pt x="23" y="49"/>
                    <a:pt x="26" y="47"/>
                    <a:pt x="26" y="45"/>
                  </a:cubicBezTo>
                  <a:close/>
                  <a:moveTo>
                    <a:pt x="23" y="15"/>
                  </a:moveTo>
                  <a:cubicBezTo>
                    <a:pt x="23" y="12"/>
                    <a:pt x="20" y="9"/>
                    <a:pt x="17" y="9"/>
                  </a:cubicBezTo>
                  <a:cubicBezTo>
                    <a:pt x="13" y="9"/>
                    <a:pt x="10" y="11"/>
                    <a:pt x="10" y="15"/>
                  </a:cubicBezTo>
                  <a:cubicBezTo>
                    <a:pt x="10" y="19"/>
                    <a:pt x="13" y="22"/>
                    <a:pt x="17" y="22"/>
                  </a:cubicBezTo>
                  <a:cubicBezTo>
                    <a:pt x="20" y="22"/>
                    <a:pt x="23" y="19"/>
                    <a:pt x="23"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 name="Freeform 138"/>
            <p:cNvSpPr>
              <a:spLocks/>
            </p:cNvSpPr>
            <p:nvPr/>
          </p:nvSpPr>
          <p:spPr bwMode="auto">
            <a:xfrm>
              <a:off x="8116372" y="4516540"/>
              <a:ext cx="44984" cy="74763"/>
            </a:xfrm>
            <a:custGeom>
              <a:avLst/>
              <a:gdLst>
                <a:gd name="T0" fmla="*/ 7 w 27"/>
                <a:gd name="T1" fmla="*/ 37 h 47"/>
                <a:gd name="T2" fmla="*/ 7 w 27"/>
                <a:gd name="T3" fmla="*/ 18 h 47"/>
                <a:gd name="T4" fmla="*/ 0 w 27"/>
                <a:gd name="T5" fmla="*/ 18 h 47"/>
                <a:gd name="T6" fmla="*/ 0 w 27"/>
                <a:gd name="T7" fmla="*/ 11 h 47"/>
                <a:gd name="T8" fmla="*/ 7 w 27"/>
                <a:gd name="T9" fmla="*/ 11 h 47"/>
                <a:gd name="T10" fmla="*/ 7 w 27"/>
                <a:gd name="T11" fmla="*/ 3 h 47"/>
                <a:gd name="T12" fmla="*/ 15 w 27"/>
                <a:gd name="T13" fmla="*/ 0 h 47"/>
                <a:gd name="T14" fmla="*/ 15 w 27"/>
                <a:gd name="T15" fmla="*/ 11 h 47"/>
                <a:gd name="T16" fmla="*/ 26 w 27"/>
                <a:gd name="T17" fmla="*/ 11 h 47"/>
                <a:gd name="T18" fmla="*/ 24 w 27"/>
                <a:gd name="T19" fmla="*/ 18 h 47"/>
                <a:gd name="T20" fmla="*/ 15 w 27"/>
                <a:gd name="T21" fmla="*/ 18 h 47"/>
                <a:gd name="T22" fmla="*/ 15 w 27"/>
                <a:gd name="T23" fmla="*/ 35 h 47"/>
                <a:gd name="T24" fmla="*/ 19 w 27"/>
                <a:gd name="T25" fmla="*/ 40 h 47"/>
                <a:gd name="T26" fmla="*/ 24 w 27"/>
                <a:gd name="T27" fmla="*/ 38 h 47"/>
                <a:gd name="T28" fmla="*/ 27 w 27"/>
                <a:gd name="T29" fmla="*/ 44 h 47"/>
                <a:gd name="T30" fmla="*/ 17 w 27"/>
                <a:gd name="T31" fmla="*/ 47 h 47"/>
                <a:gd name="T32" fmla="*/ 7 w 27"/>
                <a:gd name="T33" fmla="*/ 3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 h="47">
                  <a:moveTo>
                    <a:pt x="7" y="37"/>
                  </a:moveTo>
                  <a:cubicBezTo>
                    <a:pt x="7" y="18"/>
                    <a:pt x="7" y="18"/>
                    <a:pt x="7" y="18"/>
                  </a:cubicBezTo>
                  <a:cubicBezTo>
                    <a:pt x="0" y="18"/>
                    <a:pt x="0" y="18"/>
                    <a:pt x="0" y="18"/>
                  </a:cubicBezTo>
                  <a:cubicBezTo>
                    <a:pt x="0" y="11"/>
                    <a:pt x="0" y="11"/>
                    <a:pt x="0" y="11"/>
                  </a:cubicBezTo>
                  <a:cubicBezTo>
                    <a:pt x="7" y="11"/>
                    <a:pt x="7" y="11"/>
                    <a:pt x="7" y="11"/>
                  </a:cubicBezTo>
                  <a:cubicBezTo>
                    <a:pt x="7" y="3"/>
                    <a:pt x="7" y="3"/>
                    <a:pt x="7" y="3"/>
                  </a:cubicBezTo>
                  <a:cubicBezTo>
                    <a:pt x="15" y="0"/>
                    <a:pt x="15" y="0"/>
                    <a:pt x="15" y="0"/>
                  </a:cubicBezTo>
                  <a:cubicBezTo>
                    <a:pt x="15" y="11"/>
                    <a:pt x="15" y="11"/>
                    <a:pt x="15" y="11"/>
                  </a:cubicBezTo>
                  <a:cubicBezTo>
                    <a:pt x="26" y="11"/>
                    <a:pt x="26" y="11"/>
                    <a:pt x="26" y="11"/>
                  </a:cubicBezTo>
                  <a:cubicBezTo>
                    <a:pt x="24" y="18"/>
                    <a:pt x="24" y="18"/>
                    <a:pt x="24" y="18"/>
                  </a:cubicBezTo>
                  <a:cubicBezTo>
                    <a:pt x="15" y="18"/>
                    <a:pt x="15" y="18"/>
                    <a:pt x="15" y="18"/>
                  </a:cubicBezTo>
                  <a:cubicBezTo>
                    <a:pt x="15" y="35"/>
                    <a:pt x="15" y="35"/>
                    <a:pt x="15" y="35"/>
                  </a:cubicBezTo>
                  <a:cubicBezTo>
                    <a:pt x="15" y="38"/>
                    <a:pt x="17" y="40"/>
                    <a:pt x="19" y="40"/>
                  </a:cubicBezTo>
                  <a:cubicBezTo>
                    <a:pt x="21" y="40"/>
                    <a:pt x="23" y="39"/>
                    <a:pt x="24" y="38"/>
                  </a:cubicBezTo>
                  <a:cubicBezTo>
                    <a:pt x="27" y="44"/>
                    <a:pt x="27" y="44"/>
                    <a:pt x="27" y="44"/>
                  </a:cubicBezTo>
                  <a:cubicBezTo>
                    <a:pt x="24" y="46"/>
                    <a:pt x="20" y="47"/>
                    <a:pt x="17" y="47"/>
                  </a:cubicBezTo>
                  <a:cubicBezTo>
                    <a:pt x="10" y="47"/>
                    <a:pt x="7" y="43"/>
                    <a:pt x="7"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0" name="Freeform 139"/>
            <p:cNvSpPr>
              <a:spLocks noEditPoints="1"/>
            </p:cNvSpPr>
            <p:nvPr/>
          </p:nvSpPr>
          <p:spPr bwMode="auto">
            <a:xfrm>
              <a:off x="8163005" y="4532562"/>
              <a:ext cx="51814" cy="58743"/>
            </a:xfrm>
            <a:custGeom>
              <a:avLst/>
              <a:gdLst>
                <a:gd name="T0" fmla="*/ 22 w 31"/>
                <a:gd name="T1" fmla="*/ 33 h 37"/>
                <a:gd name="T2" fmla="*/ 12 w 31"/>
                <a:gd name="T3" fmla="*/ 37 h 37"/>
                <a:gd name="T4" fmla="*/ 0 w 31"/>
                <a:gd name="T5" fmla="*/ 26 h 37"/>
                <a:gd name="T6" fmla="*/ 6 w 31"/>
                <a:gd name="T7" fmla="*/ 16 h 37"/>
                <a:gd name="T8" fmla="*/ 15 w 31"/>
                <a:gd name="T9" fmla="*/ 14 h 37"/>
                <a:gd name="T10" fmla="*/ 21 w 31"/>
                <a:gd name="T11" fmla="*/ 14 h 37"/>
                <a:gd name="T12" fmla="*/ 21 w 31"/>
                <a:gd name="T13" fmla="*/ 13 h 37"/>
                <a:gd name="T14" fmla="*/ 15 w 31"/>
                <a:gd name="T15" fmla="*/ 7 h 37"/>
                <a:gd name="T16" fmla="*/ 5 w 31"/>
                <a:gd name="T17" fmla="*/ 9 h 37"/>
                <a:gd name="T18" fmla="*/ 3 w 31"/>
                <a:gd name="T19" fmla="*/ 4 h 37"/>
                <a:gd name="T20" fmla="*/ 16 w 31"/>
                <a:gd name="T21" fmla="*/ 0 h 37"/>
                <a:gd name="T22" fmla="*/ 30 w 31"/>
                <a:gd name="T23" fmla="*/ 13 h 37"/>
                <a:gd name="T24" fmla="*/ 30 w 31"/>
                <a:gd name="T25" fmla="*/ 27 h 37"/>
                <a:gd name="T26" fmla="*/ 31 w 31"/>
                <a:gd name="T27" fmla="*/ 36 h 37"/>
                <a:gd name="T28" fmla="*/ 24 w 31"/>
                <a:gd name="T29" fmla="*/ 36 h 37"/>
                <a:gd name="T30" fmla="*/ 22 w 31"/>
                <a:gd name="T31" fmla="*/ 33 h 37"/>
                <a:gd name="T32" fmla="*/ 17 w 31"/>
                <a:gd name="T33" fmla="*/ 20 h 37"/>
                <a:gd name="T34" fmla="*/ 12 w 31"/>
                <a:gd name="T35" fmla="*/ 21 h 37"/>
                <a:gd name="T36" fmla="*/ 9 w 31"/>
                <a:gd name="T37" fmla="*/ 25 h 37"/>
                <a:gd name="T38" fmla="*/ 15 w 31"/>
                <a:gd name="T39" fmla="*/ 30 h 37"/>
                <a:gd name="T40" fmla="*/ 21 w 31"/>
                <a:gd name="T41" fmla="*/ 27 h 37"/>
                <a:gd name="T42" fmla="*/ 21 w 31"/>
                <a:gd name="T43" fmla="*/ 20 h 37"/>
                <a:gd name="T44" fmla="*/ 17 w 31"/>
                <a:gd name="T45"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7">
                  <a:moveTo>
                    <a:pt x="22" y="33"/>
                  </a:moveTo>
                  <a:cubicBezTo>
                    <a:pt x="20" y="35"/>
                    <a:pt x="16" y="37"/>
                    <a:pt x="12" y="37"/>
                  </a:cubicBezTo>
                  <a:cubicBezTo>
                    <a:pt x="5" y="37"/>
                    <a:pt x="0" y="32"/>
                    <a:pt x="0" y="26"/>
                  </a:cubicBezTo>
                  <a:cubicBezTo>
                    <a:pt x="0" y="21"/>
                    <a:pt x="3" y="18"/>
                    <a:pt x="6" y="16"/>
                  </a:cubicBezTo>
                  <a:cubicBezTo>
                    <a:pt x="9" y="15"/>
                    <a:pt x="12" y="14"/>
                    <a:pt x="15" y="14"/>
                  </a:cubicBezTo>
                  <a:cubicBezTo>
                    <a:pt x="21" y="14"/>
                    <a:pt x="21" y="14"/>
                    <a:pt x="21" y="14"/>
                  </a:cubicBezTo>
                  <a:cubicBezTo>
                    <a:pt x="21" y="13"/>
                    <a:pt x="21" y="13"/>
                    <a:pt x="21" y="13"/>
                  </a:cubicBezTo>
                  <a:cubicBezTo>
                    <a:pt x="21" y="9"/>
                    <a:pt x="19" y="7"/>
                    <a:pt x="15" y="7"/>
                  </a:cubicBezTo>
                  <a:cubicBezTo>
                    <a:pt x="11" y="7"/>
                    <a:pt x="8" y="8"/>
                    <a:pt x="5" y="9"/>
                  </a:cubicBezTo>
                  <a:cubicBezTo>
                    <a:pt x="3" y="4"/>
                    <a:pt x="3" y="4"/>
                    <a:pt x="3" y="4"/>
                  </a:cubicBezTo>
                  <a:cubicBezTo>
                    <a:pt x="7" y="1"/>
                    <a:pt x="11" y="0"/>
                    <a:pt x="16" y="0"/>
                  </a:cubicBezTo>
                  <a:cubicBezTo>
                    <a:pt x="26" y="0"/>
                    <a:pt x="30" y="4"/>
                    <a:pt x="30" y="13"/>
                  </a:cubicBezTo>
                  <a:cubicBezTo>
                    <a:pt x="30" y="27"/>
                    <a:pt x="30" y="27"/>
                    <a:pt x="30" y="27"/>
                  </a:cubicBezTo>
                  <a:cubicBezTo>
                    <a:pt x="30" y="31"/>
                    <a:pt x="30" y="34"/>
                    <a:pt x="31" y="36"/>
                  </a:cubicBezTo>
                  <a:cubicBezTo>
                    <a:pt x="24" y="36"/>
                    <a:pt x="24" y="36"/>
                    <a:pt x="24" y="36"/>
                  </a:cubicBezTo>
                  <a:lnTo>
                    <a:pt x="22" y="33"/>
                  </a:lnTo>
                  <a:close/>
                  <a:moveTo>
                    <a:pt x="17" y="20"/>
                  </a:moveTo>
                  <a:cubicBezTo>
                    <a:pt x="14" y="20"/>
                    <a:pt x="13" y="20"/>
                    <a:pt x="12" y="21"/>
                  </a:cubicBezTo>
                  <a:cubicBezTo>
                    <a:pt x="10" y="22"/>
                    <a:pt x="9" y="23"/>
                    <a:pt x="9" y="25"/>
                  </a:cubicBezTo>
                  <a:cubicBezTo>
                    <a:pt x="9" y="28"/>
                    <a:pt x="11" y="30"/>
                    <a:pt x="15" y="30"/>
                  </a:cubicBezTo>
                  <a:cubicBezTo>
                    <a:pt x="18" y="30"/>
                    <a:pt x="20" y="28"/>
                    <a:pt x="21" y="27"/>
                  </a:cubicBezTo>
                  <a:cubicBezTo>
                    <a:pt x="21" y="20"/>
                    <a:pt x="21" y="20"/>
                    <a:pt x="21" y="20"/>
                  </a:cubicBezTo>
                  <a:lnTo>
                    <a:pt x="17"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41" name="Group 140"/>
          <p:cNvGrpSpPr/>
          <p:nvPr userDrawn="1"/>
        </p:nvGrpSpPr>
        <p:grpSpPr>
          <a:xfrm>
            <a:off x="4750866" y="4846684"/>
            <a:ext cx="1123200" cy="262528"/>
            <a:chOff x="7673274" y="4343117"/>
            <a:chExt cx="1123200" cy="262528"/>
          </a:xfrm>
          <a:solidFill>
            <a:schemeClr val="bg1"/>
          </a:solidFill>
        </p:grpSpPr>
        <p:grpSp>
          <p:nvGrpSpPr>
            <p:cNvPr id="142" name="Group 141"/>
            <p:cNvGrpSpPr/>
            <p:nvPr userDrawn="1"/>
          </p:nvGrpSpPr>
          <p:grpSpPr>
            <a:xfrm>
              <a:off x="7909937" y="4494135"/>
              <a:ext cx="438357" cy="111510"/>
              <a:chOff x="7909937" y="4491754"/>
              <a:chExt cx="438357" cy="111510"/>
            </a:xfrm>
            <a:grpFill/>
          </p:grpSpPr>
          <p:sp>
            <p:nvSpPr>
              <p:cNvPr id="182" name="Freeform 21"/>
              <p:cNvSpPr>
                <a:spLocks noEditPoints="1"/>
              </p:cNvSpPr>
              <p:nvPr/>
            </p:nvSpPr>
            <p:spPr bwMode="auto">
              <a:xfrm>
                <a:off x="7909937" y="4496945"/>
                <a:ext cx="72264" cy="78286"/>
              </a:xfrm>
              <a:custGeom>
                <a:avLst/>
                <a:gdLst>
                  <a:gd name="T0" fmla="*/ 290 w 696"/>
                  <a:gd name="T1" fmla="*/ 0 h 754"/>
                  <a:gd name="T2" fmla="*/ 394 w 696"/>
                  <a:gd name="T3" fmla="*/ 0 h 754"/>
                  <a:gd name="T4" fmla="*/ 696 w 696"/>
                  <a:gd name="T5" fmla="*/ 754 h 754"/>
                  <a:gd name="T6" fmla="*/ 550 w 696"/>
                  <a:gd name="T7" fmla="*/ 754 h 754"/>
                  <a:gd name="T8" fmla="*/ 478 w 696"/>
                  <a:gd name="T9" fmla="*/ 566 h 754"/>
                  <a:gd name="T10" fmla="*/ 210 w 696"/>
                  <a:gd name="T11" fmla="*/ 566 h 754"/>
                  <a:gd name="T12" fmla="*/ 140 w 696"/>
                  <a:gd name="T13" fmla="*/ 754 h 754"/>
                  <a:gd name="T14" fmla="*/ 0 w 696"/>
                  <a:gd name="T15" fmla="*/ 754 h 754"/>
                  <a:gd name="T16" fmla="*/ 290 w 696"/>
                  <a:gd name="T17" fmla="*/ 0 h 754"/>
                  <a:gd name="T18" fmla="*/ 436 w 696"/>
                  <a:gd name="T19" fmla="*/ 456 h 754"/>
                  <a:gd name="T20" fmla="*/ 384 w 696"/>
                  <a:gd name="T21" fmla="*/ 306 h 754"/>
                  <a:gd name="T22" fmla="*/ 384 w 696"/>
                  <a:gd name="T23" fmla="*/ 306 h 754"/>
                  <a:gd name="T24" fmla="*/ 360 w 696"/>
                  <a:gd name="T25" fmla="*/ 236 h 754"/>
                  <a:gd name="T26" fmla="*/ 346 w 696"/>
                  <a:gd name="T27" fmla="*/ 190 h 754"/>
                  <a:gd name="T28" fmla="*/ 344 w 696"/>
                  <a:gd name="T29" fmla="*/ 190 h 754"/>
                  <a:gd name="T30" fmla="*/ 344 w 696"/>
                  <a:gd name="T31" fmla="*/ 190 h 754"/>
                  <a:gd name="T32" fmla="*/ 328 w 696"/>
                  <a:gd name="T33" fmla="*/ 236 h 754"/>
                  <a:gd name="T34" fmla="*/ 304 w 696"/>
                  <a:gd name="T35" fmla="*/ 306 h 754"/>
                  <a:gd name="T36" fmla="*/ 250 w 696"/>
                  <a:gd name="T37" fmla="*/ 456 h 754"/>
                  <a:gd name="T38" fmla="*/ 436 w 696"/>
                  <a:gd name="T39" fmla="*/ 456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6" h="754">
                    <a:moveTo>
                      <a:pt x="290" y="0"/>
                    </a:moveTo>
                    <a:lnTo>
                      <a:pt x="394" y="0"/>
                    </a:lnTo>
                    <a:lnTo>
                      <a:pt x="696" y="754"/>
                    </a:lnTo>
                    <a:lnTo>
                      <a:pt x="550" y="754"/>
                    </a:lnTo>
                    <a:lnTo>
                      <a:pt x="478" y="566"/>
                    </a:lnTo>
                    <a:lnTo>
                      <a:pt x="210" y="566"/>
                    </a:lnTo>
                    <a:lnTo>
                      <a:pt x="140" y="754"/>
                    </a:lnTo>
                    <a:lnTo>
                      <a:pt x="0" y="754"/>
                    </a:lnTo>
                    <a:lnTo>
                      <a:pt x="290" y="0"/>
                    </a:lnTo>
                    <a:close/>
                    <a:moveTo>
                      <a:pt x="436" y="456"/>
                    </a:moveTo>
                    <a:lnTo>
                      <a:pt x="384" y="306"/>
                    </a:lnTo>
                    <a:lnTo>
                      <a:pt x="384" y="306"/>
                    </a:lnTo>
                    <a:lnTo>
                      <a:pt x="360" y="236"/>
                    </a:lnTo>
                    <a:lnTo>
                      <a:pt x="346" y="190"/>
                    </a:lnTo>
                    <a:lnTo>
                      <a:pt x="344" y="190"/>
                    </a:lnTo>
                    <a:lnTo>
                      <a:pt x="344" y="190"/>
                    </a:lnTo>
                    <a:lnTo>
                      <a:pt x="328" y="236"/>
                    </a:lnTo>
                    <a:lnTo>
                      <a:pt x="304" y="306"/>
                    </a:lnTo>
                    <a:lnTo>
                      <a:pt x="250" y="456"/>
                    </a:lnTo>
                    <a:lnTo>
                      <a:pt x="436" y="4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3" name="Freeform 22"/>
              <p:cNvSpPr>
                <a:spLocks noEditPoints="1"/>
              </p:cNvSpPr>
              <p:nvPr/>
            </p:nvSpPr>
            <p:spPr bwMode="auto">
              <a:xfrm>
                <a:off x="8047404" y="4517918"/>
                <a:ext cx="48591" cy="58558"/>
              </a:xfrm>
              <a:custGeom>
                <a:avLst/>
                <a:gdLst>
                  <a:gd name="T0" fmla="*/ 334 w 468"/>
                  <a:gd name="T1" fmla="*/ 502 h 564"/>
                  <a:gd name="T2" fmla="*/ 302 w 468"/>
                  <a:gd name="T3" fmla="*/ 526 h 564"/>
                  <a:gd name="T4" fmla="*/ 266 w 468"/>
                  <a:gd name="T5" fmla="*/ 546 h 564"/>
                  <a:gd name="T6" fmla="*/ 226 w 468"/>
                  <a:gd name="T7" fmla="*/ 560 h 564"/>
                  <a:gd name="T8" fmla="*/ 178 w 468"/>
                  <a:gd name="T9" fmla="*/ 564 h 564"/>
                  <a:gd name="T10" fmla="*/ 160 w 468"/>
                  <a:gd name="T11" fmla="*/ 564 h 564"/>
                  <a:gd name="T12" fmla="*/ 124 w 468"/>
                  <a:gd name="T13" fmla="*/ 558 h 564"/>
                  <a:gd name="T14" fmla="*/ 92 w 468"/>
                  <a:gd name="T15" fmla="*/ 546 h 564"/>
                  <a:gd name="T16" fmla="*/ 62 w 468"/>
                  <a:gd name="T17" fmla="*/ 528 h 564"/>
                  <a:gd name="T18" fmla="*/ 38 w 468"/>
                  <a:gd name="T19" fmla="*/ 506 h 564"/>
                  <a:gd name="T20" fmla="*/ 20 w 468"/>
                  <a:gd name="T21" fmla="*/ 478 h 564"/>
                  <a:gd name="T22" fmla="*/ 6 w 468"/>
                  <a:gd name="T23" fmla="*/ 446 h 564"/>
                  <a:gd name="T24" fmla="*/ 0 w 468"/>
                  <a:gd name="T25" fmla="*/ 412 h 564"/>
                  <a:gd name="T26" fmla="*/ 0 w 468"/>
                  <a:gd name="T27" fmla="*/ 392 h 564"/>
                  <a:gd name="T28" fmla="*/ 6 w 468"/>
                  <a:gd name="T29" fmla="*/ 342 h 564"/>
                  <a:gd name="T30" fmla="*/ 24 w 468"/>
                  <a:gd name="T31" fmla="*/ 302 h 564"/>
                  <a:gd name="T32" fmla="*/ 52 w 468"/>
                  <a:gd name="T33" fmla="*/ 270 h 564"/>
                  <a:gd name="T34" fmla="*/ 90 w 468"/>
                  <a:gd name="T35" fmla="*/ 246 h 564"/>
                  <a:gd name="T36" fmla="*/ 120 w 468"/>
                  <a:gd name="T37" fmla="*/ 232 h 564"/>
                  <a:gd name="T38" fmla="*/ 190 w 468"/>
                  <a:gd name="T39" fmla="*/ 218 h 564"/>
                  <a:gd name="T40" fmla="*/ 322 w 468"/>
                  <a:gd name="T41" fmla="*/ 210 h 564"/>
                  <a:gd name="T42" fmla="*/ 322 w 468"/>
                  <a:gd name="T43" fmla="*/ 194 h 564"/>
                  <a:gd name="T44" fmla="*/ 314 w 468"/>
                  <a:gd name="T45" fmla="*/ 154 h 564"/>
                  <a:gd name="T46" fmla="*/ 294 w 468"/>
                  <a:gd name="T47" fmla="*/ 126 h 564"/>
                  <a:gd name="T48" fmla="*/ 260 w 468"/>
                  <a:gd name="T49" fmla="*/ 108 h 564"/>
                  <a:gd name="T50" fmla="*/ 218 w 468"/>
                  <a:gd name="T51" fmla="*/ 104 h 564"/>
                  <a:gd name="T52" fmla="*/ 198 w 468"/>
                  <a:gd name="T53" fmla="*/ 104 h 564"/>
                  <a:gd name="T54" fmla="*/ 160 w 468"/>
                  <a:gd name="T55" fmla="*/ 110 h 564"/>
                  <a:gd name="T56" fmla="*/ 108 w 468"/>
                  <a:gd name="T57" fmla="*/ 126 h 564"/>
                  <a:gd name="T58" fmla="*/ 32 w 468"/>
                  <a:gd name="T59" fmla="*/ 54 h 564"/>
                  <a:gd name="T60" fmla="*/ 56 w 468"/>
                  <a:gd name="T61" fmla="*/ 42 h 564"/>
                  <a:gd name="T62" fmla="*/ 106 w 468"/>
                  <a:gd name="T63" fmla="*/ 22 h 564"/>
                  <a:gd name="T64" fmla="*/ 158 w 468"/>
                  <a:gd name="T65" fmla="*/ 8 h 564"/>
                  <a:gd name="T66" fmla="*/ 212 w 468"/>
                  <a:gd name="T67" fmla="*/ 0 h 564"/>
                  <a:gd name="T68" fmla="*/ 240 w 468"/>
                  <a:gd name="T69" fmla="*/ 0 h 564"/>
                  <a:gd name="T70" fmla="*/ 292 w 468"/>
                  <a:gd name="T71" fmla="*/ 4 h 564"/>
                  <a:gd name="T72" fmla="*/ 336 w 468"/>
                  <a:gd name="T73" fmla="*/ 12 h 564"/>
                  <a:gd name="T74" fmla="*/ 372 w 468"/>
                  <a:gd name="T75" fmla="*/ 28 h 564"/>
                  <a:gd name="T76" fmla="*/ 404 w 468"/>
                  <a:gd name="T77" fmla="*/ 50 h 564"/>
                  <a:gd name="T78" fmla="*/ 426 w 468"/>
                  <a:gd name="T79" fmla="*/ 76 h 564"/>
                  <a:gd name="T80" fmla="*/ 444 w 468"/>
                  <a:gd name="T81" fmla="*/ 110 h 564"/>
                  <a:gd name="T82" fmla="*/ 454 w 468"/>
                  <a:gd name="T83" fmla="*/ 150 h 564"/>
                  <a:gd name="T84" fmla="*/ 458 w 468"/>
                  <a:gd name="T85" fmla="*/ 196 h 564"/>
                  <a:gd name="T86" fmla="*/ 458 w 468"/>
                  <a:gd name="T87" fmla="*/ 414 h 564"/>
                  <a:gd name="T88" fmla="*/ 460 w 468"/>
                  <a:gd name="T89" fmla="*/ 496 h 564"/>
                  <a:gd name="T90" fmla="*/ 468 w 468"/>
                  <a:gd name="T91" fmla="*/ 552 h 564"/>
                  <a:gd name="T92" fmla="*/ 334 w 468"/>
                  <a:gd name="T93" fmla="*/ 502 h 564"/>
                  <a:gd name="T94" fmla="*/ 248 w 468"/>
                  <a:gd name="T95" fmla="*/ 304 h 564"/>
                  <a:gd name="T96" fmla="*/ 204 w 468"/>
                  <a:gd name="T97" fmla="*/ 310 h 564"/>
                  <a:gd name="T98" fmla="*/ 170 w 468"/>
                  <a:gd name="T99" fmla="*/ 322 h 564"/>
                  <a:gd name="T100" fmla="*/ 162 w 468"/>
                  <a:gd name="T101" fmla="*/ 326 h 564"/>
                  <a:gd name="T102" fmla="*/ 150 w 468"/>
                  <a:gd name="T103" fmla="*/ 340 h 564"/>
                  <a:gd name="T104" fmla="*/ 142 w 468"/>
                  <a:gd name="T105" fmla="*/ 354 h 564"/>
                  <a:gd name="T106" fmla="*/ 138 w 468"/>
                  <a:gd name="T107" fmla="*/ 382 h 564"/>
                  <a:gd name="T108" fmla="*/ 138 w 468"/>
                  <a:gd name="T109" fmla="*/ 400 h 564"/>
                  <a:gd name="T110" fmla="*/ 150 w 468"/>
                  <a:gd name="T111" fmla="*/ 426 h 564"/>
                  <a:gd name="T112" fmla="*/ 170 w 468"/>
                  <a:gd name="T113" fmla="*/ 446 h 564"/>
                  <a:gd name="T114" fmla="*/ 200 w 468"/>
                  <a:gd name="T115" fmla="*/ 456 h 564"/>
                  <a:gd name="T116" fmla="*/ 216 w 468"/>
                  <a:gd name="T117" fmla="*/ 456 h 564"/>
                  <a:gd name="T118" fmla="*/ 252 w 468"/>
                  <a:gd name="T119" fmla="*/ 452 h 564"/>
                  <a:gd name="T120" fmla="*/ 282 w 468"/>
                  <a:gd name="T121" fmla="*/ 442 h 564"/>
                  <a:gd name="T122" fmla="*/ 322 w 468"/>
                  <a:gd name="T123" fmla="*/ 418 h 564"/>
                  <a:gd name="T124" fmla="*/ 248 w 468"/>
                  <a:gd name="T125" fmla="*/ 30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8" h="564">
                    <a:moveTo>
                      <a:pt x="334" y="502"/>
                    </a:moveTo>
                    <a:lnTo>
                      <a:pt x="334" y="502"/>
                    </a:lnTo>
                    <a:lnTo>
                      <a:pt x="318" y="514"/>
                    </a:lnTo>
                    <a:lnTo>
                      <a:pt x="302" y="526"/>
                    </a:lnTo>
                    <a:lnTo>
                      <a:pt x="284" y="536"/>
                    </a:lnTo>
                    <a:lnTo>
                      <a:pt x="266" y="546"/>
                    </a:lnTo>
                    <a:lnTo>
                      <a:pt x="246" y="554"/>
                    </a:lnTo>
                    <a:lnTo>
                      <a:pt x="226" y="560"/>
                    </a:lnTo>
                    <a:lnTo>
                      <a:pt x="202" y="562"/>
                    </a:lnTo>
                    <a:lnTo>
                      <a:pt x="178" y="564"/>
                    </a:lnTo>
                    <a:lnTo>
                      <a:pt x="178" y="564"/>
                    </a:lnTo>
                    <a:lnTo>
                      <a:pt x="160" y="564"/>
                    </a:lnTo>
                    <a:lnTo>
                      <a:pt x="140" y="560"/>
                    </a:lnTo>
                    <a:lnTo>
                      <a:pt x="124" y="558"/>
                    </a:lnTo>
                    <a:lnTo>
                      <a:pt x="106" y="552"/>
                    </a:lnTo>
                    <a:lnTo>
                      <a:pt x="92" y="546"/>
                    </a:lnTo>
                    <a:lnTo>
                      <a:pt x="76" y="538"/>
                    </a:lnTo>
                    <a:lnTo>
                      <a:pt x="62" y="528"/>
                    </a:lnTo>
                    <a:lnTo>
                      <a:pt x="50" y="516"/>
                    </a:lnTo>
                    <a:lnTo>
                      <a:pt x="38" y="506"/>
                    </a:lnTo>
                    <a:lnTo>
                      <a:pt x="28" y="492"/>
                    </a:lnTo>
                    <a:lnTo>
                      <a:pt x="20" y="478"/>
                    </a:lnTo>
                    <a:lnTo>
                      <a:pt x="12" y="462"/>
                    </a:lnTo>
                    <a:lnTo>
                      <a:pt x="6" y="446"/>
                    </a:lnTo>
                    <a:lnTo>
                      <a:pt x="2" y="430"/>
                    </a:lnTo>
                    <a:lnTo>
                      <a:pt x="0" y="412"/>
                    </a:lnTo>
                    <a:lnTo>
                      <a:pt x="0" y="392"/>
                    </a:lnTo>
                    <a:lnTo>
                      <a:pt x="0" y="392"/>
                    </a:lnTo>
                    <a:lnTo>
                      <a:pt x="0" y="366"/>
                    </a:lnTo>
                    <a:lnTo>
                      <a:pt x="6" y="342"/>
                    </a:lnTo>
                    <a:lnTo>
                      <a:pt x="14" y="320"/>
                    </a:lnTo>
                    <a:lnTo>
                      <a:pt x="24" y="302"/>
                    </a:lnTo>
                    <a:lnTo>
                      <a:pt x="36" y="284"/>
                    </a:lnTo>
                    <a:lnTo>
                      <a:pt x="52" y="270"/>
                    </a:lnTo>
                    <a:lnTo>
                      <a:pt x="70" y="256"/>
                    </a:lnTo>
                    <a:lnTo>
                      <a:pt x="90" y="246"/>
                    </a:lnTo>
                    <a:lnTo>
                      <a:pt x="90" y="246"/>
                    </a:lnTo>
                    <a:lnTo>
                      <a:pt x="120" y="232"/>
                    </a:lnTo>
                    <a:lnTo>
                      <a:pt x="154" y="224"/>
                    </a:lnTo>
                    <a:lnTo>
                      <a:pt x="190" y="218"/>
                    </a:lnTo>
                    <a:lnTo>
                      <a:pt x="230" y="214"/>
                    </a:lnTo>
                    <a:lnTo>
                      <a:pt x="322" y="210"/>
                    </a:lnTo>
                    <a:lnTo>
                      <a:pt x="322" y="194"/>
                    </a:lnTo>
                    <a:lnTo>
                      <a:pt x="322" y="194"/>
                    </a:lnTo>
                    <a:lnTo>
                      <a:pt x="320" y="172"/>
                    </a:lnTo>
                    <a:lnTo>
                      <a:pt x="314" y="154"/>
                    </a:lnTo>
                    <a:lnTo>
                      <a:pt x="306" y="138"/>
                    </a:lnTo>
                    <a:lnTo>
                      <a:pt x="294" y="126"/>
                    </a:lnTo>
                    <a:lnTo>
                      <a:pt x="278" y="116"/>
                    </a:lnTo>
                    <a:lnTo>
                      <a:pt x="260" y="108"/>
                    </a:lnTo>
                    <a:lnTo>
                      <a:pt x="240" y="106"/>
                    </a:lnTo>
                    <a:lnTo>
                      <a:pt x="218" y="104"/>
                    </a:lnTo>
                    <a:lnTo>
                      <a:pt x="218" y="104"/>
                    </a:lnTo>
                    <a:lnTo>
                      <a:pt x="198" y="104"/>
                    </a:lnTo>
                    <a:lnTo>
                      <a:pt x="178" y="106"/>
                    </a:lnTo>
                    <a:lnTo>
                      <a:pt x="160" y="110"/>
                    </a:lnTo>
                    <a:lnTo>
                      <a:pt x="142" y="114"/>
                    </a:lnTo>
                    <a:lnTo>
                      <a:pt x="108" y="126"/>
                    </a:lnTo>
                    <a:lnTo>
                      <a:pt x="76" y="142"/>
                    </a:lnTo>
                    <a:lnTo>
                      <a:pt x="32" y="54"/>
                    </a:lnTo>
                    <a:lnTo>
                      <a:pt x="32" y="54"/>
                    </a:lnTo>
                    <a:lnTo>
                      <a:pt x="56" y="42"/>
                    </a:lnTo>
                    <a:lnTo>
                      <a:pt x="82" y="30"/>
                    </a:lnTo>
                    <a:lnTo>
                      <a:pt x="106" y="22"/>
                    </a:lnTo>
                    <a:lnTo>
                      <a:pt x="132" y="14"/>
                    </a:lnTo>
                    <a:lnTo>
                      <a:pt x="158" y="8"/>
                    </a:lnTo>
                    <a:lnTo>
                      <a:pt x="186" y="4"/>
                    </a:lnTo>
                    <a:lnTo>
                      <a:pt x="212" y="0"/>
                    </a:lnTo>
                    <a:lnTo>
                      <a:pt x="240" y="0"/>
                    </a:lnTo>
                    <a:lnTo>
                      <a:pt x="240" y="0"/>
                    </a:lnTo>
                    <a:lnTo>
                      <a:pt x="268" y="0"/>
                    </a:lnTo>
                    <a:lnTo>
                      <a:pt x="292" y="4"/>
                    </a:lnTo>
                    <a:lnTo>
                      <a:pt x="314" y="6"/>
                    </a:lnTo>
                    <a:lnTo>
                      <a:pt x="336" y="12"/>
                    </a:lnTo>
                    <a:lnTo>
                      <a:pt x="356" y="20"/>
                    </a:lnTo>
                    <a:lnTo>
                      <a:pt x="372" y="28"/>
                    </a:lnTo>
                    <a:lnTo>
                      <a:pt x="388" y="38"/>
                    </a:lnTo>
                    <a:lnTo>
                      <a:pt x="404" y="50"/>
                    </a:lnTo>
                    <a:lnTo>
                      <a:pt x="416" y="62"/>
                    </a:lnTo>
                    <a:lnTo>
                      <a:pt x="426" y="76"/>
                    </a:lnTo>
                    <a:lnTo>
                      <a:pt x="436" y="94"/>
                    </a:lnTo>
                    <a:lnTo>
                      <a:pt x="444" y="110"/>
                    </a:lnTo>
                    <a:lnTo>
                      <a:pt x="450" y="130"/>
                    </a:lnTo>
                    <a:lnTo>
                      <a:pt x="454" y="150"/>
                    </a:lnTo>
                    <a:lnTo>
                      <a:pt x="456" y="172"/>
                    </a:lnTo>
                    <a:lnTo>
                      <a:pt x="458" y="196"/>
                    </a:lnTo>
                    <a:lnTo>
                      <a:pt x="458" y="414"/>
                    </a:lnTo>
                    <a:lnTo>
                      <a:pt x="458" y="414"/>
                    </a:lnTo>
                    <a:lnTo>
                      <a:pt x="458" y="458"/>
                    </a:lnTo>
                    <a:lnTo>
                      <a:pt x="460" y="496"/>
                    </a:lnTo>
                    <a:lnTo>
                      <a:pt x="462" y="528"/>
                    </a:lnTo>
                    <a:lnTo>
                      <a:pt x="468" y="552"/>
                    </a:lnTo>
                    <a:lnTo>
                      <a:pt x="354" y="552"/>
                    </a:lnTo>
                    <a:lnTo>
                      <a:pt x="334" y="502"/>
                    </a:lnTo>
                    <a:close/>
                    <a:moveTo>
                      <a:pt x="248" y="304"/>
                    </a:moveTo>
                    <a:lnTo>
                      <a:pt x="248" y="304"/>
                    </a:lnTo>
                    <a:lnTo>
                      <a:pt x="224" y="306"/>
                    </a:lnTo>
                    <a:lnTo>
                      <a:pt x="204" y="310"/>
                    </a:lnTo>
                    <a:lnTo>
                      <a:pt x="186" y="314"/>
                    </a:lnTo>
                    <a:lnTo>
                      <a:pt x="170" y="322"/>
                    </a:lnTo>
                    <a:lnTo>
                      <a:pt x="170" y="322"/>
                    </a:lnTo>
                    <a:lnTo>
                      <a:pt x="162" y="326"/>
                    </a:lnTo>
                    <a:lnTo>
                      <a:pt x="156" y="332"/>
                    </a:lnTo>
                    <a:lnTo>
                      <a:pt x="150" y="340"/>
                    </a:lnTo>
                    <a:lnTo>
                      <a:pt x="146" y="346"/>
                    </a:lnTo>
                    <a:lnTo>
                      <a:pt x="142" y="354"/>
                    </a:lnTo>
                    <a:lnTo>
                      <a:pt x="140" y="364"/>
                    </a:lnTo>
                    <a:lnTo>
                      <a:pt x="138" y="382"/>
                    </a:lnTo>
                    <a:lnTo>
                      <a:pt x="138" y="382"/>
                    </a:lnTo>
                    <a:lnTo>
                      <a:pt x="138" y="400"/>
                    </a:lnTo>
                    <a:lnTo>
                      <a:pt x="142" y="414"/>
                    </a:lnTo>
                    <a:lnTo>
                      <a:pt x="150" y="426"/>
                    </a:lnTo>
                    <a:lnTo>
                      <a:pt x="158" y="438"/>
                    </a:lnTo>
                    <a:lnTo>
                      <a:pt x="170" y="446"/>
                    </a:lnTo>
                    <a:lnTo>
                      <a:pt x="184" y="452"/>
                    </a:lnTo>
                    <a:lnTo>
                      <a:pt x="200" y="456"/>
                    </a:lnTo>
                    <a:lnTo>
                      <a:pt x="216" y="456"/>
                    </a:lnTo>
                    <a:lnTo>
                      <a:pt x="216" y="456"/>
                    </a:lnTo>
                    <a:lnTo>
                      <a:pt x="234" y="456"/>
                    </a:lnTo>
                    <a:lnTo>
                      <a:pt x="252" y="452"/>
                    </a:lnTo>
                    <a:lnTo>
                      <a:pt x="268" y="448"/>
                    </a:lnTo>
                    <a:lnTo>
                      <a:pt x="282" y="442"/>
                    </a:lnTo>
                    <a:lnTo>
                      <a:pt x="304" y="430"/>
                    </a:lnTo>
                    <a:lnTo>
                      <a:pt x="322" y="418"/>
                    </a:lnTo>
                    <a:lnTo>
                      <a:pt x="322" y="302"/>
                    </a:lnTo>
                    <a:lnTo>
                      <a:pt x="248" y="3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4" name="Freeform 23"/>
              <p:cNvSpPr>
                <a:spLocks/>
              </p:cNvSpPr>
              <p:nvPr/>
            </p:nvSpPr>
            <p:spPr bwMode="auto">
              <a:xfrm>
                <a:off x="8121536" y="4519372"/>
                <a:ext cx="62089" cy="83892"/>
              </a:xfrm>
              <a:custGeom>
                <a:avLst/>
                <a:gdLst>
                  <a:gd name="T0" fmla="*/ 34 w 598"/>
                  <a:gd name="T1" fmla="*/ 678 h 808"/>
                  <a:gd name="T2" fmla="*/ 34 w 598"/>
                  <a:gd name="T3" fmla="*/ 678 h 808"/>
                  <a:gd name="T4" fmla="*/ 54 w 598"/>
                  <a:gd name="T5" fmla="*/ 688 h 808"/>
                  <a:gd name="T6" fmla="*/ 74 w 598"/>
                  <a:gd name="T7" fmla="*/ 694 h 808"/>
                  <a:gd name="T8" fmla="*/ 94 w 598"/>
                  <a:gd name="T9" fmla="*/ 698 h 808"/>
                  <a:gd name="T10" fmla="*/ 116 w 598"/>
                  <a:gd name="T11" fmla="*/ 700 h 808"/>
                  <a:gd name="T12" fmla="*/ 116 w 598"/>
                  <a:gd name="T13" fmla="*/ 700 h 808"/>
                  <a:gd name="T14" fmla="*/ 138 w 598"/>
                  <a:gd name="T15" fmla="*/ 698 h 808"/>
                  <a:gd name="T16" fmla="*/ 158 w 598"/>
                  <a:gd name="T17" fmla="*/ 692 h 808"/>
                  <a:gd name="T18" fmla="*/ 168 w 598"/>
                  <a:gd name="T19" fmla="*/ 686 h 808"/>
                  <a:gd name="T20" fmla="*/ 178 w 598"/>
                  <a:gd name="T21" fmla="*/ 680 h 808"/>
                  <a:gd name="T22" fmla="*/ 188 w 598"/>
                  <a:gd name="T23" fmla="*/ 672 h 808"/>
                  <a:gd name="T24" fmla="*/ 198 w 598"/>
                  <a:gd name="T25" fmla="*/ 664 h 808"/>
                  <a:gd name="T26" fmla="*/ 216 w 598"/>
                  <a:gd name="T27" fmla="*/ 642 h 808"/>
                  <a:gd name="T28" fmla="*/ 234 w 598"/>
                  <a:gd name="T29" fmla="*/ 612 h 808"/>
                  <a:gd name="T30" fmla="*/ 250 w 598"/>
                  <a:gd name="T31" fmla="*/ 578 h 808"/>
                  <a:gd name="T32" fmla="*/ 266 w 598"/>
                  <a:gd name="T33" fmla="*/ 536 h 808"/>
                  <a:gd name="T34" fmla="*/ 24 w 598"/>
                  <a:gd name="T35" fmla="*/ 0 h 808"/>
                  <a:gd name="T36" fmla="*/ 164 w 598"/>
                  <a:gd name="T37" fmla="*/ 0 h 808"/>
                  <a:gd name="T38" fmla="*/ 328 w 598"/>
                  <a:gd name="T39" fmla="*/ 382 h 808"/>
                  <a:gd name="T40" fmla="*/ 330 w 598"/>
                  <a:gd name="T41" fmla="*/ 382 h 808"/>
                  <a:gd name="T42" fmla="*/ 460 w 598"/>
                  <a:gd name="T43" fmla="*/ 0 h 808"/>
                  <a:gd name="T44" fmla="*/ 598 w 598"/>
                  <a:gd name="T45" fmla="*/ 0 h 808"/>
                  <a:gd name="T46" fmla="*/ 392 w 598"/>
                  <a:gd name="T47" fmla="*/ 556 h 808"/>
                  <a:gd name="T48" fmla="*/ 392 w 598"/>
                  <a:gd name="T49" fmla="*/ 556 h 808"/>
                  <a:gd name="T50" fmla="*/ 376 w 598"/>
                  <a:gd name="T51" fmla="*/ 596 h 808"/>
                  <a:gd name="T52" fmla="*/ 360 w 598"/>
                  <a:gd name="T53" fmla="*/ 632 h 808"/>
                  <a:gd name="T54" fmla="*/ 344 w 598"/>
                  <a:gd name="T55" fmla="*/ 662 h 808"/>
                  <a:gd name="T56" fmla="*/ 326 w 598"/>
                  <a:gd name="T57" fmla="*/ 690 h 808"/>
                  <a:gd name="T58" fmla="*/ 308 w 598"/>
                  <a:gd name="T59" fmla="*/ 714 h 808"/>
                  <a:gd name="T60" fmla="*/ 292 w 598"/>
                  <a:gd name="T61" fmla="*/ 734 h 808"/>
                  <a:gd name="T62" fmla="*/ 274 w 598"/>
                  <a:gd name="T63" fmla="*/ 752 h 808"/>
                  <a:gd name="T64" fmla="*/ 256 w 598"/>
                  <a:gd name="T65" fmla="*/ 766 h 808"/>
                  <a:gd name="T66" fmla="*/ 238 w 598"/>
                  <a:gd name="T67" fmla="*/ 778 h 808"/>
                  <a:gd name="T68" fmla="*/ 220 w 598"/>
                  <a:gd name="T69" fmla="*/ 788 h 808"/>
                  <a:gd name="T70" fmla="*/ 200 w 598"/>
                  <a:gd name="T71" fmla="*/ 796 h 808"/>
                  <a:gd name="T72" fmla="*/ 182 w 598"/>
                  <a:gd name="T73" fmla="*/ 800 h 808"/>
                  <a:gd name="T74" fmla="*/ 164 w 598"/>
                  <a:gd name="T75" fmla="*/ 804 h 808"/>
                  <a:gd name="T76" fmla="*/ 146 w 598"/>
                  <a:gd name="T77" fmla="*/ 808 h 808"/>
                  <a:gd name="T78" fmla="*/ 108 w 598"/>
                  <a:gd name="T79" fmla="*/ 808 h 808"/>
                  <a:gd name="T80" fmla="*/ 108 w 598"/>
                  <a:gd name="T81" fmla="*/ 808 h 808"/>
                  <a:gd name="T82" fmla="*/ 78 w 598"/>
                  <a:gd name="T83" fmla="*/ 808 h 808"/>
                  <a:gd name="T84" fmla="*/ 52 w 598"/>
                  <a:gd name="T85" fmla="*/ 802 h 808"/>
                  <a:gd name="T86" fmla="*/ 26 w 598"/>
                  <a:gd name="T87" fmla="*/ 794 h 808"/>
                  <a:gd name="T88" fmla="*/ 0 w 598"/>
                  <a:gd name="T89" fmla="*/ 784 h 808"/>
                  <a:gd name="T90" fmla="*/ 34 w 598"/>
                  <a:gd name="T91" fmla="*/ 678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98" h="808">
                    <a:moveTo>
                      <a:pt x="34" y="678"/>
                    </a:moveTo>
                    <a:lnTo>
                      <a:pt x="34" y="678"/>
                    </a:lnTo>
                    <a:lnTo>
                      <a:pt x="54" y="688"/>
                    </a:lnTo>
                    <a:lnTo>
                      <a:pt x="74" y="694"/>
                    </a:lnTo>
                    <a:lnTo>
                      <a:pt x="94" y="698"/>
                    </a:lnTo>
                    <a:lnTo>
                      <a:pt x="116" y="700"/>
                    </a:lnTo>
                    <a:lnTo>
                      <a:pt x="116" y="700"/>
                    </a:lnTo>
                    <a:lnTo>
                      <a:pt x="138" y="698"/>
                    </a:lnTo>
                    <a:lnTo>
                      <a:pt x="158" y="692"/>
                    </a:lnTo>
                    <a:lnTo>
                      <a:pt x="168" y="686"/>
                    </a:lnTo>
                    <a:lnTo>
                      <a:pt x="178" y="680"/>
                    </a:lnTo>
                    <a:lnTo>
                      <a:pt x="188" y="672"/>
                    </a:lnTo>
                    <a:lnTo>
                      <a:pt x="198" y="664"/>
                    </a:lnTo>
                    <a:lnTo>
                      <a:pt x="216" y="642"/>
                    </a:lnTo>
                    <a:lnTo>
                      <a:pt x="234" y="612"/>
                    </a:lnTo>
                    <a:lnTo>
                      <a:pt x="250" y="578"/>
                    </a:lnTo>
                    <a:lnTo>
                      <a:pt x="266" y="536"/>
                    </a:lnTo>
                    <a:lnTo>
                      <a:pt x="24" y="0"/>
                    </a:lnTo>
                    <a:lnTo>
                      <a:pt x="164" y="0"/>
                    </a:lnTo>
                    <a:lnTo>
                      <a:pt x="328" y="382"/>
                    </a:lnTo>
                    <a:lnTo>
                      <a:pt x="330" y="382"/>
                    </a:lnTo>
                    <a:lnTo>
                      <a:pt x="460" y="0"/>
                    </a:lnTo>
                    <a:lnTo>
                      <a:pt x="598" y="0"/>
                    </a:lnTo>
                    <a:lnTo>
                      <a:pt x="392" y="556"/>
                    </a:lnTo>
                    <a:lnTo>
                      <a:pt x="392" y="556"/>
                    </a:lnTo>
                    <a:lnTo>
                      <a:pt x="376" y="596"/>
                    </a:lnTo>
                    <a:lnTo>
                      <a:pt x="360" y="632"/>
                    </a:lnTo>
                    <a:lnTo>
                      <a:pt x="344" y="662"/>
                    </a:lnTo>
                    <a:lnTo>
                      <a:pt x="326" y="690"/>
                    </a:lnTo>
                    <a:lnTo>
                      <a:pt x="308" y="714"/>
                    </a:lnTo>
                    <a:lnTo>
                      <a:pt x="292" y="734"/>
                    </a:lnTo>
                    <a:lnTo>
                      <a:pt x="274" y="752"/>
                    </a:lnTo>
                    <a:lnTo>
                      <a:pt x="256" y="766"/>
                    </a:lnTo>
                    <a:lnTo>
                      <a:pt x="238" y="778"/>
                    </a:lnTo>
                    <a:lnTo>
                      <a:pt x="220" y="788"/>
                    </a:lnTo>
                    <a:lnTo>
                      <a:pt x="200" y="796"/>
                    </a:lnTo>
                    <a:lnTo>
                      <a:pt x="182" y="800"/>
                    </a:lnTo>
                    <a:lnTo>
                      <a:pt x="164" y="804"/>
                    </a:lnTo>
                    <a:lnTo>
                      <a:pt x="146" y="808"/>
                    </a:lnTo>
                    <a:lnTo>
                      <a:pt x="108" y="808"/>
                    </a:lnTo>
                    <a:lnTo>
                      <a:pt x="108" y="808"/>
                    </a:lnTo>
                    <a:lnTo>
                      <a:pt x="78" y="808"/>
                    </a:lnTo>
                    <a:lnTo>
                      <a:pt x="52" y="802"/>
                    </a:lnTo>
                    <a:lnTo>
                      <a:pt x="26" y="794"/>
                    </a:lnTo>
                    <a:lnTo>
                      <a:pt x="0" y="784"/>
                    </a:lnTo>
                    <a:lnTo>
                      <a:pt x="34" y="6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5" name="Freeform 24"/>
              <p:cNvSpPr>
                <a:spLocks/>
              </p:cNvSpPr>
              <p:nvPr/>
            </p:nvSpPr>
            <p:spPr bwMode="auto">
              <a:xfrm>
                <a:off x="8179056" y="4502136"/>
                <a:ext cx="45269" cy="74340"/>
              </a:xfrm>
              <a:custGeom>
                <a:avLst/>
                <a:gdLst>
                  <a:gd name="T0" fmla="*/ 124 w 436"/>
                  <a:gd name="T1" fmla="*/ 572 h 716"/>
                  <a:gd name="T2" fmla="*/ 124 w 436"/>
                  <a:gd name="T3" fmla="*/ 272 h 716"/>
                  <a:gd name="T4" fmla="*/ 0 w 436"/>
                  <a:gd name="T5" fmla="*/ 272 h 716"/>
                  <a:gd name="T6" fmla="*/ 28 w 436"/>
                  <a:gd name="T7" fmla="*/ 166 h 716"/>
                  <a:gd name="T8" fmla="*/ 124 w 436"/>
                  <a:gd name="T9" fmla="*/ 166 h 716"/>
                  <a:gd name="T10" fmla="*/ 124 w 436"/>
                  <a:gd name="T11" fmla="*/ 40 h 716"/>
                  <a:gd name="T12" fmla="*/ 260 w 436"/>
                  <a:gd name="T13" fmla="*/ 0 h 716"/>
                  <a:gd name="T14" fmla="*/ 260 w 436"/>
                  <a:gd name="T15" fmla="*/ 166 h 716"/>
                  <a:gd name="T16" fmla="*/ 424 w 436"/>
                  <a:gd name="T17" fmla="*/ 166 h 716"/>
                  <a:gd name="T18" fmla="*/ 390 w 436"/>
                  <a:gd name="T19" fmla="*/ 272 h 716"/>
                  <a:gd name="T20" fmla="*/ 260 w 436"/>
                  <a:gd name="T21" fmla="*/ 272 h 716"/>
                  <a:gd name="T22" fmla="*/ 260 w 436"/>
                  <a:gd name="T23" fmla="*/ 538 h 716"/>
                  <a:gd name="T24" fmla="*/ 260 w 436"/>
                  <a:gd name="T25" fmla="*/ 538 h 716"/>
                  <a:gd name="T26" fmla="*/ 262 w 436"/>
                  <a:gd name="T27" fmla="*/ 556 h 716"/>
                  <a:gd name="T28" fmla="*/ 264 w 436"/>
                  <a:gd name="T29" fmla="*/ 570 h 716"/>
                  <a:gd name="T30" fmla="*/ 268 w 436"/>
                  <a:gd name="T31" fmla="*/ 582 h 716"/>
                  <a:gd name="T32" fmla="*/ 274 w 436"/>
                  <a:gd name="T33" fmla="*/ 592 h 716"/>
                  <a:gd name="T34" fmla="*/ 280 w 436"/>
                  <a:gd name="T35" fmla="*/ 598 h 716"/>
                  <a:gd name="T36" fmla="*/ 290 w 436"/>
                  <a:gd name="T37" fmla="*/ 604 h 716"/>
                  <a:gd name="T38" fmla="*/ 300 w 436"/>
                  <a:gd name="T39" fmla="*/ 606 h 716"/>
                  <a:gd name="T40" fmla="*/ 312 w 436"/>
                  <a:gd name="T41" fmla="*/ 606 h 716"/>
                  <a:gd name="T42" fmla="*/ 312 w 436"/>
                  <a:gd name="T43" fmla="*/ 606 h 716"/>
                  <a:gd name="T44" fmla="*/ 336 w 436"/>
                  <a:gd name="T45" fmla="*/ 604 h 716"/>
                  <a:gd name="T46" fmla="*/ 358 w 436"/>
                  <a:gd name="T47" fmla="*/ 598 h 716"/>
                  <a:gd name="T48" fmla="*/ 378 w 436"/>
                  <a:gd name="T49" fmla="*/ 590 h 716"/>
                  <a:gd name="T50" fmla="*/ 394 w 436"/>
                  <a:gd name="T51" fmla="*/ 580 h 716"/>
                  <a:gd name="T52" fmla="*/ 436 w 436"/>
                  <a:gd name="T53" fmla="*/ 674 h 716"/>
                  <a:gd name="T54" fmla="*/ 436 w 436"/>
                  <a:gd name="T55" fmla="*/ 674 h 716"/>
                  <a:gd name="T56" fmla="*/ 420 w 436"/>
                  <a:gd name="T57" fmla="*/ 684 h 716"/>
                  <a:gd name="T58" fmla="*/ 402 w 436"/>
                  <a:gd name="T59" fmla="*/ 692 h 716"/>
                  <a:gd name="T60" fmla="*/ 384 w 436"/>
                  <a:gd name="T61" fmla="*/ 698 h 716"/>
                  <a:gd name="T62" fmla="*/ 362 w 436"/>
                  <a:gd name="T63" fmla="*/ 704 h 716"/>
                  <a:gd name="T64" fmla="*/ 342 w 436"/>
                  <a:gd name="T65" fmla="*/ 710 h 716"/>
                  <a:gd name="T66" fmla="*/ 320 w 436"/>
                  <a:gd name="T67" fmla="*/ 714 h 716"/>
                  <a:gd name="T68" fmla="*/ 300 w 436"/>
                  <a:gd name="T69" fmla="*/ 716 h 716"/>
                  <a:gd name="T70" fmla="*/ 278 w 436"/>
                  <a:gd name="T71" fmla="*/ 716 h 716"/>
                  <a:gd name="T72" fmla="*/ 278 w 436"/>
                  <a:gd name="T73" fmla="*/ 716 h 716"/>
                  <a:gd name="T74" fmla="*/ 260 w 436"/>
                  <a:gd name="T75" fmla="*/ 716 h 716"/>
                  <a:gd name="T76" fmla="*/ 244 w 436"/>
                  <a:gd name="T77" fmla="*/ 714 h 716"/>
                  <a:gd name="T78" fmla="*/ 228 w 436"/>
                  <a:gd name="T79" fmla="*/ 710 h 716"/>
                  <a:gd name="T80" fmla="*/ 214 w 436"/>
                  <a:gd name="T81" fmla="*/ 706 h 716"/>
                  <a:gd name="T82" fmla="*/ 200 w 436"/>
                  <a:gd name="T83" fmla="*/ 700 h 716"/>
                  <a:gd name="T84" fmla="*/ 188 w 436"/>
                  <a:gd name="T85" fmla="*/ 694 h 716"/>
                  <a:gd name="T86" fmla="*/ 176 w 436"/>
                  <a:gd name="T87" fmla="*/ 686 h 716"/>
                  <a:gd name="T88" fmla="*/ 166 w 436"/>
                  <a:gd name="T89" fmla="*/ 678 h 716"/>
                  <a:gd name="T90" fmla="*/ 156 w 436"/>
                  <a:gd name="T91" fmla="*/ 668 h 716"/>
                  <a:gd name="T92" fmla="*/ 148 w 436"/>
                  <a:gd name="T93" fmla="*/ 656 h 716"/>
                  <a:gd name="T94" fmla="*/ 142 w 436"/>
                  <a:gd name="T95" fmla="*/ 644 h 716"/>
                  <a:gd name="T96" fmla="*/ 136 w 436"/>
                  <a:gd name="T97" fmla="*/ 632 h 716"/>
                  <a:gd name="T98" fmla="*/ 130 w 436"/>
                  <a:gd name="T99" fmla="*/ 618 h 716"/>
                  <a:gd name="T100" fmla="*/ 128 w 436"/>
                  <a:gd name="T101" fmla="*/ 604 h 716"/>
                  <a:gd name="T102" fmla="*/ 126 w 436"/>
                  <a:gd name="T103" fmla="*/ 588 h 716"/>
                  <a:gd name="T104" fmla="*/ 124 w 436"/>
                  <a:gd name="T105" fmla="*/ 572 h 716"/>
                  <a:gd name="T106" fmla="*/ 124 w 436"/>
                  <a:gd name="T107" fmla="*/ 57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6" h="716">
                    <a:moveTo>
                      <a:pt x="124" y="572"/>
                    </a:moveTo>
                    <a:lnTo>
                      <a:pt x="124" y="272"/>
                    </a:lnTo>
                    <a:lnTo>
                      <a:pt x="0" y="272"/>
                    </a:lnTo>
                    <a:lnTo>
                      <a:pt x="28" y="166"/>
                    </a:lnTo>
                    <a:lnTo>
                      <a:pt x="124" y="166"/>
                    </a:lnTo>
                    <a:lnTo>
                      <a:pt x="124" y="40"/>
                    </a:lnTo>
                    <a:lnTo>
                      <a:pt x="260" y="0"/>
                    </a:lnTo>
                    <a:lnTo>
                      <a:pt x="260" y="166"/>
                    </a:lnTo>
                    <a:lnTo>
                      <a:pt x="424" y="166"/>
                    </a:lnTo>
                    <a:lnTo>
                      <a:pt x="390" y="272"/>
                    </a:lnTo>
                    <a:lnTo>
                      <a:pt x="260" y="272"/>
                    </a:lnTo>
                    <a:lnTo>
                      <a:pt x="260" y="538"/>
                    </a:lnTo>
                    <a:lnTo>
                      <a:pt x="260" y="538"/>
                    </a:lnTo>
                    <a:lnTo>
                      <a:pt x="262" y="556"/>
                    </a:lnTo>
                    <a:lnTo>
                      <a:pt x="264" y="570"/>
                    </a:lnTo>
                    <a:lnTo>
                      <a:pt x="268" y="582"/>
                    </a:lnTo>
                    <a:lnTo>
                      <a:pt x="274" y="592"/>
                    </a:lnTo>
                    <a:lnTo>
                      <a:pt x="280" y="598"/>
                    </a:lnTo>
                    <a:lnTo>
                      <a:pt x="290" y="604"/>
                    </a:lnTo>
                    <a:lnTo>
                      <a:pt x="300" y="606"/>
                    </a:lnTo>
                    <a:lnTo>
                      <a:pt x="312" y="606"/>
                    </a:lnTo>
                    <a:lnTo>
                      <a:pt x="312" y="606"/>
                    </a:lnTo>
                    <a:lnTo>
                      <a:pt x="336" y="604"/>
                    </a:lnTo>
                    <a:lnTo>
                      <a:pt x="358" y="598"/>
                    </a:lnTo>
                    <a:lnTo>
                      <a:pt x="378" y="590"/>
                    </a:lnTo>
                    <a:lnTo>
                      <a:pt x="394" y="580"/>
                    </a:lnTo>
                    <a:lnTo>
                      <a:pt x="436" y="674"/>
                    </a:lnTo>
                    <a:lnTo>
                      <a:pt x="436" y="674"/>
                    </a:lnTo>
                    <a:lnTo>
                      <a:pt x="420" y="684"/>
                    </a:lnTo>
                    <a:lnTo>
                      <a:pt x="402" y="692"/>
                    </a:lnTo>
                    <a:lnTo>
                      <a:pt x="384" y="698"/>
                    </a:lnTo>
                    <a:lnTo>
                      <a:pt x="362" y="704"/>
                    </a:lnTo>
                    <a:lnTo>
                      <a:pt x="342" y="710"/>
                    </a:lnTo>
                    <a:lnTo>
                      <a:pt x="320" y="714"/>
                    </a:lnTo>
                    <a:lnTo>
                      <a:pt x="300" y="716"/>
                    </a:lnTo>
                    <a:lnTo>
                      <a:pt x="278" y="716"/>
                    </a:lnTo>
                    <a:lnTo>
                      <a:pt x="278" y="716"/>
                    </a:lnTo>
                    <a:lnTo>
                      <a:pt x="260" y="716"/>
                    </a:lnTo>
                    <a:lnTo>
                      <a:pt x="244" y="714"/>
                    </a:lnTo>
                    <a:lnTo>
                      <a:pt x="228" y="710"/>
                    </a:lnTo>
                    <a:lnTo>
                      <a:pt x="214" y="706"/>
                    </a:lnTo>
                    <a:lnTo>
                      <a:pt x="200" y="700"/>
                    </a:lnTo>
                    <a:lnTo>
                      <a:pt x="188" y="694"/>
                    </a:lnTo>
                    <a:lnTo>
                      <a:pt x="176" y="686"/>
                    </a:lnTo>
                    <a:lnTo>
                      <a:pt x="166" y="678"/>
                    </a:lnTo>
                    <a:lnTo>
                      <a:pt x="156" y="668"/>
                    </a:lnTo>
                    <a:lnTo>
                      <a:pt x="148" y="656"/>
                    </a:lnTo>
                    <a:lnTo>
                      <a:pt x="142" y="644"/>
                    </a:lnTo>
                    <a:lnTo>
                      <a:pt x="136" y="632"/>
                    </a:lnTo>
                    <a:lnTo>
                      <a:pt x="130" y="618"/>
                    </a:lnTo>
                    <a:lnTo>
                      <a:pt x="128" y="604"/>
                    </a:lnTo>
                    <a:lnTo>
                      <a:pt x="126" y="588"/>
                    </a:lnTo>
                    <a:lnTo>
                      <a:pt x="124" y="572"/>
                    </a:lnTo>
                    <a:lnTo>
                      <a:pt x="124" y="5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6" name="Freeform 25"/>
              <p:cNvSpPr>
                <a:spLocks/>
              </p:cNvSpPr>
              <p:nvPr/>
            </p:nvSpPr>
            <p:spPr bwMode="auto">
              <a:xfrm>
                <a:off x="8254227" y="4517918"/>
                <a:ext cx="47345" cy="58558"/>
              </a:xfrm>
              <a:custGeom>
                <a:avLst/>
                <a:gdLst>
                  <a:gd name="T0" fmla="*/ 0 w 456"/>
                  <a:gd name="T1" fmla="*/ 288 h 564"/>
                  <a:gd name="T2" fmla="*/ 4 w 456"/>
                  <a:gd name="T3" fmla="*/ 226 h 564"/>
                  <a:gd name="T4" fmla="*/ 22 w 456"/>
                  <a:gd name="T5" fmla="*/ 172 h 564"/>
                  <a:gd name="T6" fmla="*/ 48 w 456"/>
                  <a:gd name="T7" fmla="*/ 122 h 564"/>
                  <a:gd name="T8" fmla="*/ 82 w 456"/>
                  <a:gd name="T9" fmla="*/ 80 h 564"/>
                  <a:gd name="T10" fmla="*/ 124 w 456"/>
                  <a:gd name="T11" fmla="*/ 46 h 564"/>
                  <a:gd name="T12" fmla="*/ 172 w 456"/>
                  <a:gd name="T13" fmla="*/ 22 h 564"/>
                  <a:gd name="T14" fmla="*/ 226 w 456"/>
                  <a:gd name="T15" fmla="*/ 6 h 564"/>
                  <a:gd name="T16" fmla="*/ 284 w 456"/>
                  <a:gd name="T17" fmla="*/ 0 h 564"/>
                  <a:gd name="T18" fmla="*/ 308 w 456"/>
                  <a:gd name="T19" fmla="*/ 0 h 564"/>
                  <a:gd name="T20" fmla="*/ 352 w 456"/>
                  <a:gd name="T21" fmla="*/ 6 h 564"/>
                  <a:gd name="T22" fmla="*/ 388 w 456"/>
                  <a:gd name="T23" fmla="*/ 16 h 564"/>
                  <a:gd name="T24" fmla="*/ 428 w 456"/>
                  <a:gd name="T25" fmla="*/ 36 h 564"/>
                  <a:gd name="T26" fmla="*/ 428 w 456"/>
                  <a:gd name="T27" fmla="*/ 152 h 564"/>
                  <a:gd name="T28" fmla="*/ 400 w 456"/>
                  <a:gd name="T29" fmla="*/ 134 h 564"/>
                  <a:gd name="T30" fmla="*/ 368 w 456"/>
                  <a:gd name="T31" fmla="*/ 120 h 564"/>
                  <a:gd name="T32" fmla="*/ 336 w 456"/>
                  <a:gd name="T33" fmla="*/ 112 h 564"/>
                  <a:gd name="T34" fmla="*/ 298 w 456"/>
                  <a:gd name="T35" fmla="*/ 110 h 564"/>
                  <a:gd name="T36" fmla="*/ 280 w 456"/>
                  <a:gd name="T37" fmla="*/ 110 h 564"/>
                  <a:gd name="T38" fmla="*/ 246 w 456"/>
                  <a:gd name="T39" fmla="*/ 118 h 564"/>
                  <a:gd name="T40" fmla="*/ 216 w 456"/>
                  <a:gd name="T41" fmla="*/ 130 h 564"/>
                  <a:gd name="T42" fmla="*/ 192 w 456"/>
                  <a:gd name="T43" fmla="*/ 148 h 564"/>
                  <a:gd name="T44" fmla="*/ 170 w 456"/>
                  <a:gd name="T45" fmla="*/ 172 h 564"/>
                  <a:gd name="T46" fmla="*/ 156 w 456"/>
                  <a:gd name="T47" fmla="*/ 200 h 564"/>
                  <a:gd name="T48" fmla="*/ 144 w 456"/>
                  <a:gd name="T49" fmla="*/ 230 h 564"/>
                  <a:gd name="T50" fmla="*/ 140 w 456"/>
                  <a:gd name="T51" fmla="*/ 266 h 564"/>
                  <a:gd name="T52" fmla="*/ 138 w 456"/>
                  <a:gd name="T53" fmla="*/ 284 h 564"/>
                  <a:gd name="T54" fmla="*/ 142 w 456"/>
                  <a:gd name="T55" fmla="*/ 322 h 564"/>
                  <a:gd name="T56" fmla="*/ 150 w 456"/>
                  <a:gd name="T57" fmla="*/ 358 h 564"/>
                  <a:gd name="T58" fmla="*/ 162 w 456"/>
                  <a:gd name="T59" fmla="*/ 386 h 564"/>
                  <a:gd name="T60" fmla="*/ 180 w 456"/>
                  <a:gd name="T61" fmla="*/ 410 h 564"/>
                  <a:gd name="T62" fmla="*/ 202 w 456"/>
                  <a:gd name="T63" fmla="*/ 430 h 564"/>
                  <a:gd name="T64" fmla="*/ 228 w 456"/>
                  <a:gd name="T65" fmla="*/ 444 h 564"/>
                  <a:gd name="T66" fmla="*/ 258 w 456"/>
                  <a:gd name="T67" fmla="*/ 452 h 564"/>
                  <a:gd name="T68" fmla="*/ 292 w 456"/>
                  <a:gd name="T69" fmla="*/ 454 h 564"/>
                  <a:gd name="T70" fmla="*/ 310 w 456"/>
                  <a:gd name="T71" fmla="*/ 454 h 564"/>
                  <a:gd name="T72" fmla="*/ 342 w 456"/>
                  <a:gd name="T73" fmla="*/ 448 h 564"/>
                  <a:gd name="T74" fmla="*/ 388 w 456"/>
                  <a:gd name="T75" fmla="*/ 432 h 564"/>
                  <a:gd name="T76" fmla="*/ 456 w 456"/>
                  <a:gd name="T77" fmla="*/ 512 h 564"/>
                  <a:gd name="T78" fmla="*/ 438 w 456"/>
                  <a:gd name="T79" fmla="*/ 522 h 564"/>
                  <a:gd name="T80" fmla="*/ 398 w 456"/>
                  <a:gd name="T81" fmla="*/ 542 h 564"/>
                  <a:gd name="T82" fmla="*/ 352 w 456"/>
                  <a:gd name="T83" fmla="*/ 556 h 564"/>
                  <a:gd name="T84" fmla="*/ 300 w 456"/>
                  <a:gd name="T85" fmla="*/ 564 h 564"/>
                  <a:gd name="T86" fmla="*/ 272 w 456"/>
                  <a:gd name="T87" fmla="*/ 564 h 564"/>
                  <a:gd name="T88" fmla="*/ 210 w 456"/>
                  <a:gd name="T89" fmla="*/ 558 h 564"/>
                  <a:gd name="T90" fmla="*/ 156 w 456"/>
                  <a:gd name="T91" fmla="*/ 542 h 564"/>
                  <a:gd name="T92" fmla="*/ 108 w 456"/>
                  <a:gd name="T93" fmla="*/ 518 h 564"/>
                  <a:gd name="T94" fmla="*/ 70 w 456"/>
                  <a:gd name="T95" fmla="*/ 484 h 564"/>
                  <a:gd name="T96" fmla="*/ 40 w 456"/>
                  <a:gd name="T97" fmla="*/ 444 h 564"/>
                  <a:gd name="T98" fmla="*/ 18 w 456"/>
                  <a:gd name="T99" fmla="*/ 396 h 564"/>
                  <a:gd name="T100" fmla="*/ 4 w 456"/>
                  <a:gd name="T101" fmla="*/ 344 h 564"/>
                  <a:gd name="T102" fmla="*/ 0 w 456"/>
                  <a:gd name="T103" fmla="*/ 288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56" h="564">
                    <a:moveTo>
                      <a:pt x="0" y="288"/>
                    </a:moveTo>
                    <a:lnTo>
                      <a:pt x="0" y="288"/>
                    </a:lnTo>
                    <a:lnTo>
                      <a:pt x="0" y="256"/>
                    </a:lnTo>
                    <a:lnTo>
                      <a:pt x="4" y="226"/>
                    </a:lnTo>
                    <a:lnTo>
                      <a:pt x="12" y="198"/>
                    </a:lnTo>
                    <a:lnTo>
                      <a:pt x="22" y="172"/>
                    </a:lnTo>
                    <a:lnTo>
                      <a:pt x="32" y="146"/>
                    </a:lnTo>
                    <a:lnTo>
                      <a:pt x="48" y="122"/>
                    </a:lnTo>
                    <a:lnTo>
                      <a:pt x="64" y="100"/>
                    </a:lnTo>
                    <a:lnTo>
                      <a:pt x="82" y="80"/>
                    </a:lnTo>
                    <a:lnTo>
                      <a:pt x="102" y="62"/>
                    </a:lnTo>
                    <a:lnTo>
                      <a:pt x="124" y="46"/>
                    </a:lnTo>
                    <a:lnTo>
                      <a:pt x="146" y="32"/>
                    </a:lnTo>
                    <a:lnTo>
                      <a:pt x="172" y="22"/>
                    </a:lnTo>
                    <a:lnTo>
                      <a:pt x="198" y="12"/>
                    </a:lnTo>
                    <a:lnTo>
                      <a:pt x="226" y="6"/>
                    </a:lnTo>
                    <a:lnTo>
                      <a:pt x="254" y="2"/>
                    </a:lnTo>
                    <a:lnTo>
                      <a:pt x="284" y="0"/>
                    </a:lnTo>
                    <a:lnTo>
                      <a:pt x="284" y="0"/>
                    </a:lnTo>
                    <a:lnTo>
                      <a:pt x="308" y="0"/>
                    </a:lnTo>
                    <a:lnTo>
                      <a:pt x="332" y="4"/>
                    </a:lnTo>
                    <a:lnTo>
                      <a:pt x="352" y="6"/>
                    </a:lnTo>
                    <a:lnTo>
                      <a:pt x="372" y="12"/>
                    </a:lnTo>
                    <a:lnTo>
                      <a:pt x="388" y="16"/>
                    </a:lnTo>
                    <a:lnTo>
                      <a:pt x="404" y="24"/>
                    </a:lnTo>
                    <a:lnTo>
                      <a:pt x="428" y="36"/>
                    </a:lnTo>
                    <a:lnTo>
                      <a:pt x="428" y="152"/>
                    </a:lnTo>
                    <a:lnTo>
                      <a:pt x="428" y="152"/>
                    </a:lnTo>
                    <a:lnTo>
                      <a:pt x="414" y="142"/>
                    </a:lnTo>
                    <a:lnTo>
                      <a:pt x="400" y="134"/>
                    </a:lnTo>
                    <a:lnTo>
                      <a:pt x="384" y="126"/>
                    </a:lnTo>
                    <a:lnTo>
                      <a:pt x="368" y="120"/>
                    </a:lnTo>
                    <a:lnTo>
                      <a:pt x="352" y="116"/>
                    </a:lnTo>
                    <a:lnTo>
                      <a:pt x="336" y="112"/>
                    </a:lnTo>
                    <a:lnTo>
                      <a:pt x="316" y="110"/>
                    </a:lnTo>
                    <a:lnTo>
                      <a:pt x="298" y="110"/>
                    </a:lnTo>
                    <a:lnTo>
                      <a:pt x="298" y="110"/>
                    </a:lnTo>
                    <a:lnTo>
                      <a:pt x="280" y="110"/>
                    </a:lnTo>
                    <a:lnTo>
                      <a:pt x="262" y="112"/>
                    </a:lnTo>
                    <a:lnTo>
                      <a:pt x="246" y="118"/>
                    </a:lnTo>
                    <a:lnTo>
                      <a:pt x="230" y="122"/>
                    </a:lnTo>
                    <a:lnTo>
                      <a:pt x="216" y="130"/>
                    </a:lnTo>
                    <a:lnTo>
                      <a:pt x="204" y="138"/>
                    </a:lnTo>
                    <a:lnTo>
                      <a:pt x="192" y="148"/>
                    </a:lnTo>
                    <a:lnTo>
                      <a:pt x="180" y="160"/>
                    </a:lnTo>
                    <a:lnTo>
                      <a:pt x="170" y="172"/>
                    </a:lnTo>
                    <a:lnTo>
                      <a:pt x="162" y="186"/>
                    </a:lnTo>
                    <a:lnTo>
                      <a:pt x="156" y="200"/>
                    </a:lnTo>
                    <a:lnTo>
                      <a:pt x="150" y="214"/>
                    </a:lnTo>
                    <a:lnTo>
                      <a:pt x="144" y="230"/>
                    </a:lnTo>
                    <a:lnTo>
                      <a:pt x="142" y="248"/>
                    </a:lnTo>
                    <a:lnTo>
                      <a:pt x="140" y="266"/>
                    </a:lnTo>
                    <a:lnTo>
                      <a:pt x="138" y="284"/>
                    </a:lnTo>
                    <a:lnTo>
                      <a:pt x="138" y="284"/>
                    </a:lnTo>
                    <a:lnTo>
                      <a:pt x="140" y="304"/>
                    </a:lnTo>
                    <a:lnTo>
                      <a:pt x="142" y="322"/>
                    </a:lnTo>
                    <a:lnTo>
                      <a:pt x="144" y="340"/>
                    </a:lnTo>
                    <a:lnTo>
                      <a:pt x="150" y="358"/>
                    </a:lnTo>
                    <a:lnTo>
                      <a:pt x="156" y="372"/>
                    </a:lnTo>
                    <a:lnTo>
                      <a:pt x="162" y="386"/>
                    </a:lnTo>
                    <a:lnTo>
                      <a:pt x="170" y="400"/>
                    </a:lnTo>
                    <a:lnTo>
                      <a:pt x="180" y="410"/>
                    </a:lnTo>
                    <a:lnTo>
                      <a:pt x="190" y="420"/>
                    </a:lnTo>
                    <a:lnTo>
                      <a:pt x="202" y="430"/>
                    </a:lnTo>
                    <a:lnTo>
                      <a:pt x="214" y="438"/>
                    </a:lnTo>
                    <a:lnTo>
                      <a:pt x="228" y="444"/>
                    </a:lnTo>
                    <a:lnTo>
                      <a:pt x="242" y="448"/>
                    </a:lnTo>
                    <a:lnTo>
                      <a:pt x="258" y="452"/>
                    </a:lnTo>
                    <a:lnTo>
                      <a:pt x="274" y="454"/>
                    </a:lnTo>
                    <a:lnTo>
                      <a:pt x="292" y="454"/>
                    </a:lnTo>
                    <a:lnTo>
                      <a:pt x="292" y="454"/>
                    </a:lnTo>
                    <a:lnTo>
                      <a:pt x="310" y="454"/>
                    </a:lnTo>
                    <a:lnTo>
                      <a:pt x="326" y="452"/>
                    </a:lnTo>
                    <a:lnTo>
                      <a:pt x="342" y="448"/>
                    </a:lnTo>
                    <a:lnTo>
                      <a:pt x="358" y="444"/>
                    </a:lnTo>
                    <a:lnTo>
                      <a:pt x="388" y="432"/>
                    </a:lnTo>
                    <a:lnTo>
                      <a:pt x="416" y="418"/>
                    </a:lnTo>
                    <a:lnTo>
                      <a:pt x="456" y="512"/>
                    </a:lnTo>
                    <a:lnTo>
                      <a:pt x="456" y="512"/>
                    </a:lnTo>
                    <a:lnTo>
                      <a:pt x="438" y="522"/>
                    </a:lnTo>
                    <a:lnTo>
                      <a:pt x="420" y="532"/>
                    </a:lnTo>
                    <a:lnTo>
                      <a:pt x="398" y="542"/>
                    </a:lnTo>
                    <a:lnTo>
                      <a:pt x="376" y="550"/>
                    </a:lnTo>
                    <a:lnTo>
                      <a:pt x="352" y="556"/>
                    </a:lnTo>
                    <a:lnTo>
                      <a:pt x="326" y="560"/>
                    </a:lnTo>
                    <a:lnTo>
                      <a:pt x="300" y="564"/>
                    </a:lnTo>
                    <a:lnTo>
                      <a:pt x="272" y="564"/>
                    </a:lnTo>
                    <a:lnTo>
                      <a:pt x="272" y="564"/>
                    </a:lnTo>
                    <a:lnTo>
                      <a:pt x="240" y="562"/>
                    </a:lnTo>
                    <a:lnTo>
                      <a:pt x="210" y="558"/>
                    </a:lnTo>
                    <a:lnTo>
                      <a:pt x="182" y="552"/>
                    </a:lnTo>
                    <a:lnTo>
                      <a:pt x="156" y="542"/>
                    </a:lnTo>
                    <a:lnTo>
                      <a:pt x="130" y="532"/>
                    </a:lnTo>
                    <a:lnTo>
                      <a:pt x="108" y="518"/>
                    </a:lnTo>
                    <a:lnTo>
                      <a:pt x="88" y="502"/>
                    </a:lnTo>
                    <a:lnTo>
                      <a:pt x="70" y="484"/>
                    </a:lnTo>
                    <a:lnTo>
                      <a:pt x="54" y="464"/>
                    </a:lnTo>
                    <a:lnTo>
                      <a:pt x="40" y="444"/>
                    </a:lnTo>
                    <a:lnTo>
                      <a:pt x="28" y="420"/>
                    </a:lnTo>
                    <a:lnTo>
                      <a:pt x="18" y="396"/>
                    </a:lnTo>
                    <a:lnTo>
                      <a:pt x="10" y="370"/>
                    </a:lnTo>
                    <a:lnTo>
                      <a:pt x="4" y="344"/>
                    </a:lnTo>
                    <a:lnTo>
                      <a:pt x="0" y="316"/>
                    </a:lnTo>
                    <a:lnTo>
                      <a:pt x="0" y="288"/>
                    </a:lnTo>
                    <a:lnTo>
                      <a:pt x="0"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7" name="Freeform 26"/>
              <p:cNvSpPr>
                <a:spLocks/>
              </p:cNvSpPr>
              <p:nvPr/>
            </p:nvSpPr>
            <p:spPr bwMode="auto">
              <a:xfrm>
                <a:off x="8304894" y="4517918"/>
                <a:ext cx="43400" cy="58558"/>
              </a:xfrm>
              <a:custGeom>
                <a:avLst/>
                <a:gdLst>
                  <a:gd name="T0" fmla="*/ 58 w 418"/>
                  <a:gd name="T1" fmla="*/ 422 h 564"/>
                  <a:gd name="T2" fmla="*/ 112 w 418"/>
                  <a:gd name="T3" fmla="*/ 444 h 564"/>
                  <a:gd name="T4" fmla="*/ 170 w 418"/>
                  <a:gd name="T5" fmla="*/ 456 h 564"/>
                  <a:gd name="T6" fmla="*/ 210 w 418"/>
                  <a:gd name="T7" fmla="*/ 456 h 564"/>
                  <a:gd name="T8" fmla="*/ 258 w 418"/>
                  <a:gd name="T9" fmla="*/ 444 h 564"/>
                  <a:gd name="T10" fmla="*/ 282 w 418"/>
                  <a:gd name="T11" fmla="*/ 414 h 564"/>
                  <a:gd name="T12" fmla="*/ 284 w 418"/>
                  <a:gd name="T13" fmla="*/ 392 h 564"/>
                  <a:gd name="T14" fmla="*/ 274 w 418"/>
                  <a:gd name="T15" fmla="*/ 372 h 564"/>
                  <a:gd name="T16" fmla="*/ 226 w 418"/>
                  <a:gd name="T17" fmla="*/ 340 h 564"/>
                  <a:gd name="T18" fmla="*/ 134 w 418"/>
                  <a:gd name="T19" fmla="*/ 304 h 564"/>
                  <a:gd name="T20" fmla="*/ 72 w 418"/>
                  <a:gd name="T21" fmla="*/ 264 h 564"/>
                  <a:gd name="T22" fmla="*/ 48 w 418"/>
                  <a:gd name="T23" fmla="*/ 232 h 564"/>
                  <a:gd name="T24" fmla="*/ 34 w 418"/>
                  <a:gd name="T25" fmla="*/ 194 h 564"/>
                  <a:gd name="T26" fmla="*/ 32 w 418"/>
                  <a:gd name="T27" fmla="*/ 162 h 564"/>
                  <a:gd name="T28" fmla="*/ 40 w 418"/>
                  <a:gd name="T29" fmla="*/ 112 h 564"/>
                  <a:gd name="T30" fmla="*/ 62 w 418"/>
                  <a:gd name="T31" fmla="*/ 70 h 564"/>
                  <a:gd name="T32" fmla="*/ 100 w 418"/>
                  <a:gd name="T33" fmla="*/ 36 h 564"/>
                  <a:gd name="T34" fmla="*/ 150 w 418"/>
                  <a:gd name="T35" fmla="*/ 12 h 564"/>
                  <a:gd name="T36" fmla="*/ 212 w 418"/>
                  <a:gd name="T37" fmla="*/ 0 h 564"/>
                  <a:gd name="T38" fmla="*/ 280 w 418"/>
                  <a:gd name="T39" fmla="*/ 2 h 564"/>
                  <a:gd name="T40" fmla="*/ 394 w 418"/>
                  <a:gd name="T41" fmla="*/ 26 h 564"/>
                  <a:gd name="T42" fmla="*/ 358 w 418"/>
                  <a:gd name="T43" fmla="*/ 128 h 564"/>
                  <a:gd name="T44" fmla="*/ 262 w 418"/>
                  <a:gd name="T45" fmla="*/ 108 h 564"/>
                  <a:gd name="T46" fmla="*/ 224 w 418"/>
                  <a:gd name="T47" fmla="*/ 108 h 564"/>
                  <a:gd name="T48" fmla="*/ 186 w 418"/>
                  <a:gd name="T49" fmla="*/ 118 h 564"/>
                  <a:gd name="T50" fmla="*/ 166 w 418"/>
                  <a:gd name="T51" fmla="*/ 144 h 564"/>
                  <a:gd name="T52" fmla="*/ 166 w 418"/>
                  <a:gd name="T53" fmla="*/ 164 h 564"/>
                  <a:gd name="T54" fmla="*/ 176 w 418"/>
                  <a:gd name="T55" fmla="*/ 184 h 564"/>
                  <a:gd name="T56" fmla="*/ 224 w 418"/>
                  <a:gd name="T57" fmla="*/ 212 h 564"/>
                  <a:gd name="T58" fmla="*/ 314 w 418"/>
                  <a:gd name="T59" fmla="*/ 248 h 564"/>
                  <a:gd name="T60" fmla="*/ 378 w 418"/>
                  <a:gd name="T61" fmla="*/ 292 h 564"/>
                  <a:gd name="T62" fmla="*/ 402 w 418"/>
                  <a:gd name="T63" fmla="*/ 324 h 564"/>
                  <a:gd name="T64" fmla="*/ 414 w 418"/>
                  <a:gd name="T65" fmla="*/ 364 h 564"/>
                  <a:gd name="T66" fmla="*/ 418 w 418"/>
                  <a:gd name="T67" fmla="*/ 396 h 564"/>
                  <a:gd name="T68" fmla="*/ 408 w 418"/>
                  <a:gd name="T69" fmla="*/ 456 h 564"/>
                  <a:gd name="T70" fmla="*/ 380 w 418"/>
                  <a:gd name="T71" fmla="*/ 502 h 564"/>
                  <a:gd name="T72" fmla="*/ 336 w 418"/>
                  <a:gd name="T73" fmla="*/ 534 h 564"/>
                  <a:gd name="T74" fmla="*/ 282 w 418"/>
                  <a:gd name="T75" fmla="*/ 554 h 564"/>
                  <a:gd name="T76" fmla="*/ 220 w 418"/>
                  <a:gd name="T77" fmla="*/ 564 h 564"/>
                  <a:gd name="T78" fmla="*/ 168 w 418"/>
                  <a:gd name="T79" fmla="*/ 562 h 564"/>
                  <a:gd name="T80" fmla="*/ 84 w 418"/>
                  <a:gd name="T81" fmla="*/ 548 h 564"/>
                  <a:gd name="T82" fmla="*/ 18 w 418"/>
                  <a:gd name="T83" fmla="*/ 522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8" h="564">
                    <a:moveTo>
                      <a:pt x="42" y="412"/>
                    </a:moveTo>
                    <a:lnTo>
                      <a:pt x="42" y="412"/>
                    </a:lnTo>
                    <a:lnTo>
                      <a:pt x="58" y="422"/>
                    </a:lnTo>
                    <a:lnTo>
                      <a:pt x="76" y="430"/>
                    </a:lnTo>
                    <a:lnTo>
                      <a:pt x="94" y="438"/>
                    </a:lnTo>
                    <a:lnTo>
                      <a:pt x="112" y="444"/>
                    </a:lnTo>
                    <a:lnTo>
                      <a:pt x="130" y="450"/>
                    </a:lnTo>
                    <a:lnTo>
                      <a:pt x="150" y="454"/>
                    </a:lnTo>
                    <a:lnTo>
                      <a:pt x="170" y="456"/>
                    </a:lnTo>
                    <a:lnTo>
                      <a:pt x="190" y="456"/>
                    </a:lnTo>
                    <a:lnTo>
                      <a:pt x="190" y="456"/>
                    </a:lnTo>
                    <a:lnTo>
                      <a:pt x="210" y="456"/>
                    </a:lnTo>
                    <a:lnTo>
                      <a:pt x="228" y="454"/>
                    </a:lnTo>
                    <a:lnTo>
                      <a:pt x="244" y="450"/>
                    </a:lnTo>
                    <a:lnTo>
                      <a:pt x="258" y="444"/>
                    </a:lnTo>
                    <a:lnTo>
                      <a:pt x="268" y="436"/>
                    </a:lnTo>
                    <a:lnTo>
                      <a:pt x="278" y="426"/>
                    </a:lnTo>
                    <a:lnTo>
                      <a:pt x="282" y="414"/>
                    </a:lnTo>
                    <a:lnTo>
                      <a:pt x="284" y="400"/>
                    </a:lnTo>
                    <a:lnTo>
                      <a:pt x="284" y="400"/>
                    </a:lnTo>
                    <a:lnTo>
                      <a:pt x="284" y="392"/>
                    </a:lnTo>
                    <a:lnTo>
                      <a:pt x="282" y="384"/>
                    </a:lnTo>
                    <a:lnTo>
                      <a:pt x="278" y="378"/>
                    </a:lnTo>
                    <a:lnTo>
                      <a:pt x="274" y="372"/>
                    </a:lnTo>
                    <a:lnTo>
                      <a:pt x="262" y="360"/>
                    </a:lnTo>
                    <a:lnTo>
                      <a:pt x="244" y="350"/>
                    </a:lnTo>
                    <a:lnTo>
                      <a:pt x="226" y="340"/>
                    </a:lnTo>
                    <a:lnTo>
                      <a:pt x="204" y="332"/>
                    </a:lnTo>
                    <a:lnTo>
                      <a:pt x="158" y="314"/>
                    </a:lnTo>
                    <a:lnTo>
                      <a:pt x="134" y="304"/>
                    </a:lnTo>
                    <a:lnTo>
                      <a:pt x="112" y="294"/>
                    </a:lnTo>
                    <a:lnTo>
                      <a:pt x="90" y="280"/>
                    </a:lnTo>
                    <a:lnTo>
                      <a:pt x="72" y="264"/>
                    </a:lnTo>
                    <a:lnTo>
                      <a:pt x="62" y="254"/>
                    </a:lnTo>
                    <a:lnTo>
                      <a:pt x="54" y="244"/>
                    </a:lnTo>
                    <a:lnTo>
                      <a:pt x="48" y="232"/>
                    </a:lnTo>
                    <a:lnTo>
                      <a:pt x="42" y="222"/>
                    </a:lnTo>
                    <a:lnTo>
                      <a:pt x="38" y="208"/>
                    </a:lnTo>
                    <a:lnTo>
                      <a:pt x="34" y="194"/>
                    </a:lnTo>
                    <a:lnTo>
                      <a:pt x="32" y="180"/>
                    </a:lnTo>
                    <a:lnTo>
                      <a:pt x="32" y="162"/>
                    </a:lnTo>
                    <a:lnTo>
                      <a:pt x="32" y="162"/>
                    </a:lnTo>
                    <a:lnTo>
                      <a:pt x="32" y="146"/>
                    </a:lnTo>
                    <a:lnTo>
                      <a:pt x="36" y="128"/>
                    </a:lnTo>
                    <a:lnTo>
                      <a:pt x="40" y="112"/>
                    </a:lnTo>
                    <a:lnTo>
                      <a:pt x="46" y="98"/>
                    </a:lnTo>
                    <a:lnTo>
                      <a:pt x="54" y="82"/>
                    </a:lnTo>
                    <a:lnTo>
                      <a:pt x="62" y="70"/>
                    </a:lnTo>
                    <a:lnTo>
                      <a:pt x="74" y="56"/>
                    </a:lnTo>
                    <a:lnTo>
                      <a:pt x="86" y="46"/>
                    </a:lnTo>
                    <a:lnTo>
                      <a:pt x="100" y="36"/>
                    </a:lnTo>
                    <a:lnTo>
                      <a:pt x="116" y="26"/>
                    </a:lnTo>
                    <a:lnTo>
                      <a:pt x="132" y="18"/>
                    </a:lnTo>
                    <a:lnTo>
                      <a:pt x="150" y="12"/>
                    </a:lnTo>
                    <a:lnTo>
                      <a:pt x="170" y="6"/>
                    </a:lnTo>
                    <a:lnTo>
                      <a:pt x="190" y="4"/>
                    </a:lnTo>
                    <a:lnTo>
                      <a:pt x="212" y="0"/>
                    </a:lnTo>
                    <a:lnTo>
                      <a:pt x="236" y="0"/>
                    </a:lnTo>
                    <a:lnTo>
                      <a:pt x="236" y="0"/>
                    </a:lnTo>
                    <a:lnTo>
                      <a:pt x="280" y="2"/>
                    </a:lnTo>
                    <a:lnTo>
                      <a:pt x="320" y="8"/>
                    </a:lnTo>
                    <a:lnTo>
                      <a:pt x="358" y="16"/>
                    </a:lnTo>
                    <a:lnTo>
                      <a:pt x="394" y="26"/>
                    </a:lnTo>
                    <a:lnTo>
                      <a:pt x="394" y="142"/>
                    </a:lnTo>
                    <a:lnTo>
                      <a:pt x="394" y="142"/>
                    </a:lnTo>
                    <a:lnTo>
                      <a:pt x="358" y="128"/>
                    </a:lnTo>
                    <a:lnTo>
                      <a:pt x="322" y="116"/>
                    </a:lnTo>
                    <a:lnTo>
                      <a:pt x="282" y="110"/>
                    </a:lnTo>
                    <a:lnTo>
                      <a:pt x="262" y="108"/>
                    </a:lnTo>
                    <a:lnTo>
                      <a:pt x="242" y="108"/>
                    </a:lnTo>
                    <a:lnTo>
                      <a:pt x="242" y="108"/>
                    </a:lnTo>
                    <a:lnTo>
                      <a:pt x="224" y="108"/>
                    </a:lnTo>
                    <a:lnTo>
                      <a:pt x="210" y="110"/>
                    </a:lnTo>
                    <a:lnTo>
                      <a:pt x="198" y="114"/>
                    </a:lnTo>
                    <a:lnTo>
                      <a:pt x="186" y="118"/>
                    </a:lnTo>
                    <a:lnTo>
                      <a:pt x="176" y="126"/>
                    </a:lnTo>
                    <a:lnTo>
                      <a:pt x="170" y="134"/>
                    </a:lnTo>
                    <a:lnTo>
                      <a:pt x="166" y="144"/>
                    </a:lnTo>
                    <a:lnTo>
                      <a:pt x="164" y="156"/>
                    </a:lnTo>
                    <a:lnTo>
                      <a:pt x="164" y="156"/>
                    </a:lnTo>
                    <a:lnTo>
                      <a:pt x="166" y="164"/>
                    </a:lnTo>
                    <a:lnTo>
                      <a:pt x="168" y="170"/>
                    </a:lnTo>
                    <a:lnTo>
                      <a:pt x="172" y="178"/>
                    </a:lnTo>
                    <a:lnTo>
                      <a:pt x="176" y="184"/>
                    </a:lnTo>
                    <a:lnTo>
                      <a:pt x="188" y="194"/>
                    </a:lnTo>
                    <a:lnTo>
                      <a:pt x="204" y="204"/>
                    </a:lnTo>
                    <a:lnTo>
                      <a:pt x="224" y="212"/>
                    </a:lnTo>
                    <a:lnTo>
                      <a:pt x="244" y="220"/>
                    </a:lnTo>
                    <a:lnTo>
                      <a:pt x="292" y="238"/>
                    </a:lnTo>
                    <a:lnTo>
                      <a:pt x="314" y="248"/>
                    </a:lnTo>
                    <a:lnTo>
                      <a:pt x="338" y="260"/>
                    </a:lnTo>
                    <a:lnTo>
                      <a:pt x="360" y="274"/>
                    </a:lnTo>
                    <a:lnTo>
                      <a:pt x="378" y="292"/>
                    </a:lnTo>
                    <a:lnTo>
                      <a:pt x="386" y="302"/>
                    </a:lnTo>
                    <a:lnTo>
                      <a:pt x="394" y="312"/>
                    </a:lnTo>
                    <a:lnTo>
                      <a:pt x="402" y="324"/>
                    </a:lnTo>
                    <a:lnTo>
                      <a:pt x="406" y="336"/>
                    </a:lnTo>
                    <a:lnTo>
                      <a:pt x="412" y="350"/>
                    </a:lnTo>
                    <a:lnTo>
                      <a:pt x="414" y="364"/>
                    </a:lnTo>
                    <a:lnTo>
                      <a:pt x="418" y="380"/>
                    </a:lnTo>
                    <a:lnTo>
                      <a:pt x="418" y="396"/>
                    </a:lnTo>
                    <a:lnTo>
                      <a:pt x="418" y="396"/>
                    </a:lnTo>
                    <a:lnTo>
                      <a:pt x="416" y="418"/>
                    </a:lnTo>
                    <a:lnTo>
                      <a:pt x="414" y="438"/>
                    </a:lnTo>
                    <a:lnTo>
                      <a:pt x="408" y="456"/>
                    </a:lnTo>
                    <a:lnTo>
                      <a:pt x="400" y="472"/>
                    </a:lnTo>
                    <a:lnTo>
                      <a:pt x="390" y="488"/>
                    </a:lnTo>
                    <a:lnTo>
                      <a:pt x="380" y="502"/>
                    </a:lnTo>
                    <a:lnTo>
                      <a:pt x="366" y="514"/>
                    </a:lnTo>
                    <a:lnTo>
                      <a:pt x="352" y="524"/>
                    </a:lnTo>
                    <a:lnTo>
                      <a:pt x="336" y="534"/>
                    </a:lnTo>
                    <a:lnTo>
                      <a:pt x="320" y="542"/>
                    </a:lnTo>
                    <a:lnTo>
                      <a:pt x="302" y="550"/>
                    </a:lnTo>
                    <a:lnTo>
                      <a:pt x="282" y="554"/>
                    </a:lnTo>
                    <a:lnTo>
                      <a:pt x="262" y="558"/>
                    </a:lnTo>
                    <a:lnTo>
                      <a:pt x="242" y="562"/>
                    </a:lnTo>
                    <a:lnTo>
                      <a:pt x="220" y="564"/>
                    </a:lnTo>
                    <a:lnTo>
                      <a:pt x="200" y="564"/>
                    </a:lnTo>
                    <a:lnTo>
                      <a:pt x="200" y="564"/>
                    </a:lnTo>
                    <a:lnTo>
                      <a:pt x="168" y="562"/>
                    </a:lnTo>
                    <a:lnTo>
                      <a:pt x="138" y="560"/>
                    </a:lnTo>
                    <a:lnTo>
                      <a:pt x="110" y="554"/>
                    </a:lnTo>
                    <a:lnTo>
                      <a:pt x="84" y="548"/>
                    </a:lnTo>
                    <a:lnTo>
                      <a:pt x="60" y="540"/>
                    </a:lnTo>
                    <a:lnTo>
                      <a:pt x="38" y="532"/>
                    </a:lnTo>
                    <a:lnTo>
                      <a:pt x="18" y="522"/>
                    </a:lnTo>
                    <a:lnTo>
                      <a:pt x="0" y="512"/>
                    </a:lnTo>
                    <a:lnTo>
                      <a:pt x="42" y="4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8" name="Freeform 27"/>
              <p:cNvSpPr>
                <a:spLocks noEditPoints="1"/>
              </p:cNvSpPr>
              <p:nvPr/>
            </p:nvSpPr>
            <p:spPr bwMode="auto">
              <a:xfrm>
                <a:off x="8230347" y="4493623"/>
                <a:ext cx="17443" cy="81608"/>
              </a:xfrm>
              <a:custGeom>
                <a:avLst/>
                <a:gdLst>
                  <a:gd name="T0" fmla="*/ 84 w 168"/>
                  <a:gd name="T1" fmla="*/ 162 h 786"/>
                  <a:gd name="T2" fmla="*/ 84 w 168"/>
                  <a:gd name="T3" fmla="*/ 162 h 786"/>
                  <a:gd name="T4" fmla="*/ 68 w 168"/>
                  <a:gd name="T5" fmla="*/ 160 h 786"/>
                  <a:gd name="T6" fmla="*/ 52 w 168"/>
                  <a:gd name="T7" fmla="*/ 156 h 786"/>
                  <a:gd name="T8" fmla="*/ 38 w 168"/>
                  <a:gd name="T9" fmla="*/ 148 h 786"/>
                  <a:gd name="T10" fmla="*/ 26 w 168"/>
                  <a:gd name="T11" fmla="*/ 138 h 786"/>
                  <a:gd name="T12" fmla="*/ 14 w 168"/>
                  <a:gd name="T13" fmla="*/ 126 h 786"/>
                  <a:gd name="T14" fmla="*/ 8 w 168"/>
                  <a:gd name="T15" fmla="*/ 112 h 786"/>
                  <a:gd name="T16" fmla="*/ 2 w 168"/>
                  <a:gd name="T17" fmla="*/ 98 h 786"/>
                  <a:gd name="T18" fmla="*/ 0 w 168"/>
                  <a:gd name="T19" fmla="*/ 80 h 786"/>
                  <a:gd name="T20" fmla="*/ 0 w 168"/>
                  <a:gd name="T21" fmla="*/ 80 h 786"/>
                  <a:gd name="T22" fmla="*/ 2 w 168"/>
                  <a:gd name="T23" fmla="*/ 64 h 786"/>
                  <a:gd name="T24" fmla="*/ 8 w 168"/>
                  <a:gd name="T25" fmla="*/ 50 h 786"/>
                  <a:gd name="T26" fmla="*/ 14 w 168"/>
                  <a:gd name="T27" fmla="*/ 36 h 786"/>
                  <a:gd name="T28" fmla="*/ 26 w 168"/>
                  <a:gd name="T29" fmla="*/ 24 h 786"/>
                  <a:gd name="T30" fmla="*/ 38 w 168"/>
                  <a:gd name="T31" fmla="*/ 14 h 786"/>
                  <a:gd name="T32" fmla="*/ 52 w 168"/>
                  <a:gd name="T33" fmla="*/ 6 h 786"/>
                  <a:gd name="T34" fmla="*/ 68 w 168"/>
                  <a:gd name="T35" fmla="*/ 2 h 786"/>
                  <a:gd name="T36" fmla="*/ 84 w 168"/>
                  <a:gd name="T37" fmla="*/ 0 h 786"/>
                  <a:gd name="T38" fmla="*/ 84 w 168"/>
                  <a:gd name="T39" fmla="*/ 0 h 786"/>
                  <a:gd name="T40" fmla="*/ 102 w 168"/>
                  <a:gd name="T41" fmla="*/ 2 h 786"/>
                  <a:gd name="T42" fmla="*/ 118 w 168"/>
                  <a:gd name="T43" fmla="*/ 6 h 786"/>
                  <a:gd name="T44" fmla="*/ 132 w 168"/>
                  <a:gd name="T45" fmla="*/ 14 h 786"/>
                  <a:gd name="T46" fmla="*/ 144 w 168"/>
                  <a:gd name="T47" fmla="*/ 24 h 786"/>
                  <a:gd name="T48" fmla="*/ 154 w 168"/>
                  <a:gd name="T49" fmla="*/ 36 h 786"/>
                  <a:gd name="T50" fmla="*/ 162 w 168"/>
                  <a:gd name="T51" fmla="*/ 48 h 786"/>
                  <a:gd name="T52" fmla="*/ 166 w 168"/>
                  <a:gd name="T53" fmla="*/ 64 h 786"/>
                  <a:gd name="T54" fmla="*/ 168 w 168"/>
                  <a:gd name="T55" fmla="*/ 80 h 786"/>
                  <a:gd name="T56" fmla="*/ 168 w 168"/>
                  <a:gd name="T57" fmla="*/ 80 h 786"/>
                  <a:gd name="T58" fmla="*/ 166 w 168"/>
                  <a:gd name="T59" fmla="*/ 96 h 786"/>
                  <a:gd name="T60" fmla="*/ 162 w 168"/>
                  <a:gd name="T61" fmla="*/ 112 h 786"/>
                  <a:gd name="T62" fmla="*/ 154 w 168"/>
                  <a:gd name="T63" fmla="*/ 126 h 786"/>
                  <a:gd name="T64" fmla="*/ 144 w 168"/>
                  <a:gd name="T65" fmla="*/ 138 h 786"/>
                  <a:gd name="T66" fmla="*/ 132 w 168"/>
                  <a:gd name="T67" fmla="*/ 148 h 786"/>
                  <a:gd name="T68" fmla="*/ 118 w 168"/>
                  <a:gd name="T69" fmla="*/ 156 h 786"/>
                  <a:gd name="T70" fmla="*/ 102 w 168"/>
                  <a:gd name="T71" fmla="*/ 160 h 786"/>
                  <a:gd name="T72" fmla="*/ 84 w 168"/>
                  <a:gd name="T73" fmla="*/ 162 h 786"/>
                  <a:gd name="T74" fmla="*/ 84 w 168"/>
                  <a:gd name="T75" fmla="*/ 162 h 786"/>
                  <a:gd name="T76" fmla="*/ 16 w 168"/>
                  <a:gd name="T77" fmla="*/ 786 h 786"/>
                  <a:gd name="T78" fmla="*/ 16 w 168"/>
                  <a:gd name="T79" fmla="*/ 244 h 786"/>
                  <a:gd name="T80" fmla="*/ 152 w 168"/>
                  <a:gd name="T81" fmla="*/ 244 h 786"/>
                  <a:gd name="T82" fmla="*/ 152 w 168"/>
                  <a:gd name="T83" fmla="*/ 244 h 786"/>
                  <a:gd name="T84" fmla="*/ 152 w 168"/>
                  <a:gd name="T85" fmla="*/ 686 h 786"/>
                  <a:gd name="T86" fmla="*/ 152 w 168"/>
                  <a:gd name="T87" fmla="*/ 686 h 786"/>
                  <a:gd name="T88" fmla="*/ 150 w 168"/>
                  <a:gd name="T89" fmla="*/ 704 h 786"/>
                  <a:gd name="T90" fmla="*/ 146 w 168"/>
                  <a:gd name="T91" fmla="*/ 720 h 786"/>
                  <a:gd name="T92" fmla="*/ 138 w 168"/>
                  <a:gd name="T93" fmla="*/ 732 h 786"/>
                  <a:gd name="T94" fmla="*/ 130 w 168"/>
                  <a:gd name="T95" fmla="*/ 744 h 786"/>
                  <a:gd name="T96" fmla="*/ 120 w 168"/>
                  <a:gd name="T97" fmla="*/ 754 h 786"/>
                  <a:gd name="T98" fmla="*/ 108 w 168"/>
                  <a:gd name="T99" fmla="*/ 762 h 786"/>
                  <a:gd name="T100" fmla="*/ 96 w 168"/>
                  <a:gd name="T101" fmla="*/ 768 h 786"/>
                  <a:gd name="T102" fmla="*/ 84 w 168"/>
                  <a:gd name="T103" fmla="*/ 774 h 786"/>
                  <a:gd name="T104" fmla="*/ 60 w 168"/>
                  <a:gd name="T105" fmla="*/ 782 h 786"/>
                  <a:gd name="T106" fmla="*/ 38 w 168"/>
                  <a:gd name="T107" fmla="*/ 784 h 786"/>
                  <a:gd name="T108" fmla="*/ 16 w 168"/>
                  <a:gd name="T109" fmla="*/ 786 h 786"/>
                  <a:gd name="T110" fmla="*/ 16 w 168"/>
                  <a:gd name="T111" fmla="*/ 786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8" h="786">
                    <a:moveTo>
                      <a:pt x="84" y="162"/>
                    </a:moveTo>
                    <a:lnTo>
                      <a:pt x="84" y="162"/>
                    </a:lnTo>
                    <a:lnTo>
                      <a:pt x="68" y="160"/>
                    </a:lnTo>
                    <a:lnTo>
                      <a:pt x="52" y="156"/>
                    </a:lnTo>
                    <a:lnTo>
                      <a:pt x="38" y="148"/>
                    </a:lnTo>
                    <a:lnTo>
                      <a:pt x="26" y="138"/>
                    </a:lnTo>
                    <a:lnTo>
                      <a:pt x="14" y="126"/>
                    </a:lnTo>
                    <a:lnTo>
                      <a:pt x="8" y="112"/>
                    </a:lnTo>
                    <a:lnTo>
                      <a:pt x="2" y="98"/>
                    </a:lnTo>
                    <a:lnTo>
                      <a:pt x="0" y="80"/>
                    </a:lnTo>
                    <a:lnTo>
                      <a:pt x="0" y="80"/>
                    </a:lnTo>
                    <a:lnTo>
                      <a:pt x="2" y="64"/>
                    </a:lnTo>
                    <a:lnTo>
                      <a:pt x="8" y="50"/>
                    </a:lnTo>
                    <a:lnTo>
                      <a:pt x="14" y="36"/>
                    </a:lnTo>
                    <a:lnTo>
                      <a:pt x="26" y="24"/>
                    </a:lnTo>
                    <a:lnTo>
                      <a:pt x="38" y="14"/>
                    </a:lnTo>
                    <a:lnTo>
                      <a:pt x="52" y="6"/>
                    </a:lnTo>
                    <a:lnTo>
                      <a:pt x="68" y="2"/>
                    </a:lnTo>
                    <a:lnTo>
                      <a:pt x="84" y="0"/>
                    </a:lnTo>
                    <a:lnTo>
                      <a:pt x="84" y="0"/>
                    </a:lnTo>
                    <a:lnTo>
                      <a:pt x="102" y="2"/>
                    </a:lnTo>
                    <a:lnTo>
                      <a:pt x="118" y="6"/>
                    </a:lnTo>
                    <a:lnTo>
                      <a:pt x="132" y="14"/>
                    </a:lnTo>
                    <a:lnTo>
                      <a:pt x="144" y="24"/>
                    </a:lnTo>
                    <a:lnTo>
                      <a:pt x="154" y="36"/>
                    </a:lnTo>
                    <a:lnTo>
                      <a:pt x="162" y="48"/>
                    </a:lnTo>
                    <a:lnTo>
                      <a:pt x="166" y="64"/>
                    </a:lnTo>
                    <a:lnTo>
                      <a:pt x="168" y="80"/>
                    </a:lnTo>
                    <a:lnTo>
                      <a:pt x="168" y="80"/>
                    </a:lnTo>
                    <a:lnTo>
                      <a:pt x="166" y="96"/>
                    </a:lnTo>
                    <a:lnTo>
                      <a:pt x="162" y="112"/>
                    </a:lnTo>
                    <a:lnTo>
                      <a:pt x="154" y="126"/>
                    </a:lnTo>
                    <a:lnTo>
                      <a:pt x="144" y="138"/>
                    </a:lnTo>
                    <a:lnTo>
                      <a:pt x="132" y="148"/>
                    </a:lnTo>
                    <a:lnTo>
                      <a:pt x="118" y="156"/>
                    </a:lnTo>
                    <a:lnTo>
                      <a:pt x="102" y="160"/>
                    </a:lnTo>
                    <a:lnTo>
                      <a:pt x="84" y="162"/>
                    </a:lnTo>
                    <a:lnTo>
                      <a:pt x="84" y="162"/>
                    </a:lnTo>
                    <a:close/>
                    <a:moveTo>
                      <a:pt x="16" y="786"/>
                    </a:moveTo>
                    <a:lnTo>
                      <a:pt x="16" y="244"/>
                    </a:lnTo>
                    <a:lnTo>
                      <a:pt x="152" y="244"/>
                    </a:lnTo>
                    <a:lnTo>
                      <a:pt x="152" y="244"/>
                    </a:lnTo>
                    <a:lnTo>
                      <a:pt x="152" y="686"/>
                    </a:lnTo>
                    <a:lnTo>
                      <a:pt x="152" y="686"/>
                    </a:lnTo>
                    <a:lnTo>
                      <a:pt x="150" y="704"/>
                    </a:lnTo>
                    <a:lnTo>
                      <a:pt x="146" y="720"/>
                    </a:lnTo>
                    <a:lnTo>
                      <a:pt x="138" y="732"/>
                    </a:lnTo>
                    <a:lnTo>
                      <a:pt x="130" y="744"/>
                    </a:lnTo>
                    <a:lnTo>
                      <a:pt x="120" y="754"/>
                    </a:lnTo>
                    <a:lnTo>
                      <a:pt x="108" y="762"/>
                    </a:lnTo>
                    <a:lnTo>
                      <a:pt x="96" y="768"/>
                    </a:lnTo>
                    <a:lnTo>
                      <a:pt x="84" y="774"/>
                    </a:lnTo>
                    <a:lnTo>
                      <a:pt x="60" y="782"/>
                    </a:lnTo>
                    <a:lnTo>
                      <a:pt x="38" y="784"/>
                    </a:lnTo>
                    <a:lnTo>
                      <a:pt x="16" y="786"/>
                    </a:lnTo>
                    <a:lnTo>
                      <a:pt x="16" y="7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9" name="Freeform 28"/>
              <p:cNvSpPr>
                <a:spLocks/>
              </p:cNvSpPr>
              <p:nvPr/>
            </p:nvSpPr>
            <p:spPr bwMode="auto">
              <a:xfrm>
                <a:off x="7989468" y="4518126"/>
                <a:ext cx="49837" cy="57313"/>
              </a:xfrm>
              <a:custGeom>
                <a:avLst/>
                <a:gdLst>
                  <a:gd name="T0" fmla="*/ 346 w 480"/>
                  <a:gd name="T1" fmla="*/ 230 h 552"/>
                  <a:gd name="T2" fmla="*/ 344 w 480"/>
                  <a:gd name="T3" fmla="*/ 210 h 552"/>
                  <a:gd name="T4" fmla="*/ 338 w 480"/>
                  <a:gd name="T5" fmla="*/ 170 h 552"/>
                  <a:gd name="T6" fmla="*/ 322 w 480"/>
                  <a:gd name="T7" fmla="*/ 138 h 552"/>
                  <a:gd name="T8" fmla="*/ 308 w 480"/>
                  <a:gd name="T9" fmla="*/ 126 h 552"/>
                  <a:gd name="T10" fmla="*/ 290 w 480"/>
                  <a:gd name="T11" fmla="*/ 118 h 552"/>
                  <a:gd name="T12" fmla="*/ 268 w 480"/>
                  <a:gd name="T13" fmla="*/ 116 h 552"/>
                  <a:gd name="T14" fmla="*/ 250 w 480"/>
                  <a:gd name="T15" fmla="*/ 116 h 552"/>
                  <a:gd name="T16" fmla="*/ 216 w 480"/>
                  <a:gd name="T17" fmla="*/ 126 h 552"/>
                  <a:gd name="T18" fmla="*/ 182 w 480"/>
                  <a:gd name="T19" fmla="*/ 140 h 552"/>
                  <a:gd name="T20" fmla="*/ 134 w 480"/>
                  <a:gd name="T21" fmla="*/ 172 h 552"/>
                  <a:gd name="T22" fmla="*/ 134 w 480"/>
                  <a:gd name="T23" fmla="*/ 452 h 552"/>
                  <a:gd name="T24" fmla="*/ 132 w 480"/>
                  <a:gd name="T25" fmla="*/ 470 h 552"/>
                  <a:gd name="T26" fmla="*/ 120 w 480"/>
                  <a:gd name="T27" fmla="*/ 498 h 552"/>
                  <a:gd name="T28" fmla="*/ 102 w 480"/>
                  <a:gd name="T29" fmla="*/ 518 h 552"/>
                  <a:gd name="T30" fmla="*/ 78 w 480"/>
                  <a:gd name="T31" fmla="*/ 534 h 552"/>
                  <a:gd name="T32" fmla="*/ 42 w 480"/>
                  <a:gd name="T33" fmla="*/ 546 h 552"/>
                  <a:gd name="T34" fmla="*/ 0 w 480"/>
                  <a:gd name="T35" fmla="*/ 552 h 552"/>
                  <a:gd name="T36" fmla="*/ 114 w 480"/>
                  <a:gd name="T37" fmla="*/ 14 h 552"/>
                  <a:gd name="T38" fmla="*/ 128 w 480"/>
                  <a:gd name="T39" fmla="*/ 70 h 552"/>
                  <a:gd name="T40" fmla="*/ 170 w 480"/>
                  <a:gd name="T41" fmla="*/ 42 h 552"/>
                  <a:gd name="T42" fmla="*/ 214 w 480"/>
                  <a:gd name="T43" fmla="*/ 20 h 552"/>
                  <a:gd name="T44" fmla="*/ 262 w 480"/>
                  <a:gd name="T45" fmla="*/ 6 h 552"/>
                  <a:gd name="T46" fmla="*/ 314 w 480"/>
                  <a:gd name="T47" fmla="*/ 0 h 552"/>
                  <a:gd name="T48" fmla="*/ 328 w 480"/>
                  <a:gd name="T49" fmla="*/ 2 h 552"/>
                  <a:gd name="T50" fmla="*/ 358 w 480"/>
                  <a:gd name="T51" fmla="*/ 6 h 552"/>
                  <a:gd name="T52" fmla="*/ 388 w 480"/>
                  <a:gd name="T53" fmla="*/ 16 h 552"/>
                  <a:gd name="T54" fmla="*/ 414 w 480"/>
                  <a:gd name="T55" fmla="*/ 32 h 552"/>
                  <a:gd name="T56" fmla="*/ 438 w 480"/>
                  <a:gd name="T57" fmla="*/ 54 h 552"/>
                  <a:gd name="T58" fmla="*/ 458 w 480"/>
                  <a:gd name="T59" fmla="*/ 84 h 552"/>
                  <a:gd name="T60" fmla="*/ 472 w 480"/>
                  <a:gd name="T61" fmla="*/ 120 h 552"/>
                  <a:gd name="T62" fmla="*/ 478 w 480"/>
                  <a:gd name="T63" fmla="*/ 166 h 552"/>
                  <a:gd name="T64" fmla="*/ 480 w 480"/>
                  <a:gd name="T65" fmla="*/ 190 h 552"/>
                  <a:gd name="T66" fmla="*/ 480 w 480"/>
                  <a:gd name="T67" fmla="*/ 452 h 552"/>
                  <a:gd name="T68" fmla="*/ 474 w 480"/>
                  <a:gd name="T69" fmla="*/ 484 h 552"/>
                  <a:gd name="T70" fmla="*/ 458 w 480"/>
                  <a:gd name="T71" fmla="*/ 510 h 552"/>
                  <a:gd name="T72" fmla="*/ 438 w 480"/>
                  <a:gd name="T73" fmla="*/ 528 h 552"/>
                  <a:gd name="T74" fmla="*/ 412 w 480"/>
                  <a:gd name="T75" fmla="*/ 540 h 552"/>
                  <a:gd name="T76" fmla="*/ 366 w 480"/>
                  <a:gd name="T77" fmla="*/ 550 h 552"/>
                  <a:gd name="T78" fmla="*/ 346 w 480"/>
                  <a:gd name="T79" fmla="*/ 552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80" h="552">
                    <a:moveTo>
                      <a:pt x="346" y="552"/>
                    </a:moveTo>
                    <a:lnTo>
                      <a:pt x="346" y="230"/>
                    </a:lnTo>
                    <a:lnTo>
                      <a:pt x="346" y="230"/>
                    </a:lnTo>
                    <a:lnTo>
                      <a:pt x="344" y="210"/>
                    </a:lnTo>
                    <a:lnTo>
                      <a:pt x="342" y="190"/>
                    </a:lnTo>
                    <a:lnTo>
                      <a:pt x="338" y="170"/>
                    </a:lnTo>
                    <a:lnTo>
                      <a:pt x="332" y="152"/>
                    </a:lnTo>
                    <a:lnTo>
                      <a:pt x="322" y="138"/>
                    </a:lnTo>
                    <a:lnTo>
                      <a:pt x="316" y="132"/>
                    </a:lnTo>
                    <a:lnTo>
                      <a:pt x="308" y="126"/>
                    </a:lnTo>
                    <a:lnTo>
                      <a:pt x="300" y="122"/>
                    </a:lnTo>
                    <a:lnTo>
                      <a:pt x="290" y="118"/>
                    </a:lnTo>
                    <a:lnTo>
                      <a:pt x="280" y="116"/>
                    </a:lnTo>
                    <a:lnTo>
                      <a:pt x="268" y="116"/>
                    </a:lnTo>
                    <a:lnTo>
                      <a:pt x="268" y="116"/>
                    </a:lnTo>
                    <a:lnTo>
                      <a:pt x="250" y="116"/>
                    </a:lnTo>
                    <a:lnTo>
                      <a:pt x="232" y="120"/>
                    </a:lnTo>
                    <a:lnTo>
                      <a:pt x="216" y="126"/>
                    </a:lnTo>
                    <a:lnTo>
                      <a:pt x="198" y="132"/>
                    </a:lnTo>
                    <a:lnTo>
                      <a:pt x="182" y="140"/>
                    </a:lnTo>
                    <a:lnTo>
                      <a:pt x="166" y="150"/>
                    </a:lnTo>
                    <a:lnTo>
                      <a:pt x="134" y="172"/>
                    </a:lnTo>
                    <a:lnTo>
                      <a:pt x="134" y="172"/>
                    </a:lnTo>
                    <a:lnTo>
                      <a:pt x="134" y="452"/>
                    </a:lnTo>
                    <a:lnTo>
                      <a:pt x="134" y="452"/>
                    </a:lnTo>
                    <a:lnTo>
                      <a:pt x="132" y="470"/>
                    </a:lnTo>
                    <a:lnTo>
                      <a:pt x="128" y="484"/>
                    </a:lnTo>
                    <a:lnTo>
                      <a:pt x="120" y="498"/>
                    </a:lnTo>
                    <a:lnTo>
                      <a:pt x="112" y="510"/>
                    </a:lnTo>
                    <a:lnTo>
                      <a:pt x="102" y="518"/>
                    </a:lnTo>
                    <a:lnTo>
                      <a:pt x="90" y="528"/>
                    </a:lnTo>
                    <a:lnTo>
                      <a:pt x="78" y="534"/>
                    </a:lnTo>
                    <a:lnTo>
                      <a:pt x="66" y="540"/>
                    </a:lnTo>
                    <a:lnTo>
                      <a:pt x="42" y="546"/>
                    </a:lnTo>
                    <a:lnTo>
                      <a:pt x="20" y="550"/>
                    </a:lnTo>
                    <a:lnTo>
                      <a:pt x="0" y="552"/>
                    </a:lnTo>
                    <a:lnTo>
                      <a:pt x="0" y="14"/>
                    </a:lnTo>
                    <a:lnTo>
                      <a:pt x="114" y="14"/>
                    </a:lnTo>
                    <a:lnTo>
                      <a:pt x="128" y="70"/>
                    </a:lnTo>
                    <a:lnTo>
                      <a:pt x="128" y="70"/>
                    </a:lnTo>
                    <a:lnTo>
                      <a:pt x="150" y="54"/>
                    </a:lnTo>
                    <a:lnTo>
                      <a:pt x="170" y="42"/>
                    </a:lnTo>
                    <a:lnTo>
                      <a:pt x="192" y="30"/>
                    </a:lnTo>
                    <a:lnTo>
                      <a:pt x="214" y="20"/>
                    </a:lnTo>
                    <a:lnTo>
                      <a:pt x="238" y="12"/>
                    </a:lnTo>
                    <a:lnTo>
                      <a:pt x="262" y="6"/>
                    </a:lnTo>
                    <a:lnTo>
                      <a:pt x="286" y="2"/>
                    </a:lnTo>
                    <a:lnTo>
                      <a:pt x="314" y="0"/>
                    </a:lnTo>
                    <a:lnTo>
                      <a:pt x="314" y="0"/>
                    </a:lnTo>
                    <a:lnTo>
                      <a:pt x="328" y="2"/>
                    </a:lnTo>
                    <a:lnTo>
                      <a:pt x="344" y="2"/>
                    </a:lnTo>
                    <a:lnTo>
                      <a:pt x="358" y="6"/>
                    </a:lnTo>
                    <a:lnTo>
                      <a:pt x="374" y="10"/>
                    </a:lnTo>
                    <a:lnTo>
                      <a:pt x="388" y="16"/>
                    </a:lnTo>
                    <a:lnTo>
                      <a:pt x="402" y="24"/>
                    </a:lnTo>
                    <a:lnTo>
                      <a:pt x="414" y="32"/>
                    </a:lnTo>
                    <a:lnTo>
                      <a:pt x="426" y="42"/>
                    </a:lnTo>
                    <a:lnTo>
                      <a:pt x="438" y="54"/>
                    </a:lnTo>
                    <a:lnTo>
                      <a:pt x="448" y="68"/>
                    </a:lnTo>
                    <a:lnTo>
                      <a:pt x="458" y="84"/>
                    </a:lnTo>
                    <a:lnTo>
                      <a:pt x="464" y="102"/>
                    </a:lnTo>
                    <a:lnTo>
                      <a:pt x="472" y="120"/>
                    </a:lnTo>
                    <a:lnTo>
                      <a:pt x="476" y="142"/>
                    </a:lnTo>
                    <a:lnTo>
                      <a:pt x="478" y="166"/>
                    </a:lnTo>
                    <a:lnTo>
                      <a:pt x="480" y="190"/>
                    </a:lnTo>
                    <a:lnTo>
                      <a:pt x="480" y="190"/>
                    </a:lnTo>
                    <a:lnTo>
                      <a:pt x="480" y="452"/>
                    </a:lnTo>
                    <a:lnTo>
                      <a:pt x="480" y="452"/>
                    </a:lnTo>
                    <a:lnTo>
                      <a:pt x="478" y="470"/>
                    </a:lnTo>
                    <a:lnTo>
                      <a:pt x="474" y="484"/>
                    </a:lnTo>
                    <a:lnTo>
                      <a:pt x="468" y="498"/>
                    </a:lnTo>
                    <a:lnTo>
                      <a:pt x="458" y="510"/>
                    </a:lnTo>
                    <a:lnTo>
                      <a:pt x="448" y="520"/>
                    </a:lnTo>
                    <a:lnTo>
                      <a:pt x="438" y="528"/>
                    </a:lnTo>
                    <a:lnTo>
                      <a:pt x="424" y="534"/>
                    </a:lnTo>
                    <a:lnTo>
                      <a:pt x="412" y="540"/>
                    </a:lnTo>
                    <a:lnTo>
                      <a:pt x="388" y="546"/>
                    </a:lnTo>
                    <a:lnTo>
                      <a:pt x="366" y="550"/>
                    </a:lnTo>
                    <a:lnTo>
                      <a:pt x="346" y="552"/>
                    </a:lnTo>
                    <a:lnTo>
                      <a:pt x="346" y="5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0" name="Freeform 29"/>
              <p:cNvSpPr>
                <a:spLocks/>
              </p:cNvSpPr>
              <p:nvPr/>
            </p:nvSpPr>
            <p:spPr bwMode="auto">
              <a:xfrm>
                <a:off x="8106170" y="4491754"/>
                <a:ext cx="14120" cy="83477"/>
              </a:xfrm>
              <a:custGeom>
                <a:avLst/>
                <a:gdLst>
                  <a:gd name="T0" fmla="*/ 136 w 136"/>
                  <a:gd name="T1" fmla="*/ 704 h 804"/>
                  <a:gd name="T2" fmla="*/ 136 w 136"/>
                  <a:gd name="T3" fmla="*/ 704 h 804"/>
                  <a:gd name="T4" fmla="*/ 134 w 136"/>
                  <a:gd name="T5" fmla="*/ 722 h 804"/>
                  <a:gd name="T6" fmla="*/ 130 w 136"/>
                  <a:gd name="T7" fmla="*/ 738 h 804"/>
                  <a:gd name="T8" fmla="*/ 122 w 136"/>
                  <a:gd name="T9" fmla="*/ 750 h 804"/>
                  <a:gd name="T10" fmla="*/ 114 w 136"/>
                  <a:gd name="T11" fmla="*/ 762 h 804"/>
                  <a:gd name="T12" fmla="*/ 104 w 136"/>
                  <a:gd name="T13" fmla="*/ 772 h 804"/>
                  <a:gd name="T14" fmla="*/ 92 w 136"/>
                  <a:gd name="T15" fmla="*/ 780 h 804"/>
                  <a:gd name="T16" fmla="*/ 80 w 136"/>
                  <a:gd name="T17" fmla="*/ 786 h 804"/>
                  <a:gd name="T18" fmla="*/ 68 w 136"/>
                  <a:gd name="T19" fmla="*/ 792 h 804"/>
                  <a:gd name="T20" fmla="*/ 44 w 136"/>
                  <a:gd name="T21" fmla="*/ 800 h 804"/>
                  <a:gd name="T22" fmla="*/ 22 w 136"/>
                  <a:gd name="T23" fmla="*/ 802 h 804"/>
                  <a:gd name="T24" fmla="*/ 0 w 136"/>
                  <a:gd name="T25" fmla="*/ 804 h 804"/>
                  <a:gd name="T26" fmla="*/ 0 w 136"/>
                  <a:gd name="T27" fmla="*/ 0 h 804"/>
                  <a:gd name="T28" fmla="*/ 136 w 136"/>
                  <a:gd name="T29" fmla="*/ 0 h 804"/>
                  <a:gd name="T30" fmla="*/ 136 w 136"/>
                  <a:gd name="T31" fmla="*/ 0 h 804"/>
                  <a:gd name="T32" fmla="*/ 136 w 136"/>
                  <a:gd name="T33" fmla="*/ 704 h 804"/>
                  <a:gd name="T34" fmla="*/ 136 w 136"/>
                  <a:gd name="T35" fmla="*/ 70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04">
                    <a:moveTo>
                      <a:pt x="136" y="704"/>
                    </a:moveTo>
                    <a:lnTo>
                      <a:pt x="136" y="704"/>
                    </a:lnTo>
                    <a:lnTo>
                      <a:pt x="134" y="722"/>
                    </a:lnTo>
                    <a:lnTo>
                      <a:pt x="130" y="738"/>
                    </a:lnTo>
                    <a:lnTo>
                      <a:pt x="122" y="750"/>
                    </a:lnTo>
                    <a:lnTo>
                      <a:pt x="114" y="762"/>
                    </a:lnTo>
                    <a:lnTo>
                      <a:pt x="104" y="772"/>
                    </a:lnTo>
                    <a:lnTo>
                      <a:pt x="92" y="780"/>
                    </a:lnTo>
                    <a:lnTo>
                      <a:pt x="80" y="786"/>
                    </a:lnTo>
                    <a:lnTo>
                      <a:pt x="68" y="792"/>
                    </a:lnTo>
                    <a:lnTo>
                      <a:pt x="44" y="800"/>
                    </a:lnTo>
                    <a:lnTo>
                      <a:pt x="22" y="802"/>
                    </a:lnTo>
                    <a:lnTo>
                      <a:pt x="0" y="804"/>
                    </a:lnTo>
                    <a:lnTo>
                      <a:pt x="0" y="0"/>
                    </a:lnTo>
                    <a:lnTo>
                      <a:pt x="136" y="0"/>
                    </a:lnTo>
                    <a:lnTo>
                      <a:pt x="136" y="0"/>
                    </a:lnTo>
                    <a:lnTo>
                      <a:pt x="136" y="704"/>
                    </a:lnTo>
                    <a:lnTo>
                      <a:pt x="136" y="7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3" name="Group 142"/>
            <p:cNvGrpSpPr/>
            <p:nvPr userDrawn="1"/>
          </p:nvGrpSpPr>
          <p:grpSpPr>
            <a:xfrm>
              <a:off x="7673274" y="4343117"/>
              <a:ext cx="1123200" cy="148389"/>
              <a:chOff x="7665803" y="4864376"/>
              <a:chExt cx="1123200" cy="148389"/>
            </a:xfrm>
            <a:grpFill/>
          </p:grpSpPr>
          <p:sp>
            <p:nvSpPr>
              <p:cNvPr id="144" name="Freeform 6"/>
              <p:cNvSpPr>
                <a:spLocks/>
              </p:cNvSpPr>
              <p:nvPr userDrawn="1"/>
            </p:nvSpPr>
            <p:spPr bwMode="auto">
              <a:xfrm>
                <a:off x="8119644" y="4924717"/>
                <a:ext cx="103102" cy="66806"/>
              </a:xfrm>
              <a:custGeom>
                <a:avLst/>
                <a:gdLst>
                  <a:gd name="T0" fmla="*/ 111 w 136"/>
                  <a:gd name="T1" fmla="*/ 72 h 92"/>
                  <a:gd name="T2" fmla="*/ 87 w 136"/>
                  <a:gd name="T3" fmla="*/ 88 h 92"/>
                  <a:gd name="T4" fmla="*/ 68 w 136"/>
                  <a:gd name="T5" fmla="*/ 28 h 92"/>
                  <a:gd name="T6" fmla="*/ 67 w 136"/>
                  <a:gd name="T7" fmla="*/ 28 h 92"/>
                  <a:gd name="T8" fmla="*/ 53 w 136"/>
                  <a:gd name="T9" fmla="*/ 72 h 92"/>
                  <a:gd name="T10" fmla="*/ 31 w 136"/>
                  <a:gd name="T11" fmla="*/ 88 h 92"/>
                  <a:gd name="T12" fmla="*/ 0 w 136"/>
                  <a:gd name="T13" fmla="*/ 0 h 92"/>
                  <a:gd name="T14" fmla="*/ 22 w 136"/>
                  <a:gd name="T15" fmla="*/ 0 h 92"/>
                  <a:gd name="T16" fmla="*/ 41 w 136"/>
                  <a:gd name="T17" fmla="*/ 60 h 92"/>
                  <a:gd name="T18" fmla="*/ 41 w 136"/>
                  <a:gd name="T19" fmla="*/ 60 h 92"/>
                  <a:gd name="T20" fmla="*/ 60 w 136"/>
                  <a:gd name="T21" fmla="*/ 0 h 92"/>
                  <a:gd name="T22" fmla="*/ 77 w 136"/>
                  <a:gd name="T23" fmla="*/ 0 h 92"/>
                  <a:gd name="T24" fmla="*/ 96 w 136"/>
                  <a:gd name="T25" fmla="*/ 60 h 92"/>
                  <a:gd name="T26" fmla="*/ 97 w 136"/>
                  <a:gd name="T27" fmla="*/ 60 h 92"/>
                  <a:gd name="T28" fmla="*/ 115 w 136"/>
                  <a:gd name="T29" fmla="*/ 0 h 92"/>
                  <a:gd name="T30" fmla="*/ 136 w 136"/>
                  <a:gd name="T31" fmla="*/ 0 h 92"/>
                  <a:gd name="T32" fmla="*/ 111 w 136"/>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 h="92">
                    <a:moveTo>
                      <a:pt x="111" y="72"/>
                    </a:moveTo>
                    <a:cubicBezTo>
                      <a:pt x="103" y="92"/>
                      <a:pt x="87" y="88"/>
                      <a:pt x="87" y="88"/>
                    </a:cubicBezTo>
                    <a:cubicBezTo>
                      <a:pt x="68" y="28"/>
                      <a:pt x="68" y="28"/>
                      <a:pt x="68" y="28"/>
                    </a:cubicBezTo>
                    <a:cubicBezTo>
                      <a:pt x="67" y="28"/>
                      <a:pt x="67" y="28"/>
                      <a:pt x="67" y="28"/>
                    </a:cubicBezTo>
                    <a:cubicBezTo>
                      <a:pt x="67" y="28"/>
                      <a:pt x="58"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6" y="60"/>
                      <a:pt x="96" y="60"/>
                      <a:pt x="96" y="60"/>
                    </a:cubicBezTo>
                    <a:cubicBezTo>
                      <a:pt x="97" y="60"/>
                      <a:pt x="97" y="60"/>
                      <a:pt x="97" y="60"/>
                    </a:cubicBezTo>
                    <a:cubicBezTo>
                      <a:pt x="115" y="0"/>
                      <a:pt x="115" y="0"/>
                      <a:pt x="115" y="0"/>
                    </a:cubicBezTo>
                    <a:cubicBezTo>
                      <a:pt x="136" y="0"/>
                      <a:pt x="136" y="0"/>
                      <a:pt x="136" y="0"/>
                    </a:cubicBezTo>
                    <a:cubicBezTo>
                      <a:pt x="136"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45" name="Freeform 7"/>
              <p:cNvSpPr>
                <a:spLocks noEditPoints="1"/>
              </p:cNvSpPr>
              <p:nvPr userDrawn="1"/>
            </p:nvSpPr>
            <p:spPr bwMode="auto">
              <a:xfrm>
                <a:off x="8225958" y="4923177"/>
                <a:ext cx="57493" cy="66190"/>
              </a:xfrm>
              <a:custGeom>
                <a:avLst/>
                <a:gdLst>
                  <a:gd name="T0" fmla="*/ 57 w 76"/>
                  <a:gd name="T1" fmla="*/ 90 h 91"/>
                  <a:gd name="T2" fmla="*/ 53 w 76"/>
                  <a:gd name="T3" fmla="*/ 81 h 91"/>
                  <a:gd name="T4" fmla="*/ 28 w 76"/>
                  <a:gd name="T5" fmla="*/ 91 h 91"/>
                  <a:gd name="T6" fmla="*/ 0 w 76"/>
                  <a:gd name="T7" fmla="*/ 63 h 91"/>
                  <a:gd name="T8" fmla="*/ 36 w 76"/>
                  <a:gd name="T9" fmla="*/ 34 h 91"/>
                  <a:gd name="T10" fmla="*/ 51 w 76"/>
                  <a:gd name="T11" fmla="*/ 34 h 91"/>
                  <a:gd name="T12" fmla="*/ 51 w 76"/>
                  <a:gd name="T13" fmla="*/ 31 h 91"/>
                  <a:gd name="T14" fmla="*/ 35 w 76"/>
                  <a:gd name="T15" fmla="*/ 17 h 91"/>
                  <a:gd name="T16" fmla="*/ 12 w 76"/>
                  <a:gd name="T17" fmla="*/ 23 h 91"/>
                  <a:gd name="T18" fmla="*/ 5 w 76"/>
                  <a:gd name="T19" fmla="*/ 9 h 91"/>
                  <a:gd name="T20" fmla="*/ 39 w 76"/>
                  <a:gd name="T21" fmla="*/ 0 h 91"/>
                  <a:gd name="T22" fmla="*/ 74 w 76"/>
                  <a:gd name="T23" fmla="*/ 31 h 91"/>
                  <a:gd name="T24" fmla="*/ 74 w 76"/>
                  <a:gd name="T25" fmla="*/ 66 h 91"/>
                  <a:gd name="T26" fmla="*/ 76 w 76"/>
                  <a:gd name="T27" fmla="*/ 90 h 91"/>
                  <a:gd name="T28" fmla="*/ 57 w 76"/>
                  <a:gd name="T29" fmla="*/ 90 h 91"/>
                  <a:gd name="T30" fmla="*/ 51 w 76"/>
                  <a:gd name="T31" fmla="*/ 49 h 91"/>
                  <a:gd name="T32" fmla="*/ 39 w 76"/>
                  <a:gd name="T33" fmla="*/ 49 h 91"/>
                  <a:gd name="T34" fmla="*/ 22 w 76"/>
                  <a:gd name="T35" fmla="*/ 61 h 91"/>
                  <a:gd name="T36" fmla="*/ 36 w 76"/>
                  <a:gd name="T37" fmla="*/ 73 h 91"/>
                  <a:gd name="T38" fmla="*/ 51 w 76"/>
                  <a:gd name="T39" fmla="*/ 68 h 91"/>
                  <a:gd name="T40" fmla="*/ 51 w 76"/>
                  <a:gd name="T41" fmla="*/ 4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91">
                    <a:moveTo>
                      <a:pt x="57" y="90"/>
                    </a:moveTo>
                    <a:cubicBezTo>
                      <a:pt x="53" y="81"/>
                      <a:pt x="53" y="81"/>
                      <a:pt x="53" y="81"/>
                    </a:cubicBezTo>
                    <a:cubicBezTo>
                      <a:pt x="48" y="86"/>
                      <a:pt x="40" y="91"/>
                      <a:pt x="28" y="91"/>
                    </a:cubicBezTo>
                    <a:cubicBezTo>
                      <a:pt x="12" y="91"/>
                      <a:pt x="0" y="80"/>
                      <a:pt x="0" y="63"/>
                    </a:cubicBezTo>
                    <a:cubicBezTo>
                      <a:pt x="0" y="45"/>
                      <a:pt x="14" y="35"/>
                      <a:pt x="36" y="34"/>
                    </a:cubicBezTo>
                    <a:cubicBezTo>
                      <a:pt x="51" y="34"/>
                      <a:pt x="51" y="34"/>
                      <a:pt x="51" y="34"/>
                    </a:cubicBezTo>
                    <a:cubicBezTo>
                      <a:pt x="51" y="33"/>
                      <a:pt x="51" y="32"/>
                      <a:pt x="51" y="31"/>
                    </a:cubicBezTo>
                    <a:cubicBezTo>
                      <a:pt x="51" y="21"/>
                      <a:pt x="44" y="17"/>
                      <a:pt x="35" y="17"/>
                    </a:cubicBezTo>
                    <a:cubicBezTo>
                      <a:pt x="25" y="17"/>
                      <a:pt x="18" y="20"/>
                      <a:pt x="12" y="23"/>
                    </a:cubicBezTo>
                    <a:cubicBezTo>
                      <a:pt x="5" y="9"/>
                      <a:pt x="5" y="9"/>
                      <a:pt x="5" y="9"/>
                    </a:cubicBezTo>
                    <a:cubicBezTo>
                      <a:pt x="17" y="2"/>
                      <a:pt x="28" y="0"/>
                      <a:pt x="39" y="0"/>
                    </a:cubicBezTo>
                    <a:cubicBezTo>
                      <a:pt x="61" y="0"/>
                      <a:pt x="74" y="9"/>
                      <a:pt x="74" y="31"/>
                    </a:cubicBezTo>
                    <a:cubicBezTo>
                      <a:pt x="74" y="66"/>
                      <a:pt x="74" y="66"/>
                      <a:pt x="74" y="66"/>
                    </a:cubicBezTo>
                    <a:cubicBezTo>
                      <a:pt x="74" y="78"/>
                      <a:pt x="75" y="86"/>
                      <a:pt x="76" y="90"/>
                    </a:cubicBezTo>
                    <a:lnTo>
                      <a:pt x="57" y="90"/>
                    </a:lnTo>
                    <a:close/>
                    <a:moveTo>
                      <a:pt x="51" y="49"/>
                    </a:moveTo>
                    <a:cubicBezTo>
                      <a:pt x="39" y="49"/>
                      <a:pt x="39" y="49"/>
                      <a:pt x="39" y="49"/>
                    </a:cubicBezTo>
                    <a:cubicBezTo>
                      <a:pt x="27" y="50"/>
                      <a:pt x="22" y="54"/>
                      <a:pt x="22" y="61"/>
                    </a:cubicBezTo>
                    <a:cubicBezTo>
                      <a:pt x="22" y="68"/>
                      <a:pt x="27" y="73"/>
                      <a:pt x="36" y="73"/>
                    </a:cubicBezTo>
                    <a:cubicBezTo>
                      <a:pt x="44" y="73"/>
                      <a:pt x="49" y="70"/>
                      <a:pt x="51" y="68"/>
                    </a:cubicBezTo>
                    <a:lnTo>
                      <a:pt x="51" y="4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46" name="Freeform 8"/>
              <p:cNvSpPr>
                <a:spLocks noEditPoints="1"/>
              </p:cNvSpPr>
              <p:nvPr userDrawn="1"/>
            </p:nvSpPr>
            <p:spPr bwMode="auto">
              <a:xfrm>
                <a:off x="8342550" y="4892699"/>
                <a:ext cx="62311" cy="96668"/>
              </a:xfrm>
              <a:custGeom>
                <a:avLst/>
                <a:gdLst>
                  <a:gd name="T0" fmla="*/ 47 w 82"/>
                  <a:gd name="T1" fmla="*/ 133 h 133"/>
                  <a:gd name="T2" fmla="*/ 0 w 82"/>
                  <a:gd name="T3" fmla="*/ 88 h 133"/>
                  <a:gd name="T4" fmla="*/ 48 w 82"/>
                  <a:gd name="T5" fmla="*/ 42 h 133"/>
                  <a:gd name="T6" fmla="*/ 59 w 82"/>
                  <a:gd name="T7" fmla="*/ 42 h 133"/>
                  <a:gd name="T8" fmla="*/ 60 w 82"/>
                  <a:gd name="T9" fmla="*/ 0 h 133"/>
                  <a:gd name="T10" fmla="*/ 82 w 82"/>
                  <a:gd name="T11" fmla="*/ 0 h 133"/>
                  <a:gd name="T12" fmla="*/ 81 w 82"/>
                  <a:gd name="T13" fmla="*/ 126 h 133"/>
                  <a:gd name="T14" fmla="*/ 47 w 82"/>
                  <a:gd name="T15" fmla="*/ 133 h 133"/>
                  <a:gd name="T16" fmla="*/ 59 w 82"/>
                  <a:gd name="T17" fmla="*/ 60 h 133"/>
                  <a:gd name="T18" fmla="*/ 49 w 82"/>
                  <a:gd name="T19" fmla="*/ 59 h 133"/>
                  <a:gd name="T20" fmla="*/ 22 w 82"/>
                  <a:gd name="T21" fmla="*/ 87 h 133"/>
                  <a:gd name="T22" fmla="*/ 49 w 82"/>
                  <a:gd name="T23" fmla="*/ 114 h 133"/>
                  <a:gd name="T24" fmla="*/ 59 w 82"/>
                  <a:gd name="T25" fmla="*/ 113 h 133"/>
                  <a:gd name="T26" fmla="*/ 59 w 82"/>
                  <a:gd name="T27" fmla="*/ 6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3">
                    <a:moveTo>
                      <a:pt x="47" y="133"/>
                    </a:moveTo>
                    <a:cubicBezTo>
                      <a:pt x="21" y="133"/>
                      <a:pt x="0" y="117"/>
                      <a:pt x="0" y="88"/>
                    </a:cubicBezTo>
                    <a:cubicBezTo>
                      <a:pt x="0" y="61"/>
                      <a:pt x="20" y="42"/>
                      <a:pt x="48" y="42"/>
                    </a:cubicBezTo>
                    <a:cubicBezTo>
                      <a:pt x="52" y="42"/>
                      <a:pt x="56" y="42"/>
                      <a:pt x="59" y="42"/>
                    </a:cubicBezTo>
                    <a:cubicBezTo>
                      <a:pt x="60" y="0"/>
                      <a:pt x="60" y="0"/>
                      <a:pt x="60" y="0"/>
                    </a:cubicBezTo>
                    <a:cubicBezTo>
                      <a:pt x="82" y="0"/>
                      <a:pt x="82" y="0"/>
                      <a:pt x="82" y="0"/>
                    </a:cubicBezTo>
                    <a:cubicBezTo>
                      <a:pt x="81" y="126"/>
                      <a:pt x="81" y="126"/>
                      <a:pt x="81" y="126"/>
                    </a:cubicBezTo>
                    <a:cubicBezTo>
                      <a:pt x="73" y="130"/>
                      <a:pt x="62" y="133"/>
                      <a:pt x="47" y="133"/>
                    </a:cubicBezTo>
                    <a:close/>
                    <a:moveTo>
                      <a:pt x="59" y="60"/>
                    </a:moveTo>
                    <a:cubicBezTo>
                      <a:pt x="56" y="60"/>
                      <a:pt x="54" y="59"/>
                      <a:pt x="49" y="59"/>
                    </a:cubicBezTo>
                    <a:cubicBezTo>
                      <a:pt x="33" y="59"/>
                      <a:pt x="22" y="70"/>
                      <a:pt x="22" y="87"/>
                    </a:cubicBezTo>
                    <a:cubicBezTo>
                      <a:pt x="22" y="103"/>
                      <a:pt x="32" y="114"/>
                      <a:pt x="49" y="114"/>
                    </a:cubicBezTo>
                    <a:cubicBezTo>
                      <a:pt x="53" y="114"/>
                      <a:pt x="57" y="114"/>
                      <a:pt x="59" y="113"/>
                    </a:cubicBezTo>
                    <a:lnTo>
                      <a:pt x="59" y="60"/>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47" name="Freeform 9"/>
              <p:cNvSpPr>
                <a:spLocks/>
              </p:cNvSpPr>
              <p:nvPr userDrawn="1"/>
            </p:nvSpPr>
            <p:spPr bwMode="auto">
              <a:xfrm>
                <a:off x="8093949"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48" name="Freeform 10"/>
              <p:cNvSpPr>
                <a:spLocks/>
              </p:cNvSpPr>
              <p:nvPr userDrawn="1"/>
            </p:nvSpPr>
            <p:spPr bwMode="auto">
              <a:xfrm>
                <a:off x="8060545"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49" name="Freeform 11"/>
              <p:cNvSpPr>
                <a:spLocks/>
              </p:cNvSpPr>
              <p:nvPr userDrawn="1"/>
            </p:nvSpPr>
            <p:spPr bwMode="auto">
              <a:xfrm>
                <a:off x="8297262" y="4923177"/>
                <a:ext cx="43039" cy="66190"/>
              </a:xfrm>
              <a:custGeom>
                <a:avLst/>
                <a:gdLst>
                  <a:gd name="T0" fmla="*/ 49 w 57"/>
                  <a:gd name="T1" fmla="*/ 22 h 91"/>
                  <a:gd name="T2" fmla="*/ 39 w 57"/>
                  <a:gd name="T3" fmla="*/ 20 h 91"/>
                  <a:gd name="T4" fmla="*/ 22 w 57"/>
                  <a:gd name="T5" fmla="*/ 27 h 91"/>
                  <a:gd name="T6" fmla="*/ 22 w 57"/>
                  <a:gd name="T7" fmla="*/ 74 h 91"/>
                  <a:gd name="T8" fmla="*/ 0 w 57"/>
                  <a:gd name="T9" fmla="*/ 90 h 91"/>
                  <a:gd name="T10" fmla="*/ 0 w 57"/>
                  <a:gd name="T11" fmla="*/ 2 h 91"/>
                  <a:gd name="T12" fmla="*/ 18 w 57"/>
                  <a:gd name="T13" fmla="*/ 2 h 91"/>
                  <a:gd name="T14" fmla="*/ 21 w 57"/>
                  <a:gd name="T15" fmla="*/ 11 h 91"/>
                  <a:gd name="T16" fmla="*/ 45 w 57"/>
                  <a:gd name="T17" fmla="*/ 0 h 91"/>
                  <a:gd name="T18" fmla="*/ 57 w 57"/>
                  <a:gd name="T19" fmla="*/ 4 h 91"/>
                  <a:gd name="T20" fmla="*/ 49 w 57"/>
                  <a:gd name="T21" fmla="*/ 2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1">
                    <a:moveTo>
                      <a:pt x="49" y="22"/>
                    </a:moveTo>
                    <a:cubicBezTo>
                      <a:pt x="45" y="20"/>
                      <a:pt x="41" y="20"/>
                      <a:pt x="39" y="20"/>
                    </a:cubicBezTo>
                    <a:cubicBezTo>
                      <a:pt x="34" y="20"/>
                      <a:pt x="28" y="22"/>
                      <a:pt x="22" y="27"/>
                    </a:cubicBezTo>
                    <a:cubicBezTo>
                      <a:pt x="22" y="27"/>
                      <a:pt x="22" y="57"/>
                      <a:pt x="22" y="74"/>
                    </a:cubicBezTo>
                    <a:cubicBezTo>
                      <a:pt x="22" y="91"/>
                      <a:pt x="0" y="90"/>
                      <a:pt x="0" y="90"/>
                    </a:cubicBezTo>
                    <a:cubicBezTo>
                      <a:pt x="0" y="2"/>
                      <a:pt x="0" y="2"/>
                      <a:pt x="0" y="2"/>
                    </a:cubicBezTo>
                    <a:cubicBezTo>
                      <a:pt x="18" y="2"/>
                      <a:pt x="18" y="2"/>
                      <a:pt x="18"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50" name="Freeform 12"/>
              <p:cNvSpPr>
                <a:spLocks/>
              </p:cNvSpPr>
              <p:nvPr userDrawn="1"/>
            </p:nvSpPr>
            <p:spPr bwMode="auto">
              <a:xfrm>
                <a:off x="7907980" y="4892699"/>
                <a:ext cx="98605" cy="95129"/>
              </a:xfrm>
              <a:custGeom>
                <a:avLst/>
                <a:gdLst>
                  <a:gd name="T0" fmla="*/ 106 w 130"/>
                  <a:gd name="T1" fmla="*/ 131 h 131"/>
                  <a:gd name="T2" fmla="*/ 106 w 130"/>
                  <a:gd name="T3" fmla="*/ 53 h 131"/>
                  <a:gd name="T4" fmla="*/ 107 w 130"/>
                  <a:gd name="T5" fmla="*/ 39 h 131"/>
                  <a:gd name="T6" fmla="*/ 106 w 130"/>
                  <a:gd name="T7" fmla="*/ 39 h 131"/>
                  <a:gd name="T8" fmla="*/ 99 w 130"/>
                  <a:gd name="T9" fmla="*/ 52 h 131"/>
                  <a:gd name="T10" fmla="*/ 72 w 130"/>
                  <a:gd name="T11" fmla="*/ 93 h 131"/>
                  <a:gd name="T12" fmla="*/ 60 w 130"/>
                  <a:gd name="T13" fmla="*/ 93 h 131"/>
                  <a:gd name="T14" fmla="*/ 32 w 130"/>
                  <a:gd name="T15" fmla="*/ 51 h 131"/>
                  <a:gd name="T16" fmla="*/ 24 w 130"/>
                  <a:gd name="T17" fmla="*/ 39 h 131"/>
                  <a:gd name="T18" fmla="*/ 23 w 130"/>
                  <a:gd name="T19" fmla="*/ 39 h 131"/>
                  <a:gd name="T20" fmla="*/ 24 w 130"/>
                  <a:gd name="T21" fmla="*/ 52 h 131"/>
                  <a:gd name="T22" fmla="*/ 24 w 130"/>
                  <a:gd name="T23" fmla="*/ 131 h 131"/>
                  <a:gd name="T24" fmla="*/ 0 w 130"/>
                  <a:gd name="T25" fmla="*/ 131 h 131"/>
                  <a:gd name="T26" fmla="*/ 0 w 130"/>
                  <a:gd name="T27" fmla="*/ 0 h 131"/>
                  <a:gd name="T28" fmla="*/ 22 w 130"/>
                  <a:gd name="T29" fmla="*/ 0 h 131"/>
                  <a:gd name="T30" fmla="*/ 58 w 130"/>
                  <a:gd name="T31" fmla="*/ 52 h 131"/>
                  <a:gd name="T32" fmla="*/ 66 w 130"/>
                  <a:gd name="T33" fmla="*/ 66 h 131"/>
                  <a:gd name="T34" fmla="*/ 67 w 130"/>
                  <a:gd name="T35" fmla="*/ 66 h 131"/>
                  <a:gd name="T36" fmla="*/ 75 w 130"/>
                  <a:gd name="T37" fmla="*/ 52 h 131"/>
                  <a:gd name="T38" fmla="*/ 108 w 130"/>
                  <a:gd name="T39" fmla="*/ 0 h 131"/>
                  <a:gd name="T40" fmla="*/ 130 w 130"/>
                  <a:gd name="T41" fmla="*/ 0 h 131"/>
                  <a:gd name="T42" fmla="*/ 130 w 130"/>
                  <a:gd name="T43" fmla="*/ 131 h 131"/>
                  <a:gd name="T44" fmla="*/ 106 w 130"/>
                  <a:gd name="T45"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0" h="131">
                    <a:moveTo>
                      <a:pt x="106" y="131"/>
                    </a:moveTo>
                    <a:cubicBezTo>
                      <a:pt x="106" y="53"/>
                      <a:pt x="106" y="53"/>
                      <a:pt x="106" y="53"/>
                    </a:cubicBezTo>
                    <a:cubicBezTo>
                      <a:pt x="106" y="48"/>
                      <a:pt x="106" y="44"/>
                      <a:pt x="107" y="39"/>
                    </a:cubicBezTo>
                    <a:cubicBezTo>
                      <a:pt x="106" y="39"/>
                      <a:pt x="106" y="39"/>
                      <a:pt x="106" y="39"/>
                    </a:cubicBezTo>
                    <a:cubicBezTo>
                      <a:pt x="105" y="43"/>
                      <a:pt x="101" y="49"/>
                      <a:pt x="99" y="52"/>
                    </a:cubicBezTo>
                    <a:cubicBezTo>
                      <a:pt x="72" y="93"/>
                      <a:pt x="72" y="93"/>
                      <a:pt x="72" y="93"/>
                    </a:cubicBezTo>
                    <a:cubicBezTo>
                      <a:pt x="60" y="93"/>
                      <a:pt x="60" y="93"/>
                      <a:pt x="60" y="93"/>
                    </a:cubicBezTo>
                    <a:cubicBezTo>
                      <a:pt x="32" y="51"/>
                      <a:pt x="32" y="51"/>
                      <a:pt x="32" y="51"/>
                    </a:cubicBezTo>
                    <a:cubicBezTo>
                      <a:pt x="29" y="48"/>
                      <a:pt x="26" y="44"/>
                      <a:pt x="24" y="39"/>
                    </a:cubicBezTo>
                    <a:cubicBezTo>
                      <a:pt x="23" y="39"/>
                      <a:pt x="23" y="39"/>
                      <a:pt x="23" y="39"/>
                    </a:cubicBezTo>
                    <a:cubicBezTo>
                      <a:pt x="24" y="44"/>
                      <a:pt x="24" y="48"/>
                      <a:pt x="24" y="52"/>
                    </a:cubicBezTo>
                    <a:cubicBezTo>
                      <a:pt x="24" y="131"/>
                      <a:pt x="24" y="131"/>
                      <a:pt x="24" y="131"/>
                    </a:cubicBezTo>
                    <a:cubicBezTo>
                      <a:pt x="0" y="131"/>
                      <a:pt x="0" y="131"/>
                      <a:pt x="0" y="131"/>
                    </a:cubicBezTo>
                    <a:cubicBezTo>
                      <a:pt x="0" y="0"/>
                      <a:pt x="0" y="0"/>
                      <a:pt x="0" y="0"/>
                    </a:cubicBezTo>
                    <a:cubicBezTo>
                      <a:pt x="22" y="0"/>
                      <a:pt x="22" y="0"/>
                      <a:pt x="22" y="0"/>
                    </a:cubicBezTo>
                    <a:cubicBezTo>
                      <a:pt x="58" y="52"/>
                      <a:pt x="58" y="52"/>
                      <a:pt x="58" y="52"/>
                    </a:cubicBezTo>
                    <a:cubicBezTo>
                      <a:pt x="61" y="57"/>
                      <a:pt x="64" y="61"/>
                      <a:pt x="66" y="66"/>
                    </a:cubicBezTo>
                    <a:cubicBezTo>
                      <a:pt x="67" y="66"/>
                      <a:pt x="67" y="66"/>
                      <a:pt x="67" y="66"/>
                    </a:cubicBezTo>
                    <a:cubicBezTo>
                      <a:pt x="69" y="61"/>
                      <a:pt x="71" y="57"/>
                      <a:pt x="75" y="52"/>
                    </a:cubicBezTo>
                    <a:cubicBezTo>
                      <a:pt x="108" y="0"/>
                      <a:pt x="108" y="0"/>
                      <a:pt x="108" y="0"/>
                    </a:cubicBezTo>
                    <a:cubicBezTo>
                      <a:pt x="130" y="0"/>
                      <a:pt x="130" y="0"/>
                      <a:pt x="130" y="0"/>
                    </a:cubicBezTo>
                    <a:cubicBezTo>
                      <a:pt x="130" y="131"/>
                      <a:pt x="130" y="131"/>
                      <a:pt x="130" y="131"/>
                    </a:cubicBezTo>
                    <a:lnTo>
                      <a:pt x="106" y="131"/>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51" name="Freeform 13"/>
              <p:cNvSpPr>
                <a:spLocks/>
              </p:cNvSpPr>
              <p:nvPr userDrawn="1"/>
            </p:nvSpPr>
            <p:spPr bwMode="auto">
              <a:xfrm>
                <a:off x="7665803" y="4864376"/>
                <a:ext cx="100854" cy="148389"/>
              </a:xfrm>
              <a:custGeom>
                <a:avLst/>
                <a:gdLst>
                  <a:gd name="T0" fmla="*/ 133 w 133"/>
                  <a:gd name="T1" fmla="*/ 23 h 204"/>
                  <a:gd name="T2" fmla="*/ 132 w 133"/>
                  <a:gd name="T3" fmla="*/ 22 h 204"/>
                  <a:gd name="T4" fmla="*/ 65 w 133"/>
                  <a:gd name="T5" fmla="*/ 20 h 204"/>
                  <a:gd name="T6" fmla="*/ 52 w 133"/>
                  <a:gd name="T7" fmla="*/ 52 h 204"/>
                  <a:gd name="T8" fmla="*/ 20 w 133"/>
                  <a:gd name="T9" fmla="*/ 65 h 204"/>
                  <a:gd name="T10" fmla="*/ 22 w 133"/>
                  <a:gd name="T11" fmla="*/ 132 h 204"/>
                  <a:gd name="T12" fmla="*/ 95 w 133"/>
                  <a:gd name="T13" fmla="*/ 204 h 204"/>
                  <a:gd name="T14" fmla="*/ 117 w 133"/>
                  <a:gd name="T15" fmla="*/ 182 h 204"/>
                  <a:gd name="T16" fmla="*/ 44 w 133"/>
                  <a:gd name="T17" fmla="*/ 110 h 204"/>
                  <a:gd name="T18" fmla="*/ 42 w 133"/>
                  <a:gd name="T19" fmla="*/ 86 h 204"/>
                  <a:gd name="T20" fmla="*/ 66 w 133"/>
                  <a:gd name="T21" fmla="*/ 88 h 204"/>
                  <a:gd name="T22" fmla="*/ 133 w 133"/>
                  <a:gd name="T23" fmla="*/ 155 h 204"/>
                  <a:gd name="T24" fmla="*/ 133 w 133"/>
                  <a:gd name="T25" fmla="*/ 111 h 204"/>
                  <a:gd name="T26" fmla="*/ 88 w 133"/>
                  <a:gd name="T27" fmla="*/ 66 h 204"/>
                  <a:gd name="T28" fmla="*/ 86 w 133"/>
                  <a:gd name="T29" fmla="*/ 42 h 204"/>
                  <a:gd name="T30" fmla="*/ 110 w 133"/>
                  <a:gd name="T31" fmla="*/ 44 h 204"/>
                  <a:gd name="T32" fmla="*/ 133 w 133"/>
                  <a:gd name="T33" fmla="*/ 66 h 204"/>
                  <a:gd name="T34" fmla="*/ 133 w 133"/>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204">
                    <a:moveTo>
                      <a:pt x="133" y="23"/>
                    </a:moveTo>
                    <a:cubicBezTo>
                      <a:pt x="132" y="22"/>
                      <a:pt x="132" y="22"/>
                      <a:pt x="132" y="22"/>
                    </a:cubicBezTo>
                    <a:cubicBezTo>
                      <a:pt x="110" y="0"/>
                      <a:pt x="82" y="2"/>
                      <a:pt x="65" y="20"/>
                    </a:cubicBezTo>
                    <a:cubicBezTo>
                      <a:pt x="53" y="32"/>
                      <a:pt x="51" y="46"/>
                      <a:pt x="52" y="52"/>
                    </a:cubicBezTo>
                    <a:cubicBezTo>
                      <a:pt x="47" y="51"/>
                      <a:pt x="32" y="52"/>
                      <a:pt x="20" y="65"/>
                    </a:cubicBezTo>
                    <a:cubicBezTo>
                      <a:pt x="3" y="82"/>
                      <a:pt x="0" y="110"/>
                      <a:pt x="22" y="132"/>
                    </a:cubicBezTo>
                    <a:cubicBezTo>
                      <a:pt x="95" y="204"/>
                      <a:pt x="95" y="204"/>
                      <a:pt x="95" y="204"/>
                    </a:cubicBezTo>
                    <a:cubicBezTo>
                      <a:pt x="117" y="182"/>
                      <a:pt x="117" y="182"/>
                      <a:pt x="117" y="182"/>
                    </a:cubicBezTo>
                    <a:cubicBezTo>
                      <a:pt x="44" y="110"/>
                      <a:pt x="44" y="110"/>
                      <a:pt x="44" y="110"/>
                    </a:cubicBezTo>
                    <a:cubicBezTo>
                      <a:pt x="35" y="101"/>
                      <a:pt x="36" y="91"/>
                      <a:pt x="42" y="86"/>
                    </a:cubicBezTo>
                    <a:cubicBezTo>
                      <a:pt x="47" y="80"/>
                      <a:pt x="58" y="79"/>
                      <a:pt x="66" y="88"/>
                    </a:cubicBezTo>
                    <a:cubicBezTo>
                      <a:pt x="133" y="155"/>
                      <a:pt x="133" y="155"/>
                      <a:pt x="133" y="155"/>
                    </a:cubicBezTo>
                    <a:cubicBezTo>
                      <a:pt x="133" y="111"/>
                      <a:pt x="133" y="111"/>
                      <a:pt x="133" y="111"/>
                    </a:cubicBezTo>
                    <a:cubicBezTo>
                      <a:pt x="88" y="66"/>
                      <a:pt x="88" y="66"/>
                      <a:pt x="88" y="66"/>
                    </a:cubicBezTo>
                    <a:cubicBezTo>
                      <a:pt x="80" y="57"/>
                      <a:pt x="80" y="47"/>
                      <a:pt x="86" y="42"/>
                    </a:cubicBezTo>
                    <a:cubicBezTo>
                      <a:pt x="92" y="36"/>
                      <a:pt x="102" y="35"/>
                      <a:pt x="110" y="44"/>
                    </a:cubicBezTo>
                    <a:cubicBezTo>
                      <a:pt x="133" y="66"/>
                      <a:pt x="133" y="66"/>
                      <a:pt x="133" y="66"/>
                    </a:cubicBezTo>
                    <a:lnTo>
                      <a:pt x="133"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75" name="Freeform 14"/>
              <p:cNvSpPr>
                <a:spLocks noEditPoints="1"/>
              </p:cNvSpPr>
              <p:nvPr userDrawn="1"/>
            </p:nvSpPr>
            <p:spPr bwMode="auto">
              <a:xfrm>
                <a:off x="8023287" y="4895470"/>
                <a:ext cx="20556" cy="93282"/>
              </a:xfrm>
              <a:custGeom>
                <a:avLst/>
                <a:gdLst>
                  <a:gd name="T0" fmla="*/ 14 w 27"/>
                  <a:gd name="T1" fmla="*/ 26 h 128"/>
                  <a:gd name="T2" fmla="*/ 0 w 27"/>
                  <a:gd name="T3" fmla="*/ 13 h 128"/>
                  <a:gd name="T4" fmla="*/ 14 w 27"/>
                  <a:gd name="T5" fmla="*/ 0 h 128"/>
                  <a:gd name="T6" fmla="*/ 27 w 27"/>
                  <a:gd name="T7" fmla="*/ 13 h 128"/>
                  <a:gd name="T8" fmla="*/ 14 w 27"/>
                  <a:gd name="T9" fmla="*/ 26 h 128"/>
                  <a:gd name="T10" fmla="*/ 3 w 27"/>
                  <a:gd name="T11" fmla="*/ 128 h 128"/>
                  <a:gd name="T12" fmla="*/ 3 w 27"/>
                  <a:gd name="T13" fmla="*/ 40 h 128"/>
                  <a:gd name="T14" fmla="*/ 25 w 27"/>
                  <a:gd name="T15" fmla="*/ 40 h 128"/>
                  <a:gd name="T16" fmla="*/ 25 w 27"/>
                  <a:gd name="T17" fmla="*/ 112 h 128"/>
                  <a:gd name="T18" fmla="*/ 3 w 27"/>
                  <a:gd name="T1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128">
                    <a:moveTo>
                      <a:pt x="14" y="26"/>
                    </a:moveTo>
                    <a:cubicBezTo>
                      <a:pt x="6" y="26"/>
                      <a:pt x="0" y="20"/>
                      <a:pt x="0" y="13"/>
                    </a:cubicBezTo>
                    <a:cubicBezTo>
                      <a:pt x="0" y="6"/>
                      <a:pt x="6" y="0"/>
                      <a:pt x="14" y="0"/>
                    </a:cubicBezTo>
                    <a:cubicBezTo>
                      <a:pt x="21" y="0"/>
                      <a:pt x="27" y="5"/>
                      <a:pt x="27" y="13"/>
                    </a:cubicBezTo>
                    <a:cubicBezTo>
                      <a:pt x="27" y="20"/>
                      <a:pt x="21" y="26"/>
                      <a:pt x="14" y="26"/>
                    </a:cubicBezTo>
                    <a:close/>
                    <a:moveTo>
                      <a:pt x="3" y="128"/>
                    </a:moveTo>
                    <a:cubicBezTo>
                      <a:pt x="3" y="40"/>
                      <a:pt x="3" y="40"/>
                      <a:pt x="3" y="40"/>
                    </a:cubicBezTo>
                    <a:cubicBezTo>
                      <a:pt x="25" y="40"/>
                      <a:pt x="25" y="40"/>
                      <a:pt x="25" y="40"/>
                    </a:cubicBezTo>
                    <a:cubicBezTo>
                      <a:pt x="25" y="40"/>
                      <a:pt x="25" y="95"/>
                      <a:pt x="25" y="112"/>
                    </a:cubicBezTo>
                    <a:cubicBezTo>
                      <a:pt x="25" y="128"/>
                      <a:pt x="3" y="128"/>
                      <a:pt x="3" y="1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76" name="Freeform 15"/>
              <p:cNvSpPr>
                <a:spLocks/>
              </p:cNvSpPr>
              <p:nvPr userDrawn="1"/>
            </p:nvSpPr>
            <p:spPr bwMode="auto">
              <a:xfrm>
                <a:off x="8615239" y="4924717"/>
                <a:ext cx="103744" cy="66806"/>
              </a:xfrm>
              <a:custGeom>
                <a:avLst/>
                <a:gdLst>
                  <a:gd name="T0" fmla="*/ 111 w 137"/>
                  <a:gd name="T1" fmla="*/ 72 h 92"/>
                  <a:gd name="T2" fmla="*/ 88 w 137"/>
                  <a:gd name="T3" fmla="*/ 88 h 92"/>
                  <a:gd name="T4" fmla="*/ 68 w 137"/>
                  <a:gd name="T5" fmla="*/ 28 h 92"/>
                  <a:gd name="T6" fmla="*/ 68 w 137"/>
                  <a:gd name="T7" fmla="*/ 28 h 92"/>
                  <a:gd name="T8" fmla="*/ 53 w 137"/>
                  <a:gd name="T9" fmla="*/ 72 h 92"/>
                  <a:gd name="T10" fmla="*/ 31 w 137"/>
                  <a:gd name="T11" fmla="*/ 88 h 92"/>
                  <a:gd name="T12" fmla="*/ 0 w 137"/>
                  <a:gd name="T13" fmla="*/ 0 h 92"/>
                  <a:gd name="T14" fmla="*/ 22 w 137"/>
                  <a:gd name="T15" fmla="*/ 0 h 92"/>
                  <a:gd name="T16" fmla="*/ 41 w 137"/>
                  <a:gd name="T17" fmla="*/ 60 h 92"/>
                  <a:gd name="T18" fmla="*/ 41 w 137"/>
                  <a:gd name="T19" fmla="*/ 60 h 92"/>
                  <a:gd name="T20" fmla="*/ 60 w 137"/>
                  <a:gd name="T21" fmla="*/ 0 h 92"/>
                  <a:gd name="T22" fmla="*/ 77 w 137"/>
                  <a:gd name="T23" fmla="*/ 0 h 92"/>
                  <a:gd name="T24" fmla="*/ 97 w 137"/>
                  <a:gd name="T25" fmla="*/ 60 h 92"/>
                  <a:gd name="T26" fmla="*/ 97 w 137"/>
                  <a:gd name="T27" fmla="*/ 60 h 92"/>
                  <a:gd name="T28" fmla="*/ 115 w 137"/>
                  <a:gd name="T29" fmla="*/ 0 h 92"/>
                  <a:gd name="T30" fmla="*/ 137 w 137"/>
                  <a:gd name="T31" fmla="*/ 0 h 92"/>
                  <a:gd name="T32" fmla="*/ 111 w 137"/>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 h="92">
                    <a:moveTo>
                      <a:pt x="111" y="72"/>
                    </a:moveTo>
                    <a:cubicBezTo>
                      <a:pt x="104" y="92"/>
                      <a:pt x="88" y="88"/>
                      <a:pt x="88" y="88"/>
                    </a:cubicBezTo>
                    <a:cubicBezTo>
                      <a:pt x="68" y="28"/>
                      <a:pt x="68" y="28"/>
                      <a:pt x="68" y="28"/>
                    </a:cubicBezTo>
                    <a:cubicBezTo>
                      <a:pt x="68" y="28"/>
                      <a:pt x="68" y="28"/>
                      <a:pt x="68" y="28"/>
                    </a:cubicBezTo>
                    <a:cubicBezTo>
                      <a:pt x="68" y="28"/>
                      <a:pt x="59"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7" y="60"/>
                      <a:pt x="97" y="60"/>
                      <a:pt x="97" y="60"/>
                    </a:cubicBezTo>
                    <a:cubicBezTo>
                      <a:pt x="97" y="60"/>
                      <a:pt x="97" y="60"/>
                      <a:pt x="97" y="60"/>
                    </a:cubicBezTo>
                    <a:cubicBezTo>
                      <a:pt x="115" y="0"/>
                      <a:pt x="115" y="0"/>
                      <a:pt x="115" y="0"/>
                    </a:cubicBezTo>
                    <a:cubicBezTo>
                      <a:pt x="137" y="0"/>
                      <a:pt x="137" y="0"/>
                      <a:pt x="137" y="0"/>
                    </a:cubicBezTo>
                    <a:cubicBezTo>
                      <a:pt x="137"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77" name="Freeform 16"/>
              <p:cNvSpPr>
                <a:spLocks noEditPoints="1"/>
              </p:cNvSpPr>
              <p:nvPr userDrawn="1"/>
            </p:nvSpPr>
            <p:spPr bwMode="auto">
              <a:xfrm>
                <a:off x="8423168" y="4892699"/>
                <a:ext cx="65844" cy="95129"/>
              </a:xfrm>
              <a:custGeom>
                <a:avLst/>
                <a:gdLst>
                  <a:gd name="T0" fmla="*/ 1 w 87"/>
                  <a:gd name="T1" fmla="*/ 0 h 131"/>
                  <a:gd name="T2" fmla="*/ 0 w 87"/>
                  <a:gd name="T3" fmla="*/ 131 h 131"/>
                  <a:gd name="T4" fmla="*/ 41 w 87"/>
                  <a:gd name="T5" fmla="*/ 131 h 131"/>
                  <a:gd name="T6" fmla="*/ 87 w 87"/>
                  <a:gd name="T7" fmla="*/ 92 h 131"/>
                  <a:gd name="T8" fmla="*/ 65 w 87"/>
                  <a:gd name="T9" fmla="*/ 61 h 131"/>
                  <a:gd name="T10" fmla="*/ 62 w 87"/>
                  <a:gd name="T11" fmla="*/ 60 h 131"/>
                  <a:gd name="T12" fmla="*/ 64 w 87"/>
                  <a:gd name="T13" fmla="*/ 59 h 131"/>
                  <a:gd name="T14" fmla="*/ 79 w 87"/>
                  <a:gd name="T15" fmla="*/ 32 h 131"/>
                  <a:gd name="T16" fmla="*/ 42 w 87"/>
                  <a:gd name="T17" fmla="*/ 0 h 131"/>
                  <a:gd name="T18" fmla="*/ 1 w 87"/>
                  <a:gd name="T19" fmla="*/ 0 h 131"/>
                  <a:gd name="T20" fmla="*/ 23 w 87"/>
                  <a:gd name="T21" fmla="*/ 17 h 131"/>
                  <a:gd name="T22" fmla="*/ 36 w 87"/>
                  <a:gd name="T23" fmla="*/ 17 h 131"/>
                  <a:gd name="T24" fmla="*/ 56 w 87"/>
                  <a:gd name="T25" fmla="*/ 35 h 131"/>
                  <a:gd name="T26" fmla="*/ 38 w 87"/>
                  <a:gd name="T27" fmla="*/ 55 h 131"/>
                  <a:gd name="T28" fmla="*/ 22 w 87"/>
                  <a:gd name="T29" fmla="*/ 55 h 131"/>
                  <a:gd name="T30" fmla="*/ 23 w 87"/>
                  <a:gd name="T31" fmla="*/ 17 h 131"/>
                  <a:gd name="T32" fmla="*/ 22 w 87"/>
                  <a:gd name="T33" fmla="*/ 74 h 131"/>
                  <a:gd name="T34" fmla="*/ 40 w 87"/>
                  <a:gd name="T35" fmla="*/ 74 h 131"/>
                  <a:gd name="T36" fmla="*/ 64 w 87"/>
                  <a:gd name="T37" fmla="*/ 92 h 131"/>
                  <a:gd name="T38" fmla="*/ 39 w 87"/>
                  <a:gd name="T39" fmla="*/ 113 h 131"/>
                  <a:gd name="T40" fmla="*/ 22 w 87"/>
                  <a:gd name="T41" fmla="*/ 113 h 131"/>
                  <a:gd name="T42" fmla="*/ 22 w 87"/>
                  <a:gd name="T43" fmla="*/ 7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131">
                    <a:moveTo>
                      <a:pt x="1" y="0"/>
                    </a:moveTo>
                    <a:cubicBezTo>
                      <a:pt x="1" y="3"/>
                      <a:pt x="0" y="129"/>
                      <a:pt x="0" y="131"/>
                    </a:cubicBezTo>
                    <a:cubicBezTo>
                      <a:pt x="2" y="131"/>
                      <a:pt x="41" y="131"/>
                      <a:pt x="41" y="131"/>
                    </a:cubicBezTo>
                    <a:cubicBezTo>
                      <a:pt x="73" y="131"/>
                      <a:pt x="87" y="111"/>
                      <a:pt x="87" y="92"/>
                    </a:cubicBezTo>
                    <a:cubicBezTo>
                      <a:pt x="87" y="77"/>
                      <a:pt x="79" y="65"/>
                      <a:pt x="65" y="61"/>
                    </a:cubicBezTo>
                    <a:cubicBezTo>
                      <a:pt x="62" y="60"/>
                      <a:pt x="62" y="60"/>
                      <a:pt x="62" y="60"/>
                    </a:cubicBezTo>
                    <a:cubicBezTo>
                      <a:pt x="64" y="59"/>
                      <a:pt x="64" y="59"/>
                      <a:pt x="64" y="59"/>
                    </a:cubicBezTo>
                    <a:cubicBezTo>
                      <a:pt x="74" y="54"/>
                      <a:pt x="79" y="44"/>
                      <a:pt x="79" y="32"/>
                    </a:cubicBezTo>
                    <a:cubicBezTo>
                      <a:pt x="79" y="17"/>
                      <a:pt x="68" y="0"/>
                      <a:pt x="42" y="0"/>
                    </a:cubicBezTo>
                    <a:cubicBezTo>
                      <a:pt x="42" y="0"/>
                      <a:pt x="3" y="0"/>
                      <a:pt x="1" y="0"/>
                    </a:cubicBezTo>
                    <a:close/>
                    <a:moveTo>
                      <a:pt x="23" y="17"/>
                    </a:moveTo>
                    <a:cubicBezTo>
                      <a:pt x="36" y="17"/>
                      <a:pt x="36" y="17"/>
                      <a:pt x="36" y="17"/>
                    </a:cubicBezTo>
                    <a:cubicBezTo>
                      <a:pt x="49" y="17"/>
                      <a:pt x="56" y="24"/>
                      <a:pt x="56" y="35"/>
                    </a:cubicBezTo>
                    <a:cubicBezTo>
                      <a:pt x="56" y="47"/>
                      <a:pt x="47" y="55"/>
                      <a:pt x="38" y="55"/>
                    </a:cubicBezTo>
                    <a:cubicBezTo>
                      <a:pt x="22" y="55"/>
                      <a:pt x="22" y="55"/>
                      <a:pt x="22" y="55"/>
                    </a:cubicBezTo>
                    <a:lnTo>
                      <a:pt x="23" y="17"/>
                    </a:lnTo>
                    <a:close/>
                    <a:moveTo>
                      <a:pt x="22" y="74"/>
                    </a:moveTo>
                    <a:cubicBezTo>
                      <a:pt x="40" y="74"/>
                      <a:pt x="40" y="74"/>
                      <a:pt x="40" y="74"/>
                    </a:cubicBezTo>
                    <a:cubicBezTo>
                      <a:pt x="55" y="74"/>
                      <a:pt x="64" y="81"/>
                      <a:pt x="64" y="92"/>
                    </a:cubicBezTo>
                    <a:cubicBezTo>
                      <a:pt x="64" y="105"/>
                      <a:pt x="55" y="113"/>
                      <a:pt x="39" y="113"/>
                    </a:cubicBezTo>
                    <a:cubicBezTo>
                      <a:pt x="22" y="113"/>
                      <a:pt x="22" y="113"/>
                      <a:pt x="22" y="113"/>
                    </a:cubicBezTo>
                    <a:lnTo>
                      <a:pt x="22" y="74"/>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78" name="Freeform 17"/>
              <p:cNvSpPr>
                <a:spLocks noEditPoints="1"/>
              </p:cNvSpPr>
              <p:nvPr userDrawn="1"/>
            </p:nvSpPr>
            <p:spPr bwMode="auto">
              <a:xfrm>
                <a:off x="8546184" y="4923177"/>
                <a:ext cx="66486" cy="66190"/>
              </a:xfrm>
              <a:custGeom>
                <a:avLst/>
                <a:gdLst>
                  <a:gd name="T0" fmla="*/ 75 w 88"/>
                  <a:gd name="T1" fmla="*/ 78 h 91"/>
                  <a:gd name="T2" fmla="*/ 44 w 88"/>
                  <a:gd name="T3" fmla="*/ 91 h 91"/>
                  <a:gd name="T4" fmla="*/ 14 w 88"/>
                  <a:gd name="T5" fmla="*/ 80 h 91"/>
                  <a:gd name="T6" fmla="*/ 0 w 88"/>
                  <a:gd name="T7" fmla="*/ 46 h 91"/>
                  <a:gd name="T8" fmla="*/ 13 w 88"/>
                  <a:gd name="T9" fmla="*/ 12 h 91"/>
                  <a:gd name="T10" fmla="*/ 44 w 88"/>
                  <a:gd name="T11" fmla="*/ 0 h 91"/>
                  <a:gd name="T12" fmla="*/ 76 w 88"/>
                  <a:gd name="T13" fmla="*/ 12 h 91"/>
                  <a:gd name="T14" fmla="*/ 88 w 88"/>
                  <a:gd name="T15" fmla="*/ 45 h 91"/>
                  <a:gd name="T16" fmla="*/ 75 w 88"/>
                  <a:gd name="T17" fmla="*/ 78 h 91"/>
                  <a:gd name="T18" fmla="*/ 44 w 88"/>
                  <a:gd name="T19" fmla="*/ 17 h 91"/>
                  <a:gd name="T20" fmla="*/ 23 w 88"/>
                  <a:gd name="T21" fmla="*/ 45 h 91"/>
                  <a:gd name="T22" fmla="*/ 44 w 88"/>
                  <a:gd name="T23" fmla="*/ 73 h 91"/>
                  <a:gd name="T24" fmla="*/ 65 w 88"/>
                  <a:gd name="T25" fmla="*/ 45 h 91"/>
                  <a:gd name="T26" fmla="*/ 44 w 88"/>
                  <a:gd name="T27"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91">
                    <a:moveTo>
                      <a:pt x="75" y="78"/>
                    </a:moveTo>
                    <a:cubicBezTo>
                      <a:pt x="68" y="86"/>
                      <a:pt x="57" y="91"/>
                      <a:pt x="44" y="91"/>
                    </a:cubicBezTo>
                    <a:cubicBezTo>
                      <a:pt x="32" y="91"/>
                      <a:pt x="21" y="87"/>
                      <a:pt x="14" y="80"/>
                    </a:cubicBezTo>
                    <a:cubicBezTo>
                      <a:pt x="5" y="72"/>
                      <a:pt x="0" y="60"/>
                      <a:pt x="0" y="46"/>
                    </a:cubicBezTo>
                    <a:cubicBezTo>
                      <a:pt x="0" y="32"/>
                      <a:pt x="5" y="20"/>
                      <a:pt x="13" y="12"/>
                    </a:cubicBezTo>
                    <a:cubicBezTo>
                      <a:pt x="21" y="4"/>
                      <a:pt x="31" y="0"/>
                      <a:pt x="44" y="0"/>
                    </a:cubicBezTo>
                    <a:cubicBezTo>
                      <a:pt x="57" y="0"/>
                      <a:pt x="68" y="4"/>
                      <a:pt x="76" y="12"/>
                    </a:cubicBezTo>
                    <a:cubicBezTo>
                      <a:pt x="84" y="20"/>
                      <a:pt x="88" y="32"/>
                      <a:pt x="88" y="45"/>
                    </a:cubicBezTo>
                    <a:cubicBezTo>
                      <a:pt x="88" y="58"/>
                      <a:pt x="83" y="70"/>
                      <a:pt x="75" y="78"/>
                    </a:cubicBezTo>
                    <a:close/>
                    <a:moveTo>
                      <a:pt x="44" y="17"/>
                    </a:moveTo>
                    <a:cubicBezTo>
                      <a:pt x="30" y="17"/>
                      <a:pt x="23" y="29"/>
                      <a:pt x="23" y="45"/>
                    </a:cubicBezTo>
                    <a:cubicBezTo>
                      <a:pt x="23" y="62"/>
                      <a:pt x="31" y="73"/>
                      <a:pt x="44" y="73"/>
                    </a:cubicBezTo>
                    <a:cubicBezTo>
                      <a:pt x="58" y="73"/>
                      <a:pt x="65" y="61"/>
                      <a:pt x="65" y="45"/>
                    </a:cubicBezTo>
                    <a:cubicBezTo>
                      <a:pt x="65" y="28"/>
                      <a:pt x="57" y="17"/>
                      <a:pt x="44" y="1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79" name="Freeform 18"/>
              <p:cNvSpPr>
                <a:spLocks/>
              </p:cNvSpPr>
              <p:nvPr userDrawn="1"/>
            </p:nvSpPr>
            <p:spPr bwMode="auto">
              <a:xfrm>
                <a:off x="8728298" y="4923177"/>
                <a:ext cx="60705" cy="65574"/>
              </a:xfrm>
              <a:custGeom>
                <a:avLst/>
                <a:gdLst>
                  <a:gd name="T0" fmla="*/ 58 w 80"/>
                  <a:gd name="T1" fmla="*/ 90 h 90"/>
                  <a:gd name="T2" fmla="*/ 58 w 80"/>
                  <a:gd name="T3" fmla="*/ 38 h 90"/>
                  <a:gd name="T4" fmla="*/ 45 w 80"/>
                  <a:gd name="T5" fmla="*/ 19 h 90"/>
                  <a:gd name="T6" fmla="*/ 23 w 80"/>
                  <a:gd name="T7" fmla="*/ 28 h 90"/>
                  <a:gd name="T8" fmla="*/ 23 w 80"/>
                  <a:gd name="T9" fmla="*/ 74 h 90"/>
                  <a:gd name="T10" fmla="*/ 0 w 80"/>
                  <a:gd name="T11" fmla="*/ 90 h 90"/>
                  <a:gd name="T12" fmla="*/ 0 w 80"/>
                  <a:gd name="T13" fmla="*/ 2 h 90"/>
                  <a:gd name="T14" fmla="*/ 19 w 80"/>
                  <a:gd name="T15" fmla="*/ 2 h 90"/>
                  <a:gd name="T16" fmla="*/ 22 w 80"/>
                  <a:gd name="T17" fmla="*/ 11 h 90"/>
                  <a:gd name="T18" fmla="*/ 52 w 80"/>
                  <a:gd name="T19" fmla="*/ 0 h 90"/>
                  <a:gd name="T20" fmla="*/ 80 w 80"/>
                  <a:gd name="T21" fmla="*/ 31 h 90"/>
                  <a:gd name="T22" fmla="*/ 80 w 80"/>
                  <a:gd name="T23" fmla="*/ 74 h 90"/>
                  <a:gd name="T24" fmla="*/ 58 w 80"/>
                  <a:gd name="T2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90">
                    <a:moveTo>
                      <a:pt x="58" y="90"/>
                    </a:moveTo>
                    <a:cubicBezTo>
                      <a:pt x="58" y="38"/>
                      <a:pt x="58" y="38"/>
                      <a:pt x="58" y="38"/>
                    </a:cubicBezTo>
                    <a:cubicBezTo>
                      <a:pt x="58" y="29"/>
                      <a:pt x="56" y="19"/>
                      <a:pt x="45" y="19"/>
                    </a:cubicBezTo>
                    <a:cubicBezTo>
                      <a:pt x="37" y="19"/>
                      <a:pt x="29" y="23"/>
                      <a:pt x="23" y="28"/>
                    </a:cubicBezTo>
                    <a:cubicBezTo>
                      <a:pt x="23" y="28"/>
                      <a:pt x="23" y="57"/>
                      <a:pt x="23" y="74"/>
                    </a:cubicBezTo>
                    <a:cubicBezTo>
                      <a:pt x="23" y="90"/>
                      <a:pt x="0" y="90"/>
                      <a:pt x="0" y="90"/>
                    </a:cubicBezTo>
                    <a:cubicBezTo>
                      <a:pt x="0" y="2"/>
                      <a:pt x="0" y="2"/>
                      <a:pt x="0" y="2"/>
                    </a:cubicBezTo>
                    <a:cubicBezTo>
                      <a:pt x="19" y="2"/>
                      <a:pt x="19" y="2"/>
                      <a:pt x="19" y="2"/>
                    </a:cubicBezTo>
                    <a:cubicBezTo>
                      <a:pt x="22" y="11"/>
                      <a:pt x="22" y="11"/>
                      <a:pt x="22" y="11"/>
                    </a:cubicBezTo>
                    <a:cubicBezTo>
                      <a:pt x="31" y="4"/>
                      <a:pt x="40" y="0"/>
                      <a:pt x="52" y="0"/>
                    </a:cubicBezTo>
                    <a:cubicBezTo>
                      <a:pt x="65" y="0"/>
                      <a:pt x="80" y="8"/>
                      <a:pt x="80" y="31"/>
                    </a:cubicBezTo>
                    <a:cubicBezTo>
                      <a:pt x="80" y="31"/>
                      <a:pt x="80" y="57"/>
                      <a:pt x="80" y="74"/>
                    </a:cubicBezTo>
                    <a:cubicBezTo>
                      <a:pt x="80" y="90"/>
                      <a:pt x="58" y="90"/>
                      <a:pt x="58" y="9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80" name="Freeform 19"/>
              <p:cNvSpPr>
                <a:spLocks/>
              </p:cNvSpPr>
              <p:nvPr userDrawn="1"/>
            </p:nvSpPr>
            <p:spPr bwMode="auto">
              <a:xfrm>
                <a:off x="8501217" y="4923177"/>
                <a:ext cx="43361" cy="65574"/>
              </a:xfrm>
              <a:custGeom>
                <a:avLst/>
                <a:gdLst>
                  <a:gd name="T0" fmla="*/ 49 w 57"/>
                  <a:gd name="T1" fmla="*/ 22 h 90"/>
                  <a:gd name="T2" fmla="*/ 39 w 57"/>
                  <a:gd name="T3" fmla="*/ 20 h 90"/>
                  <a:gd name="T4" fmla="*/ 22 w 57"/>
                  <a:gd name="T5" fmla="*/ 27 h 90"/>
                  <a:gd name="T6" fmla="*/ 22 w 57"/>
                  <a:gd name="T7" fmla="*/ 74 h 90"/>
                  <a:gd name="T8" fmla="*/ 0 w 57"/>
                  <a:gd name="T9" fmla="*/ 90 h 90"/>
                  <a:gd name="T10" fmla="*/ 0 w 57"/>
                  <a:gd name="T11" fmla="*/ 2 h 90"/>
                  <a:gd name="T12" fmla="*/ 19 w 57"/>
                  <a:gd name="T13" fmla="*/ 2 h 90"/>
                  <a:gd name="T14" fmla="*/ 21 w 57"/>
                  <a:gd name="T15" fmla="*/ 11 h 90"/>
                  <a:gd name="T16" fmla="*/ 45 w 57"/>
                  <a:gd name="T17" fmla="*/ 0 h 90"/>
                  <a:gd name="T18" fmla="*/ 57 w 57"/>
                  <a:gd name="T19" fmla="*/ 4 h 90"/>
                  <a:gd name="T20" fmla="*/ 49 w 57"/>
                  <a:gd name="T21" fmla="*/ 2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0">
                    <a:moveTo>
                      <a:pt x="49" y="22"/>
                    </a:moveTo>
                    <a:cubicBezTo>
                      <a:pt x="46" y="20"/>
                      <a:pt x="42" y="20"/>
                      <a:pt x="39" y="20"/>
                    </a:cubicBezTo>
                    <a:cubicBezTo>
                      <a:pt x="34" y="20"/>
                      <a:pt x="28" y="22"/>
                      <a:pt x="22" y="27"/>
                    </a:cubicBezTo>
                    <a:cubicBezTo>
                      <a:pt x="22" y="27"/>
                      <a:pt x="22" y="57"/>
                      <a:pt x="22" y="74"/>
                    </a:cubicBezTo>
                    <a:cubicBezTo>
                      <a:pt x="22" y="90"/>
                      <a:pt x="0" y="90"/>
                      <a:pt x="0" y="90"/>
                    </a:cubicBezTo>
                    <a:cubicBezTo>
                      <a:pt x="0" y="2"/>
                      <a:pt x="0" y="2"/>
                      <a:pt x="0" y="2"/>
                    </a:cubicBezTo>
                    <a:cubicBezTo>
                      <a:pt x="19" y="2"/>
                      <a:pt x="19" y="2"/>
                      <a:pt x="19"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81" name="Freeform 20"/>
              <p:cNvSpPr>
                <a:spLocks/>
              </p:cNvSpPr>
              <p:nvPr userDrawn="1"/>
            </p:nvSpPr>
            <p:spPr bwMode="auto">
              <a:xfrm>
                <a:off x="7766657" y="4864376"/>
                <a:ext cx="100211" cy="148389"/>
              </a:xfrm>
              <a:custGeom>
                <a:avLst/>
                <a:gdLst>
                  <a:gd name="T0" fmla="*/ 0 w 132"/>
                  <a:gd name="T1" fmla="*/ 23 h 204"/>
                  <a:gd name="T2" fmla="*/ 1 w 132"/>
                  <a:gd name="T3" fmla="*/ 22 h 204"/>
                  <a:gd name="T4" fmla="*/ 67 w 132"/>
                  <a:gd name="T5" fmla="*/ 20 h 204"/>
                  <a:gd name="T6" fmla="*/ 80 w 132"/>
                  <a:gd name="T7" fmla="*/ 52 h 204"/>
                  <a:gd name="T8" fmla="*/ 113 w 132"/>
                  <a:gd name="T9" fmla="*/ 65 h 204"/>
                  <a:gd name="T10" fmla="*/ 111 w 132"/>
                  <a:gd name="T11" fmla="*/ 132 h 204"/>
                  <a:gd name="T12" fmla="*/ 38 w 132"/>
                  <a:gd name="T13" fmla="*/ 204 h 204"/>
                  <a:gd name="T14" fmla="*/ 16 w 132"/>
                  <a:gd name="T15" fmla="*/ 182 h 204"/>
                  <a:gd name="T16" fmla="*/ 88 w 132"/>
                  <a:gd name="T17" fmla="*/ 110 h 204"/>
                  <a:gd name="T18" fmla="*/ 91 w 132"/>
                  <a:gd name="T19" fmla="*/ 86 h 204"/>
                  <a:gd name="T20" fmla="*/ 67 w 132"/>
                  <a:gd name="T21" fmla="*/ 88 h 204"/>
                  <a:gd name="T22" fmla="*/ 0 w 132"/>
                  <a:gd name="T23" fmla="*/ 155 h 204"/>
                  <a:gd name="T24" fmla="*/ 0 w 132"/>
                  <a:gd name="T25" fmla="*/ 111 h 204"/>
                  <a:gd name="T26" fmla="*/ 45 w 132"/>
                  <a:gd name="T27" fmla="*/ 66 h 204"/>
                  <a:gd name="T28" fmla="*/ 46 w 132"/>
                  <a:gd name="T29" fmla="*/ 42 h 204"/>
                  <a:gd name="T30" fmla="*/ 22 w 132"/>
                  <a:gd name="T31" fmla="*/ 44 h 204"/>
                  <a:gd name="T32" fmla="*/ 0 w 132"/>
                  <a:gd name="T33" fmla="*/ 66 h 204"/>
                  <a:gd name="T34" fmla="*/ 0 w 132"/>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204">
                    <a:moveTo>
                      <a:pt x="0" y="23"/>
                    </a:moveTo>
                    <a:cubicBezTo>
                      <a:pt x="1" y="22"/>
                      <a:pt x="1" y="22"/>
                      <a:pt x="1" y="22"/>
                    </a:cubicBezTo>
                    <a:cubicBezTo>
                      <a:pt x="23" y="0"/>
                      <a:pt x="50" y="2"/>
                      <a:pt x="67" y="20"/>
                    </a:cubicBezTo>
                    <a:cubicBezTo>
                      <a:pt x="80" y="32"/>
                      <a:pt x="81" y="46"/>
                      <a:pt x="80" y="52"/>
                    </a:cubicBezTo>
                    <a:cubicBezTo>
                      <a:pt x="86" y="51"/>
                      <a:pt x="100" y="52"/>
                      <a:pt x="113" y="65"/>
                    </a:cubicBezTo>
                    <a:cubicBezTo>
                      <a:pt x="130" y="82"/>
                      <a:pt x="132" y="110"/>
                      <a:pt x="111" y="132"/>
                    </a:cubicBezTo>
                    <a:cubicBezTo>
                      <a:pt x="38" y="204"/>
                      <a:pt x="38" y="204"/>
                      <a:pt x="38" y="204"/>
                    </a:cubicBezTo>
                    <a:cubicBezTo>
                      <a:pt x="16" y="182"/>
                      <a:pt x="16" y="182"/>
                      <a:pt x="16" y="182"/>
                    </a:cubicBezTo>
                    <a:cubicBezTo>
                      <a:pt x="88" y="110"/>
                      <a:pt x="88" y="110"/>
                      <a:pt x="88" y="110"/>
                    </a:cubicBezTo>
                    <a:cubicBezTo>
                      <a:pt x="97" y="101"/>
                      <a:pt x="96" y="91"/>
                      <a:pt x="91" y="86"/>
                    </a:cubicBezTo>
                    <a:cubicBezTo>
                      <a:pt x="85" y="80"/>
                      <a:pt x="75" y="79"/>
                      <a:pt x="67" y="88"/>
                    </a:cubicBezTo>
                    <a:cubicBezTo>
                      <a:pt x="0" y="155"/>
                      <a:pt x="0" y="155"/>
                      <a:pt x="0" y="155"/>
                    </a:cubicBezTo>
                    <a:cubicBezTo>
                      <a:pt x="0" y="111"/>
                      <a:pt x="0" y="111"/>
                      <a:pt x="0" y="111"/>
                    </a:cubicBezTo>
                    <a:cubicBezTo>
                      <a:pt x="45" y="66"/>
                      <a:pt x="45" y="66"/>
                      <a:pt x="45" y="66"/>
                    </a:cubicBezTo>
                    <a:cubicBezTo>
                      <a:pt x="53" y="57"/>
                      <a:pt x="52" y="47"/>
                      <a:pt x="46" y="42"/>
                    </a:cubicBezTo>
                    <a:cubicBezTo>
                      <a:pt x="41" y="36"/>
                      <a:pt x="31" y="35"/>
                      <a:pt x="22" y="44"/>
                    </a:cubicBezTo>
                    <a:cubicBezTo>
                      <a:pt x="0" y="66"/>
                      <a:pt x="0" y="66"/>
                      <a:pt x="0" y="66"/>
                    </a:cubicBezTo>
                    <a:lnTo>
                      <a:pt x="0"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grpSp>
      <p:sp>
        <p:nvSpPr>
          <p:cNvPr id="91"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solidFill>
                  <a:schemeClr val="tx2">
                    <a:lumMod val="75000"/>
                  </a:schemeClr>
                </a:solidFill>
                <a:latin typeface="+mn-lt"/>
              </a:rPr>
              <a:t>Private and Confidental</a:t>
            </a:r>
            <a:endParaRPr lang="pt-BR" sz="500" dirty="0">
              <a:solidFill>
                <a:schemeClr val="tx2">
                  <a:lumMod val="75000"/>
                </a:schemeClr>
              </a:solidFill>
              <a:latin typeface="+mn-lt"/>
            </a:endParaRPr>
          </a:p>
        </p:txBody>
      </p:sp>
    </p:spTree>
    <p:extLst>
      <p:ext uri="{BB962C8B-B14F-4D97-AF65-F5344CB8AC3E}">
        <p14:creationId xmlns:p14="http://schemas.microsoft.com/office/powerpoint/2010/main" val="3020492769"/>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_D_MB_Slate3">
    <p:bg>
      <p:bgPr>
        <a:solidFill>
          <a:schemeClr val="bg1"/>
        </a:solidFill>
        <a:effectLst/>
      </p:bgPr>
    </p:bg>
    <p:spTree>
      <p:nvGrpSpPr>
        <p:cNvPr id="1" name=""/>
        <p:cNvGrpSpPr/>
        <p:nvPr/>
      </p:nvGrpSpPr>
      <p:grpSpPr>
        <a:xfrm>
          <a:off x="0" y="0"/>
          <a:ext cx="0" cy="0"/>
          <a:chOff x="0" y="0"/>
          <a:chExt cx="0" cy="0"/>
        </a:xfrm>
      </p:grpSpPr>
      <p:sp>
        <p:nvSpPr>
          <p:cNvPr id="31" name="Rectangle 30"/>
          <p:cNvSpPr/>
          <p:nvPr userDrawn="1"/>
        </p:nvSpPr>
        <p:spPr>
          <a:xfrm>
            <a:off x="0" y="0"/>
            <a:ext cx="9144000" cy="5148263"/>
          </a:xfrm>
          <a:prstGeom prst="rect">
            <a:avLst/>
          </a:prstGeom>
          <a:solidFill>
            <a:srgbClr val="4B4E53"/>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en-GB" sz="1050" smtClean="0">
              <a:solidFill>
                <a:schemeClr val="bg1"/>
              </a:solidFill>
              <a:latin typeface="Arial" panose="020B0604020202020204" pitchFamily="34" charset="0"/>
              <a:cs typeface="Arial" panose="020B0604020202020204" pitchFamily="34" charset="0"/>
            </a:endParaRPr>
          </a:p>
        </p:txBody>
      </p:sp>
      <p:pic>
        <p:nvPicPr>
          <p:cNvPr id="33" name="Picture 32" descr="cookie_white.png"/>
          <p:cNvPicPr>
            <a:picLocks noChangeAspect="1"/>
          </p:cNvPicPr>
          <p:nvPr userDrawn="1"/>
        </p:nvPicPr>
        <p:blipFill rotWithShape="1">
          <a:blip r:embed="rId2" cstate="screen">
            <a:alphaModFix amt="16000"/>
            <a:extLst>
              <a:ext uri="{28A0092B-C50C-407E-A947-70E740481C1C}">
                <a14:useLocalDpi xmlns:a14="http://schemas.microsoft.com/office/drawing/2010/main"/>
              </a:ext>
            </a:extLst>
          </a:blip>
          <a:srcRect/>
          <a:stretch/>
        </p:blipFill>
        <p:spPr>
          <a:xfrm flipH="1">
            <a:off x="5149029" y="2289839"/>
            <a:ext cx="4020091" cy="2880000"/>
          </a:xfrm>
          <a:prstGeom prst="rect">
            <a:avLst/>
          </a:prstGeom>
        </p:spPr>
      </p:pic>
      <p:cxnSp>
        <p:nvCxnSpPr>
          <p:cNvPr id="32" name="Straight Connector 31"/>
          <p:cNvCxnSpPr/>
          <p:nvPr userDrawn="1"/>
        </p:nvCxnSpPr>
        <p:spPr>
          <a:xfrm>
            <a:off x="343365" y="470176"/>
            <a:ext cx="8460000" cy="0"/>
          </a:xfrm>
          <a:prstGeom prst="line">
            <a:avLst/>
          </a:prstGeom>
          <a:ln w="6350" cmpd="sng">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343365" y="4801146"/>
            <a:ext cx="8460000" cy="0"/>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sp>
        <p:nvSpPr>
          <p:cNvPr id="67"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rgbClr val="FFFFFF"/>
                </a:solidFill>
                <a:latin typeface="+mn-lt"/>
              </a:defRPr>
            </a:lvl1pPr>
          </a:lstStyle>
          <a:p>
            <a:fld id="{19AB4E72-7858-48F1-A40D-12FF09E4BFB8}" type="slidenum">
              <a:rPr lang="en-GB" smtClean="0"/>
              <a:pPr/>
              <a:t>‹Nº›</a:t>
            </a:fld>
            <a:endParaRPr lang="en-GB"/>
          </a:p>
        </p:txBody>
      </p:sp>
      <p:sp>
        <p:nvSpPr>
          <p:cNvPr id="36" name="Title 1"/>
          <p:cNvSpPr>
            <a:spLocks noGrp="1"/>
          </p:cNvSpPr>
          <p:nvPr>
            <p:ph type="ctrTitle" hasCustomPrompt="1"/>
          </p:nvPr>
        </p:nvSpPr>
        <p:spPr>
          <a:xfrm>
            <a:off x="343365" y="2867487"/>
            <a:ext cx="8460000" cy="443198"/>
          </a:xfrm>
          <a:prstGeom prst="rect">
            <a:avLst/>
          </a:prstGeom>
        </p:spPr>
        <p:txBody>
          <a:bodyPr lIns="0" tIns="0" rIns="0" bIns="0" anchor="b"/>
          <a:lstStyle>
            <a:lvl1pPr>
              <a:lnSpc>
                <a:spcPct val="90000"/>
              </a:lnSpc>
              <a:defRPr sz="3200" b="0">
                <a:solidFill>
                  <a:schemeClr val="bg1"/>
                </a:solidFill>
              </a:defRPr>
            </a:lvl1pPr>
          </a:lstStyle>
          <a:p>
            <a:r>
              <a:rPr lang="en-US" dirty="0" smtClean="0"/>
              <a:t>Click to edit Master title Style</a:t>
            </a:r>
            <a:endParaRPr lang="en-US" dirty="0"/>
          </a:p>
        </p:txBody>
      </p:sp>
      <p:sp>
        <p:nvSpPr>
          <p:cNvPr id="37" name="Subtitle 2"/>
          <p:cNvSpPr>
            <a:spLocks noGrp="1"/>
          </p:cNvSpPr>
          <p:nvPr>
            <p:ph type="subTitle" idx="1" hasCustomPrompt="1"/>
          </p:nvPr>
        </p:nvSpPr>
        <p:spPr>
          <a:xfrm>
            <a:off x="343364" y="3474100"/>
            <a:ext cx="8460000" cy="202165"/>
          </a:xfrm>
          <a:prstGeom prst="rect">
            <a:avLst/>
          </a:prstGeom>
        </p:spPr>
        <p:txBody>
          <a:bodyPr lIns="0" tIns="0" rIns="0" bIns="0">
            <a:noAutofit/>
          </a:bodyPr>
          <a:lstStyle>
            <a:lvl1pPr marL="0" indent="0" algn="l">
              <a:buNone/>
              <a:defRPr sz="1400">
                <a:solidFill>
                  <a:schemeClr val="tx2"/>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cxnSp>
        <p:nvCxnSpPr>
          <p:cNvPr id="38" name="Straight Connector 37"/>
          <p:cNvCxnSpPr/>
          <p:nvPr userDrawn="1"/>
        </p:nvCxnSpPr>
        <p:spPr>
          <a:xfrm>
            <a:off x="346086" y="3395058"/>
            <a:ext cx="8460000" cy="0"/>
          </a:xfrm>
          <a:prstGeom prst="line">
            <a:avLst/>
          </a:prstGeom>
          <a:ln w="12700"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139" name="Text Placeholder 2"/>
          <p:cNvSpPr>
            <a:spLocks noGrp="1"/>
          </p:cNvSpPr>
          <p:nvPr>
            <p:ph type="body" sz="quarter" idx="25" hasCustomPrompt="1"/>
          </p:nvPr>
        </p:nvSpPr>
        <p:spPr>
          <a:xfrm>
            <a:off x="3342796" y="4807465"/>
            <a:ext cx="1160462" cy="341313"/>
          </a:xfrm>
          <a:prstGeom prst="rect">
            <a:avLst/>
          </a:prstGeom>
        </p:spPr>
        <p:txBody>
          <a:bodyPr anchor="ctr"/>
          <a:lstStyle>
            <a:lvl1pPr marL="0" indent="0" algn="ctr">
              <a:buNone/>
              <a:defRPr sz="800">
                <a:solidFill>
                  <a:schemeClr val="bg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grpSp>
        <p:nvGrpSpPr>
          <p:cNvPr id="140" name="Group 139"/>
          <p:cNvGrpSpPr/>
          <p:nvPr userDrawn="1"/>
        </p:nvGrpSpPr>
        <p:grpSpPr>
          <a:xfrm>
            <a:off x="7686461" y="4906654"/>
            <a:ext cx="1124815" cy="151147"/>
            <a:chOff x="7686461" y="4581466"/>
            <a:chExt cx="1124815" cy="151147"/>
          </a:xfrm>
          <a:solidFill>
            <a:schemeClr val="bg1"/>
          </a:solidFill>
        </p:grpSpPr>
        <p:sp>
          <p:nvSpPr>
            <p:cNvPr id="141"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42"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43"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44"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45"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46"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47"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48"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49"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50"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51"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52"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53"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54"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sp>
          <p:nvSpPr>
            <p:cNvPr id="155"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p>
          </p:txBody>
        </p:sp>
      </p:grpSp>
      <p:grpSp>
        <p:nvGrpSpPr>
          <p:cNvPr id="77" name="Group 76"/>
          <p:cNvGrpSpPr/>
          <p:nvPr userDrawn="1"/>
        </p:nvGrpSpPr>
        <p:grpSpPr>
          <a:xfrm>
            <a:off x="6226041" y="4843403"/>
            <a:ext cx="1123200" cy="262117"/>
            <a:chOff x="7686782" y="4354553"/>
            <a:chExt cx="1123200" cy="262117"/>
          </a:xfrm>
          <a:solidFill>
            <a:schemeClr val="bg1"/>
          </a:solidFill>
        </p:grpSpPr>
        <p:sp>
          <p:nvSpPr>
            <p:cNvPr id="78" name="Freeform 77"/>
            <p:cNvSpPr>
              <a:spLocks/>
            </p:cNvSpPr>
            <p:nvPr/>
          </p:nvSpPr>
          <p:spPr bwMode="auto">
            <a:xfrm>
              <a:off x="8637817" y="4415076"/>
              <a:ext cx="103629" cy="66531"/>
            </a:xfrm>
            <a:custGeom>
              <a:avLst/>
              <a:gdLst>
                <a:gd name="T0" fmla="*/ 50 w 62"/>
                <a:gd name="T1" fmla="*/ 33 h 42"/>
                <a:gd name="T2" fmla="*/ 39 w 62"/>
                <a:gd name="T3" fmla="*/ 40 h 42"/>
                <a:gd name="T4" fmla="*/ 31 w 62"/>
                <a:gd name="T5" fmla="*/ 13 h 42"/>
                <a:gd name="T6" fmla="*/ 30 w 62"/>
                <a:gd name="T7" fmla="*/ 13 h 42"/>
                <a:gd name="T8" fmla="*/ 24 w 62"/>
                <a:gd name="T9" fmla="*/ 33 h 42"/>
                <a:gd name="T10" fmla="*/ 14 w 62"/>
                <a:gd name="T11" fmla="*/ 40 h 42"/>
                <a:gd name="T12" fmla="*/ 0 w 62"/>
                <a:gd name="T13" fmla="*/ 0 h 42"/>
                <a:gd name="T14" fmla="*/ 10 w 62"/>
                <a:gd name="T15" fmla="*/ 0 h 42"/>
                <a:gd name="T16" fmla="*/ 18 w 62"/>
                <a:gd name="T17" fmla="*/ 27 h 42"/>
                <a:gd name="T18" fmla="*/ 18 w 62"/>
                <a:gd name="T19" fmla="*/ 27 h 42"/>
                <a:gd name="T20" fmla="*/ 27 w 62"/>
                <a:gd name="T21" fmla="*/ 0 h 42"/>
                <a:gd name="T22" fmla="*/ 35 w 62"/>
                <a:gd name="T23" fmla="*/ 0 h 42"/>
                <a:gd name="T24" fmla="*/ 43 w 62"/>
                <a:gd name="T25" fmla="*/ 27 h 42"/>
                <a:gd name="T26" fmla="*/ 44 w 62"/>
                <a:gd name="T27" fmla="*/ 27 h 42"/>
                <a:gd name="T28" fmla="*/ 52 w 62"/>
                <a:gd name="T29" fmla="*/ 0 h 42"/>
                <a:gd name="T30" fmla="*/ 62 w 62"/>
                <a:gd name="T31" fmla="*/ 0 h 42"/>
                <a:gd name="T32" fmla="*/ 50 w 62"/>
                <a:gd name="T33" fmla="*/ 3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 h="42">
                  <a:moveTo>
                    <a:pt x="50" y="33"/>
                  </a:moveTo>
                  <a:cubicBezTo>
                    <a:pt x="47" y="42"/>
                    <a:pt x="39" y="40"/>
                    <a:pt x="39" y="40"/>
                  </a:cubicBezTo>
                  <a:cubicBezTo>
                    <a:pt x="31" y="13"/>
                    <a:pt x="31" y="13"/>
                    <a:pt x="31" y="13"/>
                  </a:cubicBezTo>
                  <a:cubicBezTo>
                    <a:pt x="30" y="13"/>
                    <a:pt x="30" y="13"/>
                    <a:pt x="30" y="13"/>
                  </a:cubicBezTo>
                  <a:cubicBezTo>
                    <a:pt x="30" y="13"/>
                    <a:pt x="26" y="26"/>
                    <a:pt x="24" y="33"/>
                  </a:cubicBezTo>
                  <a:cubicBezTo>
                    <a:pt x="21" y="42"/>
                    <a:pt x="14" y="40"/>
                    <a:pt x="14" y="40"/>
                  </a:cubicBezTo>
                  <a:cubicBezTo>
                    <a:pt x="0" y="0"/>
                    <a:pt x="0" y="0"/>
                    <a:pt x="0" y="0"/>
                  </a:cubicBezTo>
                  <a:cubicBezTo>
                    <a:pt x="10" y="0"/>
                    <a:pt x="10" y="0"/>
                    <a:pt x="10" y="0"/>
                  </a:cubicBezTo>
                  <a:cubicBezTo>
                    <a:pt x="18" y="27"/>
                    <a:pt x="18" y="27"/>
                    <a:pt x="18" y="27"/>
                  </a:cubicBezTo>
                  <a:cubicBezTo>
                    <a:pt x="18" y="27"/>
                    <a:pt x="18" y="27"/>
                    <a:pt x="18" y="27"/>
                  </a:cubicBezTo>
                  <a:cubicBezTo>
                    <a:pt x="27" y="0"/>
                    <a:pt x="27" y="0"/>
                    <a:pt x="27" y="0"/>
                  </a:cubicBezTo>
                  <a:cubicBezTo>
                    <a:pt x="35" y="0"/>
                    <a:pt x="35" y="0"/>
                    <a:pt x="35" y="0"/>
                  </a:cubicBezTo>
                  <a:cubicBezTo>
                    <a:pt x="43" y="27"/>
                    <a:pt x="43" y="27"/>
                    <a:pt x="43" y="27"/>
                  </a:cubicBezTo>
                  <a:cubicBezTo>
                    <a:pt x="44" y="27"/>
                    <a:pt x="44" y="27"/>
                    <a:pt x="44" y="27"/>
                  </a:cubicBezTo>
                  <a:cubicBezTo>
                    <a:pt x="52" y="0"/>
                    <a:pt x="52" y="0"/>
                    <a:pt x="52" y="0"/>
                  </a:cubicBezTo>
                  <a:cubicBezTo>
                    <a:pt x="62" y="0"/>
                    <a:pt x="62" y="0"/>
                    <a:pt x="62" y="0"/>
                  </a:cubicBezTo>
                  <a:cubicBezTo>
                    <a:pt x="62" y="0"/>
                    <a:pt x="52" y="26"/>
                    <a:pt x="5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78"/>
            <p:cNvSpPr>
              <a:spLocks noEditPoints="1"/>
            </p:cNvSpPr>
            <p:nvPr/>
          </p:nvSpPr>
          <p:spPr bwMode="auto">
            <a:xfrm>
              <a:off x="8445631" y="4383257"/>
              <a:ext cx="65239" cy="93677"/>
            </a:xfrm>
            <a:custGeom>
              <a:avLst/>
              <a:gdLst>
                <a:gd name="T0" fmla="*/ 0 w 39"/>
                <a:gd name="T1" fmla="*/ 0 h 59"/>
                <a:gd name="T2" fmla="*/ 0 w 39"/>
                <a:gd name="T3" fmla="*/ 59 h 59"/>
                <a:gd name="T4" fmla="*/ 18 w 39"/>
                <a:gd name="T5" fmla="*/ 59 h 59"/>
                <a:gd name="T6" fmla="*/ 39 w 39"/>
                <a:gd name="T7" fmla="*/ 42 h 59"/>
                <a:gd name="T8" fmla="*/ 29 w 39"/>
                <a:gd name="T9" fmla="*/ 28 h 59"/>
                <a:gd name="T10" fmla="*/ 28 w 39"/>
                <a:gd name="T11" fmla="*/ 27 h 59"/>
                <a:gd name="T12" fmla="*/ 29 w 39"/>
                <a:gd name="T13" fmla="*/ 27 h 59"/>
                <a:gd name="T14" fmla="*/ 35 w 39"/>
                <a:gd name="T15" fmla="*/ 15 h 59"/>
                <a:gd name="T16" fmla="*/ 19 w 39"/>
                <a:gd name="T17" fmla="*/ 0 h 59"/>
                <a:gd name="T18" fmla="*/ 0 w 39"/>
                <a:gd name="T19" fmla="*/ 0 h 59"/>
                <a:gd name="T20" fmla="*/ 10 w 39"/>
                <a:gd name="T21" fmla="*/ 8 h 59"/>
                <a:gd name="T22" fmla="*/ 16 w 39"/>
                <a:gd name="T23" fmla="*/ 8 h 59"/>
                <a:gd name="T24" fmla="*/ 25 w 39"/>
                <a:gd name="T25" fmla="*/ 16 h 59"/>
                <a:gd name="T26" fmla="*/ 17 w 39"/>
                <a:gd name="T27" fmla="*/ 25 h 59"/>
                <a:gd name="T28" fmla="*/ 10 w 39"/>
                <a:gd name="T29" fmla="*/ 25 h 59"/>
                <a:gd name="T30" fmla="*/ 10 w 39"/>
                <a:gd name="T31" fmla="*/ 8 h 59"/>
                <a:gd name="T32" fmla="*/ 10 w 39"/>
                <a:gd name="T33" fmla="*/ 33 h 59"/>
                <a:gd name="T34" fmla="*/ 18 w 39"/>
                <a:gd name="T35" fmla="*/ 33 h 59"/>
                <a:gd name="T36" fmla="*/ 29 w 39"/>
                <a:gd name="T37" fmla="*/ 42 h 59"/>
                <a:gd name="T38" fmla="*/ 17 w 39"/>
                <a:gd name="T39" fmla="*/ 51 h 59"/>
                <a:gd name="T40" fmla="*/ 10 w 39"/>
                <a:gd name="T41" fmla="*/ 51 h 59"/>
                <a:gd name="T42" fmla="*/ 10 w 39"/>
                <a:gd name="T43"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9">
                  <a:moveTo>
                    <a:pt x="0" y="0"/>
                  </a:moveTo>
                  <a:cubicBezTo>
                    <a:pt x="0" y="1"/>
                    <a:pt x="0" y="59"/>
                    <a:pt x="0" y="59"/>
                  </a:cubicBezTo>
                  <a:cubicBezTo>
                    <a:pt x="1" y="59"/>
                    <a:pt x="18" y="59"/>
                    <a:pt x="18" y="59"/>
                  </a:cubicBezTo>
                  <a:cubicBezTo>
                    <a:pt x="33" y="59"/>
                    <a:pt x="39" y="51"/>
                    <a:pt x="39" y="42"/>
                  </a:cubicBezTo>
                  <a:cubicBezTo>
                    <a:pt x="39" y="35"/>
                    <a:pt x="36" y="29"/>
                    <a:pt x="29" y="28"/>
                  </a:cubicBezTo>
                  <a:cubicBezTo>
                    <a:pt x="28" y="27"/>
                    <a:pt x="28" y="27"/>
                    <a:pt x="28" y="27"/>
                  </a:cubicBezTo>
                  <a:cubicBezTo>
                    <a:pt x="29" y="27"/>
                    <a:pt x="29" y="27"/>
                    <a:pt x="29" y="27"/>
                  </a:cubicBezTo>
                  <a:cubicBezTo>
                    <a:pt x="33" y="24"/>
                    <a:pt x="35" y="20"/>
                    <a:pt x="35" y="15"/>
                  </a:cubicBezTo>
                  <a:cubicBezTo>
                    <a:pt x="35" y="8"/>
                    <a:pt x="30" y="0"/>
                    <a:pt x="19" y="0"/>
                  </a:cubicBezTo>
                  <a:cubicBezTo>
                    <a:pt x="19" y="0"/>
                    <a:pt x="1" y="0"/>
                    <a:pt x="0" y="0"/>
                  </a:cubicBezTo>
                  <a:close/>
                  <a:moveTo>
                    <a:pt x="10" y="8"/>
                  </a:moveTo>
                  <a:cubicBezTo>
                    <a:pt x="16" y="8"/>
                    <a:pt x="16" y="8"/>
                    <a:pt x="16" y="8"/>
                  </a:cubicBezTo>
                  <a:cubicBezTo>
                    <a:pt x="22" y="8"/>
                    <a:pt x="25" y="11"/>
                    <a:pt x="25" y="16"/>
                  </a:cubicBezTo>
                  <a:cubicBezTo>
                    <a:pt x="25" y="21"/>
                    <a:pt x="21" y="25"/>
                    <a:pt x="17" y="25"/>
                  </a:cubicBezTo>
                  <a:cubicBezTo>
                    <a:pt x="10" y="25"/>
                    <a:pt x="10" y="25"/>
                    <a:pt x="10" y="25"/>
                  </a:cubicBezTo>
                  <a:lnTo>
                    <a:pt x="10" y="8"/>
                  </a:lnTo>
                  <a:close/>
                  <a:moveTo>
                    <a:pt x="10" y="33"/>
                  </a:moveTo>
                  <a:cubicBezTo>
                    <a:pt x="18" y="33"/>
                    <a:pt x="18" y="33"/>
                    <a:pt x="18" y="33"/>
                  </a:cubicBezTo>
                  <a:cubicBezTo>
                    <a:pt x="25" y="33"/>
                    <a:pt x="29" y="37"/>
                    <a:pt x="29" y="42"/>
                  </a:cubicBezTo>
                  <a:cubicBezTo>
                    <a:pt x="29" y="48"/>
                    <a:pt x="25" y="51"/>
                    <a:pt x="17" y="51"/>
                  </a:cubicBezTo>
                  <a:cubicBezTo>
                    <a:pt x="10" y="51"/>
                    <a:pt x="10" y="51"/>
                    <a:pt x="10" y="51"/>
                  </a:cubicBezTo>
                  <a:lnTo>
                    <a:pt x="1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79"/>
            <p:cNvSpPr>
              <a:spLocks noEditPoints="1"/>
            </p:cNvSpPr>
            <p:nvPr/>
          </p:nvSpPr>
          <p:spPr bwMode="auto">
            <a:xfrm>
              <a:off x="8567631" y="4413518"/>
              <a:ext cx="66888" cy="64973"/>
            </a:xfrm>
            <a:custGeom>
              <a:avLst/>
              <a:gdLst>
                <a:gd name="T0" fmla="*/ 34 w 40"/>
                <a:gd name="T1" fmla="*/ 36 h 41"/>
                <a:gd name="T2" fmla="*/ 20 w 40"/>
                <a:gd name="T3" fmla="*/ 41 h 41"/>
                <a:gd name="T4" fmla="*/ 7 w 40"/>
                <a:gd name="T5" fmla="*/ 36 h 41"/>
                <a:gd name="T6" fmla="*/ 0 w 40"/>
                <a:gd name="T7" fmla="*/ 21 h 41"/>
                <a:gd name="T8" fmla="*/ 6 w 40"/>
                <a:gd name="T9" fmla="*/ 6 h 41"/>
                <a:gd name="T10" fmla="*/ 20 w 40"/>
                <a:gd name="T11" fmla="*/ 0 h 41"/>
                <a:gd name="T12" fmla="*/ 35 w 40"/>
                <a:gd name="T13" fmla="*/ 6 h 41"/>
                <a:gd name="T14" fmla="*/ 40 w 40"/>
                <a:gd name="T15" fmla="*/ 20 h 41"/>
                <a:gd name="T16" fmla="*/ 34 w 40"/>
                <a:gd name="T17" fmla="*/ 36 h 41"/>
                <a:gd name="T18" fmla="*/ 20 w 40"/>
                <a:gd name="T19" fmla="*/ 8 h 41"/>
                <a:gd name="T20" fmla="*/ 11 w 40"/>
                <a:gd name="T21" fmla="*/ 21 h 41"/>
                <a:gd name="T22" fmla="*/ 20 w 40"/>
                <a:gd name="T23" fmla="*/ 33 h 41"/>
                <a:gd name="T24" fmla="*/ 30 w 40"/>
                <a:gd name="T25" fmla="*/ 21 h 41"/>
                <a:gd name="T26" fmla="*/ 20 w 40"/>
                <a:gd name="T27" fmla="*/ 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4" y="36"/>
                  </a:moveTo>
                  <a:cubicBezTo>
                    <a:pt x="31" y="39"/>
                    <a:pt x="26" y="41"/>
                    <a:pt x="20" y="41"/>
                  </a:cubicBezTo>
                  <a:cubicBezTo>
                    <a:pt x="15" y="41"/>
                    <a:pt x="10" y="39"/>
                    <a:pt x="7" y="36"/>
                  </a:cubicBezTo>
                  <a:cubicBezTo>
                    <a:pt x="3" y="33"/>
                    <a:pt x="0" y="27"/>
                    <a:pt x="0" y="21"/>
                  </a:cubicBezTo>
                  <a:cubicBezTo>
                    <a:pt x="0" y="15"/>
                    <a:pt x="2" y="9"/>
                    <a:pt x="6" y="6"/>
                  </a:cubicBezTo>
                  <a:cubicBezTo>
                    <a:pt x="10" y="2"/>
                    <a:pt x="14" y="0"/>
                    <a:pt x="20" y="0"/>
                  </a:cubicBezTo>
                  <a:cubicBezTo>
                    <a:pt x="26" y="0"/>
                    <a:pt x="31" y="2"/>
                    <a:pt x="35" y="6"/>
                  </a:cubicBezTo>
                  <a:cubicBezTo>
                    <a:pt x="38" y="9"/>
                    <a:pt x="40" y="14"/>
                    <a:pt x="40" y="20"/>
                  </a:cubicBezTo>
                  <a:cubicBezTo>
                    <a:pt x="40" y="26"/>
                    <a:pt x="38" y="32"/>
                    <a:pt x="34" y="36"/>
                  </a:cubicBezTo>
                  <a:close/>
                  <a:moveTo>
                    <a:pt x="20" y="8"/>
                  </a:moveTo>
                  <a:cubicBezTo>
                    <a:pt x="14" y="8"/>
                    <a:pt x="11" y="13"/>
                    <a:pt x="11" y="21"/>
                  </a:cubicBezTo>
                  <a:cubicBezTo>
                    <a:pt x="11" y="28"/>
                    <a:pt x="14" y="33"/>
                    <a:pt x="20" y="33"/>
                  </a:cubicBezTo>
                  <a:cubicBezTo>
                    <a:pt x="27" y="33"/>
                    <a:pt x="30" y="28"/>
                    <a:pt x="30" y="21"/>
                  </a:cubicBezTo>
                  <a:cubicBezTo>
                    <a:pt x="30" y="13"/>
                    <a:pt x="26" y="8"/>
                    <a:pt x="2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80"/>
            <p:cNvSpPr>
              <a:spLocks/>
            </p:cNvSpPr>
            <p:nvPr/>
          </p:nvSpPr>
          <p:spPr bwMode="auto">
            <a:xfrm>
              <a:off x="8751573" y="4413518"/>
              <a:ext cx="58409" cy="64973"/>
            </a:xfrm>
            <a:custGeom>
              <a:avLst/>
              <a:gdLst>
                <a:gd name="T0" fmla="*/ 25 w 35"/>
                <a:gd name="T1" fmla="*/ 41 h 41"/>
                <a:gd name="T2" fmla="*/ 25 w 35"/>
                <a:gd name="T3" fmla="*/ 17 h 41"/>
                <a:gd name="T4" fmla="*/ 20 w 35"/>
                <a:gd name="T5" fmla="*/ 9 h 41"/>
                <a:gd name="T6" fmla="*/ 10 w 35"/>
                <a:gd name="T7" fmla="*/ 13 h 41"/>
                <a:gd name="T8" fmla="*/ 10 w 35"/>
                <a:gd name="T9" fmla="*/ 34 h 41"/>
                <a:gd name="T10" fmla="*/ 0 w 35"/>
                <a:gd name="T11" fmla="*/ 41 h 41"/>
                <a:gd name="T12" fmla="*/ 0 w 35"/>
                <a:gd name="T13" fmla="*/ 1 h 41"/>
                <a:gd name="T14" fmla="*/ 8 w 35"/>
                <a:gd name="T15" fmla="*/ 1 h 41"/>
                <a:gd name="T16" fmla="*/ 9 w 35"/>
                <a:gd name="T17" fmla="*/ 5 h 41"/>
                <a:gd name="T18" fmla="*/ 23 w 35"/>
                <a:gd name="T19" fmla="*/ 0 h 41"/>
                <a:gd name="T20" fmla="*/ 35 w 35"/>
                <a:gd name="T21" fmla="*/ 14 h 41"/>
                <a:gd name="T22" fmla="*/ 35 w 35"/>
                <a:gd name="T23" fmla="*/ 34 h 41"/>
                <a:gd name="T24" fmla="*/ 25 w 35"/>
                <a:gd name="T25"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41">
                  <a:moveTo>
                    <a:pt x="25" y="41"/>
                  </a:moveTo>
                  <a:cubicBezTo>
                    <a:pt x="25" y="17"/>
                    <a:pt x="25" y="17"/>
                    <a:pt x="25" y="17"/>
                  </a:cubicBezTo>
                  <a:cubicBezTo>
                    <a:pt x="25" y="13"/>
                    <a:pt x="25" y="9"/>
                    <a:pt x="20" y="9"/>
                  </a:cubicBezTo>
                  <a:cubicBezTo>
                    <a:pt x="16" y="9"/>
                    <a:pt x="13" y="10"/>
                    <a:pt x="10" y="13"/>
                  </a:cubicBezTo>
                  <a:cubicBezTo>
                    <a:pt x="10" y="13"/>
                    <a:pt x="10" y="26"/>
                    <a:pt x="10" y="34"/>
                  </a:cubicBezTo>
                  <a:cubicBezTo>
                    <a:pt x="10" y="41"/>
                    <a:pt x="0" y="41"/>
                    <a:pt x="0" y="41"/>
                  </a:cubicBezTo>
                  <a:cubicBezTo>
                    <a:pt x="0" y="1"/>
                    <a:pt x="0" y="1"/>
                    <a:pt x="0" y="1"/>
                  </a:cubicBezTo>
                  <a:cubicBezTo>
                    <a:pt x="8" y="1"/>
                    <a:pt x="8" y="1"/>
                    <a:pt x="8" y="1"/>
                  </a:cubicBezTo>
                  <a:cubicBezTo>
                    <a:pt x="9" y="5"/>
                    <a:pt x="9" y="5"/>
                    <a:pt x="9" y="5"/>
                  </a:cubicBezTo>
                  <a:cubicBezTo>
                    <a:pt x="13" y="2"/>
                    <a:pt x="18" y="0"/>
                    <a:pt x="23" y="0"/>
                  </a:cubicBezTo>
                  <a:cubicBezTo>
                    <a:pt x="29" y="0"/>
                    <a:pt x="35" y="3"/>
                    <a:pt x="35" y="14"/>
                  </a:cubicBezTo>
                  <a:cubicBezTo>
                    <a:pt x="35" y="14"/>
                    <a:pt x="35" y="26"/>
                    <a:pt x="35" y="34"/>
                  </a:cubicBezTo>
                  <a:cubicBezTo>
                    <a:pt x="35" y="41"/>
                    <a:pt x="25" y="41"/>
                    <a:pt x="2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81"/>
            <p:cNvSpPr>
              <a:spLocks/>
            </p:cNvSpPr>
            <p:nvPr/>
          </p:nvSpPr>
          <p:spPr bwMode="auto">
            <a:xfrm>
              <a:off x="8522411" y="4413518"/>
              <a:ext cx="43571" cy="64973"/>
            </a:xfrm>
            <a:custGeom>
              <a:avLst/>
              <a:gdLst>
                <a:gd name="T0" fmla="*/ 23 w 26"/>
                <a:gd name="T1" fmla="*/ 10 h 41"/>
                <a:gd name="T2" fmla="*/ 18 w 26"/>
                <a:gd name="T3" fmla="*/ 9 h 41"/>
                <a:gd name="T4" fmla="*/ 11 w 26"/>
                <a:gd name="T5" fmla="*/ 12 h 41"/>
                <a:gd name="T6" fmla="*/ 11 w 26"/>
                <a:gd name="T7" fmla="*/ 34 h 41"/>
                <a:gd name="T8" fmla="*/ 0 w 26"/>
                <a:gd name="T9" fmla="*/ 41 h 41"/>
                <a:gd name="T10" fmla="*/ 0 w 26"/>
                <a:gd name="T11" fmla="*/ 1 h 41"/>
                <a:gd name="T12" fmla="*/ 9 w 26"/>
                <a:gd name="T13" fmla="*/ 1 h 41"/>
                <a:gd name="T14" fmla="*/ 10 w 26"/>
                <a:gd name="T15" fmla="*/ 5 h 41"/>
                <a:gd name="T16" fmla="*/ 21 w 26"/>
                <a:gd name="T17" fmla="*/ 0 h 41"/>
                <a:gd name="T18" fmla="*/ 26 w 26"/>
                <a:gd name="T19" fmla="*/ 2 h 41"/>
                <a:gd name="T20" fmla="*/ 23 w 26"/>
                <a:gd name="T21" fmla="*/ 1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41">
                  <a:moveTo>
                    <a:pt x="23" y="10"/>
                  </a:moveTo>
                  <a:cubicBezTo>
                    <a:pt x="21" y="9"/>
                    <a:pt x="19" y="9"/>
                    <a:pt x="18" y="9"/>
                  </a:cubicBezTo>
                  <a:cubicBezTo>
                    <a:pt x="16" y="9"/>
                    <a:pt x="13" y="10"/>
                    <a:pt x="11" y="12"/>
                  </a:cubicBezTo>
                  <a:cubicBezTo>
                    <a:pt x="11" y="12"/>
                    <a:pt x="11" y="26"/>
                    <a:pt x="11" y="34"/>
                  </a:cubicBezTo>
                  <a:cubicBezTo>
                    <a:pt x="11" y="41"/>
                    <a:pt x="0" y="41"/>
                    <a:pt x="0" y="41"/>
                  </a:cubicBezTo>
                  <a:cubicBezTo>
                    <a:pt x="0" y="1"/>
                    <a:pt x="0" y="1"/>
                    <a:pt x="0" y="1"/>
                  </a:cubicBezTo>
                  <a:cubicBezTo>
                    <a:pt x="9" y="1"/>
                    <a:pt x="9" y="1"/>
                    <a:pt x="9" y="1"/>
                  </a:cubicBezTo>
                  <a:cubicBezTo>
                    <a:pt x="10" y="5"/>
                    <a:pt x="10" y="5"/>
                    <a:pt x="10" y="5"/>
                  </a:cubicBezTo>
                  <a:cubicBezTo>
                    <a:pt x="14" y="2"/>
                    <a:pt x="17" y="0"/>
                    <a:pt x="21" y="0"/>
                  </a:cubicBezTo>
                  <a:cubicBezTo>
                    <a:pt x="23" y="0"/>
                    <a:pt x="25" y="1"/>
                    <a:pt x="26" y="2"/>
                  </a:cubicBezTo>
                  <a:lnTo>
                    <a:pt x="23"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82"/>
            <p:cNvSpPr>
              <a:spLocks/>
            </p:cNvSpPr>
            <p:nvPr/>
          </p:nvSpPr>
          <p:spPr bwMode="auto">
            <a:xfrm>
              <a:off x="7787114" y="4354553"/>
              <a:ext cx="101745" cy="147747"/>
            </a:xfrm>
            <a:custGeom>
              <a:avLst/>
              <a:gdLst>
                <a:gd name="T0" fmla="*/ 0 w 61"/>
                <a:gd name="T1" fmla="*/ 11 h 93"/>
                <a:gd name="T2" fmla="*/ 1 w 61"/>
                <a:gd name="T3" fmla="*/ 10 h 93"/>
                <a:gd name="T4" fmla="*/ 31 w 61"/>
                <a:gd name="T5" fmla="*/ 9 h 93"/>
                <a:gd name="T6" fmla="*/ 37 w 61"/>
                <a:gd name="T7" fmla="*/ 24 h 93"/>
                <a:gd name="T8" fmla="*/ 52 w 61"/>
                <a:gd name="T9" fmla="*/ 30 h 93"/>
                <a:gd name="T10" fmla="*/ 51 w 61"/>
                <a:gd name="T11" fmla="*/ 60 h 93"/>
                <a:gd name="T12" fmla="*/ 18 w 61"/>
                <a:gd name="T13" fmla="*/ 93 h 93"/>
                <a:gd name="T14" fmla="*/ 8 w 61"/>
                <a:gd name="T15" fmla="*/ 83 h 93"/>
                <a:gd name="T16" fmla="*/ 41 w 61"/>
                <a:gd name="T17" fmla="*/ 50 h 93"/>
                <a:gd name="T18" fmla="*/ 42 w 61"/>
                <a:gd name="T19" fmla="*/ 39 h 93"/>
                <a:gd name="T20" fmla="*/ 31 w 61"/>
                <a:gd name="T21" fmla="*/ 40 h 93"/>
                <a:gd name="T22" fmla="*/ 0 w 61"/>
                <a:gd name="T23" fmla="*/ 70 h 93"/>
                <a:gd name="T24" fmla="*/ 0 w 61"/>
                <a:gd name="T25" fmla="*/ 50 h 93"/>
                <a:gd name="T26" fmla="*/ 21 w 61"/>
                <a:gd name="T27" fmla="*/ 30 h 93"/>
                <a:gd name="T28" fmla="*/ 22 w 61"/>
                <a:gd name="T29" fmla="*/ 19 h 93"/>
                <a:gd name="T30" fmla="*/ 11 w 61"/>
                <a:gd name="T31" fmla="*/ 20 h 93"/>
                <a:gd name="T32" fmla="*/ 0 w 61"/>
                <a:gd name="T33" fmla="*/ 30 h 93"/>
                <a:gd name="T34" fmla="*/ 0 w 61"/>
                <a:gd name="T35" fmla="*/ 1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 h="93">
                  <a:moveTo>
                    <a:pt x="0" y="11"/>
                  </a:moveTo>
                  <a:cubicBezTo>
                    <a:pt x="1" y="10"/>
                    <a:pt x="1" y="10"/>
                    <a:pt x="1" y="10"/>
                  </a:cubicBezTo>
                  <a:cubicBezTo>
                    <a:pt x="11" y="0"/>
                    <a:pt x="23" y="1"/>
                    <a:pt x="31" y="9"/>
                  </a:cubicBezTo>
                  <a:cubicBezTo>
                    <a:pt x="37" y="15"/>
                    <a:pt x="37" y="21"/>
                    <a:pt x="37" y="24"/>
                  </a:cubicBezTo>
                  <a:cubicBezTo>
                    <a:pt x="40" y="24"/>
                    <a:pt x="46" y="24"/>
                    <a:pt x="52" y="30"/>
                  </a:cubicBezTo>
                  <a:cubicBezTo>
                    <a:pt x="60" y="38"/>
                    <a:pt x="61" y="50"/>
                    <a:pt x="51" y="60"/>
                  </a:cubicBezTo>
                  <a:cubicBezTo>
                    <a:pt x="18" y="93"/>
                    <a:pt x="18" y="93"/>
                    <a:pt x="18" y="93"/>
                  </a:cubicBezTo>
                  <a:cubicBezTo>
                    <a:pt x="8" y="83"/>
                    <a:pt x="8" y="83"/>
                    <a:pt x="8" y="83"/>
                  </a:cubicBezTo>
                  <a:cubicBezTo>
                    <a:pt x="41" y="50"/>
                    <a:pt x="41" y="50"/>
                    <a:pt x="41" y="50"/>
                  </a:cubicBezTo>
                  <a:cubicBezTo>
                    <a:pt x="45" y="46"/>
                    <a:pt x="44" y="42"/>
                    <a:pt x="42" y="39"/>
                  </a:cubicBezTo>
                  <a:cubicBezTo>
                    <a:pt x="39" y="37"/>
                    <a:pt x="35" y="36"/>
                    <a:pt x="31" y="40"/>
                  </a:cubicBezTo>
                  <a:cubicBezTo>
                    <a:pt x="0" y="70"/>
                    <a:pt x="0" y="70"/>
                    <a:pt x="0" y="70"/>
                  </a:cubicBezTo>
                  <a:cubicBezTo>
                    <a:pt x="0" y="50"/>
                    <a:pt x="0" y="50"/>
                    <a:pt x="0" y="50"/>
                  </a:cubicBezTo>
                  <a:cubicBezTo>
                    <a:pt x="21" y="30"/>
                    <a:pt x="21" y="30"/>
                    <a:pt x="21" y="30"/>
                  </a:cubicBezTo>
                  <a:cubicBezTo>
                    <a:pt x="25" y="26"/>
                    <a:pt x="24" y="22"/>
                    <a:pt x="22" y="19"/>
                  </a:cubicBezTo>
                  <a:cubicBezTo>
                    <a:pt x="19" y="17"/>
                    <a:pt x="15" y="16"/>
                    <a:pt x="11" y="20"/>
                  </a:cubicBezTo>
                  <a:cubicBezTo>
                    <a:pt x="0" y="30"/>
                    <a:pt x="0" y="30"/>
                    <a:pt x="0" y="30"/>
                  </a:cubicBezTo>
                  <a:lnTo>
                    <a:pt x="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 name="Freeform 83"/>
            <p:cNvSpPr>
              <a:spLocks/>
            </p:cNvSpPr>
            <p:nvPr/>
          </p:nvSpPr>
          <p:spPr bwMode="auto">
            <a:xfrm>
              <a:off x="7686782" y="4354553"/>
              <a:ext cx="100332" cy="147747"/>
            </a:xfrm>
            <a:custGeom>
              <a:avLst/>
              <a:gdLst>
                <a:gd name="T0" fmla="*/ 60 w 60"/>
                <a:gd name="T1" fmla="*/ 11 h 93"/>
                <a:gd name="T2" fmla="*/ 60 w 60"/>
                <a:gd name="T3" fmla="*/ 10 h 93"/>
                <a:gd name="T4" fmla="*/ 30 w 60"/>
                <a:gd name="T5" fmla="*/ 9 h 93"/>
                <a:gd name="T6" fmla="*/ 24 w 60"/>
                <a:gd name="T7" fmla="*/ 24 h 93"/>
                <a:gd name="T8" fmla="*/ 9 w 60"/>
                <a:gd name="T9" fmla="*/ 30 h 93"/>
                <a:gd name="T10" fmla="*/ 10 w 60"/>
                <a:gd name="T11" fmla="*/ 60 h 93"/>
                <a:gd name="T12" fmla="*/ 43 w 60"/>
                <a:gd name="T13" fmla="*/ 93 h 93"/>
                <a:gd name="T14" fmla="*/ 53 w 60"/>
                <a:gd name="T15" fmla="*/ 83 h 93"/>
                <a:gd name="T16" fmla="*/ 20 w 60"/>
                <a:gd name="T17" fmla="*/ 50 h 93"/>
                <a:gd name="T18" fmla="*/ 19 w 60"/>
                <a:gd name="T19" fmla="*/ 39 h 93"/>
                <a:gd name="T20" fmla="*/ 30 w 60"/>
                <a:gd name="T21" fmla="*/ 40 h 93"/>
                <a:gd name="T22" fmla="*/ 60 w 60"/>
                <a:gd name="T23" fmla="*/ 70 h 93"/>
                <a:gd name="T24" fmla="*/ 60 w 60"/>
                <a:gd name="T25" fmla="*/ 50 h 93"/>
                <a:gd name="T26" fmla="*/ 40 w 60"/>
                <a:gd name="T27" fmla="*/ 30 h 93"/>
                <a:gd name="T28" fmla="*/ 39 w 60"/>
                <a:gd name="T29" fmla="*/ 19 h 93"/>
                <a:gd name="T30" fmla="*/ 50 w 60"/>
                <a:gd name="T31" fmla="*/ 20 h 93"/>
                <a:gd name="T32" fmla="*/ 60 w 60"/>
                <a:gd name="T33" fmla="*/ 30 h 93"/>
                <a:gd name="T34" fmla="*/ 60 w 60"/>
                <a:gd name="T35" fmla="*/ 1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93">
                  <a:moveTo>
                    <a:pt x="60" y="11"/>
                  </a:moveTo>
                  <a:cubicBezTo>
                    <a:pt x="60" y="10"/>
                    <a:pt x="60" y="10"/>
                    <a:pt x="60" y="10"/>
                  </a:cubicBezTo>
                  <a:cubicBezTo>
                    <a:pt x="50" y="0"/>
                    <a:pt x="37" y="1"/>
                    <a:pt x="30" y="9"/>
                  </a:cubicBezTo>
                  <a:cubicBezTo>
                    <a:pt x="24" y="15"/>
                    <a:pt x="23" y="21"/>
                    <a:pt x="24" y="24"/>
                  </a:cubicBezTo>
                  <a:cubicBezTo>
                    <a:pt x="21" y="24"/>
                    <a:pt x="15" y="24"/>
                    <a:pt x="9" y="30"/>
                  </a:cubicBezTo>
                  <a:cubicBezTo>
                    <a:pt x="1" y="38"/>
                    <a:pt x="0" y="50"/>
                    <a:pt x="10" y="60"/>
                  </a:cubicBezTo>
                  <a:cubicBezTo>
                    <a:pt x="43" y="93"/>
                    <a:pt x="43" y="93"/>
                    <a:pt x="43" y="93"/>
                  </a:cubicBezTo>
                  <a:cubicBezTo>
                    <a:pt x="53" y="83"/>
                    <a:pt x="53" y="83"/>
                    <a:pt x="53" y="83"/>
                  </a:cubicBezTo>
                  <a:cubicBezTo>
                    <a:pt x="20" y="50"/>
                    <a:pt x="20" y="50"/>
                    <a:pt x="20" y="50"/>
                  </a:cubicBezTo>
                  <a:cubicBezTo>
                    <a:pt x="16" y="46"/>
                    <a:pt x="17" y="42"/>
                    <a:pt x="19" y="39"/>
                  </a:cubicBezTo>
                  <a:cubicBezTo>
                    <a:pt x="22" y="37"/>
                    <a:pt x="26" y="36"/>
                    <a:pt x="30" y="40"/>
                  </a:cubicBezTo>
                  <a:cubicBezTo>
                    <a:pt x="60" y="70"/>
                    <a:pt x="60" y="70"/>
                    <a:pt x="60" y="70"/>
                  </a:cubicBezTo>
                  <a:cubicBezTo>
                    <a:pt x="60" y="50"/>
                    <a:pt x="60" y="50"/>
                    <a:pt x="60" y="50"/>
                  </a:cubicBezTo>
                  <a:cubicBezTo>
                    <a:pt x="40" y="30"/>
                    <a:pt x="40" y="30"/>
                    <a:pt x="40" y="30"/>
                  </a:cubicBezTo>
                  <a:cubicBezTo>
                    <a:pt x="36" y="26"/>
                    <a:pt x="37" y="22"/>
                    <a:pt x="39" y="19"/>
                  </a:cubicBezTo>
                  <a:cubicBezTo>
                    <a:pt x="42" y="17"/>
                    <a:pt x="46" y="16"/>
                    <a:pt x="50" y="20"/>
                  </a:cubicBezTo>
                  <a:cubicBezTo>
                    <a:pt x="60" y="30"/>
                    <a:pt x="60" y="30"/>
                    <a:pt x="60" y="30"/>
                  </a:cubicBezTo>
                  <a:lnTo>
                    <a:pt x="60" y="11"/>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85" name="Freeform 84"/>
            <p:cNvSpPr>
              <a:spLocks/>
            </p:cNvSpPr>
            <p:nvPr/>
          </p:nvSpPr>
          <p:spPr bwMode="auto">
            <a:xfrm>
              <a:off x="8141337" y="4415076"/>
              <a:ext cx="103629" cy="66531"/>
            </a:xfrm>
            <a:custGeom>
              <a:avLst/>
              <a:gdLst>
                <a:gd name="T0" fmla="*/ 50 w 62"/>
                <a:gd name="T1" fmla="*/ 33 h 42"/>
                <a:gd name="T2" fmla="*/ 40 w 62"/>
                <a:gd name="T3" fmla="*/ 40 h 42"/>
                <a:gd name="T4" fmla="*/ 31 w 62"/>
                <a:gd name="T5" fmla="*/ 13 h 42"/>
                <a:gd name="T6" fmla="*/ 30 w 62"/>
                <a:gd name="T7" fmla="*/ 13 h 42"/>
                <a:gd name="T8" fmla="*/ 24 w 62"/>
                <a:gd name="T9" fmla="*/ 33 h 42"/>
                <a:gd name="T10" fmla="*/ 14 w 62"/>
                <a:gd name="T11" fmla="*/ 40 h 42"/>
                <a:gd name="T12" fmla="*/ 0 w 62"/>
                <a:gd name="T13" fmla="*/ 0 h 42"/>
                <a:gd name="T14" fmla="*/ 10 w 62"/>
                <a:gd name="T15" fmla="*/ 0 h 42"/>
                <a:gd name="T16" fmla="*/ 18 w 62"/>
                <a:gd name="T17" fmla="*/ 27 h 42"/>
                <a:gd name="T18" fmla="*/ 18 w 62"/>
                <a:gd name="T19" fmla="*/ 27 h 42"/>
                <a:gd name="T20" fmla="*/ 27 w 62"/>
                <a:gd name="T21" fmla="*/ 0 h 42"/>
                <a:gd name="T22" fmla="*/ 35 w 62"/>
                <a:gd name="T23" fmla="*/ 0 h 42"/>
                <a:gd name="T24" fmla="*/ 44 w 62"/>
                <a:gd name="T25" fmla="*/ 27 h 42"/>
                <a:gd name="T26" fmla="*/ 44 w 62"/>
                <a:gd name="T27" fmla="*/ 27 h 42"/>
                <a:gd name="T28" fmla="*/ 52 w 62"/>
                <a:gd name="T29" fmla="*/ 0 h 42"/>
                <a:gd name="T30" fmla="*/ 62 w 62"/>
                <a:gd name="T31" fmla="*/ 0 h 42"/>
                <a:gd name="T32" fmla="*/ 50 w 62"/>
                <a:gd name="T33" fmla="*/ 3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 h="42">
                  <a:moveTo>
                    <a:pt x="50" y="33"/>
                  </a:moveTo>
                  <a:cubicBezTo>
                    <a:pt x="47" y="42"/>
                    <a:pt x="40" y="40"/>
                    <a:pt x="40" y="40"/>
                  </a:cubicBezTo>
                  <a:cubicBezTo>
                    <a:pt x="31" y="13"/>
                    <a:pt x="31" y="13"/>
                    <a:pt x="31" y="13"/>
                  </a:cubicBezTo>
                  <a:cubicBezTo>
                    <a:pt x="30" y="13"/>
                    <a:pt x="30" y="13"/>
                    <a:pt x="30" y="13"/>
                  </a:cubicBezTo>
                  <a:cubicBezTo>
                    <a:pt x="30" y="13"/>
                    <a:pt x="26" y="26"/>
                    <a:pt x="24" y="33"/>
                  </a:cubicBezTo>
                  <a:cubicBezTo>
                    <a:pt x="21" y="42"/>
                    <a:pt x="14" y="40"/>
                    <a:pt x="14" y="40"/>
                  </a:cubicBezTo>
                  <a:cubicBezTo>
                    <a:pt x="0" y="0"/>
                    <a:pt x="0" y="0"/>
                    <a:pt x="0" y="0"/>
                  </a:cubicBezTo>
                  <a:cubicBezTo>
                    <a:pt x="10" y="0"/>
                    <a:pt x="10" y="0"/>
                    <a:pt x="10" y="0"/>
                  </a:cubicBezTo>
                  <a:cubicBezTo>
                    <a:pt x="18" y="27"/>
                    <a:pt x="18" y="27"/>
                    <a:pt x="18" y="27"/>
                  </a:cubicBezTo>
                  <a:cubicBezTo>
                    <a:pt x="18" y="27"/>
                    <a:pt x="18" y="27"/>
                    <a:pt x="18" y="27"/>
                  </a:cubicBezTo>
                  <a:cubicBezTo>
                    <a:pt x="27" y="0"/>
                    <a:pt x="27" y="0"/>
                    <a:pt x="27" y="0"/>
                  </a:cubicBezTo>
                  <a:cubicBezTo>
                    <a:pt x="35" y="0"/>
                    <a:pt x="35" y="0"/>
                    <a:pt x="35" y="0"/>
                  </a:cubicBezTo>
                  <a:cubicBezTo>
                    <a:pt x="44" y="27"/>
                    <a:pt x="44" y="27"/>
                    <a:pt x="44" y="27"/>
                  </a:cubicBezTo>
                  <a:cubicBezTo>
                    <a:pt x="44" y="27"/>
                    <a:pt x="44" y="27"/>
                    <a:pt x="44" y="27"/>
                  </a:cubicBezTo>
                  <a:cubicBezTo>
                    <a:pt x="52" y="0"/>
                    <a:pt x="52" y="0"/>
                    <a:pt x="52" y="0"/>
                  </a:cubicBezTo>
                  <a:cubicBezTo>
                    <a:pt x="62" y="0"/>
                    <a:pt x="62" y="0"/>
                    <a:pt x="62" y="0"/>
                  </a:cubicBezTo>
                  <a:cubicBezTo>
                    <a:pt x="62" y="0"/>
                    <a:pt x="53" y="26"/>
                    <a:pt x="50" y="33"/>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13" name="Freeform 112"/>
            <p:cNvSpPr>
              <a:spLocks noEditPoints="1"/>
            </p:cNvSpPr>
            <p:nvPr/>
          </p:nvSpPr>
          <p:spPr bwMode="auto">
            <a:xfrm>
              <a:off x="8246615" y="4413518"/>
              <a:ext cx="58645" cy="64973"/>
            </a:xfrm>
            <a:custGeom>
              <a:avLst/>
              <a:gdLst>
                <a:gd name="T0" fmla="*/ 27 w 35"/>
                <a:gd name="T1" fmla="*/ 41 h 41"/>
                <a:gd name="T2" fmla="*/ 25 w 35"/>
                <a:gd name="T3" fmla="*/ 37 h 41"/>
                <a:gd name="T4" fmla="*/ 13 w 35"/>
                <a:gd name="T5" fmla="*/ 41 h 41"/>
                <a:gd name="T6" fmla="*/ 0 w 35"/>
                <a:gd name="T7" fmla="*/ 29 h 41"/>
                <a:gd name="T8" fmla="*/ 17 w 35"/>
                <a:gd name="T9" fmla="*/ 16 h 41"/>
                <a:gd name="T10" fmla="*/ 24 w 35"/>
                <a:gd name="T11" fmla="*/ 15 h 41"/>
                <a:gd name="T12" fmla="*/ 24 w 35"/>
                <a:gd name="T13" fmla="*/ 14 h 41"/>
                <a:gd name="T14" fmla="*/ 16 w 35"/>
                <a:gd name="T15" fmla="*/ 8 h 41"/>
                <a:gd name="T16" fmla="*/ 6 w 35"/>
                <a:gd name="T17" fmla="*/ 11 h 41"/>
                <a:gd name="T18" fmla="*/ 3 w 35"/>
                <a:gd name="T19" fmla="*/ 4 h 41"/>
                <a:gd name="T20" fmla="*/ 18 w 35"/>
                <a:gd name="T21" fmla="*/ 0 h 41"/>
                <a:gd name="T22" fmla="*/ 34 w 35"/>
                <a:gd name="T23" fmla="*/ 14 h 41"/>
                <a:gd name="T24" fmla="*/ 34 w 35"/>
                <a:gd name="T25" fmla="*/ 30 h 41"/>
                <a:gd name="T26" fmla="*/ 35 w 35"/>
                <a:gd name="T27" fmla="*/ 41 h 41"/>
                <a:gd name="T28" fmla="*/ 27 w 35"/>
                <a:gd name="T29" fmla="*/ 41 h 41"/>
                <a:gd name="T30" fmla="*/ 24 w 35"/>
                <a:gd name="T31" fmla="*/ 22 h 41"/>
                <a:gd name="T32" fmla="*/ 18 w 35"/>
                <a:gd name="T33" fmla="*/ 22 h 41"/>
                <a:gd name="T34" fmla="*/ 10 w 35"/>
                <a:gd name="T35" fmla="*/ 28 h 41"/>
                <a:gd name="T36" fmla="*/ 17 w 35"/>
                <a:gd name="T37" fmla="*/ 33 h 41"/>
                <a:gd name="T38" fmla="*/ 24 w 35"/>
                <a:gd name="T39" fmla="*/ 31 h 41"/>
                <a:gd name="T40" fmla="*/ 24 w 35"/>
                <a:gd name="T41" fmla="*/ 2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 h="41">
                  <a:moveTo>
                    <a:pt x="27" y="41"/>
                  </a:moveTo>
                  <a:cubicBezTo>
                    <a:pt x="25" y="37"/>
                    <a:pt x="25" y="37"/>
                    <a:pt x="25" y="37"/>
                  </a:cubicBezTo>
                  <a:cubicBezTo>
                    <a:pt x="22" y="39"/>
                    <a:pt x="18" y="41"/>
                    <a:pt x="13" y="41"/>
                  </a:cubicBezTo>
                  <a:cubicBezTo>
                    <a:pt x="6" y="41"/>
                    <a:pt x="0" y="36"/>
                    <a:pt x="0" y="29"/>
                  </a:cubicBezTo>
                  <a:cubicBezTo>
                    <a:pt x="0" y="20"/>
                    <a:pt x="7" y="16"/>
                    <a:pt x="17" y="16"/>
                  </a:cubicBezTo>
                  <a:cubicBezTo>
                    <a:pt x="24" y="15"/>
                    <a:pt x="24" y="15"/>
                    <a:pt x="24" y="15"/>
                  </a:cubicBezTo>
                  <a:cubicBezTo>
                    <a:pt x="24" y="15"/>
                    <a:pt x="24" y="15"/>
                    <a:pt x="24" y="14"/>
                  </a:cubicBezTo>
                  <a:cubicBezTo>
                    <a:pt x="24" y="10"/>
                    <a:pt x="21" y="8"/>
                    <a:pt x="16" y="8"/>
                  </a:cubicBezTo>
                  <a:cubicBezTo>
                    <a:pt x="12" y="8"/>
                    <a:pt x="9" y="9"/>
                    <a:pt x="6" y="11"/>
                  </a:cubicBezTo>
                  <a:cubicBezTo>
                    <a:pt x="3" y="4"/>
                    <a:pt x="3" y="4"/>
                    <a:pt x="3" y="4"/>
                  </a:cubicBezTo>
                  <a:cubicBezTo>
                    <a:pt x="8" y="1"/>
                    <a:pt x="13" y="0"/>
                    <a:pt x="18" y="0"/>
                  </a:cubicBezTo>
                  <a:cubicBezTo>
                    <a:pt x="28" y="0"/>
                    <a:pt x="34" y="4"/>
                    <a:pt x="34" y="14"/>
                  </a:cubicBezTo>
                  <a:cubicBezTo>
                    <a:pt x="34" y="30"/>
                    <a:pt x="34" y="30"/>
                    <a:pt x="34" y="30"/>
                  </a:cubicBezTo>
                  <a:cubicBezTo>
                    <a:pt x="34" y="36"/>
                    <a:pt x="34" y="39"/>
                    <a:pt x="35" y="41"/>
                  </a:cubicBezTo>
                  <a:lnTo>
                    <a:pt x="27" y="41"/>
                  </a:lnTo>
                  <a:close/>
                  <a:moveTo>
                    <a:pt x="24" y="22"/>
                  </a:moveTo>
                  <a:cubicBezTo>
                    <a:pt x="18" y="22"/>
                    <a:pt x="18" y="22"/>
                    <a:pt x="18" y="22"/>
                  </a:cubicBezTo>
                  <a:cubicBezTo>
                    <a:pt x="13" y="23"/>
                    <a:pt x="10" y="24"/>
                    <a:pt x="10" y="28"/>
                  </a:cubicBezTo>
                  <a:cubicBezTo>
                    <a:pt x="10" y="31"/>
                    <a:pt x="13" y="33"/>
                    <a:pt x="17" y="33"/>
                  </a:cubicBezTo>
                  <a:cubicBezTo>
                    <a:pt x="20" y="33"/>
                    <a:pt x="23" y="32"/>
                    <a:pt x="24" y="31"/>
                  </a:cubicBezTo>
                  <a:lnTo>
                    <a:pt x="24" y="22"/>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14" name="Freeform 113"/>
            <p:cNvSpPr>
              <a:spLocks noEditPoints="1"/>
            </p:cNvSpPr>
            <p:nvPr/>
          </p:nvSpPr>
          <p:spPr bwMode="auto">
            <a:xfrm>
              <a:off x="8363669" y="4383257"/>
              <a:ext cx="63591" cy="95234"/>
            </a:xfrm>
            <a:custGeom>
              <a:avLst/>
              <a:gdLst>
                <a:gd name="T0" fmla="*/ 22 w 38"/>
                <a:gd name="T1" fmla="*/ 60 h 60"/>
                <a:gd name="T2" fmla="*/ 0 w 38"/>
                <a:gd name="T3" fmla="*/ 40 h 60"/>
                <a:gd name="T4" fmla="*/ 22 w 38"/>
                <a:gd name="T5" fmla="*/ 19 h 60"/>
                <a:gd name="T6" fmla="*/ 27 w 38"/>
                <a:gd name="T7" fmla="*/ 19 h 60"/>
                <a:gd name="T8" fmla="*/ 28 w 38"/>
                <a:gd name="T9" fmla="*/ 0 h 60"/>
                <a:gd name="T10" fmla="*/ 38 w 38"/>
                <a:gd name="T11" fmla="*/ 0 h 60"/>
                <a:gd name="T12" fmla="*/ 37 w 38"/>
                <a:gd name="T13" fmla="*/ 57 h 60"/>
                <a:gd name="T14" fmla="*/ 22 w 38"/>
                <a:gd name="T15" fmla="*/ 60 h 60"/>
                <a:gd name="T16" fmla="*/ 27 w 38"/>
                <a:gd name="T17" fmla="*/ 27 h 60"/>
                <a:gd name="T18" fmla="*/ 23 w 38"/>
                <a:gd name="T19" fmla="*/ 27 h 60"/>
                <a:gd name="T20" fmla="*/ 10 w 38"/>
                <a:gd name="T21" fmla="*/ 39 h 60"/>
                <a:gd name="T22" fmla="*/ 23 w 38"/>
                <a:gd name="T23" fmla="*/ 52 h 60"/>
                <a:gd name="T24" fmla="*/ 27 w 38"/>
                <a:gd name="T25" fmla="*/ 51 h 60"/>
                <a:gd name="T26" fmla="*/ 27 w 38"/>
                <a:gd name="T27" fmla="*/ 2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60">
                  <a:moveTo>
                    <a:pt x="22" y="60"/>
                  </a:moveTo>
                  <a:cubicBezTo>
                    <a:pt x="10" y="60"/>
                    <a:pt x="0" y="53"/>
                    <a:pt x="0" y="40"/>
                  </a:cubicBezTo>
                  <a:cubicBezTo>
                    <a:pt x="0" y="28"/>
                    <a:pt x="9" y="19"/>
                    <a:pt x="22" y="19"/>
                  </a:cubicBezTo>
                  <a:cubicBezTo>
                    <a:pt x="24" y="19"/>
                    <a:pt x="26" y="19"/>
                    <a:pt x="27" y="19"/>
                  </a:cubicBezTo>
                  <a:cubicBezTo>
                    <a:pt x="28" y="0"/>
                    <a:pt x="28" y="0"/>
                    <a:pt x="28" y="0"/>
                  </a:cubicBezTo>
                  <a:cubicBezTo>
                    <a:pt x="38" y="0"/>
                    <a:pt x="38" y="0"/>
                    <a:pt x="38" y="0"/>
                  </a:cubicBezTo>
                  <a:cubicBezTo>
                    <a:pt x="37" y="57"/>
                    <a:pt x="37" y="57"/>
                    <a:pt x="37" y="57"/>
                  </a:cubicBezTo>
                  <a:cubicBezTo>
                    <a:pt x="34" y="59"/>
                    <a:pt x="29" y="60"/>
                    <a:pt x="22" y="60"/>
                  </a:cubicBezTo>
                  <a:close/>
                  <a:moveTo>
                    <a:pt x="27" y="27"/>
                  </a:moveTo>
                  <a:cubicBezTo>
                    <a:pt x="26" y="27"/>
                    <a:pt x="25" y="27"/>
                    <a:pt x="23" y="27"/>
                  </a:cubicBezTo>
                  <a:cubicBezTo>
                    <a:pt x="16" y="27"/>
                    <a:pt x="10" y="32"/>
                    <a:pt x="10" y="39"/>
                  </a:cubicBezTo>
                  <a:cubicBezTo>
                    <a:pt x="10" y="47"/>
                    <a:pt x="15" y="52"/>
                    <a:pt x="23" y="52"/>
                  </a:cubicBezTo>
                  <a:cubicBezTo>
                    <a:pt x="24" y="52"/>
                    <a:pt x="26" y="52"/>
                    <a:pt x="27" y="51"/>
                  </a:cubicBezTo>
                  <a:lnTo>
                    <a:pt x="27" y="2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15" name="Freeform 114"/>
            <p:cNvSpPr>
              <a:spLocks/>
            </p:cNvSpPr>
            <p:nvPr/>
          </p:nvSpPr>
          <p:spPr bwMode="auto">
            <a:xfrm>
              <a:off x="8114724" y="4383257"/>
              <a:ext cx="16722" cy="95234"/>
            </a:xfrm>
            <a:custGeom>
              <a:avLst/>
              <a:gdLst>
                <a:gd name="T0" fmla="*/ 10 w 10"/>
                <a:gd name="T1" fmla="*/ 53 h 60"/>
                <a:gd name="T2" fmla="*/ 0 w 10"/>
                <a:gd name="T3" fmla="*/ 60 h 60"/>
                <a:gd name="T4" fmla="*/ 0 w 10"/>
                <a:gd name="T5" fmla="*/ 0 h 60"/>
                <a:gd name="T6" fmla="*/ 10 w 10"/>
                <a:gd name="T7" fmla="*/ 0 h 60"/>
                <a:gd name="T8" fmla="*/ 10 w 10"/>
                <a:gd name="T9" fmla="*/ 53 h 60"/>
              </a:gdLst>
              <a:ahLst/>
              <a:cxnLst>
                <a:cxn ang="0">
                  <a:pos x="T0" y="T1"/>
                </a:cxn>
                <a:cxn ang="0">
                  <a:pos x="T2" y="T3"/>
                </a:cxn>
                <a:cxn ang="0">
                  <a:pos x="T4" y="T5"/>
                </a:cxn>
                <a:cxn ang="0">
                  <a:pos x="T6" y="T7"/>
                </a:cxn>
                <a:cxn ang="0">
                  <a:pos x="T8" y="T9"/>
                </a:cxn>
              </a:cxnLst>
              <a:rect l="0" t="0" r="r" b="b"/>
              <a:pathLst>
                <a:path w="10" h="60">
                  <a:moveTo>
                    <a:pt x="10" y="53"/>
                  </a:moveTo>
                  <a:cubicBezTo>
                    <a:pt x="10" y="60"/>
                    <a:pt x="0" y="60"/>
                    <a:pt x="0" y="60"/>
                  </a:cubicBezTo>
                  <a:cubicBezTo>
                    <a:pt x="0" y="0"/>
                    <a:pt x="0" y="0"/>
                    <a:pt x="0" y="0"/>
                  </a:cubicBezTo>
                  <a:cubicBezTo>
                    <a:pt x="10" y="0"/>
                    <a:pt x="10" y="0"/>
                    <a:pt x="10" y="0"/>
                  </a:cubicBezTo>
                  <a:cubicBezTo>
                    <a:pt x="10" y="0"/>
                    <a:pt x="10" y="45"/>
                    <a:pt x="10" y="53"/>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56" name="Freeform 155"/>
            <p:cNvSpPr>
              <a:spLocks/>
            </p:cNvSpPr>
            <p:nvPr/>
          </p:nvSpPr>
          <p:spPr bwMode="auto">
            <a:xfrm>
              <a:off x="8081279" y="4383257"/>
              <a:ext cx="16722" cy="95234"/>
            </a:xfrm>
            <a:custGeom>
              <a:avLst/>
              <a:gdLst>
                <a:gd name="T0" fmla="*/ 10 w 10"/>
                <a:gd name="T1" fmla="*/ 53 h 60"/>
                <a:gd name="T2" fmla="*/ 0 w 10"/>
                <a:gd name="T3" fmla="*/ 60 h 60"/>
                <a:gd name="T4" fmla="*/ 0 w 10"/>
                <a:gd name="T5" fmla="*/ 0 h 60"/>
                <a:gd name="T6" fmla="*/ 10 w 10"/>
                <a:gd name="T7" fmla="*/ 0 h 60"/>
                <a:gd name="T8" fmla="*/ 10 w 10"/>
                <a:gd name="T9" fmla="*/ 53 h 60"/>
              </a:gdLst>
              <a:ahLst/>
              <a:cxnLst>
                <a:cxn ang="0">
                  <a:pos x="T0" y="T1"/>
                </a:cxn>
                <a:cxn ang="0">
                  <a:pos x="T2" y="T3"/>
                </a:cxn>
                <a:cxn ang="0">
                  <a:pos x="T4" y="T5"/>
                </a:cxn>
                <a:cxn ang="0">
                  <a:pos x="T6" y="T7"/>
                </a:cxn>
                <a:cxn ang="0">
                  <a:pos x="T8" y="T9"/>
                </a:cxn>
              </a:cxnLst>
              <a:rect l="0" t="0" r="r" b="b"/>
              <a:pathLst>
                <a:path w="10" h="60">
                  <a:moveTo>
                    <a:pt x="10" y="53"/>
                  </a:moveTo>
                  <a:cubicBezTo>
                    <a:pt x="10" y="60"/>
                    <a:pt x="0" y="60"/>
                    <a:pt x="0" y="60"/>
                  </a:cubicBezTo>
                  <a:cubicBezTo>
                    <a:pt x="0" y="0"/>
                    <a:pt x="0" y="0"/>
                    <a:pt x="0" y="0"/>
                  </a:cubicBezTo>
                  <a:cubicBezTo>
                    <a:pt x="10" y="0"/>
                    <a:pt x="10" y="0"/>
                    <a:pt x="10" y="0"/>
                  </a:cubicBezTo>
                  <a:cubicBezTo>
                    <a:pt x="10" y="0"/>
                    <a:pt x="10" y="45"/>
                    <a:pt x="10" y="53"/>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57" name="Freeform 156"/>
            <p:cNvSpPr>
              <a:spLocks/>
            </p:cNvSpPr>
            <p:nvPr/>
          </p:nvSpPr>
          <p:spPr bwMode="auto">
            <a:xfrm>
              <a:off x="8318450" y="4413518"/>
              <a:ext cx="43571" cy="64973"/>
            </a:xfrm>
            <a:custGeom>
              <a:avLst/>
              <a:gdLst>
                <a:gd name="T0" fmla="*/ 22 w 26"/>
                <a:gd name="T1" fmla="*/ 10 h 41"/>
                <a:gd name="T2" fmla="*/ 18 w 26"/>
                <a:gd name="T3" fmla="*/ 9 h 41"/>
                <a:gd name="T4" fmla="*/ 10 w 26"/>
                <a:gd name="T5" fmla="*/ 12 h 41"/>
                <a:gd name="T6" fmla="*/ 10 w 26"/>
                <a:gd name="T7" fmla="*/ 34 h 41"/>
                <a:gd name="T8" fmla="*/ 0 w 26"/>
                <a:gd name="T9" fmla="*/ 41 h 41"/>
                <a:gd name="T10" fmla="*/ 0 w 26"/>
                <a:gd name="T11" fmla="*/ 1 h 41"/>
                <a:gd name="T12" fmla="*/ 9 w 26"/>
                <a:gd name="T13" fmla="*/ 1 h 41"/>
                <a:gd name="T14" fmla="*/ 10 w 26"/>
                <a:gd name="T15" fmla="*/ 5 h 41"/>
                <a:gd name="T16" fmla="*/ 21 w 26"/>
                <a:gd name="T17" fmla="*/ 0 h 41"/>
                <a:gd name="T18" fmla="*/ 26 w 26"/>
                <a:gd name="T19" fmla="*/ 2 h 41"/>
                <a:gd name="T20" fmla="*/ 22 w 26"/>
                <a:gd name="T21" fmla="*/ 1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41">
                  <a:moveTo>
                    <a:pt x="22" y="10"/>
                  </a:moveTo>
                  <a:cubicBezTo>
                    <a:pt x="21" y="9"/>
                    <a:pt x="19" y="9"/>
                    <a:pt x="18" y="9"/>
                  </a:cubicBezTo>
                  <a:cubicBezTo>
                    <a:pt x="15" y="9"/>
                    <a:pt x="13" y="10"/>
                    <a:pt x="10" y="12"/>
                  </a:cubicBezTo>
                  <a:cubicBezTo>
                    <a:pt x="10" y="12"/>
                    <a:pt x="10" y="26"/>
                    <a:pt x="10" y="34"/>
                  </a:cubicBezTo>
                  <a:cubicBezTo>
                    <a:pt x="10" y="41"/>
                    <a:pt x="0" y="41"/>
                    <a:pt x="0" y="41"/>
                  </a:cubicBezTo>
                  <a:cubicBezTo>
                    <a:pt x="0" y="1"/>
                    <a:pt x="0" y="1"/>
                    <a:pt x="0" y="1"/>
                  </a:cubicBezTo>
                  <a:cubicBezTo>
                    <a:pt x="9" y="1"/>
                    <a:pt x="9" y="1"/>
                    <a:pt x="9" y="1"/>
                  </a:cubicBezTo>
                  <a:cubicBezTo>
                    <a:pt x="10" y="5"/>
                    <a:pt x="10" y="5"/>
                    <a:pt x="10" y="5"/>
                  </a:cubicBezTo>
                  <a:cubicBezTo>
                    <a:pt x="14" y="2"/>
                    <a:pt x="17" y="0"/>
                    <a:pt x="21" y="0"/>
                  </a:cubicBezTo>
                  <a:cubicBezTo>
                    <a:pt x="23" y="0"/>
                    <a:pt x="25" y="1"/>
                    <a:pt x="26" y="2"/>
                  </a:cubicBezTo>
                  <a:lnTo>
                    <a:pt x="22" y="1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58" name="Freeform 157"/>
            <p:cNvSpPr>
              <a:spLocks/>
            </p:cNvSpPr>
            <p:nvPr/>
          </p:nvSpPr>
          <p:spPr bwMode="auto">
            <a:xfrm>
              <a:off x="7929133" y="4383257"/>
              <a:ext cx="98684" cy="93677"/>
            </a:xfrm>
            <a:custGeom>
              <a:avLst/>
              <a:gdLst>
                <a:gd name="T0" fmla="*/ 48 w 59"/>
                <a:gd name="T1" fmla="*/ 59 h 59"/>
                <a:gd name="T2" fmla="*/ 48 w 59"/>
                <a:gd name="T3" fmla="*/ 24 h 59"/>
                <a:gd name="T4" fmla="*/ 49 w 59"/>
                <a:gd name="T5" fmla="*/ 18 h 59"/>
                <a:gd name="T6" fmla="*/ 48 w 59"/>
                <a:gd name="T7" fmla="*/ 18 h 59"/>
                <a:gd name="T8" fmla="*/ 45 w 59"/>
                <a:gd name="T9" fmla="*/ 24 h 59"/>
                <a:gd name="T10" fmla="*/ 33 w 59"/>
                <a:gd name="T11" fmla="*/ 42 h 59"/>
                <a:gd name="T12" fmla="*/ 28 w 59"/>
                <a:gd name="T13" fmla="*/ 42 h 59"/>
                <a:gd name="T14" fmla="*/ 14 w 59"/>
                <a:gd name="T15" fmla="*/ 23 h 59"/>
                <a:gd name="T16" fmla="*/ 11 w 59"/>
                <a:gd name="T17" fmla="*/ 18 h 59"/>
                <a:gd name="T18" fmla="*/ 11 w 59"/>
                <a:gd name="T19" fmla="*/ 18 h 59"/>
                <a:gd name="T20" fmla="*/ 11 w 59"/>
                <a:gd name="T21" fmla="*/ 24 h 59"/>
                <a:gd name="T22" fmla="*/ 11 w 59"/>
                <a:gd name="T23" fmla="*/ 59 h 59"/>
                <a:gd name="T24" fmla="*/ 0 w 59"/>
                <a:gd name="T25" fmla="*/ 59 h 59"/>
                <a:gd name="T26" fmla="*/ 0 w 59"/>
                <a:gd name="T27" fmla="*/ 0 h 59"/>
                <a:gd name="T28" fmla="*/ 10 w 59"/>
                <a:gd name="T29" fmla="*/ 0 h 59"/>
                <a:gd name="T30" fmla="*/ 26 w 59"/>
                <a:gd name="T31" fmla="*/ 24 h 59"/>
                <a:gd name="T32" fmla="*/ 30 w 59"/>
                <a:gd name="T33" fmla="*/ 30 h 59"/>
                <a:gd name="T34" fmla="*/ 30 w 59"/>
                <a:gd name="T35" fmla="*/ 30 h 59"/>
                <a:gd name="T36" fmla="*/ 34 w 59"/>
                <a:gd name="T37" fmla="*/ 24 h 59"/>
                <a:gd name="T38" fmla="*/ 49 w 59"/>
                <a:gd name="T39" fmla="*/ 0 h 59"/>
                <a:gd name="T40" fmla="*/ 59 w 59"/>
                <a:gd name="T41" fmla="*/ 0 h 59"/>
                <a:gd name="T42" fmla="*/ 59 w 59"/>
                <a:gd name="T43" fmla="*/ 59 h 59"/>
                <a:gd name="T44" fmla="*/ 48 w 59"/>
                <a:gd name="T4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9" h="59">
                  <a:moveTo>
                    <a:pt x="48" y="59"/>
                  </a:moveTo>
                  <a:cubicBezTo>
                    <a:pt x="48" y="24"/>
                    <a:pt x="48" y="24"/>
                    <a:pt x="48" y="24"/>
                  </a:cubicBezTo>
                  <a:cubicBezTo>
                    <a:pt x="48" y="22"/>
                    <a:pt x="48" y="20"/>
                    <a:pt x="49" y="18"/>
                  </a:cubicBezTo>
                  <a:cubicBezTo>
                    <a:pt x="48" y="18"/>
                    <a:pt x="48" y="18"/>
                    <a:pt x="48" y="18"/>
                  </a:cubicBezTo>
                  <a:cubicBezTo>
                    <a:pt x="48" y="19"/>
                    <a:pt x="46" y="22"/>
                    <a:pt x="45" y="24"/>
                  </a:cubicBezTo>
                  <a:cubicBezTo>
                    <a:pt x="33" y="42"/>
                    <a:pt x="33" y="42"/>
                    <a:pt x="33" y="42"/>
                  </a:cubicBezTo>
                  <a:cubicBezTo>
                    <a:pt x="28" y="42"/>
                    <a:pt x="28" y="42"/>
                    <a:pt x="28" y="42"/>
                  </a:cubicBezTo>
                  <a:cubicBezTo>
                    <a:pt x="14" y="23"/>
                    <a:pt x="14" y="23"/>
                    <a:pt x="14" y="23"/>
                  </a:cubicBezTo>
                  <a:cubicBezTo>
                    <a:pt x="13" y="22"/>
                    <a:pt x="12" y="20"/>
                    <a:pt x="11" y="18"/>
                  </a:cubicBezTo>
                  <a:cubicBezTo>
                    <a:pt x="11" y="18"/>
                    <a:pt x="11" y="18"/>
                    <a:pt x="11" y="18"/>
                  </a:cubicBezTo>
                  <a:cubicBezTo>
                    <a:pt x="11" y="20"/>
                    <a:pt x="11" y="22"/>
                    <a:pt x="11" y="24"/>
                  </a:cubicBezTo>
                  <a:cubicBezTo>
                    <a:pt x="11" y="59"/>
                    <a:pt x="11" y="59"/>
                    <a:pt x="11" y="59"/>
                  </a:cubicBezTo>
                  <a:cubicBezTo>
                    <a:pt x="0" y="59"/>
                    <a:pt x="0" y="59"/>
                    <a:pt x="0" y="59"/>
                  </a:cubicBezTo>
                  <a:cubicBezTo>
                    <a:pt x="0" y="0"/>
                    <a:pt x="0" y="0"/>
                    <a:pt x="0" y="0"/>
                  </a:cubicBezTo>
                  <a:cubicBezTo>
                    <a:pt x="10" y="0"/>
                    <a:pt x="10" y="0"/>
                    <a:pt x="10" y="0"/>
                  </a:cubicBezTo>
                  <a:cubicBezTo>
                    <a:pt x="26" y="24"/>
                    <a:pt x="26" y="24"/>
                    <a:pt x="26" y="24"/>
                  </a:cubicBezTo>
                  <a:cubicBezTo>
                    <a:pt x="28" y="26"/>
                    <a:pt x="29" y="28"/>
                    <a:pt x="30" y="30"/>
                  </a:cubicBezTo>
                  <a:cubicBezTo>
                    <a:pt x="30" y="30"/>
                    <a:pt x="30" y="30"/>
                    <a:pt x="30" y="30"/>
                  </a:cubicBezTo>
                  <a:cubicBezTo>
                    <a:pt x="31" y="28"/>
                    <a:pt x="32" y="26"/>
                    <a:pt x="34" y="24"/>
                  </a:cubicBezTo>
                  <a:cubicBezTo>
                    <a:pt x="49" y="0"/>
                    <a:pt x="49" y="0"/>
                    <a:pt x="49" y="0"/>
                  </a:cubicBezTo>
                  <a:cubicBezTo>
                    <a:pt x="59" y="0"/>
                    <a:pt x="59" y="0"/>
                    <a:pt x="59" y="0"/>
                  </a:cubicBezTo>
                  <a:cubicBezTo>
                    <a:pt x="59" y="59"/>
                    <a:pt x="59" y="59"/>
                    <a:pt x="59" y="59"/>
                  </a:cubicBezTo>
                  <a:lnTo>
                    <a:pt x="48" y="5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59" name="Freeform 158"/>
            <p:cNvSpPr>
              <a:spLocks noEditPoints="1"/>
            </p:cNvSpPr>
            <p:nvPr/>
          </p:nvSpPr>
          <p:spPr bwMode="auto">
            <a:xfrm>
              <a:off x="8044539" y="4386372"/>
              <a:ext cx="21668" cy="92119"/>
            </a:xfrm>
            <a:custGeom>
              <a:avLst/>
              <a:gdLst>
                <a:gd name="T0" fmla="*/ 6 w 13"/>
                <a:gd name="T1" fmla="*/ 12 h 58"/>
                <a:gd name="T2" fmla="*/ 0 w 13"/>
                <a:gd name="T3" fmla="*/ 6 h 58"/>
                <a:gd name="T4" fmla="*/ 6 w 13"/>
                <a:gd name="T5" fmla="*/ 0 h 58"/>
                <a:gd name="T6" fmla="*/ 13 w 13"/>
                <a:gd name="T7" fmla="*/ 6 h 58"/>
                <a:gd name="T8" fmla="*/ 6 w 13"/>
                <a:gd name="T9" fmla="*/ 12 h 58"/>
                <a:gd name="T10" fmla="*/ 1 w 13"/>
                <a:gd name="T11" fmla="*/ 58 h 58"/>
                <a:gd name="T12" fmla="*/ 1 w 13"/>
                <a:gd name="T13" fmla="*/ 18 h 58"/>
                <a:gd name="T14" fmla="*/ 11 w 13"/>
                <a:gd name="T15" fmla="*/ 18 h 58"/>
                <a:gd name="T16" fmla="*/ 11 w 13"/>
                <a:gd name="T17" fmla="*/ 51 h 58"/>
                <a:gd name="T18" fmla="*/ 1 w 13"/>
                <a:gd name="T19"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58">
                  <a:moveTo>
                    <a:pt x="6" y="12"/>
                  </a:moveTo>
                  <a:cubicBezTo>
                    <a:pt x="3" y="12"/>
                    <a:pt x="0" y="9"/>
                    <a:pt x="0" y="6"/>
                  </a:cubicBezTo>
                  <a:cubicBezTo>
                    <a:pt x="0" y="2"/>
                    <a:pt x="3" y="0"/>
                    <a:pt x="6" y="0"/>
                  </a:cubicBezTo>
                  <a:cubicBezTo>
                    <a:pt x="10" y="0"/>
                    <a:pt x="13" y="2"/>
                    <a:pt x="13" y="6"/>
                  </a:cubicBezTo>
                  <a:cubicBezTo>
                    <a:pt x="13" y="9"/>
                    <a:pt x="10" y="12"/>
                    <a:pt x="6" y="12"/>
                  </a:cubicBezTo>
                  <a:close/>
                  <a:moveTo>
                    <a:pt x="1" y="58"/>
                  </a:moveTo>
                  <a:cubicBezTo>
                    <a:pt x="1" y="18"/>
                    <a:pt x="1" y="18"/>
                    <a:pt x="1" y="18"/>
                  </a:cubicBezTo>
                  <a:cubicBezTo>
                    <a:pt x="11" y="18"/>
                    <a:pt x="11" y="18"/>
                    <a:pt x="11" y="18"/>
                  </a:cubicBezTo>
                  <a:cubicBezTo>
                    <a:pt x="11" y="18"/>
                    <a:pt x="11" y="43"/>
                    <a:pt x="11" y="51"/>
                  </a:cubicBezTo>
                  <a:cubicBezTo>
                    <a:pt x="11" y="58"/>
                    <a:pt x="1" y="58"/>
                    <a:pt x="1" y="58"/>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60" name="Freeform 159"/>
            <p:cNvSpPr>
              <a:spLocks/>
            </p:cNvSpPr>
            <p:nvPr/>
          </p:nvSpPr>
          <p:spPr bwMode="auto">
            <a:xfrm>
              <a:off x="8224947" y="4510310"/>
              <a:ext cx="13425" cy="79436"/>
            </a:xfrm>
            <a:custGeom>
              <a:avLst/>
              <a:gdLst>
                <a:gd name="T0" fmla="*/ 8 w 8"/>
                <a:gd name="T1" fmla="*/ 44 h 50"/>
                <a:gd name="T2" fmla="*/ 0 w 8"/>
                <a:gd name="T3" fmla="*/ 50 h 50"/>
                <a:gd name="T4" fmla="*/ 0 w 8"/>
                <a:gd name="T5" fmla="*/ 0 h 50"/>
                <a:gd name="T6" fmla="*/ 8 w 8"/>
                <a:gd name="T7" fmla="*/ 0 h 50"/>
                <a:gd name="T8" fmla="*/ 8 w 8"/>
                <a:gd name="T9" fmla="*/ 44 h 50"/>
              </a:gdLst>
              <a:ahLst/>
              <a:cxnLst>
                <a:cxn ang="0">
                  <a:pos x="T0" y="T1"/>
                </a:cxn>
                <a:cxn ang="0">
                  <a:pos x="T2" y="T3"/>
                </a:cxn>
                <a:cxn ang="0">
                  <a:pos x="T4" y="T5"/>
                </a:cxn>
                <a:cxn ang="0">
                  <a:pos x="T6" y="T7"/>
                </a:cxn>
                <a:cxn ang="0">
                  <a:pos x="T8" y="T9"/>
                </a:cxn>
              </a:cxnLst>
              <a:rect l="0" t="0" r="r" b="b"/>
              <a:pathLst>
                <a:path w="8" h="50">
                  <a:moveTo>
                    <a:pt x="8" y="44"/>
                  </a:moveTo>
                  <a:cubicBezTo>
                    <a:pt x="8" y="50"/>
                    <a:pt x="0" y="50"/>
                    <a:pt x="0" y="50"/>
                  </a:cubicBezTo>
                  <a:cubicBezTo>
                    <a:pt x="0" y="0"/>
                    <a:pt x="0" y="0"/>
                    <a:pt x="0" y="0"/>
                  </a:cubicBezTo>
                  <a:cubicBezTo>
                    <a:pt x="8" y="0"/>
                    <a:pt x="8" y="0"/>
                    <a:pt x="8" y="0"/>
                  </a:cubicBezTo>
                  <a:cubicBezTo>
                    <a:pt x="8" y="0"/>
                    <a:pt x="8" y="37"/>
                    <a:pt x="8"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1" name="Freeform 160"/>
            <p:cNvSpPr>
              <a:spLocks noEditPoints="1"/>
            </p:cNvSpPr>
            <p:nvPr/>
          </p:nvSpPr>
          <p:spPr bwMode="auto">
            <a:xfrm>
              <a:off x="8007562" y="4513425"/>
              <a:ext cx="18371" cy="76321"/>
            </a:xfrm>
            <a:custGeom>
              <a:avLst/>
              <a:gdLst>
                <a:gd name="T0" fmla="*/ 5 w 11"/>
                <a:gd name="T1" fmla="*/ 10 h 48"/>
                <a:gd name="T2" fmla="*/ 0 w 11"/>
                <a:gd name="T3" fmla="*/ 5 h 48"/>
                <a:gd name="T4" fmla="*/ 5 w 11"/>
                <a:gd name="T5" fmla="*/ 0 h 48"/>
                <a:gd name="T6" fmla="*/ 11 w 11"/>
                <a:gd name="T7" fmla="*/ 5 h 48"/>
                <a:gd name="T8" fmla="*/ 5 w 11"/>
                <a:gd name="T9" fmla="*/ 10 h 48"/>
                <a:gd name="T10" fmla="*/ 1 w 11"/>
                <a:gd name="T11" fmla="*/ 48 h 48"/>
                <a:gd name="T12" fmla="*/ 1 w 11"/>
                <a:gd name="T13" fmla="*/ 15 h 48"/>
                <a:gd name="T14" fmla="*/ 10 w 11"/>
                <a:gd name="T15" fmla="*/ 15 h 48"/>
                <a:gd name="T16" fmla="*/ 10 w 11"/>
                <a:gd name="T17" fmla="*/ 42 h 48"/>
                <a:gd name="T18" fmla="*/ 1 w 11"/>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48">
                  <a:moveTo>
                    <a:pt x="5" y="10"/>
                  </a:moveTo>
                  <a:cubicBezTo>
                    <a:pt x="3" y="10"/>
                    <a:pt x="0" y="7"/>
                    <a:pt x="0" y="5"/>
                  </a:cubicBezTo>
                  <a:cubicBezTo>
                    <a:pt x="0" y="2"/>
                    <a:pt x="3" y="0"/>
                    <a:pt x="5" y="0"/>
                  </a:cubicBezTo>
                  <a:cubicBezTo>
                    <a:pt x="8" y="0"/>
                    <a:pt x="11" y="2"/>
                    <a:pt x="11" y="5"/>
                  </a:cubicBezTo>
                  <a:cubicBezTo>
                    <a:pt x="11" y="7"/>
                    <a:pt x="8" y="10"/>
                    <a:pt x="5" y="10"/>
                  </a:cubicBezTo>
                  <a:close/>
                  <a:moveTo>
                    <a:pt x="1" y="48"/>
                  </a:moveTo>
                  <a:cubicBezTo>
                    <a:pt x="1" y="15"/>
                    <a:pt x="1" y="15"/>
                    <a:pt x="1" y="15"/>
                  </a:cubicBezTo>
                  <a:cubicBezTo>
                    <a:pt x="10" y="15"/>
                    <a:pt x="10" y="15"/>
                    <a:pt x="10" y="15"/>
                  </a:cubicBezTo>
                  <a:cubicBezTo>
                    <a:pt x="10" y="15"/>
                    <a:pt x="10" y="36"/>
                    <a:pt x="10" y="42"/>
                  </a:cubicBezTo>
                  <a:cubicBezTo>
                    <a:pt x="10" y="48"/>
                    <a:pt x="1" y="48"/>
                    <a:pt x="1"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2" name="Freeform 161"/>
            <p:cNvSpPr>
              <a:spLocks noEditPoints="1"/>
            </p:cNvSpPr>
            <p:nvPr/>
          </p:nvSpPr>
          <p:spPr bwMode="auto">
            <a:xfrm>
              <a:off x="8094469" y="4513425"/>
              <a:ext cx="16722" cy="76321"/>
            </a:xfrm>
            <a:custGeom>
              <a:avLst/>
              <a:gdLst>
                <a:gd name="T0" fmla="*/ 5 w 10"/>
                <a:gd name="T1" fmla="*/ 10 h 48"/>
                <a:gd name="T2" fmla="*/ 0 w 10"/>
                <a:gd name="T3" fmla="*/ 5 h 48"/>
                <a:gd name="T4" fmla="*/ 5 w 10"/>
                <a:gd name="T5" fmla="*/ 0 h 48"/>
                <a:gd name="T6" fmla="*/ 10 w 10"/>
                <a:gd name="T7" fmla="*/ 5 h 48"/>
                <a:gd name="T8" fmla="*/ 5 w 10"/>
                <a:gd name="T9" fmla="*/ 10 h 48"/>
                <a:gd name="T10" fmla="*/ 1 w 10"/>
                <a:gd name="T11" fmla="*/ 48 h 48"/>
                <a:gd name="T12" fmla="*/ 1 w 10"/>
                <a:gd name="T13" fmla="*/ 15 h 48"/>
                <a:gd name="T14" fmla="*/ 9 w 10"/>
                <a:gd name="T15" fmla="*/ 15 h 48"/>
                <a:gd name="T16" fmla="*/ 9 w 10"/>
                <a:gd name="T17" fmla="*/ 42 h 48"/>
                <a:gd name="T18" fmla="*/ 1 w 10"/>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48">
                  <a:moveTo>
                    <a:pt x="5" y="10"/>
                  </a:moveTo>
                  <a:cubicBezTo>
                    <a:pt x="2" y="10"/>
                    <a:pt x="0" y="8"/>
                    <a:pt x="0" y="5"/>
                  </a:cubicBezTo>
                  <a:cubicBezTo>
                    <a:pt x="0" y="2"/>
                    <a:pt x="2" y="0"/>
                    <a:pt x="5" y="0"/>
                  </a:cubicBezTo>
                  <a:cubicBezTo>
                    <a:pt x="8" y="0"/>
                    <a:pt x="10" y="2"/>
                    <a:pt x="10" y="5"/>
                  </a:cubicBezTo>
                  <a:cubicBezTo>
                    <a:pt x="10" y="8"/>
                    <a:pt x="8" y="10"/>
                    <a:pt x="5" y="10"/>
                  </a:cubicBezTo>
                  <a:close/>
                  <a:moveTo>
                    <a:pt x="1" y="48"/>
                  </a:moveTo>
                  <a:cubicBezTo>
                    <a:pt x="1" y="15"/>
                    <a:pt x="1" y="15"/>
                    <a:pt x="1" y="15"/>
                  </a:cubicBezTo>
                  <a:cubicBezTo>
                    <a:pt x="9" y="15"/>
                    <a:pt x="9" y="15"/>
                    <a:pt x="9" y="15"/>
                  </a:cubicBezTo>
                  <a:cubicBezTo>
                    <a:pt x="9" y="15"/>
                    <a:pt x="9" y="36"/>
                    <a:pt x="9" y="42"/>
                  </a:cubicBezTo>
                  <a:cubicBezTo>
                    <a:pt x="9" y="48"/>
                    <a:pt x="1" y="48"/>
                    <a:pt x="1"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3" name="Freeform 162"/>
            <p:cNvSpPr>
              <a:spLocks noEditPoints="1"/>
            </p:cNvSpPr>
            <p:nvPr/>
          </p:nvSpPr>
          <p:spPr bwMode="auto">
            <a:xfrm>
              <a:off x="7929133" y="4510310"/>
              <a:ext cx="70185" cy="77879"/>
            </a:xfrm>
            <a:custGeom>
              <a:avLst/>
              <a:gdLst>
                <a:gd name="T0" fmla="*/ 0 w 42"/>
                <a:gd name="T1" fmla="*/ 0 h 49"/>
                <a:gd name="T2" fmla="*/ 15 w 42"/>
                <a:gd name="T3" fmla="*/ 0 h 49"/>
                <a:gd name="T4" fmla="*/ 42 w 42"/>
                <a:gd name="T5" fmla="*/ 25 h 49"/>
                <a:gd name="T6" fmla="*/ 14 w 42"/>
                <a:gd name="T7" fmla="*/ 49 h 49"/>
                <a:gd name="T8" fmla="*/ 0 w 42"/>
                <a:gd name="T9" fmla="*/ 49 h 49"/>
                <a:gd name="T10" fmla="*/ 0 w 42"/>
                <a:gd name="T11" fmla="*/ 0 h 49"/>
                <a:gd name="T12" fmla="*/ 14 w 42"/>
                <a:gd name="T13" fmla="*/ 42 h 49"/>
                <a:gd name="T14" fmla="*/ 32 w 42"/>
                <a:gd name="T15" fmla="*/ 25 h 49"/>
                <a:gd name="T16" fmla="*/ 14 w 42"/>
                <a:gd name="T17" fmla="*/ 8 h 49"/>
                <a:gd name="T18" fmla="*/ 8 w 42"/>
                <a:gd name="T19" fmla="*/ 8 h 49"/>
                <a:gd name="T20" fmla="*/ 8 w 42"/>
                <a:gd name="T21" fmla="*/ 42 h 49"/>
                <a:gd name="T22" fmla="*/ 14 w 42"/>
                <a:gd name="T23" fmla="*/ 4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49">
                  <a:moveTo>
                    <a:pt x="0" y="0"/>
                  </a:moveTo>
                  <a:cubicBezTo>
                    <a:pt x="15" y="0"/>
                    <a:pt x="15" y="0"/>
                    <a:pt x="15" y="0"/>
                  </a:cubicBezTo>
                  <a:cubicBezTo>
                    <a:pt x="32" y="0"/>
                    <a:pt x="42" y="10"/>
                    <a:pt x="42" y="25"/>
                  </a:cubicBezTo>
                  <a:cubicBezTo>
                    <a:pt x="42" y="40"/>
                    <a:pt x="31" y="49"/>
                    <a:pt x="14" y="49"/>
                  </a:cubicBezTo>
                  <a:cubicBezTo>
                    <a:pt x="0" y="49"/>
                    <a:pt x="0" y="49"/>
                    <a:pt x="0" y="49"/>
                  </a:cubicBezTo>
                  <a:lnTo>
                    <a:pt x="0" y="0"/>
                  </a:lnTo>
                  <a:close/>
                  <a:moveTo>
                    <a:pt x="14" y="42"/>
                  </a:moveTo>
                  <a:cubicBezTo>
                    <a:pt x="27" y="42"/>
                    <a:pt x="32" y="34"/>
                    <a:pt x="32" y="25"/>
                  </a:cubicBezTo>
                  <a:cubicBezTo>
                    <a:pt x="32" y="15"/>
                    <a:pt x="26" y="8"/>
                    <a:pt x="14" y="8"/>
                  </a:cubicBezTo>
                  <a:cubicBezTo>
                    <a:pt x="8" y="8"/>
                    <a:pt x="8" y="8"/>
                    <a:pt x="8" y="8"/>
                  </a:cubicBezTo>
                  <a:cubicBezTo>
                    <a:pt x="8" y="42"/>
                    <a:pt x="8" y="42"/>
                    <a:pt x="8" y="42"/>
                  </a:cubicBezTo>
                  <a:lnTo>
                    <a:pt x="1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4" name="Freeform 163"/>
            <p:cNvSpPr>
              <a:spLocks noEditPoints="1"/>
            </p:cNvSpPr>
            <p:nvPr/>
          </p:nvSpPr>
          <p:spPr bwMode="auto">
            <a:xfrm>
              <a:off x="8031114" y="4529223"/>
              <a:ext cx="58409" cy="87447"/>
            </a:xfrm>
            <a:custGeom>
              <a:avLst/>
              <a:gdLst>
                <a:gd name="T0" fmla="*/ 0 w 35"/>
                <a:gd name="T1" fmla="*/ 45 h 55"/>
                <a:gd name="T2" fmla="*/ 6 w 35"/>
                <a:gd name="T3" fmla="*/ 37 h 55"/>
                <a:gd name="T4" fmla="*/ 4 w 35"/>
                <a:gd name="T5" fmla="*/ 32 h 55"/>
                <a:gd name="T6" fmla="*/ 8 w 35"/>
                <a:gd name="T7" fmla="*/ 26 h 55"/>
                <a:gd name="T8" fmla="*/ 2 w 35"/>
                <a:gd name="T9" fmla="*/ 15 h 55"/>
                <a:gd name="T10" fmla="*/ 16 w 35"/>
                <a:gd name="T11" fmla="*/ 2 h 55"/>
                <a:gd name="T12" fmla="*/ 23 w 35"/>
                <a:gd name="T13" fmla="*/ 3 h 55"/>
                <a:gd name="T14" fmla="*/ 24 w 35"/>
                <a:gd name="T15" fmla="*/ 3 h 55"/>
                <a:gd name="T16" fmla="*/ 33 w 35"/>
                <a:gd name="T17" fmla="*/ 0 h 55"/>
                <a:gd name="T18" fmla="*/ 35 w 35"/>
                <a:gd name="T19" fmla="*/ 0 h 55"/>
                <a:gd name="T20" fmla="*/ 33 w 35"/>
                <a:gd name="T21" fmla="*/ 7 h 55"/>
                <a:gd name="T22" fmla="*/ 31 w 35"/>
                <a:gd name="T23" fmla="*/ 6 h 55"/>
                <a:gd name="T24" fmla="*/ 28 w 35"/>
                <a:gd name="T25" fmla="*/ 7 h 55"/>
                <a:gd name="T26" fmla="*/ 31 w 35"/>
                <a:gd name="T27" fmla="*/ 15 h 55"/>
                <a:gd name="T28" fmla="*/ 17 w 35"/>
                <a:gd name="T29" fmla="*/ 28 h 55"/>
                <a:gd name="T30" fmla="*/ 12 w 35"/>
                <a:gd name="T31" fmla="*/ 28 h 55"/>
                <a:gd name="T32" fmla="*/ 12 w 35"/>
                <a:gd name="T33" fmla="*/ 30 h 55"/>
                <a:gd name="T34" fmla="*/ 35 w 35"/>
                <a:gd name="T35" fmla="*/ 44 h 55"/>
                <a:gd name="T36" fmla="*/ 16 w 35"/>
                <a:gd name="T37" fmla="*/ 55 h 55"/>
                <a:gd name="T38" fmla="*/ 0 w 35"/>
                <a:gd name="T39" fmla="*/ 45 h 55"/>
                <a:gd name="T40" fmla="*/ 26 w 35"/>
                <a:gd name="T41" fmla="*/ 45 h 55"/>
                <a:gd name="T42" fmla="*/ 10 w 35"/>
                <a:gd name="T43" fmla="*/ 39 h 55"/>
                <a:gd name="T44" fmla="*/ 8 w 35"/>
                <a:gd name="T45" fmla="*/ 44 h 55"/>
                <a:gd name="T46" fmla="*/ 17 w 35"/>
                <a:gd name="T47" fmla="*/ 49 h 55"/>
                <a:gd name="T48" fmla="*/ 26 w 35"/>
                <a:gd name="T49" fmla="*/ 45 h 55"/>
                <a:gd name="T50" fmla="*/ 23 w 35"/>
                <a:gd name="T51" fmla="*/ 15 h 55"/>
                <a:gd name="T52" fmla="*/ 17 w 35"/>
                <a:gd name="T53" fmla="*/ 9 h 55"/>
                <a:gd name="T54" fmla="*/ 10 w 35"/>
                <a:gd name="T55" fmla="*/ 15 h 55"/>
                <a:gd name="T56" fmla="*/ 17 w 35"/>
                <a:gd name="T57" fmla="*/ 22 h 55"/>
                <a:gd name="T58" fmla="*/ 23 w 35"/>
                <a:gd name="T59" fmla="*/ 1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 h="55">
                  <a:moveTo>
                    <a:pt x="0" y="45"/>
                  </a:moveTo>
                  <a:cubicBezTo>
                    <a:pt x="0" y="41"/>
                    <a:pt x="2" y="38"/>
                    <a:pt x="6" y="37"/>
                  </a:cubicBezTo>
                  <a:cubicBezTo>
                    <a:pt x="5" y="36"/>
                    <a:pt x="4" y="34"/>
                    <a:pt x="4" y="32"/>
                  </a:cubicBezTo>
                  <a:cubicBezTo>
                    <a:pt x="4" y="30"/>
                    <a:pt x="5" y="28"/>
                    <a:pt x="8" y="26"/>
                  </a:cubicBezTo>
                  <a:cubicBezTo>
                    <a:pt x="4" y="24"/>
                    <a:pt x="2" y="19"/>
                    <a:pt x="2" y="15"/>
                  </a:cubicBezTo>
                  <a:cubicBezTo>
                    <a:pt x="2" y="8"/>
                    <a:pt x="7" y="2"/>
                    <a:pt x="16" y="2"/>
                  </a:cubicBezTo>
                  <a:cubicBezTo>
                    <a:pt x="20" y="2"/>
                    <a:pt x="22" y="3"/>
                    <a:pt x="23" y="3"/>
                  </a:cubicBezTo>
                  <a:cubicBezTo>
                    <a:pt x="24" y="4"/>
                    <a:pt x="24" y="3"/>
                    <a:pt x="24" y="3"/>
                  </a:cubicBezTo>
                  <a:cubicBezTo>
                    <a:pt x="26" y="1"/>
                    <a:pt x="28" y="0"/>
                    <a:pt x="33" y="0"/>
                  </a:cubicBezTo>
                  <a:cubicBezTo>
                    <a:pt x="34" y="0"/>
                    <a:pt x="35" y="0"/>
                    <a:pt x="35" y="0"/>
                  </a:cubicBezTo>
                  <a:cubicBezTo>
                    <a:pt x="33" y="7"/>
                    <a:pt x="33" y="7"/>
                    <a:pt x="33" y="7"/>
                  </a:cubicBezTo>
                  <a:cubicBezTo>
                    <a:pt x="33" y="7"/>
                    <a:pt x="32" y="6"/>
                    <a:pt x="31" y="6"/>
                  </a:cubicBezTo>
                  <a:cubicBezTo>
                    <a:pt x="30" y="6"/>
                    <a:pt x="29" y="7"/>
                    <a:pt x="28" y="7"/>
                  </a:cubicBezTo>
                  <a:cubicBezTo>
                    <a:pt x="30" y="9"/>
                    <a:pt x="31" y="12"/>
                    <a:pt x="31" y="15"/>
                  </a:cubicBezTo>
                  <a:cubicBezTo>
                    <a:pt x="31" y="23"/>
                    <a:pt x="25" y="28"/>
                    <a:pt x="17" y="28"/>
                  </a:cubicBezTo>
                  <a:cubicBezTo>
                    <a:pt x="15" y="28"/>
                    <a:pt x="14" y="28"/>
                    <a:pt x="12" y="28"/>
                  </a:cubicBezTo>
                  <a:cubicBezTo>
                    <a:pt x="12" y="29"/>
                    <a:pt x="12" y="30"/>
                    <a:pt x="12" y="30"/>
                  </a:cubicBezTo>
                  <a:cubicBezTo>
                    <a:pt x="12" y="37"/>
                    <a:pt x="35" y="31"/>
                    <a:pt x="35" y="44"/>
                  </a:cubicBezTo>
                  <a:cubicBezTo>
                    <a:pt x="35" y="50"/>
                    <a:pt x="28" y="55"/>
                    <a:pt x="16" y="55"/>
                  </a:cubicBezTo>
                  <a:cubicBezTo>
                    <a:pt x="6" y="55"/>
                    <a:pt x="0" y="51"/>
                    <a:pt x="0" y="45"/>
                  </a:cubicBezTo>
                  <a:close/>
                  <a:moveTo>
                    <a:pt x="26" y="45"/>
                  </a:moveTo>
                  <a:cubicBezTo>
                    <a:pt x="26" y="40"/>
                    <a:pt x="15" y="41"/>
                    <a:pt x="10" y="39"/>
                  </a:cubicBezTo>
                  <a:cubicBezTo>
                    <a:pt x="9" y="40"/>
                    <a:pt x="8" y="41"/>
                    <a:pt x="8" y="44"/>
                  </a:cubicBezTo>
                  <a:cubicBezTo>
                    <a:pt x="8" y="47"/>
                    <a:pt x="11" y="49"/>
                    <a:pt x="17" y="49"/>
                  </a:cubicBezTo>
                  <a:cubicBezTo>
                    <a:pt x="23" y="49"/>
                    <a:pt x="26" y="47"/>
                    <a:pt x="26" y="45"/>
                  </a:cubicBezTo>
                  <a:close/>
                  <a:moveTo>
                    <a:pt x="23" y="15"/>
                  </a:moveTo>
                  <a:cubicBezTo>
                    <a:pt x="23" y="12"/>
                    <a:pt x="20" y="9"/>
                    <a:pt x="17" y="9"/>
                  </a:cubicBezTo>
                  <a:cubicBezTo>
                    <a:pt x="13" y="9"/>
                    <a:pt x="10" y="11"/>
                    <a:pt x="10" y="15"/>
                  </a:cubicBezTo>
                  <a:cubicBezTo>
                    <a:pt x="10" y="19"/>
                    <a:pt x="13" y="22"/>
                    <a:pt x="17" y="22"/>
                  </a:cubicBezTo>
                  <a:cubicBezTo>
                    <a:pt x="20" y="22"/>
                    <a:pt x="23" y="19"/>
                    <a:pt x="23"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5" name="Freeform 164"/>
            <p:cNvSpPr>
              <a:spLocks/>
            </p:cNvSpPr>
            <p:nvPr/>
          </p:nvSpPr>
          <p:spPr bwMode="auto">
            <a:xfrm>
              <a:off x="8116372" y="4516540"/>
              <a:ext cx="44984" cy="74763"/>
            </a:xfrm>
            <a:custGeom>
              <a:avLst/>
              <a:gdLst>
                <a:gd name="T0" fmla="*/ 7 w 27"/>
                <a:gd name="T1" fmla="*/ 37 h 47"/>
                <a:gd name="T2" fmla="*/ 7 w 27"/>
                <a:gd name="T3" fmla="*/ 18 h 47"/>
                <a:gd name="T4" fmla="*/ 0 w 27"/>
                <a:gd name="T5" fmla="*/ 18 h 47"/>
                <a:gd name="T6" fmla="*/ 0 w 27"/>
                <a:gd name="T7" fmla="*/ 11 h 47"/>
                <a:gd name="T8" fmla="*/ 7 w 27"/>
                <a:gd name="T9" fmla="*/ 11 h 47"/>
                <a:gd name="T10" fmla="*/ 7 w 27"/>
                <a:gd name="T11" fmla="*/ 3 h 47"/>
                <a:gd name="T12" fmla="*/ 15 w 27"/>
                <a:gd name="T13" fmla="*/ 0 h 47"/>
                <a:gd name="T14" fmla="*/ 15 w 27"/>
                <a:gd name="T15" fmla="*/ 11 h 47"/>
                <a:gd name="T16" fmla="*/ 26 w 27"/>
                <a:gd name="T17" fmla="*/ 11 h 47"/>
                <a:gd name="T18" fmla="*/ 24 w 27"/>
                <a:gd name="T19" fmla="*/ 18 h 47"/>
                <a:gd name="T20" fmla="*/ 15 w 27"/>
                <a:gd name="T21" fmla="*/ 18 h 47"/>
                <a:gd name="T22" fmla="*/ 15 w 27"/>
                <a:gd name="T23" fmla="*/ 35 h 47"/>
                <a:gd name="T24" fmla="*/ 19 w 27"/>
                <a:gd name="T25" fmla="*/ 40 h 47"/>
                <a:gd name="T26" fmla="*/ 24 w 27"/>
                <a:gd name="T27" fmla="*/ 38 h 47"/>
                <a:gd name="T28" fmla="*/ 27 w 27"/>
                <a:gd name="T29" fmla="*/ 44 h 47"/>
                <a:gd name="T30" fmla="*/ 17 w 27"/>
                <a:gd name="T31" fmla="*/ 47 h 47"/>
                <a:gd name="T32" fmla="*/ 7 w 27"/>
                <a:gd name="T33" fmla="*/ 3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 h="47">
                  <a:moveTo>
                    <a:pt x="7" y="37"/>
                  </a:moveTo>
                  <a:cubicBezTo>
                    <a:pt x="7" y="18"/>
                    <a:pt x="7" y="18"/>
                    <a:pt x="7" y="18"/>
                  </a:cubicBezTo>
                  <a:cubicBezTo>
                    <a:pt x="0" y="18"/>
                    <a:pt x="0" y="18"/>
                    <a:pt x="0" y="18"/>
                  </a:cubicBezTo>
                  <a:cubicBezTo>
                    <a:pt x="0" y="11"/>
                    <a:pt x="0" y="11"/>
                    <a:pt x="0" y="11"/>
                  </a:cubicBezTo>
                  <a:cubicBezTo>
                    <a:pt x="7" y="11"/>
                    <a:pt x="7" y="11"/>
                    <a:pt x="7" y="11"/>
                  </a:cubicBezTo>
                  <a:cubicBezTo>
                    <a:pt x="7" y="3"/>
                    <a:pt x="7" y="3"/>
                    <a:pt x="7" y="3"/>
                  </a:cubicBezTo>
                  <a:cubicBezTo>
                    <a:pt x="15" y="0"/>
                    <a:pt x="15" y="0"/>
                    <a:pt x="15" y="0"/>
                  </a:cubicBezTo>
                  <a:cubicBezTo>
                    <a:pt x="15" y="11"/>
                    <a:pt x="15" y="11"/>
                    <a:pt x="15" y="11"/>
                  </a:cubicBezTo>
                  <a:cubicBezTo>
                    <a:pt x="26" y="11"/>
                    <a:pt x="26" y="11"/>
                    <a:pt x="26" y="11"/>
                  </a:cubicBezTo>
                  <a:cubicBezTo>
                    <a:pt x="24" y="18"/>
                    <a:pt x="24" y="18"/>
                    <a:pt x="24" y="18"/>
                  </a:cubicBezTo>
                  <a:cubicBezTo>
                    <a:pt x="15" y="18"/>
                    <a:pt x="15" y="18"/>
                    <a:pt x="15" y="18"/>
                  </a:cubicBezTo>
                  <a:cubicBezTo>
                    <a:pt x="15" y="35"/>
                    <a:pt x="15" y="35"/>
                    <a:pt x="15" y="35"/>
                  </a:cubicBezTo>
                  <a:cubicBezTo>
                    <a:pt x="15" y="38"/>
                    <a:pt x="17" y="40"/>
                    <a:pt x="19" y="40"/>
                  </a:cubicBezTo>
                  <a:cubicBezTo>
                    <a:pt x="21" y="40"/>
                    <a:pt x="23" y="39"/>
                    <a:pt x="24" y="38"/>
                  </a:cubicBezTo>
                  <a:cubicBezTo>
                    <a:pt x="27" y="44"/>
                    <a:pt x="27" y="44"/>
                    <a:pt x="27" y="44"/>
                  </a:cubicBezTo>
                  <a:cubicBezTo>
                    <a:pt x="24" y="46"/>
                    <a:pt x="20" y="47"/>
                    <a:pt x="17" y="47"/>
                  </a:cubicBezTo>
                  <a:cubicBezTo>
                    <a:pt x="10" y="47"/>
                    <a:pt x="7" y="43"/>
                    <a:pt x="7"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6" name="Freeform 165"/>
            <p:cNvSpPr>
              <a:spLocks noEditPoints="1"/>
            </p:cNvSpPr>
            <p:nvPr/>
          </p:nvSpPr>
          <p:spPr bwMode="auto">
            <a:xfrm>
              <a:off x="8163005" y="4532562"/>
              <a:ext cx="51814" cy="58743"/>
            </a:xfrm>
            <a:custGeom>
              <a:avLst/>
              <a:gdLst>
                <a:gd name="T0" fmla="*/ 22 w 31"/>
                <a:gd name="T1" fmla="*/ 33 h 37"/>
                <a:gd name="T2" fmla="*/ 12 w 31"/>
                <a:gd name="T3" fmla="*/ 37 h 37"/>
                <a:gd name="T4" fmla="*/ 0 w 31"/>
                <a:gd name="T5" fmla="*/ 26 h 37"/>
                <a:gd name="T6" fmla="*/ 6 w 31"/>
                <a:gd name="T7" fmla="*/ 16 h 37"/>
                <a:gd name="T8" fmla="*/ 15 w 31"/>
                <a:gd name="T9" fmla="*/ 14 h 37"/>
                <a:gd name="T10" fmla="*/ 21 w 31"/>
                <a:gd name="T11" fmla="*/ 14 h 37"/>
                <a:gd name="T12" fmla="*/ 21 w 31"/>
                <a:gd name="T13" fmla="*/ 13 h 37"/>
                <a:gd name="T14" fmla="*/ 15 w 31"/>
                <a:gd name="T15" fmla="*/ 7 h 37"/>
                <a:gd name="T16" fmla="*/ 5 w 31"/>
                <a:gd name="T17" fmla="*/ 9 h 37"/>
                <a:gd name="T18" fmla="*/ 3 w 31"/>
                <a:gd name="T19" fmla="*/ 4 h 37"/>
                <a:gd name="T20" fmla="*/ 16 w 31"/>
                <a:gd name="T21" fmla="*/ 0 h 37"/>
                <a:gd name="T22" fmla="*/ 30 w 31"/>
                <a:gd name="T23" fmla="*/ 13 h 37"/>
                <a:gd name="T24" fmla="*/ 30 w 31"/>
                <a:gd name="T25" fmla="*/ 27 h 37"/>
                <a:gd name="T26" fmla="*/ 31 w 31"/>
                <a:gd name="T27" fmla="*/ 36 h 37"/>
                <a:gd name="T28" fmla="*/ 24 w 31"/>
                <a:gd name="T29" fmla="*/ 36 h 37"/>
                <a:gd name="T30" fmla="*/ 22 w 31"/>
                <a:gd name="T31" fmla="*/ 33 h 37"/>
                <a:gd name="T32" fmla="*/ 17 w 31"/>
                <a:gd name="T33" fmla="*/ 20 h 37"/>
                <a:gd name="T34" fmla="*/ 12 w 31"/>
                <a:gd name="T35" fmla="*/ 21 h 37"/>
                <a:gd name="T36" fmla="*/ 9 w 31"/>
                <a:gd name="T37" fmla="*/ 25 h 37"/>
                <a:gd name="T38" fmla="*/ 15 w 31"/>
                <a:gd name="T39" fmla="*/ 30 h 37"/>
                <a:gd name="T40" fmla="*/ 21 w 31"/>
                <a:gd name="T41" fmla="*/ 27 h 37"/>
                <a:gd name="T42" fmla="*/ 21 w 31"/>
                <a:gd name="T43" fmla="*/ 20 h 37"/>
                <a:gd name="T44" fmla="*/ 17 w 31"/>
                <a:gd name="T45"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7">
                  <a:moveTo>
                    <a:pt x="22" y="33"/>
                  </a:moveTo>
                  <a:cubicBezTo>
                    <a:pt x="20" y="35"/>
                    <a:pt x="16" y="37"/>
                    <a:pt x="12" y="37"/>
                  </a:cubicBezTo>
                  <a:cubicBezTo>
                    <a:pt x="5" y="37"/>
                    <a:pt x="0" y="32"/>
                    <a:pt x="0" y="26"/>
                  </a:cubicBezTo>
                  <a:cubicBezTo>
                    <a:pt x="0" y="21"/>
                    <a:pt x="3" y="18"/>
                    <a:pt x="6" y="16"/>
                  </a:cubicBezTo>
                  <a:cubicBezTo>
                    <a:pt x="9" y="15"/>
                    <a:pt x="12" y="14"/>
                    <a:pt x="15" y="14"/>
                  </a:cubicBezTo>
                  <a:cubicBezTo>
                    <a:pt x="21" y="14"/>
                    <a:pt x="21" y="14"/>
                    <a:pt x="21" y="14"/>
                  </a:cubicBezTo>
                  <a:cubicBezTo>
                    <a:pt x="21" y="13"/>
                    <a:pt x="21" y="13"/>
                    <a:pt x="21" y="13"/>
                  </a:cubicBezTo>
                  <a:cubicBezTo>
                    <a:pt x="21" y="9"/>
                    <a:pt x="19" y="7"/>
                    <a:pt x="15" y="7"/>
                  </a:cubicBezTo>
                  <a:cubicBezTo>
                    <a:pt x="11" y="7"/>
                    <a:pt x="8" y="8"/>
                    <a:pt x="5" y="9"/>
                  </a:cubicBezTo>
                  <a:cubicBezTo>
                    <a:pt x="3" y="4"/>
                    <a:pt x="3" y="4"/>
                    <a:pt x="3" y="4"/>
                  </a:cubicBezTo>
                  <a:cubicBezTo>
                    <a:pt x="7" y="1"/>
                    <a:pt x="11" y="0"/>
                    <a:pt x="16" y="0"/>
                  </a:cubicBezTo>
                  <a:cubicBezTo>
                    <a:pt x="26" y="0"/>
                    <a:pt x="30" y="4"/>
                    <a:pt x="30" y="13"/>
                  </a:cubicBezTo>
                  <a:cubicBezTo>
                    <a:pt x="30" y="27"/>
                    <a:pt x="30" y="27"/>
                    <a:pt x="30" y="27"/>
                  </a:cubicBezTo>
                  <a:cubicBezTo>
                    <a:pt x="30" y="31"/>
                    <a:pt x="30" y="34"/>
                    <a:pt x="31" y="36"/>
                  </a:cubicBezTo>
                  <a:cubicBezTo>
                    <a:pt x="24" y="36"/>
                    <a:pt x="24" y="36"/>
                    <a:pt x="24" y="36"/>
                  </a:cubicBezTo>
                  <a:lnTo>
                    <a:pt x="22" y="33"/>
                  </a:lnTo>
                  <a:close/>
                  <a:moveTo>
                    <a:pt x="17" y="20"/>
                  </a:moveTo>
                  <a:cubicBezTo>
                    <a:pt x="14" y="20"/>
                    <a:pt x="13" y="20"/>
                    <a:pt x="12" y="21"/>
                  </a:cubicBezTo>
                  <a:cubicBezTo>
                    <a:pt x="10" y="22"/>
                    <a:pt x="9" y="23"/>
                    <a:pt x="9" y="25"/>
                  </a:cubicBezTo>
                  <a:cubicBezTo>
                    <a:pt x="9" y="28"/>
                    <a:pt x="11" y="30"/>
                    <a:pt x="15" y="30"/>
                  </a:cubicBezTo>
                  <a:cubicBezTo>
                    <a:pt x="18" y="30"/>
                    <a:pt x="20" y="28"/>
                    <a:pt x="21" y="27"/>
                  </a:cubicBezTo>
                  <a:cubicBezTo>
                    <a:pt x="21" y="20"/>
                    <a:pt x="21" y="20"/>
                    <a:pt x="21" y="20"/>
                  </a:cubicBezTo>
                  <a:lnTo>
                    <a:pt x="17"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67" name="Group 166"/>
          <p:cNvGrpSpPr/>
          <p:nvPr userDrawn="1"/>
        </p:nvGrpSpPr>
        <p:grpSpPr>
          <a:xfrm>
            <a:off x="4750866" y="4846684"/>
            <a:ext cx="1123200" cy="262528"/>
            <a:chOff x="7673274" y="4343117"/>
            <a:chExt cx="1123200" cy="262528"/>
          </a:xfrm>
          <a:solidFill>
            <a:schemeClr val="bg1"/>
          </a:solidFill>
        </p:grpSpPr>
        <p:grpSp>
          <p:nvGrpSpPr>
            <p:cNvPr id="168" name="Group 167"/>
            <p:cNvGrpSpPr/>
            <p:nvPr userDrawn="1"/>
          </p:nvGrpSpPr>
          <p:grpSpPr>
            <a:xfrm>
              <a:off x="7909937" y="4494135"/>
              <a:ext cx="438357" cy="111510"/>
              <a:chOff x="7909937" y="4491754"/>
              <a:chExt cx="438357" cy="111510"/>
            </a:xfrm>
            <a:grpFill/>
          </p:grpSpPr>
          <p:sp>
            <p:nvSpPr>
              <p:cNvPr id="185" name="Freeform 21"/>
              <p:cNvSpPr>
                <a:spLocks noEditPoints="1"/>
              </p:cNvSpPr>
              <p:nvPr/>
            </p:nvSpPr>
            <p:spPr bwMode="auto">
              <a:xfrm>
                <a:off x="7909937" y="4496945"/>
                <a:ext cx="72264" cy="78286"/>
              </a:xfrm>
              <a:custGeom>
                <a:avLst/>
                <a:gdLst>
                  <a:gd name="T0" fmla="*/ 290 w 696"/>
                  <a:gd name="T1" fmla="*/ 0 h 754"/>
                  <a:gd name="T2" fmla="*/ 394 w 696"/>
                  <a:gd name="T3" fmla="*/ 0 h 754"/>
                  <a:gd name="T4" fmla="*/ 696 w 696"/>
                  <a:gd name="T5" fmla="*/ 754 h 754"/>
                  <a:gd name="T6" fmla="*/ 550 w 696"/>
                  <a:gd name="T7" fmla="*/ 754 h 754"/>
                  <a:gd name="T8" fmla="*/ 478 w 696"/>
                  <a:gd name="T9" fmla="*/ 566 h 754"/>
                  <a:gd name="T10" fmla="*/ 210 w 696"/>
                  <a:gd name="T11" fmla="*/ 566 h 754"/>
                  <a:gd name="T12" fmla="*/ 140 w 696"/>
                  <a:gd name="T13" fmla="*/ 754 h 754"/>
                  <a:gd name="T14" fmla="*/ 0 w 696"/>
                  <a:gd name="T15" fmla="*/ 754 h 754"/>
                  <a:gd name="T16" fmla="*/ 290 w 696"/>
                  <a:gd name="T17" fmla="*/ 0 h 754"/>
                  <a:gd name="T18" fmla="*/ 436 w 696"/>
                  <a:gd name="T19" fmla="*/ 456 h 754"/>
                  <a:gd name="T20" fmla="*/ 384 w 696"/>
                  <a:gd name="T21" fmla="*/ 306 h 754"/>
                  <a:gd name="T22" fmla="*/ 384 w 696"/>
                  <a:gd name="T23" fmla="*/ 306 h 754"/>
                  <a:gd name="T24" fmla="*/ 360 w 696"/>
                  <a:gd name="T25" fmla="*/ 236 h 754"/>
                  <a:gd name="T26" fmla="*/ 346 w 696"/>
                  <a:gd name="T27" fmla="*/ 190 h 754"/>
                  <a:gd name="T28" fmla="*/ 344 w 696"/>
                  <a:gd name="T29" fmla="*/ 190 h 754"/>
                  <a:gd name="T30" fmla="*/ 344 w 696"/>
                  <a:gd name="T31" fmla="*/ 190 h 754"/>
                  <a:gd name="T32" fmla="*/ 328 w 696"/>
                  <a:gd name="T33" fmla="*/ 236 h 754"/>
                  <a:gd name="T34" fmla="*/ 304 w 696"/>
                  <a:gd name="T35" fmla="*/ 306 h 754"/>
                  <a:gd name="T36" fmla="*/ 250 w 696"/>
                  <a:gd name="T37" fmla="*/ 456 h 754"/>
                  <a:gd name="T38" fmla="*/ 436 w 696"/>
                  <a:gd name="T39" fmla="*/ 456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6" h="754">
                    <a:moveTo>
                      <a:pt x="290" y="0"/>
                    </a:moveTo>
                    <a:lnTo>
                      <a:pt x="394" y="0"/>
                    </a:lnTo>
                    <a:lnTo>
                      <a:pt x="696" y="754"/>
                    </a:lnTo>
                    <a:lnTo>
                      <a:pt x="550" y="754"/>
                    </a:lnTo>
                    <a:lnTo>
                      <a:pt x="478" y="566"/>
                    </a:lnTo>
                    <a:lnTo>
                      <a:pt x="210" y="566"/>
                    </a:lnTo>
                    <a:lnTo>
                      <a:pt x="140" y="754"/>
                    </a:lnTo>
                    <a:lnTo>
                      <a:pt x="0" y="754"/>
                    </a:lnTo>
                    <a:lnTo>
                      <a:pt x="290" y="0"/>
                    </a:lnTo>
                    <a:close/>
                    <a:moveTo>
                      <a:pt x="436" y="456"/>
                    </a:moveTo>
                    <a:lnTo>
                      <a:pt x="384" y="306"/>
                    </a:lnTo>
                    <a:lnTo>
                      <a:pt x="384" y="306"/>
                    </a:lnTo>
                    <a:lnTo>
                      <a:pt x="360" y="236"/>
                    </a:lnTo>
                    <a:lnTo>
                      <a:pt x="346" y="190"/>
                    </a:lnTo>
                    <a:lnTo>
                      <a:pt x="344" y="190"/>
                    </a:lnTo>
                    <a:lnTo>
                      <a:pt x="344" y="190"/>
                    </a:lnTo>
                    <a:lnTo>
                      <a:pt x="328" y="236"/>
                    </a:lnTo>
                    <a:lnTo>
                      <a:pt x="304" y="306"/>
                    </a:lnTo>
                    <a:lnTo>
                      <a:pt x="250" y="456"/>
                    </a:lnTo>
                    <a:lnTo>
                      <a:pt x="436" y="4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6" name="Freeform 22"/>
              <p:cNvSpPr>
                <a:spLocks noEditPoints="1"/>
              </p:cNvSpPr>
              <p:nvPr/>
            </p:nvSpPr>
            <p:spPr bwMode="auto">
              <a:xfrm>
                <a:off x="8047404" y="4517918"/>
                <a:ext cx="48591" cy="58558"/>
              </a:xfrm>
              <a:custGeom>
                <a:avLst/>
                <a:gdLst>
                  <a:gd name="T0" fmla="*/ 334 w 468"/>
                  <a:gd name="T1" fmla="*/ 502 h 564"/>
                  <a:gd name="T2" fmla="*/ 302 w 468"/>
                  <a:gd name="T3" fmla="*/ 526 h 564"/>
                  <a:gd name="T4" fmla="*/ 266 w 468"/>
                  <a:gd name="T5" fmla="*/ 546 h 564"/>
                  <a:gd name="T6" fmla="*/ 226 w 468"/>
                  <a:gd name="T7" fmla="*/ 560 h 564"/>
                  <a:gd name="T8" fmla="*/ 178 w 468"/>
                  <a:gd name="T9" fmla="*/ 564 h 564"/>
                  <a:gd name="T10" fmla="*/ 160 w 468"/>
                  <a:gd name="T11" fmla="*/ 564 h 564"/>
                  <a:gd name="T12" fmla="*/ 124 w 468"/>
                  <a:gd name="T13" fmla="*/ 558 h 564"/>
                  <a:gd name="T14" fmla="*/ 92 w 468"/>
                  <a:gd name="T15" fmla="*/ 546 h 564"/>
                  <a:gd name="T16" fmla="*/ 62 w 468"/>
                  <a:gd name="T17" fmla="*/ 528 h 564"/>
                  <a:gd name="T18" fmla="*/ 38 w 468"/>
                  <a:gd name="T19" fmla="*/ 506 h 564"/>
                  <a:gd name="T20" fmla="*/ 20 w 468"/>
                  <a:gd name="T21" fmla="*/ 478 h 564"/>
                  <a:gd name="T22" fmla="*/ 6 w 468"/>
                  <a:gd name="T23" fmla="*/ 446 h 564"/>
                  <a:gd name="T24" fmla="*/ 0 w 468"/>
                  <a:gd name="T25" fmla="*/ 412 h 564"/>
                  <a:gd name="T26" fmla="*/ 0 w 468"/>
                  <a:gd name="T27" fmla="*/ 392 h 564"/>
                  <a:gd name="T28" fmla="*/ 6 w 468"/>
                  <a:gd name="T29" fmla="*/ 342 h 564"/>
                  <a:gd name="T30" fmla="*/ 24 w 468"/>
                  <a:gd name="T31" fmla="*/ 302 h 564"/>
                  <a:gd name="T32" fmla="*/ 52 w 468"/>
                  <a:gd name="T33" fmla="*/ 270 h 564"/>
                  <a:gd name="T34" fmla="*/ 90 w 468"/>
                  <a:gd name="T35" fmla="*/ 246 h 564"/>
                  <a:gd name="T36" fmla="*/ 120 w 468"/>
                  <a:gd name="T37" fmla="*/ 232 h 564"/>
                  <a:gd name="T38" fmla="*/ 190 w 468"/>
                  <a:gd name="T39" fmla="*/ 218 h 564"/>
                  <a:gd name="T40" fmla="*/ 322 w 468"/>
                  <a:gd name="T41" fmla="*/ 210 h 564"/>
                  <a:gd name="T42" fmla="*/ 322 w 468"/>
                  <a:gd name="T43" fmla="*/ 194 h 564"/>
                  <a:gd name="T44" fmla="*/ 314 w 468"/>
                  <a:gd name="T45" fmla="*/ 154 h 564"/>
                  <a:gd name="T46" fmla="*/ 294 w 468"/>
                  <a:gd name="T47" fmla="*/ 126 h 564"/>
                  <a:gd name="T48" fmla="*/ 260 w 468"/>
                  <a:gd name="T49" fmla="*/ 108 h 564"/>
                  <a:gd name="T50" fmla="*/ 218 w 468"/>
                  <a:gd name="T51" fmla="*/ 104 h 564"/>
                  <a:gd name="T52" fmla="*/ 198 w 468"/>
                  <a:gd name="T53" fmla="*/ 104 h 564"/>
                  <a:gd name="T54" fmla="*/ 160 w 468"/>
                  <a:gd name="T55" fmla="*/ 110 h 564"/>
                  <a:gd name="T56" fmla="*/ 108 w 468"/>
                  <a:gd name="T57" fmla="*/ 126 h 564"/>
                  <a:gd name="T58" fmla="*/ 32 w 468"/>
                  <a:gd name="T59" fmla="*/ 54 h 564"/>
                  <a:gd name="T60" fmla="*/ 56 w 468"/>
                  <a:gd name="T61" fmla="*/ 42 h 564"/>
                  <a:gd name="T62" fmla="*/ 106 w 468"/>
                  <a:gd name="T63" fmla="*/ 22 h 564"/>
                  <a:gd name="T64" fmla="*/ 158 w 468"/>
                  <a:gd name="T65" fmla="*/ 8 h 564"/>
                  <a:gd name="T66" fmla="*/ 212 w 468"/>
                  <a:gd name="T67" fmla="*/ 0 h 564"/>
                  <a:gd name="T68" fmla="*/ 240 w 468"/>
                  <a:gd name="T69" fmla="*/ 0 h 564"/>
                  <a:gd name="T70" fmla="*/ 292 w 468"/>
                  <a:gd name="T71" fmla="*/ 4 h 564"/>
                  <a:gd name="T72" fmla="*/ 336 w 468"/>
                  <a:gd name="T73" fmla="*/ 12 h 564"/>
                  <a:gd name="T74" fmla="*/ 372 w 468"/>
                  <a:gd name="T75" fmla="*/ 28 h 564"/>
                  <a:gd name="T76" fmla="*/ 404 w 468"/>
                  <a:gd name="T77" fmla="*/ 50 h 564"/>
                  <a:gd name="T78" fmla="*/ 426 w 468"/>
                  <a:gd name="T79" fmla="*/ 76 h 564"/>
                  <a:gd name="T80" fmla="*/ 444 w 468"/>
                  <a:gd name="T81" fmla="*/ 110 h 564"/>
                  <a:gd name="T82" fmla="*/ 454 w 468"/>
                  <a:gd name="T83" fmla="*/ 150 h 564"/>
                  <a:gd name="T84" fmla="*/ 458 w 468"/>
                  <a:gd name="T85" fmla="*/ 196 h 564"/>
                  <a:gd name="T86" fmla="*/ 458 w 468"/>
                  <a:gd name="T87" fmla="*/ 414 h 564"/>
                  <a:gd name="T88" fmla="*/ 460 w 468"/>
                  <a:gd name="T89" fmla="*/ 496 h 564"/>
                  <a:gd name="T90" fmla="*/ 468 w 468"/>
                  <a:gd name="T91" fmla="*/ 552 h 564"/>
                  <a:gd name="T92" fmla="*/ 334 w 468"/>
                  <a:gd name="T93" fmla="*/ 502 h 564"/>
                  <a:gd name="T94" fmla="*/ 248 w 468"/>
                  <a:gd name="T95" fmla="*/ 304 h 564"/>
                  <a:gd name="T96" fmla="*/ 204 w 468"/>
                  <a:gd name="T97" fmla="*/ 310 h 564"/>
                  <a:gd name="T98" fmla="*/ 170 w 468"/>
                  <a:gd name="T99" fmla="*/ 322 h 564"/>
                  <a:gd name="T100" fmla="*/ 162 w 468"/>
                  <a:gd name="T101" fmla="*/ 326 h 564"/>
                  <a:gd name="T102" fmla="*/ 150 w 468"/>
                  <a:gd name="T103" fmla="*/ 340 h 564"/>
                  <a:gd name="T104" fmla="*/ 142 w 468"/>
                  <a:gd name="T105" fmla="*/ 354 h 564"/>
                  <a:gd name="T106" fmla="*/ 138 w 468"/>
                  <a:gd name="T107" fmla="*/ 382 h 564"/>
                  <a:gd name="T108" fmla="*/ 138 w 468"/>
                  <a:gd name="T109" fmla="*/ 400 h 564"/>
                  <a:gd name="T110" fmla="*/ 150 w 468"/>
                  <a:gd name="T111" fmla="*/ 426 h 564"/>
                  <a:gd name="T112" fmla="*/ 170 w 468"/>
                  <a:gd name="T113" fmla="*/ 446 h 564"/>
                  <a:gd name="T114" fmla="*/ 200 w 468"/>
                  <a:gd name="T115" fmla="*/ 456 h 564"/>
                  <a:gd name="T116" fmla="*/ 216 w 468"/>
                  <a:gd name="T117" fmla="*/ 456 h 564"/>
                  <a:gd name="T118" fmla="*/ 252 w 468"/>
                  <a:gd name="T119" fmla="*/ 452 h 564"/>
                  <a:gd name="T120" fmla="*/ 282 w 468"/>
                  <a:gd name="T121" fmla="*/ 442 h 564"/>
                  <a:gd name="T122" fmla="*/ 322 w 468"/>
                  <a:gd name="T123" fmla="*/ 418 h 564"/>
                  <a:gd name="T124" fmla="*/ 248 w 468"/>
                  <a:gd name="T125" fmla="*/ 30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8" h="564">
                    <a:moveTo>
                      <a:pt x="334" y="502"/>
                    </a:moveTo>
                    <a:lnTo>
                      <a:pt x="334" y="502"/>
                    </a:lnTo>
                    <a:lnTo>
                      <a:pt x="318" y="514"/>
                    </a:lnTo>
                    <a:lnTo>
                      <a:pt x="302" y="526"/>
                    </a:lnTo>
                    <a:lnTo>
                      <a:pt x="284" y="536"/>
                    </a:lnTo>
                    <a:lnTo>
                      <a:pt x="266" y="546"/>
                    </a:lnTo>
                    <a:lnTo>
                      <a:pt x="246" y="554"/>
                    </a:lnTo>
                    <a:lnTo>
                      <a:pt x="226" y="560"/>
                    </a:lnTo>
                    <a:lnTo>
                      <a:pt x="202" y="562"/>
                    </a:lnTo>
                    <a:lnTo>
                      <a:pt x="178" y="564"/>
                    </a:lnTo>
                    <a:lnTo>
                      <a:pt x="178" y="564"/>
                    </a:lnTo>
                    <a:lnTo>
                      <a:pt x="160" y="564"/>
                    </a:lnTo>
                    <a:lnTo>
                      <a:pt x="140" y="560"/>
                    </a:lnTo>
                    <a:lnTo>
                      <a:pt x="124" y="558"/>
                    </a:lnTo>
                    <a:lnTo>
                      <a:pt x="106" y="552"/>
                    </a:lnTo>
                    <a:lnTo>
                      <a:pt x="92" y="546"/>
                    </a:lnTo>
                    <a:lnTo>
                      <a:pt x="76" y="538"/>
                    </a:lnTo>
                    <a:lnTo>
                      <a:pt x="62" y="528"/>
                    </a:lnTo>
                    <a:lnTo>
                      <a:pt x="50" y="516"/>
                    </a:lnTo>
                    <a:lnTo>
                      <a:pt x="38" y="506"/>
                    </a:lnTo>
                    <a:lnTo>
                      <a:pt x="28" y="492"/>
                    </a:lnTo>
                    <a:lnTo>
                      <a:pt x="20" y="478"/>
                    </a:lnTo>
                    <a:lnTo>
                      <a:pt x="12" y="462"/>
                    </a:lnTo>
                    <a:lnTo>
                      <a:pt x="6" y="446"/>
                    </a:lnTo>
                    <a:lnTo>
                      <a:pt x="2" y="430"/>
                    </a:lnTo>
                    <a:lnTo>
                      <a:pt x="0" y="412"/>
                    </a:lnTo>
                    <a:lnTo>
                      <a:pt x="0" y="392"/>
                    </a:lnTo>
                    <a:lnTo>
                      <a:pt x="0" y="392"/>
                    </a:lnTo>
                    <a:lnTo>
                      <a:pt x="0" y="366"/>
                    </a:lnTo>
                    <a:lnTo>
                      <a:pt x="6" y="342"/>
                    </a:lnTo>
                    <a:lnTo>
                      <a:pt x="14" y="320"/>
                    </a:lnTo>
                    <a:lnTo>
                      <a:pt x="24" y="302"/>
                    </a:lnTo>
                    <a:lnTo>
                      <a:pt x="36" y="284"/>
                    </a:lnTo>
                    <a:lnTo>
                      <a:pt x="52" y="270"/>
                    </a:lnTo>
                    <a:lnTo>
                      <a:pt x="70" y="256"/>
                    </a:lnTo>
                    <a:lnTo>
                      <a:pt x="90" y="246"/>
                    </a:lnTo>
                    <a:lnTo>
                      <a:pt x="90" y="246"/>
                    </a:lnTo>
                    <a:lnTo>
                      <a:pt x="120" y="232"/>
                    </a:lnTo>
                    <a:lnTo>
                      <a:pt x="154" y="224"/>
                    </a:lnTo>
                    <a:lnTo>
                      <a:pt x="190" y="218"/>
                    </a:lnTo>
                    <a:lnTo>
                      <a:pt x="230" y="214"/>
                    </a:lnTo>
                    <a:lnTo>
                      <a:pt x="322" y="210"/>
                    </a:lnTo>
                    <a:lnTo>
                      <a:pt x="322" y="194"/>
                    </a:lnTo>
                    <a:lnTo>
                      <a:pt x="322" y="194"/>
                    </a:lnTo>
                    <a:lnTo>
                      <a:pt x="320" y="172"/>
                    </a:lnTo>
                    <a:lnTo>
                      <a:pt x="314" y="154"/>
                    </a:lnTo>
                    <a:lnTo>
                      <a:pt x="306" y="138"/>
                    </a:lnTo>
                    <a:lnTo>
                      <a:pt x="294" y="126"/>
                    </a:lnTo>
                    <a:lnTo>
                      <a:pt x="278" y="116"/>
                    </a:lnTo>
                    <a:lnTo>
                      <a:pt x="260" y="108"/>
                    </a:lnTo>
                    <a:lnTo>
                      <a:pt x="240" y="106"/>
                    </a:lnTo>
                    <a:lnTo>
                      <a:pt x="218" y="104"/>
                    </a:lnTo>
                    <a:lnTo>
                      <a:pt x="218" y="104"/>
                    </a:lnTo>
                    <a:lnTo>
                      <a:pt x="198" y="104"/>
                    </a:lnTo>
                    <a:lnTo>
                      <a:pt x="178" y="106"/>
                    </a:lnTo>
                    <a:lnTo>
                      <a:pt x="160" y="110"/>
                    </a:lnTo>
                    <a:lnTo>
                      <a:pt x="142" y="114"/>
                    </a:lnTo>
                    <a:lnTo>
                      <a:pt x="108" y="126"/>
                    </a:lnTo>
                    <a:lnTo>
                      <a:pt x="76" y="142"/>
                    </a:lnTo>
                    <a:lnTo>
                      <a:pt x="32" y="54"/>
                    </a:lnTo>
                    <a:lnTo>
                      <a:pt x="32" y="54"/>
                    </a:lnTo>
                    <a:lnTo>
                      <a:pt x="56" y="42"/>
                    </a:lnTo>
                    <a:lnTo>
                      <a:pt x="82" y="30"/>
                    </a:lnTo>
                    <a:lnTo>
                      <a:pt x="106" y="22"/>
                    </a:lnTo>
                    <a:lnTo>
                      <a:pt x="132" y="14"/>
                    </a:lnTo>
                    <a:lnTo>
                      <a:pt x="158" y="8"/>
                    </a:lnTo>
                    <a:lnTo>
                      <a:pt x="186" y="4"/>
                    </a:lnTo>
                    <a:lnTo>
                      <a:pt x="212" y="0"/>
                    </a:lnTo>
                    <a:lnTo>
                      <a:pt x="240" y="0"/>
                    </a:lnTo>
                    <a:lnTo>
                      <a:pt x="240" y="0"/>
                    </a:lnTo>
                    <a:lnTo>
                      <a:pt x="268" y="0"/>
                    </a:lnTo>
                    <a:lnTo>
                      <a:pt x="292" y="4"/>
                    </a:lnTo>
                    <a:lnTo>
                      <a:pt x="314" y="6"/>
                    </a:lnTo>
                    <a:lnTo>
                      <a:pt x="336" y="12"/>
                    </a:lnTo>
                    <a:lnTo>
                      <a:pt x="356" y="20"/>
                    </a:lnTo>
                    <a:lnTo>
                      <a:pt x="372" y="28"/>
                    </a:lnTo>
                    <a:lnTo>
                      <a:pt x="388" y="38"/>
                    </a:lnTo>
                    <a:lnTo>
                      <a:pt x="404" y="50"/>
                    </a:lnTo>
                    <a:lnTo>
                      <a:pt x="416" y="62"/>
                    </a:lnTo>
                    <a:lnTo>
                      <a:pt x="426" y="76"/>
                    </a:lnTo>
                    <a:lnTo>
                      <a:pt x="436" y="94"/>
                    </a:lnTo>
                    <a:lnTo>
                      <a:pt x="444" y="110"/>
                    </a:lnTo>
                    <a:lnTo>
                      <a:pt x="450" y="130"/>
                    </a:lnTo>
                    <a:lnTo>
                      <a:pt x="454" y="150"/>
                    </a:lnTo>
                    <a:lnTo>
                      <a:pt x="456" y="172"/>
                    </a:lnTo>
                    <a:lnTo>
                      <a:pt x="458" y="196"/>
                    </a:lnTo>
                    <a:lnTo>
                      <a:pt x="458" y="414"/>
                    </a:lnTo>
                    <a:lnTo>
                      <a:pt x="458" y="414"/>
                    </a:lnTo>
                    <a:lnTo>
                      <a:pt x="458" y="458"/>
                    </a:lnTo>
                    <a:lnTo>
                      <a:pt x="460" y="496"/>
                    </a:lnTo>
                    <a:lnTo>
                      <a:pt x="462" y="528"/>
                    </a:lnTo>
                    <a:lnTo>
                      <a:pt x="468" y="552"/>
                    </a:lnTo>
                    <a:lnTo>
                      <a:pt x="354" y="552"/>
                    </a:lnTo>
                    <a:lnTo>
                      <a:pt x="334" y="502"/>
                    </a:lnTo>
                    <a:close/>
                    <a:moveTo>
                      <a:pt x="248" y="304"/>
                    </a:moveTo>
                    <a:lnTo>
                      <a:pt x="248" y="304"/>
                    </a:lnTo>
                    <a:lnTo>
                      <a:pt x="224" y="306"/>
                    </a:lnTo>
                    <a:lnTo>
                      <a:pt x="204" y="310"/>
                    </a:lnTo>
                    <a:lnTo>
                      <a:pt x="186" y="314"/>
                    </a:lnTo>
                    <a:lnTo>
                      <a:pt x="170" y="322"/>
                    </a:lnTo>
                    <a:lnTo>
                      <a:pt x="170" y="322"/>
                    </a:lnTo>
                    <a:lnTo>
                      <a:pt x="162" y="326"/>
                    </a:lnTo>
                    <a:lnTo>
                      <a:pt x="156" y="332"/>
                    </a:lnTo>
                    <a:lnTo>
                      <a:pt x="150" y="340"/>
                    </a:lnTo>
                    <a:lnTo>
                      <a:pt x="146" y="346"/>
                    </a:lnTo>
                    <a:lnTo>
                      <a:pt x="142" y="354"/>
                    </a:lnTo>
                    <a:lnTo>
                      <a:pt x="140" y="364"/>
                    </a:lnTo>
                    <a:lnTo>
                      <a:pt x="138" y="382"/>
                    </a:lnTo>
                    <a:lnTo>
                      <a:pt x="138" y="382"/>
                    </a:lnTo>
                    <a:lnTo>
                      <a:pt x="138" y="400"/>
                    </a:lnTo>
                    <a:lnTo>
                      <a:pt x="142" y="414"/>
                    </a:lnTo>
                    <a:lnTo>
                      <a:pt x="150" y="426"/>
                    </a:lnTo>
                    <a:lnTo>
                      <a:pt x="158" y="438"/>
                    </a:lnTo>
                    <a:lnTo>
                      <a:pt x="170" y="446"/>
                    </a:lnTo>
                    <a:lnTo>
                      <a:pt x="184" y="452"/>
                    </a:lnTo>
                    <a:lnTo>
                      <a:pt x="200" y="456"/>
                    </a:lnTo>
                    <a:lnTo>
                      <a:pt x="216" y="456"/>
                    </a:lnTo>
                    <a:lnTo>
                      <a:pt x="216" y="456"/>
                    </a:lnTo>
                    <a:lnTo>
                      <a:pt x="234" y="456"/>
                    </a:lnTo>
                    <a:lnTo>
                      <a:pt x="252" y="452"/>
                    </a:lnTo>
                    <a:lnTo>
                      <a:pt x="268" y="448"/>
                    </a:lnTo>
                    <a:lnTo>
                      <a:pt x="282" y="442"/>
                    </a:lnTo>
                    <a:lnTo>
                      <a:pt x="304" y="430"/>
                    </a:lnTo>
                    <a:lnTo>
                      <a:pt x="322" y="418"/>
                    </a:lnTo>
                    <a:lnTo>
                      <a:pt x="322" y="302"/>
                    </a:lnTo>
                    <a:lnTo>
                      <a:pt x="248" y="3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7" name="Freeform 23"/>
              <p:cNvSpPr>
                <a:spLocks/>
              </p:cNvSpPr>
              <p:nvPr/>
            </p:nvSpPr>
            <p:spPr bwMode="auto">
              <a:xfrm>
                <a:off x="8121536" y="4519372"/>
                <a:ext cx="62089" cy="83892"/>
              </a:xfrm>
              <a:custGeom>
                <a:avLst/>
                <a:gdLst>
                  <a:gd name="T0" fmla="*/ 34 w 598"/>
                  <a:gd name="T1" fmla="*/ 678 h 808"/>
                  <a:gd name="T2" fmla="*/ 34 w 598"/>
                  <a:gd name="T3" fmla="*/ 678 h 808"/>
                  <a:gd name="T4" fmla="*/ 54 w 598"/>
                  <a:gd name="T5" fmla="*/ 688 h 808"/>
                  <a:gd name="T6" fmla="*/ 74 w 598"/>
                  <a:gd name="T7" fmla="*/ 694 h 808"/>
                  <a:gd name="T8" fmla="*/ 94 w 598"/>
                  <a:gd name="T9" fmla="*/ 698 h 808"/>
                  <a:gd name="T10" fmla="*/ 116 w 598"/>
                  <a:gd name="T11" fmla="*/ 700 h 808"/>
                  <a:gd name="T12" fmla="*/ 116 w 598"/>
                  <a:gd name="T13" fmla="*/ 700 h 808"/>
                  <a:gd name="T14" fmla="*/ 138 w 598"/>
                  <a:gd name="T15" fmla="*/ 698 h 808"/>
                  <a:gd name="T16" fmla="*/ 158 w 598"/>
                  <a:gd name="T17" fmla="*/ 692 h 808"/>
                  <a:gd name="T18" fmla="*/ 168 w 598"/>
                  <a:gd name="T19" fmla="*/ 686 h 808"/>
                  <a:gd name="T20" fmla="*/ 178 w 598"/>
                  <a:gd name="T21" fmla="*/ 680 h 808"/>
                  <a:gd name="T22" fmla="*/ 188 w 598"/>
                  <a:gd name="T23" fmla="*/ 672 h 808"/>
                  <a:gd name="T24" fmla="*/ 198 w 598"/>
                  <a:gd name="T25" fmla="*/ 664 h 808"/>
                  <a:gd name="T26" fmla="*/ 216 w 598"/>
                  <a:gd name="T27" fmla="*/ 642 h 808"/>
                  <a:gd name="T28" fmla="*/ 234 w 598"/>
                  <a:gd name="T29" fmla="*/ 612 h 808"/>
                  <a:gd name="T30" fmla="*/ 250 w 598"/>
                  <a:gd name="T31" fmla="*/ 578 h 808"/>
                  <a:gd name="T32" fmla="*/ 266 w 598"/>
                  <a:gd name="T33" fmla="*/ 536 h 808"/>
                  <a:gd name="T34" fmla="*/ 24 w 598"/>
                  <a:gd name="T35" fmla="*/ 0 h 808"/>
                  <a:gd name="T36" fmla="*/ 164 w 598"/>
                  <a:gd name="T37" fmla="*/ 0 h 808"/>
                  <a:gd name="T38" fmla="*/ 328 w 598"/>
                  <a:gd name="T39" fmla="*/ 382 h 808"/>
                  <a:gd name="T40" fmla="*/ 330 w 598"/>
                  <a:gd name="T41" fmla="*/ 382 h 808"/>
                  <a:gd name="T42" fmla="*/ 460 w 598"/>
                  <a:gd name="T43" fmla="*/ 0 h 808"/>
                  <a:gd name="T44" fmla="*/ 598 w 598"/>
                  <a:gd name="T45" fmla="*/ 0 h 808"/>
                  <a:gd name="T46" fmla="*/ 392 w 598"/>
                  <a:gd name="T47" fmla="*/ 556 h 808"/>
                  <a:gd name="T48" fmla="*/ 392 w 598"/>
                  <a:gd name="T49" fmla="*/ 556 h 808"/>
                  <a:gd name="T50" fmla="*/ 376 w 598"/>
                  <a:gd name="T51" fmla="*/ 596 h 808"/>
                  <a:gd name="T52" fmla="*/ 360 w 598"/>
                  <a:gd name="T53" fmla="*/ 632 h 808"/>
                  <a:gd name="T54" fmla="*/ 344 w 598"/>
                  <a:gd name="T55" fmla="*/ 662 h 808"/>
                  <a:gd name="T56" fmla="*/ 326 w 598"/>
                  <a:gd name="T57" fmla="*/ 690 h 808"/>
                  <a:gd name="T58" fmla="*/ 308 w 598"/>
                  <a:gd name="T59" fmla="*/ 714 h 808"/>
                  <a:gd name="T60" fmla="*/ 292 w 598"/>
                  <a:gd name="T61" fmla="*/ 734 h 808"/>
                  <a:gd name="T62" fmla="*/ 274 w 598"/>
                  <a:gd name="T63" fmla="*/ 752 h 808"/>
                  <a:gd name="T64" fmla="*/ 256 w 598"/>
                  <a:gd name="T65" fmla="*/ 766 h 808"/>
                  <a:gd name="T66" fmla="*/ 238 w 598"/>
                  <a:gd name="T67" fmla="*/ 778 h 808"/>
                  <a:gd name="T68" fmla="*/ 220 w 598"/>
                  <a:gd name="T69" fmla="*/ 788 h 808"/>
                  <a:gd name="T70" fmla="*/ 200 w 598"/>
                  <a:gd name="T71" fmla="*/ 796 h 808"/>
                  <a:gd name="T72" fmla="*/ 182 w 598"/>
                  <a:gd name="T73" fmla="*/ 800 h 808"/>
                  <a:gd name="T74" fmla="*/ 164 w 598"/>
                  <a:gd name="T75" fmla="*/ 804 h 808"/>
                  <a:gd name="T76" fmla="*/ 146 w 598"/>
                  <a:gd name="T77" fmla="*/ 808 h 808"/>
                  <a:gd name="T78" fmla="*/ 108 w 598"/>
                  <a:gd name="T79" fmla="*/ 808 h 808"/>
                  <a:gd name="T80" fmla="*/ 108 w 598"/>
                  <a:gd name="T81" fmla="*/ 808 h 808"/>
                  <a:gd name="T82" fmla="*/ 78 w 598"/>
                  <a:gd name="T83" fmla="*/ 808 h 808"/>
                  <a:gd name="T84" fmla="*/ 52 w 598"/>
                  <a:gd name="T85" fmla="*/ 802 h 808"/>
                  <a:gd name="T86" fmla="*/ 26 w 598"/>
                  <a:gd name="T87" fmla="*/ 794 h 808"/>
                  <a:gd name="T88" fmla="*/ 0 w 598"/>
                  <a:gd name="T89" fmla="*/ 784 h 808"/>
                  <a:gd name="T90" fmla="*/ 34 w 598"/>
                  <a:gd name="T91" fmla="*/ 678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98" h="808">
                    <a:moveTo>
                      <a:pt x="34" y="678"/>
                    </a:moveTo>
                    <a:lnTo>
                      <a:pt x="34" y="678"/>
                    </a:lnTo>
                    <a:lnTo>
                      <a:pt x="54" y="688"/>
                    </a:lnTo>
                    <a:lnTo>
                      <a:pt x="74" y="694"/>
                    </a:lnTo>
                    <a:lnTo>
                      <a:pt x="94" y="698"/>
                    </a:lnTo>
                    <a:lnTo>
                      <a:pt x="116" y="700"/>
                    </a:lnTo>
                    <a:lnTo>
                      <a:pt x="116" y="700"/>
                    </a:lnTo>
                    <a:lnTo>
                      <a:pt x="138" y="698"/>
                    </a:lnTo>
                    <a:lnTo>
                      <a:pt x="158" y="692"/>
                    </a:lnTo>
                    <a:lnTo>
                      <a:pt x="168" y="686"/>
                    </a:lnTo>
                    <a:lnTo>
                      <a:pt x="178" y="680"/>
                    </a:lnTo>
                    <a:lnTo>
                      <a:pt x="188" y="672"/>
                    </a:lnTo>
                    <a:lnTo>
                      <a:pt x="198" y="664"/>
                    </a:lnTo>
                    <a:lnTo>
                      <a:pt x="216" y="642"/>
                    </a:lnTo>
                    <a:lnTo>
                      <a:pt x="234" y="612"/>
                    </a:lnTo>
                    <a:lnTo>
                      <a:pt x="250" y="578"/>
                    </a:lnTo>
                    <a:lnTo>
                      <a:pt x="266" y="536"/>
                    </a:lnTo>
                    <a:lnTo>
                      <a:pt x="24" y="0"/>
                    </a:lnTo>
                    <a:lnTo>
                      <a:pt x="164" y="0"/>
                    </a:lnTo>
                    <a:lnTo>
                      <a:pt x="328" y="382"/>
                    </a:lnTo>
                    <a:lnTo>
                      <a:pt x="330" y="382"/>
                    </a:lnTo>
                    <a:lnTo>
                      <a:pt x="460" y="0"/>
                    </a:lnTo>
                    <a:lnTo>
                      <a:pt x="598" y="0"/>
                    </a:lnTo>
                    <a:lnTo>
                      <a:pt x="392" y="556"/>
                    </a:lnTo>
                    <a:lnTo>
                      <a:pt x="392" y="556"/>
                    </a:lnTo>
                    <a:lnTo>
                      <a:pt x="376" y="596"/>
                    </a:lnTo>
                    <a:lnTo>
                      <a:pt x="360" y="632"/>
                    </a:lnTo>
                    <a:lnTo>
                      <a:pt x="344" y="662"/>
                    </a:lnTo>
                    <a:lnTo>
                      <a:pt x="326" y="690"/>
                    </a:lnTo>
                    <a:lnTo>
                      <a:pt x="308" y="714"/>
                    </a:lnTo>
                    <a:lnTo>
                      <a:pt x="292" y="734"/>
                    </a:lnTo>
                    <a:lnTo>
                      <a:pt x="274" y="752"/>
                    </a:lnTo>
                    <a:lnTo>
                      <a:pt x="256" y="766"/>
                    </a:lnTo>
                    <a:lnTo>
                      <a:pt x="238" y="778"/>
                    </a:lnTo>
                    <a:lnTo>
                      <a:pt x="220" y="788"/>
                    </a:lnTo>
                    <a:lnTo>
                      <a:pt x="200" y="796"/>
                    </a:lnTo>
                    <a:lnTo>
                      <a:pt x="182" y="800"/>
                    </a:lnTo>
                    <a:lnTo>
                      <a:pt x="164" y="804"/>
                    </a:lnTo>
                    <a:lnTo>
                      <a:pt x="146" y="808"/>
                    </a:lnTo>
                    <a:lnTo>
                      <a:pt x="108" y="808"/>
                    </a:lnTo>
                    <a:lnTo>
                      <a:pt x="108" y="808"/>
                    </a:lnTo>
                    <a:lnTo>
                      <a:pt x="78" y="808"/>
                    </a:lnTo>
                    <a:lnTo>
                      <a:pt x="52" y="802"/>
                    </a:lnTo>
                    <a:lnTo>
                      <a:pt x="26" y="794"/>
                    </a:lnTo>
                    <a:lnTo>
                      <a:pt x="0" y="784"/>
                    </a:lnTo>
                    <a:lnTo>
                      <a:pt x="34" y="6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8" name="Freeform 24"/>
              <p:cNvSpPr>
                <a:spLocks/>
              </p:cNvSpPr>
              <p:nvPr/>
            </p:nvSpPr>
            <p:spPr bwMode="auto">
              <a:xfrm>
                <a:off x="8179056" y="4502136"/>
                <a:ext cx="45269" cy="74340"/>
              </a:xfrm>
              <a:custGeom>
                <a:avLst/>
                <a:gdLst>
                  <a:gd name="T0" fmla="*/ 124 w 436"/>
                  <a:gd name="T1" fmla="*/ 572 h 716"/>
                  <a:gd name="T2" fmla="*/ 124 w 436"/>
                  <a:gd name="T3" fmla="*/ 272 h 716"/>
                  <a:gd name="T4" fmla="*/ 0 w 436"/>
                  <a:gd name="T5" fmla="*/ 272 h 716"/>
                  <a:gd name="T6" fmla="*/ 28 w 436"/>
                  <a:gd name="T7" fmla="*/ 166 h 716"/>
                  <a:gd name="T8" fmla="*/ 124 w 436"/>
                  <a:gd name="T9" fmla="*/ 166 h 716"/>
                  <a:gd name="T10" fmla="*/ 124 w 436"/>
                  <a:gd name="T11" fmla="*/ 40 h 716"/>
                  <a:gd name="T12" fmla="*/ 260 w 436"/>
                  <a:gd name="T13" fmla="*/ 0 h 716"/>
                  <a:gd name="T14" fmla="*/ 260 w 436"/>
                  <a:gd name="T15" fmla="*/ 166 h 716"/>
                  <a:gd name="T16" fmla="*/ 424 w 436"/>
                  <a:gd name="T17" fmla="*/ 166 h 716"/>
                  <a:gd name="T18" fmla="*/ 390 w 436"/>
                  <a:gd name="T19" fmla="*/ 272 h 716"/>
                  <a:gd name="T20" fmla="*/ 260 w 436"/>
                  <a:gd name="T21" fmla="*/ 272 h 716"/>
                  <a:gd name="T22" fmla="*/ 260 w 436"/>
                  <a:gd name="T23" fmla="*/ 538 h 716"/>
                  <a:gd name="T24" fmla="*/ 260 w 436"/>
                  <a:gd name="T25" fmla="*/ 538 h 716"/>
                  <a:gd name="T26" fmla="*/ 262 w 436"/>
                  <a:gd name="T27" fmla="*/ 556 h 716"/>
                  <a:gd name="T28" fmla="*/ 264 w 436"/>
                  <a:gd name="T29" fmla="*/ 570 h 716"/>
                  <a:gd name="T30" fmla="*/ 268 w 436"/>
                  <a:gd name="T31" fmla="*/ 582 h 716"/>
                  <a:gd name="T32" fmla="*/ 274 w 436"/>
                  <a:gd name="T33" fmla="*/ 592 h 716"/>
                  <a:gd name="T34" fmla="*/ 280 w 436"/>
                  <a:gd name="T35" fmla="*/ 598 h 716"/>
                  <a:gd name="T36" fmla="*/ 290 w 436"/>
                  <a:gd name="T37" fmla="*/ 604 h 716"/>
                  <a:gd name="T38" fmla="*/ 300 w 436"/>
                  <a:gd name="T39" fmla="*/ 606 h 716"/>
                  <a:gd name="T40" fmla="*/ 312 w 436"/>
                  <a:gd name="T41" fmla="*/ 606 h 716"/>
                  <a:gd name="T42" fmla="*/ 312 w 436"/>
                  <a:gd name="T43" fmla="*/ 606 h 716"/>
                  <a:gd name="T44" fmla="*/ 336 w 436"/>
                  <a:gd name="T45" fmla="*/ 604 h 716"/>
                  <a:gd name="T46" fmla="*/ 358 w 436"/>
                  <a:gd name="T47" fmla="*/ 598 h 716"/>
                  <a:gd name="T48" fmla="*/ 378 w 436"/>
                  <a:gd name="T49" fmla="*/ 590 h 716"/>
                  <a:gd name="T50" fmla="*/ 394 w 436"/>
                  <a:gd name="T51" fmla="*/ 580 h 716"/>
                  <a:gd name="T52" fmla="*/ 436 w 436"/>
                  <a:gd name="T53" fmla="*/ 674 h 716"/>
                  <a:gd name="T54" fmla="*/ 436 w 436"/>
                  <a:gd name="T55" fmla="*/ 674 h 716"/>
                  <a:gd name="T56" fmla="*/ 420 w 436"/>
                  <a:gd name="T57" fmla="*/ 684 h 716"/>
                  <a:gd name="T58" fmla="*/ 402 w 436"/>
                  <a:gd name="T59" fmla="*/ 692 h 716"/>
                  <a:gd name="T60" fmla="*/ 384 w 436"/>
                  <a:gd name="T61" fmla="*/ 698 h 716"/>
                  <a:gd name="T62" fmla="*/ 362 w 436"/>
                  <a:gd name="T63" fmla="*/ 704 h 716"/>
                  <a:gd name="T64" fmla="*/ 342 w 436"/>
                  <a:gd name="T65" fmla="*/ 710 h 716"/>
                  <a:gd name="T66" fmla="*/ 320 w 436"/>
                  <a:gd name="T67" fmla="*/ 714 h 716"/>
                  <a:gd name="T68" fmla="*/ 300 w 436"/>
                  <a:gd name="T69" fmla="*/ 716 h 716"/>
                  <a:gd name="T70" fmla="*/ 278 w 436"/>
                  <a:gd name="T71" fmla="*/ 716 h 716"/>
                  <a:gd name="T72" fmla="*/ 278 w 436"/>
                  <a:gd name="T73" fmla="*/ 716 h 716"/>
                  <a:gd name="T74" fmla="*/ 260 w 436"/>
                  <a:gd name="T75" fmla="*/ 716 h 716"/>
                  <a:gd name="T76" fmla="*/ 244 w 436"/>
                  <a:gd name="T77" fmla="*/ 714 h 716"/>
                  <a:gd name="T78" fmla="*/ 228 w 436"/>
                  <a:gd name="T79" fmla="*/ 710 h 716"/>
                  <a:gd name="T80" fmla="*/ 214 w 436"/>
                  <a:gd name="T81" fmla="*/ 706 h 716"/>
                  <a:gd name="T82" fmla="*/ 200 w 436"/>
                  <a:gd name="T83" fmla="*/ 700 h 716"/>
                  <a:gd name="T84" fmla="*/ 188 w 436"/>
                  <a:gd name="T85" fmla="*/ 694 h 716"/>
                  <a:gd name="T86" fmla="*/ 176 w 436"/>
                  <a:gd name="T87" fmla="*/ 686 h 716"/>
                  <a:gd name="T88" fmla="*/ 166 w 436"/>
                  <a:gd name="T89" fmla="*/ 678 h 716"/>
                  <a:gd name="T90" fmla="*/ 156 w 436"/>
                  <a:gd name="T91" fmla="*/ 668 h 716"/>
                  <a:gd name="T92" fmla="*/ 148 w 436"/>
                  <a:gd name="T93" fmla="*/ 656 h 716"/>
                  <a:gd name="T94" fmla="*/ 142 w 436"/>
                  <a:gd name="T95" fmla="*/ 644 h 716"/>
                  <a:gd name="T96" fmla="*/ 136 w 436"/>
                  <a:gd name="T97" fmla="*/ 632 h 716"/>
                  <a:gd name="T98" fmla="*/ 130 w 436"/>
                  <a:gd name="T99" fmla="*/ 618 h 716"/>
                  <a:gd name="T100" fmla="*/ 128 w 436"/>
                  <a:gd name="T101" fmla="*/ 604 h 716"/>
                  <a:gd name="T102" fmla="*/ 126 w 436"/>
                  <a:gd name="T103" fmla="*/ 588 h 716"/>
                  <a:gd name="T104" fmla="*/ 124 w 436"/>
                  <a:gd name="T105" fmla="*/ 572 h 716"/>
                  <a:gd name="T106" fmla="*/ 124 w 436"/>
                  <a:gd name="T107" fmla="*/ 57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6" h="716">
                    <a:moveTo>
                      <a:pt x="124" y="572"/>
                    </a:moveTo>
                    <a:lnTo>
                      <a:pt x="124" y="272"/>
                    </a:lnTo>
                    <a:lnTo>
                      <a:pt x="0" y="272"/>
                    </a:lnTo>
                    <a:lnTo>
                      <a:pt x="28" y="166"/>
                    </a:lnTo>
                    <a:lnTo>
                      <a:pt x="124" y="166"/>
                    </a:lnTo>
                    <a:lnTo>
                      <a:pt x="124" y="40"/>
                    </a:lnTo>
                    <a:lnTo>
                      <a:pt x="260" y="0"/>
                    </a:lnTo>
                    <a:lnTo>
                      <a:pt x="260" y="166"/>
                    </a:lnTo>
                    <a:lnTo>
                      <a:pt x="424" y="166"/>
                    </a:lnTo>
                    <a:lnTo>
                      <a:pt x="390" y="272"/>
                    </a:lnTo>
                    <a:lnTo>
                      <a:pt x="260" y="272"/>
                    </a:lnTo>
                    <a:lnTo>
                      <a:pt x="260" y="538"/>
                    </a:lnTo>
                    <a:lnTo>
                      <a:pt x="260" y="538"/>
                    </a:lnTo>
                    <a:lnTo>
                      <a:pt x="262" y="556"/>
                    </a:lnTo>
                    <a:lnTo>
                      <a:pt x="264" y="570"/>
                    </a:lnTo>
                    <a:lnTo>
                      <a:pt x="268" y="582"/>
                    </a:lnTo>
                    <a:lnTo>
                      <a:pt x="274" y="592"/>
                    </a:lnTo>
                    <a:lnTo>
                      <a:pt x="280" y="598"/>
                    </a:lnTo>
                    <a:lnTo>
                      <a:pt x="290" y="604"/>
                    </a:lnTo>
                    <a:lnTo>
                      <a:pt x="300" y="606"/>
                    </a:lnTo>
                    <a:lnTo>
                      <a:pt x="312" y="606"/>
                    </a:lnTo>
                    <a:lnTo>
                      <a:pt x="312" y="606"/>
                    </a:lnTo>
                    <a:lnTo>
                      <a:pt x="336" y="604"/>
                    </a:lnTo>
                    <a:lnTo>
                      <a:pt x="358" y="598"/>
                    </a:lnTo>
                    <a:lnTo>
                      <a:pt x="378" y="590"/>
                    </a:lnTo>
                    <a:lnTo>
                      <a:pt x="394" y="580"/>
                    </a:lnTo>
                    <a:lnTo>
                      <a:pt x="436" y="674"/>
                    </a:lnTo>
                    <a:lnTo>
                      <a:pt x="436" y="674"/>
                    </a:lnTo>
                    <a:lnTo>
                      <a:pt x="420" y="684"/>
                    </a:lnTo>
                    <a:lnTo>
                      <a:pt x="402" y="692"/>
                    </a:lnTo>
                    <a:lnTo>
                      <a:pt x="384" y="698"/>
                    </a:lnTo>
                    <a:lnTo>
                      <a:pt x="362" y="704"/>
                    </a:lnTo>
                    <a:lnTo>
                      <a:pt x="342" y="710"/>
                    </a:lnTo>
                    <a:lnTo>
                      <a:pt x="320" y="714"/>
                    </a:lnTo>
                    <a:lnTo>
                      <a:pt x="300" y="716"/>
                    </a:lnTo>
                    <a:lnTo>
                      <a:pt x="278" y="716"/>
                    </a:lnTo>
                    <a:lnTo>
                      <a:pt x="278" y="716"/>
                    </a:lnTo>
                    <a:lnTo>
                      <a:pt x="260" y="716"/>
                    </a:lnTo>
                    <a:lnTo>
                      <a:pt x="244" y="714"/>
                    </a:lnTo>
                    <a:lnTo>
                      <a:pt x="228" y="710"/>
                    </a:lnTo>
                    <a:lnTo>
                      <a:pt x="214" y="706"/>
                    </a:lnTo>
                    <a:lnTo>
                      <a:pt x="200" y="700"/>
                    </a:lnTo>
                    <a:lnTo>
                      <a:pt x="188" y="694"/>
                    </a:lnTo>
                    <a:lnTo>
                      <a:pt x="176" y="686"/>
                    </a:lnTo>
                    <a:lnTo>
                      <a:pt x="166" y="678"/>
                    </a:lnTo>
                    <a:lnTo>
                      <a:pt x="156" y="668"/>
                    </a:lnTo>
                    <a:lnTo>
                      <a:pt x="148" y="656"/>
                    </a:lnTo>
                    <a:lnTo>
                      <a:pt x="142" y="644"/>
                    </a:lnTo>
                    <a:lnTo>
                      <a:pt x="136" y="632"/>
                    </a:lnTo>
                    <a:lnTo>
                      <a:pt x="130" y="618"/>
                    </a:lnTo>
                    <a:lnTo>
                      <a:pt x="128" y="604"/>
                    </a:lnTo>
                    <a:lnTo>
                      <a:pt x="126" y="588"/>
                    </a:lnTo>
                    <a:lnTo>
                      <a:pt x="124" y="572"/>
                    </a:lnTo>
                    <a:lnTo>
                      <a:pt x="124" y="5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9" name="Freeform 25"/>
              <p:cNvSpPr>
                <a:spLocks/>
              </p:cNvSpPr>
              <p:nvPr/>
            </p:nvSpPr>
            <p:spPr bwMode="auto">
              <a:xfrm>
                <a:off x="8254227" y="4517918"/>
                <a:ext cx="47345" cy="58558"/>
              </a:xfrm>
              <a:custGeom>
                <a:avLst/>
                <a:gdLst>
                  <a:gd name="T0" fmla="*/ 0 w 456"/>
                  <a:gd name="T1" fmla="*/ 288 h 564"/>
                  <a:gd name="T2" fmla="*/ 4 w 456"/>
                  <a:gd name="T3" fmla="*/ 226 h 564"/>
                  <a:gd name="T4" fmla="*/ 22 w 456"/>
                  <a:gd name="T5" fmla="*/ 172 h 564"/>
                  <a:gd name="T6" fmla="*/ 48 w 456"/>
                  <a:gd name="T7" fmla="*/ 122 h 564"/>
                  <a:gd name="T8" fmla="*/ 82 w 456"/>
                  <a:gd name="T9" fmla="*/ 80 h 564"/>
                  <a:gd name="T10" fmla="*/ 124 w 456"/>
                  <a:gd name="T11" fmla="*/ 46 h 564"/>
                  <a:gd name="T12" fmla="*/ 172 w 456"/>
                  <a:gd name="T13" fmla="*/ 22 h 564"/>
                  <a:gd name="T14" fmla="*/ 226 w 456"/>
                  <a:gd name="T15" fmla="*/ 6 h 564"/>
                  <a:gd name="T16" fmla="*/ 284 w 456"/>
                  <a:gd name="T17" fmla="*/ 0 h 564"/>
                  <a:gd name="T18" fmla="*/ 308 w 456"/>
                  <a:gd name="T19" fmla="*/ 0 h 564"/>
                  <a:gd name="T20" fmla="*/ 352 w 456"/>
                  <a:gd name="T21" fmla="*/ 6 h 564"/>
                  <a:gd name="T22" fmla="*/ 388 w 456"/>
                  <a:gd name="T23" fmla="*/ 16 h 564"/>
                  <a:gd name="T24" fmla="*/ 428 w 456"/>
                  <a:gd name="T25" fmla="*/ 36 h 564"/>
                  <a:gd name="T26" fmla="*/ 428 w 456"/>
                  <a:gd name="T27" fmla="*/ 152 h 564"/>
                  <a:gd name="T28" fmla="*/ 400 w 456"/>
                  <a:gd name="T29" fmla="*/ 134 h 564"/>
                  <a:gd name="T30" fmla="*/ 368 w 456"/>
                  <a:gd name="T31" fmla="*/ 120 h 564"/>
                  <a:gd name="T32" fmla="*/ 336 w 456"/>
                  <a:gd name="T33" fmla="*/ 112 h 564"/>
                  <a:gd name="T34" fmla="*/ 298 w 456"/>
                  <a:gd name="T35" fmla="*/ 110 h 564"/>
                  <a:gd name="T36" fmla="*/ 280 w 456"/>
                  <a:gd name="T37" fmla="*/ 110 h 564"/>
                  <a:gd name="T38" fmla="*/ 246 w 456"/>
                  <a:gd name="T39" fmla="*/ 118 h 564"/>
                  <a:gd name="T40" fmla="*/ 216 w 456"/>
                  <a:gd name="T41" fmla="*/ 130 h 564"/>
                  <a:gd name="T42" fmla="*/ 192 w 456"/>
                  <a:gd name="T43" fmla="*/ 148 h 564"/>
                  <a:gd name="T44" fmla="*/ 170 w 456"/>
                  <a:gd name="T45" fmla="*/ 172 h 564"/>
                  <a:gd name="T46" fmla="*/ 156 w 456"/>
                  <a:gd name="T47" fmla="*/ 200 h 564"/>
                  <a:gd name="T48" fmla="*/ 144 w 456"/>
                  <a:gd name="T49" fmla="*/ 230 h 564"/>
                  <a:gd name="T50" fmla="*/ 140 w 456"/>
                  <a:gd name="T51" fmla="*/ 266 h 564"/>
                  <a:gd name="T52" fmla="*/ 138 w 456"/>
                  <a:gd name="T53" fmla="*/ 284 h 564"/>
                  <a:gd name="T54" fmla="*/ 142 w 456"/>
                  <a:gd name="T55" fmla="*/ 322 h 564"/>
                  <a:gd name="T56" fmla="*/ 150 w 456"/>
                  <a:gd name="T57" fmla="*/ 358 h 564"/>
                  <a:gd name="T58" fmla="*/ 162 w 456"/>
                  <a:gd name="T59" fmla="*/ 386 h 564"/>
                  <a:gd name="T60" fmla="*/ 180 w 456"/>
                  <a:gd name="T61" fmla="*/ 410 h 564"/>
                  <a:gd name="T62" fmla="*/ 202 w 456"/>
                  <a:gd name="T63" fmla="*/ 430 h 564"/>
                  <a:gd name="T64" fmla="*/ 228 w 456"/>
                  <a:gd name="T65" fmla="*/ 444 h 564"/>
                  <a:gd name="T66" fmla="*/ 258 w 456"/>
                  <a:gd name="T67" fmla="*/ 452 h 564"/>
                  <a:gd name="T68" fmla="*/ 292 w 456"/>
                  <a:gd name="T69" fmla="*/ 454 h 564"/>
                  <a:gd name="T70" fmla="*/ 310 w 456"/>
                  <a:gd name="T71" fmla="*/ 454 h 564"/>
                  <a:gd name="T72" fmla="*/ 342 w 456"/>
                  <a:gd name="T73" fmla="*/ 448 h 564"/>
                  <a:gd name="T74" fmla="*/ 388 w 456"/>
                  <a:gd name="T75" fmla="*/ 432 h 564"/>
                  <a:gd name="T76" fmla="*/ 456 w 456"/>
                  <a:gd name="T77" fmla="*/ 512 h 564"/>
                  <a:gd name="T78" fmla="*/ 438 w 456"/>
                  <a:gd name="T79" fmla="*/ 522 h 564"/>
                  <a:gd name="T80" fmla="*/ 398 w 456"/>
                  <a:gd name="T81" fmla="*/ 542 h 564"/>
                  <a:gd name="T82" fmla="*/ 352 w 456"/>
                  <a:gd name="T83" fmla="*/ 556 h 564"/>
                  <a:gd name="T84" fmla="*/ 300 w 456"/>
                  <a:gd name="T85" fmla="*/ 564 h 564"/>
                  <a:gd name="T86" fmla="*/ 272 w 456"/>
                  <a:gd name="T87" fmla="*/ 564 h 564"/>
                  <a:gd name="T88" fmla="*/ 210 w 456"/>
                  <a:gd name="T89" fmla="*/ 558 h 564"/>
                  <a:gd name="T90" fmla="*/ 156 w 456"/>
                  <a:gd name="T91" fmla="*/ 542 h 564"/>
                  <a:gd name="T92" fmla="*/ 108 w 456"/>
                  <a:gd name="T93" fmla="*/ 518 h 564"/>
                  <a:gd name="T94" fmla="*/ 70 w 456"/>
                  <a:gd name="T95" fmla="*/ 484 h 564"/>
                  <a:gd name="T96" fmla="*/ 40 w 456"/>
                  <a:gd name="T97" fmla="*/ 444 h 564"/>
                  <a:gd name="T98" fmla="*/ 18 w 456"/>
                  <a:gd name="T99" fmla="*/ 396 h 564"/>
                  <a:gd name="T100" fmla="*/ 4 w 456"/>
                  <a:gd name="T101" fmla="*/ 344 h 564"/>
                  <a:gd name="T102" fmla="*/ 0 w 456"/>
                  <a:gd name="T103" fmla="*/ 288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56" h="564">
                    <a:moveTo>
                      <a:pt x="0" y="288"/>
                    </a:moveTo>
                    <a:lnTo>
                      <a:pt x="0" y="288"/>
                    </a:lnTo>
                    <a:lnTo>
                      <a:pt x="0" y="256"/>
                    </a:lnTo>
                    <a:lnTo>
                      <a:pt x="4" y="226"/>
                    </a:lnTo>
                    <a:lnTo>
                      <a:pt x="12" y="198"/>
                    </a:lnTo>
                    <a:lnTo>
                      <a:pt x="22" y="172"/>
                    </a:lnTo>
                    <a:lnTo>
                      <a:pt x="32" y="146"/>
                    </a:lnTo>
                    <a:lnTo>
                      <a:pt x="48" y="122"/>
                    </a:lnTo>
                    <a:lnTo>
                      <a:pt x="64" y="100"/>
                    </a:lnTo>
                    <a:lnTo>
                      <a:pt x="82" y="80"/>
                    </a:lnTo>
                    <a:lnTo>
                      <a:pt x="102" y="62"/>
                    </a:lnTo>
                    <a:lnTo>
                      <a:pt x="124" y="46"/>
                    </a:lnTo>
                    <a:lnTo>
                      <a:pt x="146" y="32"/>
                    </a:lnTo>
                    <a:lnTo>
                      <a:pt x="172" y="22"/>
                    </a:lnTo>
                    <a:lnTo>
                      <a:pt x="198" y="12"/>
                    </a:lnTo>
                    <a:lnTo>
                      <a:pt x="226" y="6"/>
                    </a:lnTo>
                    <a:lnTo>
                      <a:pt x="254" y="2"/>
                    </a:lnTo>
                    <a:lnTo>
                      <a:pt x="284" y="0"/>
                    </a:lnTo>
                    <a:lnTo>
                      <a:pt x="284" y="0"/>
                    </a:lnTo>
                    <a:lnTo>
                      <a:pt x="308" y="0"/>
                    </a:lnTo>
                    <a:lnTo>
                      <a:pt x="332" y="4"/>
                    </a:lnTo>
                    <a:lnTo>
                      <a:pt x="352" y="6"/>
                    </a:lnTo>
                    <a:lnTo>
                      <a:pt x="372" y="12"/>
                    </a:lnTo>
                    <a:lnTo>
                      <a:pt x="388" y="16"/>
                    </a:lnTo>
                    <a:lnTo>
                      <a:pt x="404" y="24"/>
                    </a:lnTo>
                    <a:lnTo>
                      <a:pt x="428" y="36"/>
                    </a:lnTo>
                    <a:lnTo>
                      <a:pt x="428" y="152"/>
                    </a:lnTo>
                    <a:lnTo>
                      <a:pt x="428" y="152"/>
                    </a:lnTo>
                    <a:lnTo>
                      <a:pt x="414" y="142"/>
                    </a:lnTo>
                    <a:lnTo>
                      <a:pt x="400" y="134"/>
                    </a:lnTo>
                    <a:lnTo>
                      <a:pt x="384" y="126"/>
                    </a:lnTo>
                    <a:lnTo>
                      <a:pt x="368" y="120"/>
                    </a:lnTo>
                    <a:lnTo>
                      <a:pt x="352" y="116"/>
                    </a:lnTo>
                    <a:lnTo>
                      <a:pt x="336" y="112"/>
                    </a:lnTo>
                    <a:lnTo>
                      <a:pt x="316" y="110"/>
                    </a:lnTo>
                    <a:lnTo>
                      <a:pt x="298" y="110"/>
                    </a:lnTo>
                    <a:lnTo>
                      <a:pt x="298" y="110"/>
                    </a:lnTo>
                    <a:lnTo>
                      <a:pt x="280" y="110"/>
                    </a:lnTo>
                    <a:lnTo>
                      <a:pt x="262" y="112"/>
                    </a:lnTo>
                    <a:lnTo>
                      <a:pt x="246" y="118"/>
                    </a:lnTo>
                    <a:lnTo>
                      <a:pt x="230" y="122"/>
                    </a:lnTo>
                    <a:lnTo>
                      <a:pt x="216" y="130"/>
                    </a:lnTo>
                    <a:lnTo>
                      <a:pt x="204" y="138"/>
                    </a:lnTo>
                    <a:lnTo>
                      <a:pt x="192" y="148"/>
                    </a:lnTo>
                    <a:lnTo>
                      <a:pt x="180" y="160"/>
                    </a:lnTo>
                    <a:lnTo>
                      <a:pt x="170" y="172"/>
                    </a:lnTo>
                    <a:lnTo>
                      <a:pt x="162" y="186"/>
                    </a:lnTo>
                    <a:lnTo>
                      <a:pt x="156" y="200"/>
                    </a:lnTo>
                    <a:lnTo>
                      <a:pt x="150" y="214"/>
                    </a:lnTo>
                    <a:lnTo>
                      <a:pt x="144" y="230"/>
                    </a:lnTo>
                    <a:lnTo>
                      <a:pt x="142" y="248"/>
                    </a:lnTo>
                    <a:lnTo>
                      <a:pt x="140" y="266"/>
                    </a:lnTo>
                    <a:lnTo>
                      <a:pt x="138" y="284"/>
                    </a:lnTo>
                    <a:lnTo>
                      <a:pt x="138" y="284"/>
                    </a:lnTo>
                    <a:lnTo>
                      <a:pt x="140" y="304"/>
                    </a:lnTo>
                    <a:lnTo>
                      <a:pt x="142" y="322"/>
                    </a:lnTo>
                    <a:lnTo>
                      <a:pt x="144" y="340"/>
                    </a:lnTo>
                    <a:lnTo>
                      <a:pt x="150" y="358"/>
                    </a:lnTo>
                    <a:lnTo>
                      <a:pt x="156" y="372"/>
                    </a:lnTo>
                    <a:lnTo>
                      <a:pt x="162" y="386"/>
                    </a:lnTo>
                    <a:lnTo>
                      <a:pt x="170" y="400"/>
                    </a:lnTo>
                    <a:lnTo>
                      <a:pt x="180" y="410"/>
                    </a:lnTo>
                    <a:lnTo>
                      <a:pt x="190" y="420"/>
                    </a:lnTo>
                    <a:lnTo>
                      <a:pt x="202" y="430"/>
                    </a:lnTo>
                    <a:lnTo>
                      <a:pt x="214" y="438"/>
                    </a:lnTo>
                    <a:lnTo>
                      <a:pt x="228" y="444"/>
                    </a:lnTo>
                    <a:lnTo>
                      <a:pt x="242" y="448"/>
                    </a:lnTo>
                    <a:lnTo>
                      <a:pt x="258" y="452"/>
                    </a:lnTo>
                    <a:lnTo>
                      <a:pt x="274" y="454"/>
                    </a:lnTo>
                    <a:lnTo>
                      <a:pt x="292" y="454"/>
                    </a:lnTo>
                    <a:lnTo>
                      <a:pt x="292" y="454"/>
                    </a:lnTo>
                    <a:lnTo>
                      <a:pt x="310" y="454"/>
                    </a:lnTo>
                    <a:lnTo>
                      <a:pt x="326" y="452"/>
                    </a:lnTo>
                    <a:lnTo>
                      <a:pt x="342" y="448"/>
                    </a:lnTo>
                    <a:lnTo>
                      <a:pt x="358" y="444"/>
                    </a:lnTo>
                    <a:lnTo>
                      <a:pt x="388" y="432"/>
                    </a:lnTo>
                    <a:lnTo>
                      <a:pt x="416" y="418"/>
                    </a:lnTo>
                    <a:lnTo>
                      <a:pt x="456" y="512"/>
                    </a:lnTo>
                    <a:lnTo>
                      <a:pt x="456" y="512"/>
                    </a:lnTo>
                    <a:lnTo>
                      <a:pt x="438" y="522"/>
                    </a:lnTo>
                    <a:lnTo>
                      <a:pt x="420" y="532"/>
                    </a:lnTo>
                    <a:lnTo>
                      <a:pt x="398" y="542"/>
                    </a:lnTo>
                    <a:lnTo>
                      <a:pt x="376" y="550"/>
                    </a:lnTo>
                    <a:lnTo>
                      <a:pt x="352" y="556"/>
                    </a:lnTo>
                    <a:lnTo>
                      <a:pt x="326" y="560"/>
                    </a:lnTo>
                    <a:lnTo>
                      <a:pt x="300" y="564"/>
                    </a:lnTo>
                    <a:lnTo>
                      <a:pt x="272" y="564"/>
                    </a:lnTo>
                    <a:lnTo>
                      <a:pt x="272" y="564"/>
                    </a:lnTo>
                    <a:lnTo>
                      <a:pt x="240" y="562"/>
                    </a:lnTo>
                    <a:lnTo>
                      <a:pt x="210" y="558"/>
                    </a:lnTo>
                    <a:lnTo>
                      <a:pt x="182" y="552"/>
                    </a:lnTo>
                    <a:lnTo>
                      <a:pt x="156" y="542"/>
                    </a:lnTo>
                    <a:lnTo>
                      <a:pt x="130" y="532"/>
                    </a:lnTo>
                    <a:lnTo>
                      <a:pt x="108" y="518"/>
                    </a:lnTo>
                    <a:lnTo>
                      <a:pt x="88" y="502"/>
                    </a:lnTo>
                    <a:lnTo>
                      <a:pt x="70" y="484"/>
                    </a:lnTo>
                    <a:lnTo>
                      <a:pt x="54" y="464"/>
                    </a:lnTo>
                    <a:lnTo>
                      <a:pt x="40" y="444"/>
                    </a:lnTo>
                    <a:lnTo>
                      <a:pt x="28" y="420"/>
                    </a:lnTo>
                    <a:lnTo>
                      <a:pt x="18" y="396"/>
                    </a:lnTo>
                    <a:lnTo>
                      <a:pt x="10" y="370"/>
                    </a:lnTo>
                    <a:lnTo>
                      <a:pt x="4" y="344"/>
                    </a:lnTo>
                    <a:lnTo>
                      <a:pt x="0" y="316"/>
                    </a:lnTo>
                    <a:lnTo>
                      <a:pt x="0" y="288"/>
                    </a:lnTo>
                    <a:lnTo>
                      <a:pt x="0"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0" name="Freeform 26"/>
              <p:cNvSpPr>
                <a:spLocks/>
              </p:cNvSpPr>
              <p:nvPr/>
            </p:nvSpPr>
            <p:spPr bwMode="auto">
              <a:xfrm>
                <a:off x="8304894" y="4517918"/>
                <a:ext cx="43400" cy="58558"/>
              </a:xfrm>
              <a:custGeom>
                <a:avLst/>
                <a:gdLst>
                  <a:gd name="T0" fmla="*/ 58 w 418"/>
                  <a:gd name="T1" fmla="*/ 422 h 564"/>
                  <a:gd name="T2" fmla="*/ 112 w 418"/>
                  <a:gd name="T3" fmla="*/ 444 h 564"/>
                  <a:gd name="T4" fmla="*/ 170 w 418"/>
                  <a:gd name="T5" fmla="*/ 456 h 564"/>
                  <a:gd name="T6" fmla="*/ 210 w 418"/>
                  <a:gd name="T7" fmla="*/ 456 h 564"/>
                  <a:gd name="T8" fmla="*/ 258 w 418"/>
                  <a:gd name="T9" fmla="*/ 444 h 564"/>
                  <a:gd name="T10" fmla="*/ 282 w 418"/>
                  <a:gd name="T11" fmla="*/ 414 h 564"/>
                  <a:gd name="T12" fmla="*/ 284 w 418"/>
                  <a:gd name="T13" fmla="*/ 392 h 564"/>
                  <a:gd name="T14" fmla="*/ 274 w 418"/>
                  <a:gd name="T15" fmla="*/ 372 h 564"/>
                  <a:gd name="T16" fmla="*/ 226 w 418"/>
                  <a:gd name="T17" fmla="*/ 340 h 564"/>
                  <a:gd name="T18" fmla="*/ 134 w 418"/>
                  <a:gd name="T19" fmla="*/ 304 h 564"/>
                  <a:gd name="T20" fmla="*/ 72 w 418"/>
                  <a:gd name="T21" fmla="*/ 264 h 564"/>
                  <a:gd name="T22" fmla="*/ 48 w 418"/>
                  <a:gd name="T23" fmla="*/ 232 h 564"/>
                  <a:gd name="T24" fmla="*/ 34 w 418"/>
                  <a:gd name="T25" fmla="*/ 194 h 564"/>
                  <a:gd name="T26" fmla="*/ 32 w 418"/>
                  <a:gd name="T27" fmla="*/ 162 h 564"/>
                  <a:gd name="T28" fmla="*/ 40 w 418"/>
                  <a:gd name="T29" fmla="*/ 112 h 564"/>
                  <a:gd name="T30" fmla="*/ 62 w 418"/>
                  <a:gd name="T31" fmla="*/ 70 h 564"/>
                  <a:gd name="T32" fmla="*/ 100 w 418"/>
                  <a:gd name="T33" fmla="*/ 36 h 564"/>
                  <a:gd name="T34" fmla="*/ 150 w 418"/>
                  <a:gd name="T35" fmla="*/ 12 h 564"/>
                  <a:gd name="T36" fmla="*/ 212 w 418"/>
                  <a:gd name="T37" fmla="*/ 0 h 564"/>
                  <a:gd name="T38" fmla="*/ 280 w 418"/>
                  <a:gd name="T39" fmla="*/ 2 h 564"/>
                  <a:gd name="T40" fmla="*/ 394 w 418"/>
                  <a:gd name="T41" fmla="*/ 26 h 564"/>
                  <a:gd name="T42" fmla="*/ 358 w 418"/>
                  <a:gd name="T43" fmla="*/ 128 h 564"/>
                  <a:gd name="T44" fmla="*/ 262 w 418"/>
                  <a:gd name="T45" fmla="*/ 108 h 564"/>
                  <a:gd name="T46" fmla="*/ 224 w 418"/>
                  <a:gd name="T47" fmla="*/ 108 h 564"/>
                  <a:gd name="T48" fmla="*/ 186 w 418"/>
                  <a:gd name="T49" fmla="*/ 118 h 564"/>
                  <a:gd name="T50" fmla="*/ 166 w 418"/>
                  <a:gd name="T51" fmla="*/ 144 h 564"/>
                  <a:gd name="T52" fmla="*/ 166 w 418"/>
                  <a:gd name="T53" fmla="*/ 164 h 564"/>
                  <a:gd name="T54" fmla="*/ 176 w 418"/>
                  <a:gd name="T55" fmla="*/ 184 h 564"/>
                  <a:gd name="T56" fmla="*/ 224 w 418"/>
                  <a:gd name="T57" fmla="*/ 212 h 564"/>
                  <a:gd name="T58" fmla="*/ 314 w 418"/>
                  <a:gd name="T59" fmla="*/ 248 h 564"/>
                  <a:gd name="T60" fmla="*/ 378 w 418"/>
                  <a:gd name="T61" fmla="*/ 292 h 564"/>
                  <a:gd name="T62" fmla="*/ 402 w 418"/>
                  <a:gd name="T63" fmla="*/ 324 h 564"/>
                  <a:gd name="T64" fmla="*/ 414 w 418"/>
                  <a:gd name="T65" fmla="*/ 364 h 564"/>
                  <a:gd name="T66" fmla="*/ 418 w 418"/>
                  <a:gd name="T67" fmla="*/ 396 h 564"/>
                  <a:gd name="T68" fmla="*/ 408 w 418"/>
                  <a:gd name="T69" fmla="*/ 456 h 564"/>
                  <a:gd name="T70" fmla="*/ 380 w 418"/>
                  <a:gd name="T71" fmla="*/ 502 h 564"/>
                  <a:gd name="T72" fmla="*/ 336 w 418"/>
                  <a:gd name="T73" fmla="*/ 534 h 564"/>
                  <a:gd name="T74" fmla="*/ 282 w 418"/>
                  <a:gd name="T75" fmla="*/ 554 h 564"/>
                  <a:gd name="T76" fmla="*/ 220 w 418"/>
                  <a:gd name="T77" fmla="*/ 564 h 564"/>
                  <a:gd name="T78" fmla="*/ 168 w 418"/>
                  <a:gd name="T79" fmla="*/ 562 h 564"/>
                  <a:gd name="T80" fmla="*/ 84 w 418"/>
                  <a:gd name="T81" fmla="*/ 548 h 564"/>
                  <a:gd name="T82" fmla="*/ 18 w 418"/>
                  <a:gd name="T83" fmla="*/ 522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8" h="564">
                    <a:moveTo>
                      <a:pt x="42" y="412"/>
                    </a:moveTo>
                    <a:lnTo>
                      <a:pt x="42" y="412"/>
                    </a:lnTo>
                    <a:lnTo>
                      <a:pt x="58" y="422"/>
                    </a:lnTo>
                    <a:lnTo>
                      <a:pt x="76" y="430"/>
                    </a:lnTo>
                    <a:lnTo>
                      <a:pt x="94" y="438"/>
                    </a:lnTo>
                    <a:lnTo>
                      <a:pt x="112" y="444"/>
                    </a:lnTo>
                    <a:lnTo>
                      <a:pt x="130" y="450"/>
                    </a:lnTo>
                    <a:lnTo>
                      <a:pt x="150" y="454"/>
                    </a:lnTo>
                    <a:lnTo>
                      <a:pt x="170" y="456"/>
                    </a:lnTo>
                    <a:lnTo>
                      <a:pt x="190" y="456"/>
                    </a:lnTo>
                    <a:lnTo>
                      <a:pt x="190" y="456"/>
                    </a:lnTo>
                    <a:lnTo>
                      <a:pt x="210" y="456"/>
                    </a:lnTo>
                    <a:lnTo>
                      <a:pt x="228" y="454"/>
                    </a:lnTo>
                    <a:lnTo>
                      <a:pt x="244" y="450"/>
                    </a:lnTo>
                    <a:lnTo>
                      <a:pt x="258" y="444"/>
                    </a:lnTo>
                    <a:lnTo>
                      <a:pt x="268" y="436"/>
                    </a:lnTo>
                    <a:lnTo>
                      <a:pt x="278" y="426"/>
                    </a:lnTo>
                    <a:lnTo>
                      <a:pt x="282" y="414"/>
                    </a:lnTo>
                    <a:lnTo>
                      <a:pt x="284" y="400"/>
                    </a:lnTo>
                    <a:lnTo>
                      <a:pt x="284" y="400"/>
                    </a:lnTo>
                    <a:lnTo>
                      <a:pt x="284" y="392"/>
                    </a:lnTo>
                    <a:lnTo>
                      <a:pt x="282" y="384"/>
                    </a:lnTo>
                    <a:lnTo>
                      <a:pt x="278" y="378"/>
                    </a:lnTo>
                    <a:lnTo>
                      <a:pt x="274" y="372"/>
                    </a:lnTo>
                    <a:lnTo>
                      <a:pt x="262" y="360"/>
                    </a:lnTo>
                    <a:lnTo>
                      <a:pt x="244" y="350"/>
                    </a:lnTo>
                    <a:lnTo>
                      <a:pt x="226" y="340"/>
                    </a:lnTo>
                    <a:lnTo>
                      <a:pt x="204" y="332"/>
                    </a:lnTo>
                    <a:lnTo>
                      <a:pt x="158" y="314"/>
                    </a:lnTo>
                    <a:lnTo>
                      <a:pt x="134" y="304"/>
                    </a:lnTo>
                    <a:lnTo>
                      <a:pt x="112" y="294"/>
                    </a:lnTo>
                    <a:lnTo>
                      <a:pt x="90" y="280"/>
                    </a:lnTo>
                    <a:lnTo>
                      <a:pt x="72" y="264"/>
                    </a:lnTo>
                    <a:lnTo>
                      <a:pt x="62" y="254"/>
                    </a:lnTo>
                    <a:lnTo>
                      <a:pt x="54" y="244"/>
                    </a:lnTo>
                    <a:lnTo>
                      <a:pt x="48" y="232"/>
                    </a:lnTo>
                    <a:lnTo>
                      <a:pt x="42" y="222"/>
                    </a:lnTo>
                    <a:lnTo>
                      <a:pt x="38" y="208"/>
                    </a:lnTo>
                    <a:lnTo>
                      <a:pt x="34" y="194"/>
                    </a:lnTo>
                    <a:lnTo>
                      <a:pt x="32" y="180"/>
                    </a:lnTo>
                    <a:lnTo>
                      <a:pt x="32" y="162"/>
                    </a:lnTo>
                    <a:lnTo>
                      <a:pt x="32" y="162"/>
                    </a:lnTo>
                    <a:lnTo>
                      <a:pt x="32" y="146"/>
                    </a:lnTo>
                    <a:lnTo>
                      <a:pt x="36" y="128"/>
                    </a:lnTo>
                    <a:lnTo>
                      <a:pt x="40" y="112"/>
                    </a:lnTo>
                    <a:lnTo>
                      <a:pt x="46" y="98"/>
                    </a:lnTo>
                    <a:lnTo>
                      <a:pt x="54" y="82"/>
                    </a:lnTo>
                    <a:lnTo>
                      <a:pt x="62" y="70"/>
                    </a:lnTo>
                    <a:lnTo>
                      <a:pt x="74" y="56"/>
                    </a:lnTo>
                    <a:lnTo>
                      <a:pt x="86" y="46"/>
                    </a:lnTo>
                    <a:lnTo>
                      <a:pt x="100" y="36"/>
                    </a:lnTo>
                    <a:lnTo>
                      <a:pt x="116" y="26"/>
                    </a:lnTo>
                    <a:lnTo>
                      <a:pt x="132" y="18"/>
                    </a:lnTo>
                    <a:lnTo>
                      <a:pt x="150" y="12"/>
                    </a:lnTo>
                    <a:lnTo>
                      <a:pt x="170" y="6"/>
                    </a:lnTo>
                    <a:lnTo>
                      <a:pt x="190" y="4"/>
                    </a:lnTo>
                    <a:lnTo>
                      <a:pt x="212" y="0"/>
                    </a:lnTo>
                    <a:lnTo>
                      <a:pt x="236" y="0"/>
                    </a:lnTo>
                    <a:lnTo>
                      <a:pt x="236" y="0"/>
                    </a:lnTo>
                    <a:lnTo>
                      <a:pt x="280" y="2"/>
                    </a:lnTo>
                    <a:lnTo>
                      <a:pt x="320" y="8"/>
                    </a:lnTo>
                    <a:lnTo>
                      <a:pt x="358" y="16"/>
                    </a:lnTo>
                    <a:lnTo>
                      <a:pt x="394" y="26"/>
                    </a:lnTo>
                    <a:lnTo>
                      <a:pt x="394" y="142"/>
                    </a:lnTo>
                    <a:lnTo>
                      <a:pt x="394" y="142"/>
                    </a:lnTo>
                    <a:lnTo>
                      <a:pt x="358" y="128"/>
                    </a:lnTo>
                    <a:lnTo>
                      <a:pt x="322" y="116"/>
                    </a:lnTo>
                    <a:lnTo>
                      <a:pt x="282" y="110"/>
                    </a:lnTo>
                    <a:lnTo>
                      <a:pt x="262" y="108"/>
                    </a:lnTo>
                    <a:lnTo>
                      <a:pt x="242" y="108"/>
                    </a:lnTo>
                    <a:lnTo>
                      <a:pt x="242" y="108"/>
                    </a:lnTo>
                    <a:lnTo>
                      <a:pt x="224" y="108"/>
                    </a:lnTo>
                    <a:lnTo>
                      <a:pt x="210" y="110"/>
                    </a:lnTo>
                    <a:lnTo>
                      <a:pt x="198" y="114"/>
                    </a:lnTo>
                    <a:lnTo>
                      <a:pt x="186" y="118"/>
                    </a:lnTo>
                    <a:lnTo>
                      <a:pt x="176" y="126"/>
                    </a:lnTo>
                    <a:lnTo>
                      <a:pt x="170" y="134"/>
                    </a:lnTo>
                    <a:lnTo>
                      <a:pt x="166" y="144"/>
                    </a:lnTo>
                    <a:lnTo>
                      <a:pt x="164" y="156"/>
                    </a:lnTo>
                    <a:lnTo>
                      <a:pt x="164" y="156"/>
                    </a:lnTo>
                    <a:lnTo>
                      <a:pt x="166" y="164"/>
                    </a:lnTo>
                    <a:lnTo>
                      <a:pt x="168" y="170"/>
                    </a:lnTo>
                    <a:lnTo>
                      <a:pt x="172" y="178"/>
                    </a:lnTo>
                    <a:lnTo>
                      <a:pt x="176" y="184"/>
                    </a:lnTo>
                    <a:lnTo>
                      <a:pt x="188" y="194"/>
                    </a:lnTo>
                    <a:lnTo>
                      <a:pt x="204" y="204"/>
                    </a:lnTo>
                    <a:lnTo>
                      <a:pt x="224" y="212"/>
                    </a:lnTo>
                    <a:lnTo>
                      <a:pt x="244" y="220"/>
                    </a:lnTo>
                    <a:lnTo>
                      <a:pt x="292" y="238"/>
                    </a:lnTo>
                    <a:lnTo>
                      <a:pt x="314" y="248"/>
                    </a:lnTo>
                    <a:lnTo>
                      <a:pt x="338" y="260"/>
                    </a:lnTo>
                    <a:lnTo>
                      <a:pt x="360" y="274"/>
                    </a:lnTo>
                    <a:lnTo>
                      <a:pt x="378" y="292"/>
                    </a:lnTo>
                    <a:lnTo>
                      <a:pt x="386" y="302"/>
                    </a:lnTo>
                    <a:lnTo>
                      <a:pt x="394" y="312"/>
                    </a:lnTo>
                    <a:lnTo>
                      <a:pt x="402" y="324"/>
                    </a:lnTo>
                    <a:lnTo>
                      <a:pt x="406" y="336"/>
                    </a:lnTo>
                    <a:lnTo>
                      <a:pt x="412" y="350"/>
                    </a:lnTo>
                    <a:lnTo>
                      <a:pt x="414" y="364"/>
                    </a:lnTo>
                    <a:lnTo>
                      <a:pt x="418" y="380"/>
                    </a:lnTo>
                    <a:lnTo>
                      <a:pt x="418" y="396"/>
                    </a:lnTo>
                    <a:lnTo>
                      <a:pt x="418" y="396"/>
                    </a:lnTo>
                    <a:lnTo>
                      <a:pt x="416" y="418"/>
                    </a:lnTo>
                    <a:lnTo>
                      <a:pt x="414" y="438"/>
                    </a:lnTo>
                    <a:lnTo>
                      <a:pt x="408" y="456"/>
                    </a:lnTo>
                    <a:lnTo>
                      <a:pt x="400" y="472"/>
                    </a:lnTo>
                    <a:lnTo>
                      <a:pt x="390" y="488"/>
                    </a:lnTo>
                    <a:lnTo>
                      <a:pt x="380" y="502"/>
                    </a:lnTo>
                    <a:lnTo>
                      <a:pt x="366" y="514"/>
                    </a:lnTo>
                    <a:lnTo>
                      <a:pt x="352" y="524"/>
                    </a:lnTo>
                    <a:lnTo>
                      <a:pt x="336" y="534"/>
                    </a:lnTo>
                    <a:lnTo>
                      <a:pt x="320" y="542"/>
                    </a:lnTo>
                    <a:lnTo>
                      <a:pt x="302" y="550"/>
                    </a:lnTo>
                    <a:lnTo>
                      <a:pt x="282" y="554"/>
                    </a:lnTo>
                    <a:lnTo>
                      <a:pt x="262" y="558"/>
                    </a:lnTo>
                    <a:lnTo>
                      <a:pt x="242" y="562"/>
                    </a:lnTo>
                    <a:lnTo>
                      <a:pt x="220" y="564"/>
                    </a:lnTo>
                    <a:lnTo>
                      <a:pt x="200" y="564"/>
                    </a:lnTo>
                    <a:lnTo>
                      <a:pt x="200" y="564"/>
                    </a:lnTo>
                    <a:lnTo>
                      <a:pt x="168" y="562"/>
                    </a:lnTo>
                    <a:lnTo>
                      <a:pt x="138" y="560"/>
                    </a:lnTo>
                    <a:lnTo>
                      <a:pt x="110" y="554"/>
                    </a:lnTo>
                    <a:lnTo>
                      <a:pt x="84" y="548"/>
                    </a:lnTo>
                    <a:lnTo>
                      <a:pt x="60" y="540"/>
                    </a:lnTo>
                    <a:lnTo>
                      <a:pt x="38" y="532"/>
                    </a:lnTo>
                    <a:lnTo>
                      <a:pt x="18" y="522"/>
                    </a:lnTo>
                    <a:lnTo>
                      <a:pt x="0" y="512"/>
                    </a:lnTo>
                    <a:lnTo>
                      <a:pt x="42" y="4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1" name="Freeform 27"/>
              <p:cNvSpPr>
                <a:spLocks noEditPoints="1"/>
              </p:cNvSpPr>
              <p:nvPr/>
            </p:nvSpPr>
            <p:spPr bwMode="auto">
              <a:xfrm>
                <a:off x="8230347" y="4493623"/>
                <a:ext cx="17443" cy="81608"/>
              </a:xfrm>
              <a:custGeom>
                <a:avLst/>
                <a:gdLst>
                  <a:gd name="T0" fmla="*/ 84 w 168"/>
                  <a:gd name="T1" fmla="*/ 162 h 786"/>
                  <a:gd name="T2" fmla="*/ 84 w 168"/>
                  <a:gd name="T3" fmla="*/ 162 h 786"/>
                  <a:gd name="T4" fmla="*/ 68 w 168"/>
                  <a:gd name="T5" fmla="*/ 160 h 786"/>
                  <a:gd name="T6" fmla="*/ 52 w 168"/>
                  <a:gd name="T7" fmla="*/ 156 h 786"/>
                  <a:gd name="T8" fmla="*/ 38 w 168"/>
                  <a:gd name="T9" fmla="*/ 148 h 786"/>
                  <a:gd name="T10" fmla="*/ 26 w 168"/>
                  <a:gd name="T11" fmla="*/ 138 h 786"/>
                  <a:gd name="T12" fmla="*/ 14 w 168"/>
                  <a:gd name="T13" fmla="*/ 126 h 786"/>
                  <a:gd name="T14" fmla="*/ 8 w 168"/>
                  <a:gd name="T15" fmla="*/ 112 h 786"/>
                  <a:gd name="T16" fmla="*/ 2 w 168"/>
                  <a:gd name="T17" fmla="*/ 98 h 786"/>
                  <a:gd name="T18" fmla="*/ 0 w 168"/>
                  <a:gd name="T19" fmla="*/ 80 h 786"/>
                  <a:gd name="T20" fmla="*/ 0 w 168"/>
                  <a:gd name="T21" fmla="*/ 80 h 786"/>
                  <a:gd name="T22" fmla="*/ 2 w 168"/>
                  <a:gd name="T23" fmla="*/ 64 h 786"/>
                  <a:gd name="T24" fmla="*/ 8 w 168"/>
                  <a:gd name="T25" fmla="*/ 50 h 786"/>
                  <a:gd name="T26" fmla="*/ 14 w 168"/>
                  <a:gd name="T27" fmla="*/ 36 h 786"/>
                  <a:gd name="T28" fmla="*/ 26 w 168"/>
                  <a:gd name="T29" fmla="*/ 24 h 786"/>
                  <a:gd name="T30" fmla="*/ 38 w 168"/>
                  <a:gd name="T31" fmla="*/ 14 h 786"/>
                  <a:gd name="T32" fmla="*/ 52 w 168"/>
                  <a:gd name="T33" fmla="*/ 6 h 786"/>
                  <a:gd name="T34" fmla="*/ 68 w 168"/>
                  <a:gd name="T35" fmla="*/ 2 h 786"/>
                  <a:gd name="T36" fmla="*/ 84 w 168"/>
                  <a:gd name="T37" fmla="*/ 0 h 786"/>
                  <a:gd name="T38" fmla="*/ 84 w 168"/>
                  <a:gd name="T39" fmla="*/ 0 h 786"/>
                  <a:gd name="T40" fmla="*/ 102 w 168"/>
                  <a:gd name="T41" fmla="*/ 2 h 786"/>
                  <a:gd name="T42" fmla="*/ 118 w 168"/>
                  <a:gd name="T43" fmla="*/ 6 h 786"/>
                  <a:gd name="T44" fmla="*/ 132 w 168"/>
                  <a:gd name="T45" fmla="*/ 14 h 786"/>
                  <a:gd name="T46" fmla="*/ 144 w 168"/>
                  <a:gd name="T47" fmla="*/ 24 h 786"/>
                  <a:gd name="T48" fmla="*/ 154 w 168"/>
                  <a:gd name="T49" fmla="*/ 36 h 786"/>
                  <a:gd name="T50" fmla="*/ 162 w 168"/>
                  <a:gd name="T51" fmla="*/ 48 h 786"/>
                  <a:gd name="T52" fmla="*/ 166 w 168"/>
                  <a:gd name="T53" fmla="*/ 64 h 786"/>
                  <a:gd name="T54" fmla="*/ 168 w 168"/>
                  <a:gd name="T55" fmla="*/ 80 h 786"/>
                  <a:gd name="T56" fmla="*/ 168 w 168"/>
                  <a:gd name="T57" fmla="*/ 80 h 786"/>
                  <a:gd name="T58" fmla="*/ 166 w 168"/>
                  <a:gd name="T59" fmla="*/ 96 h 786"/>
                  <a:gd name="T60" fmla="*/ 162 w 168"/>
                  <a:gd name="T61" fmla="*/ 112 h 786"/>
                  <a:gd name="T62" fmla="*/ 154 w 168"/>
                  <a:gd name="T63" fmla="*/ 126 h 786"/>
                  <a:gd name="T64" fmla="*/ 144 w 168"/>
                  <a:gd name="T65" fmla="*/ 138 h 786"/>
                  <a:gd name="T66" fmla="*/ 132 w 168"/>
                  <a:gd name="T67" fmla="*/ 148 h 786"/>
                  <a:gd name="T68" fmla="*/ 118 w 168"/>
                  <a:gd name="T69" fmla="*/ 156 h 786"/>
                  <a:gd name="T70" fmla="*/ 102 w 168"/>
                  <a:gd name="T71" fmla="*/ 160 h 786"/>
                  <a:gd name="T72" fmla="*/ 84 w 168"/>
                  <a:gd name="T73" fmla="*/ 162 h 786"/>
                  <a:gd name="T74" fmla="*/ 84 w 168"/>
                  <a:gd name="T75" fmla="*/ 162 h 786"/>
                  <a:gd name="T76" fmla="*/ 16 w 168"/>
                  <a:gd name="T77" fmla="*/ 786 h 786"/>
                  <a:gd name="T78" fmla="*/ 16 w 168"/>
                  <a:gd name="T79" fmla="*/ 244 h 786"/>
                  <a:gd name="T80" fmla="*/ 152 w 168"/>
                  <a:gd name="T81" fmla="*/ 244 h 786"/>
                  <a:gd name="T82" fmla="*/ 152 w 168"/>
                  <a:gd name="T83" fmla="*/ 244 h 786"/>
                  <a:gd name="T84" fmla="*/ 152 w 168"/>
                  <a:gd name="T85" fmla="*/ 686 h 786"/>
                  <a:gd name="T86" fmla="*/ 152 w 168"/>
                  <a:gd name="T87" fmla="*/ 686 h 786"/>
                  <a:gd name="T88" fmla="*/ 150 w 168"/>
                  <a:gd name="T89" fmla="*/ 704 h 786"/>
                  <a:gd name="T90" fmla="*/ 146 w 168"/>
                  <a:gd name="T91" fmla="*/ 720 h 786"/>
                  <a:gd name="T92" fmla="*/ 138 w 168"/>
                  <a:gd name="T93" fmla="*/ 732 h 786"/>
                  <a:gd name="T94" fmla="*/ 130 w 168"/>
                  <a:gd name="T95" fmla="*/ 744 h 786"/>
                  <a:gd name="T96" fmla="*/ 120 w 168"/>
                  <a:gd name="T97" fmla="*/ 754 h 786"/>
                  <a:gd name="T98" fmla="*/ 108 w 168"/>
                  <a:gd name="T99" fmla="*/ 762 h 786"/>
                  <a:gd name="T100" fmla="*/ 96 w 168"/>
                  <a:gd name="T101" fmla="*/ 768 h 786"/>
                  <a:gd name="T102" fmla="*/ 84 w 168"/>
                  <a:gd name="T103" fmla="*/ 774 h 786"/>
                  <a:gd name="T104" fmla="*/ 60 w 168"/>
                  <a:gd name="T105" fmla="*/ 782 h 786"/>
                  <a:gd name="T106" fmla="*/ 38 w 168"/>
                  <a:gd name="T107" fmla="*/ 784 h 786"/>
                  <a:gd name="T108" fmla="*/ 16 w 168"/>
                  <a:gd name="T109" fmla="*/ 786 h 786"/>
                  <a:gd name="T110" fmla="*/ 16 w 168"/>
                  <a:gd name="T111" fmla="*/ 786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8" h="786">
                    <a:moveTo>
                      <a:pt x="84" y="162"/>
                    </a:moveTo>
                    <a:lnTo>
                      <a:pt x="84" y="162"/>
                    </a:lnTo>
                    <a:lnTo>
                      <a:pt x="68" y="160"/>
                    </a:lnTo>
                    <a:lnTo>
                      <a:pt x="52" y="156"/>
                    </a:lnTo>
                    <a:lnTo>
                      <a:pt x="38" y="148"/>
                    </a:lnTo>
                    <a:lnTo>
                      <a:pt x="26" y="138"/>
                    </a:lnTo>
                    <a:lnTo>
                      <a:pt x="14" y="126"/>
                    </a:lnTo>
                    <a:lnTo>
                      <a:pt x="8" y="112"/>
                    </a:lnTo>
                    <a:lnTo>
                      <a:pt x="2" y="98"/>
                    </a:lnTo>
                    <a:lnTo>
                      <a:pt x="0" y="80"/>
                    </a:lnTo>
                    <a:lnTo>
                      <a:pt x="0" y="80"/>
                    </a:lnTo>
                    <a:lnTo>
                      <a:pt x="2" y="64"/>
                    </a:lnTo>
                    <a:lnTo>
                      <a:pt x="8" y="50"/>
                    </a:lnTo>
                    <a:lnTo>
                      <a:pt x="14" y="36"/>
                    </a:lnTo>
                    <a:lnTo>
                      <a:pt x="26" y="24"/>
                    </a:lnTo>
                    <a:lnTo>
                      <a:pt x="38" y="14"/>
                    </a:lnTo>
                    <a:lnTo>
                      <a:pt x="52" y="6"/>
                    </a:lnTo>
                    <a:lnTo>
                      <a:pt x="68" y="2"/>
                    </a:lnTo>
                    <a:lnTo>
                      <a:pt x="84" y="0"/>
                    </a:lnTo>
                    <a:lnTo>
                      <a:pt x="84" y="0"/>
                    </a:lnTo>
                    <a:lnTo>
                      <a:pt x="102" y="2"/>
                    </a:lnTo>
                    <a:lnTo>
                      <a:pt x="118" y="6"/>
                    </a:lnTo>
                    <a:lnTo>
                      <a:pt x="132" y="14"/>
                    </a:lnTo>
                    <a:lnTo>
                      <a:pt x="144" y="24"/>
                    </a:lnTo>
                    <a:lnTo>
                      <a:pt x="154" y="36"/>
                    </a:lnTo>
                    <a:lnTo>
                      <a:pt x="162" y="48"/>
                    </a:lnTo>
                    <a:lnTo>
                      <a:pt x="166" y="64"/>
                    </a:lnTo>
                    <a:lnTo>
                      <a:pt x="168" y="80"/>
                    </a:lnTo>
                    <a:lnTo>
                      <a:pt x="168" y="80"/>
                    </a:lnTo>
                    <a:lnTo>
                      <a:pt x="166" y="96"/>
                    </a:lnTo>
                    <a:lnTo>
                      <a:pt x="162" y="112"/>
                    </a:lnTo>
                    <a:lnTo>
                      <a:pt x="154" y="126"/>
                    </a:lnTo>
                    <a:lnTo>
                      <a:pt x="144" y="138"/>
                    </a:lnTo>
                    <a:lnTo>
                      <a:pt x="132" y="148"/>
                    </a:lnTo>
                    <a:lnTo>
                      <a:pt x="118" y="156"/>
                    </a:lnTo>
                    <a:lnTo>
                      <a:pt x="102" y="160"/>
                    </a:lnTo>
                    <a:lnTo>
                      <a:pt x="84" y="162"/>
                    </a:lnTo>
                    <a:lnTo>
                      <a:pt x="84" y="162"/>
                    </a:lnTo>
                    <a:close/>
                    <a:moveTo>
                      <a:pt x="16" y="786"/>
                    </a:moveTo>
                    <a:lnTo>
                      <a:pt x="16" y="244"/>
                    </a:lnTo>
                    <a:lnTo>
                      <a:pt x="152" y="244"/>
                    </a:lnTo>
                    <a:lnTo>
                      <a:pt x="152" y="244"/>
                    </a:lnTo>
                    <a:lnTo>
                      <a:pt x="152" y="686"/>
                    </a:lnTo>
                    <a:lnTo>
                      <a:pt x="152" y="686"/>
                    </a:lnTo>
                    <a:lnTo>
                      <a:pt x="150" y="704"/>
                    </a:lnTo>
                    <a:lnTo>
                      <a:pt x="146" y="720"/>
                    </a:lnTo>
                    <a:lnTo>
                      <a:pt x="138" y="732"/>
                    </a:lnTo>
                    <a:lnTo>
                      <a:pt x="130" y="744"/>
                    </a:lnTo>
                    <a:lnTo>
                      <a:pt x="120" y="754"/>
                    </a:lnTo>
                    <a:lnTo>
                      <a:pt x="108" y="762"/>
                    </a:lnTo>
                    <a:lnTo>
                      <a:pt x="96" y="768"/>
                    </a:lnTo>
                    <a:lnTo>
                      <a:pt x="84" y="774"/>
                    </a:lnTo>
                    <a:lnTo>
                      <a:pt x="60" y="782"/>
                    </a:lnTo>
                    <a:lnTo>
                      <a:pt x="38" y="784"/>
                    </a:lnTo>
                    <a:lnTo>
                      <a:pt x="16" y="786"/>
                    </a:lnTo>
                    <a:lnTo>
                      <a:pt x="16" y="7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2" name="Freeform 28"/>
              <p:cNvSpPr>
                <a:spLocks/>
              </p:cNvSpPr>
              <p:nvPr/>
            </p:nvSpPr>
            <p:spPr bwMode="auto">
              <a:xfrm>
                <a:off x="7989468" y="4518126"/>
                <a:ext cx="49837" cy="57313"/>
              </a:xfrm>
              <a:custGeom>
                <a:avLst/>
                <a:gdLst>
                  <a:gd name="T0" fmla="*/ 346 w 480"/>
                  <a:gd name="T1" fmla="*/ 230 h 552"/>
                  <a:gd name="T2" fmla="*/ 344 w 480"/>
                  <a:gd name="T3" fmla="*/ 210 h 552"/>
                  <a:gd name="T4" fmla="*/ 338 w 480"/>
                  <a:gd name="T5" fmla="*/ 170 h 552"/>
                  <a:gd name="T6" fmla="*/ 322 w 480"/>
                  <a:gd name="T7" fmla="*/ 138 h 552"/>
                  <a:gd name="T8" fmla="*/ 308 w 480"/>
                  <a:gd name="T9" fmla="*/ 126 h 552"/>
                  <a:gd name="T10" fmla="*/ 290 w 480"/>
                  <a:gd name="T11" fmla="*/ 118 h 552"/>
                  <a:gd name="T12" fmla="*/ 268 w 480"/>
                  <a:gd name="T13" fmla="*/ 116 h 552"/>
                  <a:gd name="T14" fmla="*/ 250 w 480"/>
                  <a:gd name="T15" fmla="*/ 116 h 552"/>
                  <a:gd name="T16" fmla="*/ 216 w 480"/>
                  <a:gd name="T17" fmla="*/ 126 h 552"/>
                  <a:gd name="T18" fmla="*/ 182 w 480"/>
                  <a:gd name="T19" fmla="*/ 140 h 552"/>
                  <a:gd name="T20" fmla="*/ 134 w 480"/>
                  <a:gd name="T21" fmla="*/ 172 h 552"/>
                  <a:gd name="T22" fmla="*/ 134 w 480"/>
                  <a:gd name="T23" fmla="*/ 452 h 552"/>
                  <a:gd name="T24" fmla="*/ 132 w 480"/>
                  <a:gd name="T25" fmla="*/ 470 h 552"/>
                  <a:gd name="T26" fmla="*/ 120 w 480"/>
                  <a:gd name="T27" fmla="*/ 498 h 552"/>
                  <a:gd name="T28" fmla="*/ 102 w 480"/>
                  <a:gd name="T29" fmla="*/ 518 h 552"/>
                  <a:gd name="T30" fmla="*/ 78 w 480"/>
                  <a:gd name="T31" fmla="*/ 534 h 552"/>
                  <a:gd name="T32" fmla="*/ 42 w 480"/>
                  <a:gd name="T33" fmla="*/ 546 h 552"/>
                  <a:gd name="T34" fmla="*/ 0 w 480"/>
                  <a:gd name="T35" fmla="*/ 552 h 552"/>
                  <a:gd name="T36" fmla="*/ 114 w 480"/>
                  <a:gd name="T37" fmla="*/ 14 h 552"/>
                  <a:gd name="T38" fmla="*/ 128 w 480"/>
                  <a:gd name="T39" fmla="*/ 70 h 552"/>
                  <a:gd name="T40" fmla="*/ 170 w 480"/>
                  <a:gd name="T41" fmla="*/ 42 h 552"/>
                  <a:gd name="T42" fmla="*/ 214 w 480"/>
                  <a:gd name="T43" fmla="*/ 20 h 552"/>
                  <a:gd name="T44" fmla="*/ 262 w 480"/>
                  <a:gd name="T45" fmla="*/ 6 h 552"/>
                  <a:gd name="T46" fmla="*/ 314 w 480"/>
                  <a:gd name="T47" fmla="*/ 0 h 552"/>
                  <a:gd name="T48" fmla="*/ 328 w 480"/>
                  <a:gd name="T49" fmla="*/ 2 h 552"/>
                  <a:gd name="T50" fmla="*/ 358 w 480"/>
                  <a:gd name="T51" fmla="*/ 6 h 552"/>
                  <a:gd name="T52" fmla="*/ 388 w 480"/>
                  <a:gd name="T53" fmla="*/ 16 h 552"/>
                  <a:gd name="T54" fmla="*/ 414 w 480"/>
                  <a:gd name="T55" fmla="*/ 32 h 552"/>
                  <a:gd name="T56" fmla="*/ 438 w 480"/>
                  <a:gd name="T57" fmla="*/ 54 h 552"/>
                  <a:gd name="T58" fmla="*/ 458 w 480"/>
                  <a:gd name="T59" fmla="*/ 84 h 552"/>
                  <a:gd name="T60" fmla="*/ 472 w 480"/>
                  <a:gd name="T61" fmla="*/ 120 h 552"/>
                  <a:gd name="T62" fmla="*/ 478 w 480"/>
                  <a:gd name="T63" fmla="*/ 166 h 552"/>
                  <a:gd name="T64" fmla="*/ 480 w 480"/>
                  <a:gd name="T65" fmla="*/ 190 h 552"/>
                  <a:gd name="T66" fmla="*/ 480 w 480"/>
                  <a:gd name="T67" fmla="*/ 452 h 552"/>
                  <a:gd name="T68" fmla="*/ 474 w 480"/>
                  <a:gd name="T69" fmla="*/ 484 h 552"/>
                  <a:gd name="T70" fmla="*/ 458 w 480"/>
                  <a:gd name="T71" fmla="*/ 510 h 552"/>
                  <a:gd name="T72" fmla="*/ 438 w 480"/>
                  <a:gd name="T73" fmla="*/ 528 h 552"/>
                  <a:gd name="T74" fmla="*/ 412 w 480"/>
                  <a:gd name="T75" fmla="*/ 540 h 552"/>
                  <a:gd name="T76" fmla="*/ 366 w 480"/>
                  <a:gd name="T77" fmla="*/ 550 h 552"/>
                  <a:gd name="T78" fmla="*/ 346 w 480"/>
                  <a:gd name="T79" fmla="*/ 552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80" h="552">
                    <a:moveTo>
                      <a:pt x="346" y="552"/>
                    </a:moveTo>
                    <a:lnTo>
                      <a:pt x="346" y="230"/>
                    </a:lnTo>
                    <a:lnTo>
                      <a:pt x="346" y="230"/>
                    </a:lnTo>
                    <a:lnTo>
                      <a:pt x="344" y="210"/>
                    </a:lnTo>
                    <a:lnTo>
                      <a:pt x="342" y="190"/>
                    </a:lnTo>
                    <a:lnTo>
                      <a:pt x="338" y="170"/>
                    </a:lnTo>
                    <a:lnTo>
                      <a:pt x="332" y="152"/>
                    </a:lnTo>
                    <a:lnTo>
                      <a:pt x="322" y="138"/>
                    </a:lnTo>
                    <a:lnTo>
                      <a:pt x="316" y="132"/>
                    </a:lnTo>
                    <a:lnTo>
                      <a:pt x="308" y="126"/>
                    </a:lnTo>
                    <a:lnTo>
                      <a:pt x="300" y="122"/>
                    </a:lnTo>
                    <a:lnTo>
                      <a:pt x="290" y="118"/>
                    </a:lnTo>
                    <a:lnTo>
                      <a:pt x="280" y="116"/>
                    </a:lnTo>
                    <a:lnTo>
                      <a:pt x="268" y="116"/>
                    </a:lnTo>
                    <a:lnTo>
                      <a:pt x="268" y="116"/>
                    </a:lnTo>
                    <a:lnTo>
                      <a:pt x="250" y="116"/>
                    </a:lnTo>
                    <a:lnTo>
                      <a:pt x="232" y="120"/>
                    </a:lnTo>
                    <a:lnTo>
                      <a:pt x="216" y="126"/>
                    </a:lnTo>
                    <a:lnTo>
                      <a:pt x="198" y="132"/>
                    </a:lnTo>
                    <a:lnTo>
                      <a:pt x="182" y="140"/>
                    </a:lnTo>
                    <a:lnTo>
                      <a:pt x="166" y="150"/>
                    </a:lnTo>
                    <a:lnTo>
                      <a:pt x="134" y="172"/>
                    </a:lnTo>
                    <a:lnTo>
                      <a:pt x="134" y="172"/>
                    </a:lnTo>
                    <a:lnTo>
                      <a:pt x="134" y="452"/>
                    </a:lnTo>
                    <a:lnTo>
                      <a:pt x="134" y="452"/>
                    </a:lnTo>
                    <a:lnTo>
                      <a:pt x="132" y="470"/>
                    </a:lnTo>
                    <a:lnTo>
                      <a:pt x="128" y="484"/>
                    </a:lnTo>
                    <a:lnTo>
                      <a:pt x="120" y="498"/>
                    </a:lnTo>
                    <a:lnTo>
                      <a:pt x="112" y="510"/>
                    </a:lnTo>
                    <a:lnTo>
                      <a:pt x="102" y="518"/>
                    </a:lnTo>
                    <a:lnTo>
                      <a:pt x="90" y="528"/>
                    </a:lnTo>
                    <a:lnTo>
                      <a:pt x="78" y="534"/>
                    </a:lnTo>
                    <a:lnTo>
                      <a:pt x="66" y="540"/>
                    </a:lnTo>
                    <a:lnTo>
                      <a:pt x="42" y="546"/>
                    </a:lnTo>
                    <a:lnTo>
                      <a:pt x="20" y="550"/>
                    </a:lnTo>
                    <a:lnTo>
                      <a:pt x="0" y="552"/>
                    </a:lnTo>
                    <a:lnTo>
                      <a:pt x="0" y="14"/>
                    </a:lnTo>
                    <a:lnTo>
                      <a:pt x="114" y="14"/>
                    </a:lnTo>
                    <a:lnTo>
                      <a:pt x="128" y="70"/>
                    </a:lnTo>
                    <a:lnTo>
                      <a:pt x="128" y="70"/>
                    </a:lnTo>
                    <a:lnTo>
                      <a:pt x="150" y="54"/>
                    </a:lnTo>
                    <a:lnTo>
                      <a:pt x="170" y="42"/>
                    </a:lnTo>
                    <a:lnTo>
                      <a:pt x="192" y="30"/>
                    </a:lnTo>
                    <a:lnTo>
                      <a:pt x="214" y="20"/>
                    </a:lnTo>
                    <a:lnTo>
                      <a:pt x="238" y="12"/>
                    </a:lnTo>
                    <a:lnTo>
                      <a:pt x="262" y="6"/>
                    </a:lnTo>
                    <a:lnTo>
                      <a:pt x="286" y="2"/>
                    </a:lnTo>
                    <a:lnTo>
                      <a:pt x="314" y="0"/>
                    </a:lnTo>
                    <a:lnTo>
                      <a:pt x="314" y="0"/>
                    </a:lnTo>
                    <a:lnTo>
                      <a:pt x="328" y="2"/>
                    </a:lnTo>
                    <a:lnTo>
                      <a:pt x="344" y="2"/>
                    </a:lnTo>
                    <a:lnTo>
                      <a:pt x="358" y="6"/>
                    </a:lnTo>
                    <a:lnTo>
                      <a:pt x="374" y="10"/>
                    </a:lnTo>
                    <a:lnTo>
                      <a:pt x="388" y="16"/>
                    </a:lnTo>
                    <a:lnTo>
                      <a:pt x="402" y="24"/>
                    </a:lnTo>
                    <a:lnTo>
                      <a:pt x="414" y="32"/>
                    </a:lnTo>
                    <a:lnTo>
                      <a:pt x="426" y="42"/>
                    </a:lnTo>
                    <a:lnTo>
                      <a:pt x="438" y="54"/>
                    </a:lnTo>
                    <a:lnTo>
                      <a:pt x="448" y="68"/>
                    </a:lnTo>
                    <a:lnTo>
                      <a:pt x="458" y="84"/>
                    </a:lnTo>
                    <a:lnTo>
                      <a:pt x="464" y="102"/>
                    </a:lnTo>
                    <a:lnTo>
                      <a:pt x="472" y="120"/>
                    </a:lnTo>
                    <a:lnTo>
                      <a:pt x="476" y="142"/>
                    </a:lnTo>
                    <a:lnTo>
                      <a:pt x="478" y="166"/>
                    </a:lnTo>
                    <a:lnTo>
                      <a:pt x="480" y="190"/>
                    </a:lnTo>
                    <a:lnTo>
                      <a:pt x="480" y="190"/>
                    </a:lnTo>
                    <a:lnTo>
                      <a:pt x="480" y="452"/>
                    </a:lnTo>
                    <a:lnTo>
                      <a:pt x="480" y="452"/>
                    </a:lnTo>
                    <a:lnTo>
                      <a:pt x="478" y="470"/>
                    </a:lnTo>
                    <a:lnTo>
                      <a:pt x="474" y="484"/>
                    </a:lnTo>
                    <a:lnTo>
                      <a:pt x="468" y="498"/>
                    </a:lnTo>
                    <a:lnTo>
                      <a:pt x="458" y="510"/>
                    </a:lnTo>
                    <a:lnTo>
                      <a:pt x="448" y="520"/>
                    </a:lnTo>
                    <a:lnTo>
                      <a:pt x="438" y="528"/>
                    </a:lnTo>
                    <a:lnTo>
                      <a:pt x="424" y="534"/>
                    </a:lnTo>
                    <a:lnTo>
                      <a:pt x="412" y="540"/>
                    </a:lnTo>
                    <a:lnTo>
                      <a:pt x="388" y="546"/>
                    </a:lnTo>
                    <a:lnTo>
                      <a:pt x="366" y="550"/>
                    </a:lnTo>
                    <a:lnTo>
                      <a:pt x="346" y="552"/>
                    </a:lnTo>
                    <a:lnTo>
                      <a:pt x="346" y="5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3" name="Freeform 29"/>
              <p:cNvSpPr>
                <a:spLocks/>
              </p:cNvSpPr>
              <p:nvPr/>
            </p:nvSpPr>
            <p:spPr bwMode="auto">
              <a:xfrm>
                <a:off x="8106170" y="4491754"/>
                <a:ext cx="14120" cy="83477"/>
              </a:xfrm>
              <a:custGeom>
                <a:avLst/>
                <a:gdLst>
                  <a:gd name="T0" fmla="*/ 136 w 136"/>
                  <a:gd name="T1" fmla="*/ 704 h 804"/>
                  <a:gd name="T2" fmla="*/ 136 w 136"/>
                  <a:gd name="T3" fmla="*/ 704 h 804"/>
                  <a:gd name="T4" fmla="*/ 134 w 136"/>
                  <a:gd name="T5" fmla="*/ 722 h 804"/>
                  <a:gd name="T6" fmla="*/ 130 w 136"/>
                  <a:gd name="T7" fmla="*/ 738 h 804"/>
                  <a:gd name="T8" fmla="*/ 122 w 136"/>
                  <a:gd name="T9" fmla="*/ 750 h 804"/>
                  <a:gd name="T10" fmla="*/ 114 w 136"/>
                  <a:gd name="T11" fmla="*/ 762 h 804"/>
                  <a:gd name="T12" fmla="*/ 104 w 136"/>
                  <a:gd name="T13" fmla="*/ 772 h 804"/>
                  <a:gd name="T14" fmla="*/ 92 w 136"/>
                  <a:gd name="T15" fmla="*/ 780 h 804"/>
                  <a:gd name="T16" fmla="*/ 80 w 136"/>
                  <a:gd name="T17" fmla="*/ 786 h 804"/>
                  <a:gd name="T18" fmla="*/ 68 w 136"/>
                  <a:gd name="T19" fmla="*/ 792 h 804"/>
                  <a:gd name="T20" fmla="*/ 44 w 136"/>
                  <a:gd name="T21" fmla="*/ 800 h 804"/>
                  <a:gd name="T22" fmla="*/ 22 w 136"/>
                  <a:gd name="T23" fmla="*/ 802 h 804"/>
                  <a:gd name="T24" fmla="*/ 0 w 136"/>
                  <a:gd name="T25" fmla="*/ 804 h 804"/>
                  <a:gd name="T26" fmla="*/ 0 w 136"/>
                  <a:gd name="T27" fmla="*/ 0 h 804"/>
                  <a:gd name="T28" fmla="*/ 136 w 136"/>
                  <a:gd name="T29" fmla="*/ 0 h 804"/>
                  <a:gd name="T30" fmla="*/ 136 w 136"/>
                  <a:gd name="T31" fmla="*/ 0 h 804"/>
                  <a:gd name="T32" fmla="*/ 136 w 136"/>
                  <a:gd name="T33" fmla="*/ 704 h 804"/>
                  <a:gd name="T34" fmla="*/ 136 w 136"/>
                  <a:gd name="T35" fmla="*/ 70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04">
                    <a:moveTo>
                      <a:pt x="136" y="704"/>
                    </a:moveTo>
                    <a:lnTo>
                      <a:pt x="136" y="704"/>
                    </a:lnTo>
                    <a:lnTo>
                      <a:pt x="134" y="722"/>
                    </a:lnTo>
                    <a:lnTo>
                      <a:pt x="130" y="738"/>
                    </a:lnTo>
                    <a:lnTo>
                      <a:pt x="122" y="750"/>
                    </a:lnTo>
                    <a:lnTo>
                      <a:pt x="114" y="762"/>
                    </a:lnTo>
                    <a:lnTo>
                      <a:pt x="104" y="772"/>
                    </a:lnTo>
                    <a:lnTo>
                      <a:pt x="92" y="780"/>
                    </a:lnTo>
                    <a:lnTo>
                      <a:pt x="80" y="786"/>
                    </a:lnTo>
                    <a:lnTo>
                      <a:pt x="68" y="792"/>
                    </a:lnTo>
                    <a:lnTo>
                      <a:pt x="44" y="800"/>
                    </a:lnTo>
                    <a:lnTo>
                      <a:pt x="22" y="802"/>
                    </a:lnTo>
                    <a:lnTo>
                      <a:pt x="0" y="804"/>
                    </a:lnTo>
                    <a:lnTo>
                      <a:pt x="0" y="0"/>
                    </a:lnTo>
                    <a:lnTo>
                      <a:pt x="136" y="0"/>
                    </a:lnTo>
                    <a:lnTo>
                      <a:pt x="136" y="0"/>
                    </a:lnTo>
                    <a:lnTo>
                      <a:pt x="136" y="704"/>
                    </a:lnTo>
                    <a:lnTo>
                      <a:pt x="136" y="7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69" name="Group 168"/>
            <p:cNvGrpSpPr/>
            <p:nvPr userDrawn="1"/>
          </p:nvGrpSpPr>
          <p:grpSpPr>
            <a:xfrm>
              <a:off x="7673274" y="4343117"/>
              <a:ext cx="1123200" cy="148389"/>
              <a:chOff x="7665803" y="4864376"/>
              <a:chExt cx="1123200" cy="148389"/>
            </a:xfrm>
            <a:grpFill/>
          </p:grpSpPr>
          <p:sp>
            <p:nvSpPr>
              <p:cNvPr id="170" name="Freeform 6"/>
              <p:cNvSpPr>
                <a:spLocks/>
              </p:cNvSpPr>
              <p:nvPr userDrawn="1"/>
            </p:nvSpPr>
            <p:spPr bwMode="auto">
              <a:xfrm>
                <a:off x="8119644" y="4924717"/>
                <a:ext cx="103102" cy="66806"/>
              </a:xfrm>
              <a:custGeom>
                <a:avLst/>
                <a:gdLst>
                  <a:gd name="T0" fmla="*/ 111 w 136"/>
                  <a:gd name="T1" fmla="*/ 72 h 92"/>
                  <a:gd name="T2" fmla="*/ 87 w 136"/>
                  <a:gd name="T3" fmla="*/ 88 h 92"/>
                  <a:gd name="T4" fmla="*/ 68 w 136"/>
                  <a:gd name="T5" fmla="*/ 28 h 92"/>
                  <a:gd name="T6" fmla="*/ 67 w 136"/>
                  <a:gd name="T7" fmla="*/ 28 h 92"/>
                  <a:gd name="T8" fmla="*/ 53 w 136"/>
                  <a:gd name="T9" fmla="*/ 72 h 92"/>
                  <a:gd name="T10" fmla="*/ 31 w 136"/>
                  <a:gd name="T11" fmla="*/ 88 h 92"/>
                  <a:gd name="T12" fmla="*/ 0 w 136"/>
                  <a:gd name="T13" fmla="*/ 0 h 92"/>
                  <a:gd name="T14" fmla="*/ 22 w 136"/>
                  <a:gd name="T15" fmla="*/ 0 h 92"/>
                  <a:gd name="T16" fmla="*/ 41 w 136"/>
                  <a:gd name="T17" fmla="*/ 60 h 92"/>
                  <a:gd name="T18" fmla="*/ 41 w 136"/>
                  <a:gd name="T19" fmla="*/ 60 h 92"/>
                  <a:gd name="T20" fmla="*/ 60 w 136"/>
                  <a:gd name="T21" fmla="*/ 0 h 92"/>
                  <a:gd name="T22" fmla="*/ 77 w 136"/>
                  <a:gd name="T23" fmla="*/ 0 h 92"/>
                  <a:gd name="T24" fmla="*/ 96 w 136"/>
                  <a:gd name="T25" fmla="*/ 60 h 92"/>
                  <a:gd name="T26" fmla="*/ 97 w 136"/>
                  <a:gd name="T27" fmla="*/ 60 h 92"/>
                  <a:gd name="T28" fmla="*/ 115 w 136"/>
                  <a:gd name="T29" fmla="*/ 0 h 92"/>
                  <a:gd name="T30" fmla="*/ 136 w 136"/>
                  <a:gd name="T31" fmla="*/ 0 h 92"/>
                  <a:gd name="T32" fmla="*/ 111 w 136"/>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 h="92">
                    <a:moveTo>
                      <a:pt x="111" y="72"/>
                    </a:moveTo>
                    <a:cubicBezTo>
                      <a:pt x="103" y="92"/>
                      <a:pt x="87" y="88"/>
                      <a:pt x="87" y="88"/>
                    </a:cubicBezTo>
                    <a:cubicBezTo>
                      <a:pt x="68" y="28"/>
                      <a:pt x="68" y="28"/>
                      <a:pt x="68" y="28"/>
                    </a:cubicBezTo>
                    <a:cubicBezTo>
                      <a:pt x="67" y="28"/>
                      <a:pt x="67" y="28"/>
                      <a:pt x="67" y="28"/>
                    </a:cubicBezTo>
                    <a:cubicBezTo>
                      <a:pt x="67" y="28"/>
                      <a:pt x="58"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6" y="60"/>
                      <a:pt x="96" y="60"/>
                      <a:pt x="96" y="60"/>
                    </a:cubicBezTo>
                    <a:cubicBezTo>
                      <a:pt x="97" y="60"/>
                      <a:pt x="97" y="60"/>
                      <a:pt x="97" y="60"/>
                    </a:cubicBezTo>
                    <a:cubicBezTo>
                      <a:pt x="115" y="0"/>
                      <a:pt x="115" y="0"/>
                      <a:pt x="115" y="0"/>
                    </a:cubicBezTo>
                    <a:cubicBezTo>
                      <a:pt x="136" y="0"/>
                      <a:pt x="136" y="0"/>
                      <a:pt x="136" y="0"/>
                    </a:cubicBezTo>
                    <a:cubicBezTo>
                      <a:pt x="136"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71" name="Freeform 7"/>
              <p:cNvSpPr>
                <a:spLocks noEditPoints="1"/>
              </p:cNvSpPr>
              <p:nvPr userDrawn="1"/>
            </p:nvSpPr>
            <p:spPr bwMode="auto">
              <a:xfrm>
                <a:off x="8225958" y="4923177"/>
                <a:ext cx="57493" cy="66190"/>
              </a:xfrm>
              <a:custGeom>
                <a:avLst/>
                <a:gdLst>
                  <a:gd name="T0" fmla="*/ 57 w 76"/>
                  <a:gd name="T1" fmla="*/ 90 h 91"/>
                  <a:gd name="T2" fmla="*/ 53 w 76"/>
                  <a:gd name="T3" fmla="*/ 81 h 91"/>
                  <a:gd name="T4" fmla="*/ 28 w 76"/>
                  <a:gd name="T5" fmla="*/ 91 h 91"/>
                  <a:gd name="T6" fmla="*/ 0 w 76"/>
                  <a:gd name="T7" fmla="*/ 63 h 91"/>
                  <a:gd name="T8" fmla="*/ 36 w 76"/>
                  <a:gd name="T9" fmla="*/ 34 h 91"/>
                  <a:gd name="T10" fmla="*/ 51 w 76"/>
                  <a:gd name="T11" fmla="*/ 34 h 91"/>
                  <a:gd name="T12" fmla="*/ 51 w 76"/>
                  <a:gd name="T13" fmla="*/ 31 h 91"/>
                  <a:gd name="T14" fmla="*/ 35 w 76"/>
                  <a:gd name="T15" fmla="*/ 17 h 91"/>
                  <a:gd name="T16" fmla="*/ 12 w 76"/>
                  <a:gd name="T17" fmla="*/ 23 h 91"/>
                  <a:gd name="T18" fmla="*/ 5 w 76"/>
                  <a:gd name="T19" fmla="*/ 9 h 91"/>
                  <a:gd name="T20" fmla="*/ 39 w 76"/>
                  <a:gd name="T21" fmla="*/ 0 h 91"/>
                  <a:gd name="T22" fmla="*/ 74 w 76"/>
                  <a:gd name="T23" fmla="*/ 31 h 91"/>
                  <a:gd name="T24" fmla="*/ 74 w 76"/>
                  <a:gd name="T25" fmla="*/ 66 h 91"/>
                  <a:gd name="T26" fmla="*/ 76 w 76"/>
                  <a:gd name="T27" fmla="*/ 90 h 91"/>
                  <a:gd name="T28" fmla="*/ 57 w 76"/>
                  <a:gd name="T29" fmla="*/ 90 h 91"/>
                  <a:gd name="T30" fmla="*/ 51 w 76"/>
                  <a:gd name="T31" fmla="*/ 49 h 91"/>
                  <a:gd name="T32" fmla="*/ 39 w 76"/>
                  <a:gd name="T33" fmla="*/ 49 h 91"/>
                  <a:gd name="T34" fmla="*/ 22 w 76"/>
                  <a:gd name="T35" fmla="*/ 61 h 91"/>
                  <a:gd name="T36" fmla="*/ 36 w 76"/>
                  <a:gd name="T37" fmla="*/ 73 h 91"/>
                  <a:gd name="T38" fmla="*/ 51 w 76"/>
                  <a:gd name="T39" fmla="*/ 68 h 91"/>
                  <a:gd name="T40" fmla="*/ 51 w 76"/>
                  <a:gd name="T41" fmla="*/ 4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91">
                    <a:moveTo>
                      <a:pt x="57" y="90"/>
                    </a:moveTo>
                    <a:cubicBezTo>
                      <a:pt x="53" y="81"/>
                      <a:pt x="53" y="81"/>
                      <a:pt x="53" y="81"/>
                    </a:cubicBezTo>
                    <a:cubicBezTo>
                      <a:pt x="48" y="86"/>
                      <a:pt x="40" y="91"/>
                      <a:pt x="28" y="91"/>
                    </a:cubicBezTo>
                    <a:cubicBezTo>
                      <a:pt x="12" y="91"/>
                      <a:pt x="0" y="80"/>
                      <a:pt x="0" y="63"/>
                    </a:cubicBezTo>
                    <a:cubicBezTo>
                      <a:pt x="0" y="45"/>
                      <a:pt x="14" y="35"/>
                      <a:pt x="36" y="34"/>
                    </a:cubicBezTo>
                    <a:cubicBezTo>
                      <a:pt x="51" y="34"/>
                      <a:pt x="51" y="34"/>
                      <a:pt x="51" y="34"/>
                    </a:cubicBezTo>
                    <a:cubicBezTo>
                      <a:pt x="51" y="33"/>
                      <a:pt x="51" y="32"/>
                      <a:pt x="51" y="31"/>
                    </a:cubicBezTo>
                    <a:cubicBezTo>
                      <a:pt x="51" y="21"/>
                      <a:pt x="44" y="17"/>
                      <a:pt x="35" y="17"/>
                    </a:cubicBezTo>
                    <a:cubicBezTo>
                      <a:pt x="25" y="17"/>
                      <a:pt x="18" y="20"/>
                      <a:pt x="12" y="23"/>
                    </a:cubicBezTo>
                    <a:cubicBezTo>
                      <a:pt x="5" y="9"/>
                      <a:pt x="5" y="9"/>
                      <a:pt x="5" y="9"/>
                    </a:cubicBezTo>
                    <a:cubicBezTo>
                      <a:pt x="17" y="2"/>
                      <a:pt x="28" y="0"/>
                      <a:pt x="39" y="0"/>
                    </a:cubicBezTo>
                    <a:cubicBezTo>
                      <a:pt x="61" y="0"/>
                      <a:pt x="74" y="9"/>
                      <a:pt x="74" y="31"/>
                    </a:cubicBezTo>
                    <a:cubicBezTo>
                      <a:pt x="74" y="66"/>
                      <a:pt x="74" y="66"/>
                      <a:pt x="74" y="66"/>
                    </a:cubicBezTo>
                    <a:cubicBezTo>
                      <a:pt x="74" y="78"/>
                      <a:pt x="75" y="86"/>
                      <a:pt x="76" y="90"/>
                    </a:cubicBezTo>
                    <a:lnTo>
                      <a:pt x="57" y="90"/>
                    </a:lnTo>
                    <a:close/>
                    <a:moveTo>
                      <a:pt x="51" y="49"/>
                    </a:moveTo>
                    <a:cubicBezTo>
                      <a:pt x="39" y="49"/>
                      <a:pt x="39" y="49"/>
                      <a:pt x="39" y="49"/>
                    </a:cubicBezTo>
                    <a:cubicBezTo>
                      <a:pt x="27" y="50"/>
                      <a:pt x="22" y="54"/>
                      <a:pt x="22" y="61"/>
                    </a:cubicBezTo>
                    <a:cubicBezTo>
                      <a:pt x="22" y="68"/>
                      <a:pt x="27" y="73"/>
                      <a:pt x="36" y="73"/>
                    </a:cubicBezTo>
                    <a:cubicBezTo>
                      <a:pt x="44" y="73"/>
                      <a:pt x="49" y="70"/>
                      <a:pt x="51" y="68"/>
                    </a:cubicBezTo>
                    <a:lnTo>
                      <a:pt x="51" y="4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72" name="Freeform 8"/>
              <p:cNvSpPr>
                <a:spLocks noEditPoints="1"/>
              </p:cNvSpPr>
              <p:nvPr userDrawn="1"/>
            </p:nvSpPr>
            <p:spPr bwMode="auto">
              <a:xfrm>
                <a:off x="8342550" y="4892699"/>
                <a:ext cx="62311" cy="96668"/>
              </a:xfrm>
              <a:custGeom>
                <a:avLst/>
                <a:gdLst>
                  <a:gd name="T0" fmla="*/ 47 w 82"/>
                  <a:gd name="T1" fmla="*/ 133 h 133"/>
                  <a:gd name="T2" fmla="*/ 0 w 82"/>
                  <a:gd name="T3" fmla="*/ 88 h 133"/>
                  <a:gd name="T4" fmla="*/ 48 w 82"/>
                  <a:gd name="T5" fmla="*/ 42 h 133"/>
                  <a:gd name="T6" fmla="*/ 59 w 82"/>
                  <a:gd name="T7" fmla="*/ 42 h 133"/>
                  <a:gd name="T8" fmla="*/ 60 w 82"/>
                  <a:gd name="T9" fmla="*/ 0 h 133"/>
                  <a:gd name="T10" fmla="*/ 82 w 82"/>
                  <a:gd name="T11" fmla="*/ 0 h 133"/>
                  <a:gd name="T12" fmla="*/ 81 w 82"/>
                  <a:gd name="T13" fmla="*/ 126 h 133"/>
                  <a:gd name="T14" fmla="*/ 47 w 82"/>
                  <a:gd name="T15" fmla="*/ 133 h 133"/>
                  <a:gd name="T16" fmla="*/ 59 w 82"/>
                  <a:gd name="T17" fmla="*/ 60 h 133"/>
                  <a:gd name="T18" fmla="*/ 49 w 82"/>
                  <a:gd name="T19" fmla="*/ 59 h 133"/>
                  <a:gd name="T20" fmla="*/ 22 w 82"/>
                  <a:gd name="T21" fmla="*/ 87 h 133"/>
                  <a:gd name="T22" fmla="*/ 49 w 82"/>
                  <a:gd name="T23" fmla="*/ 114 h 133"/>
                  <a:gd name="T24" fmla="*/ 59 w 82"/>
                  <a:gd name="T25" fmla="*/ 113 h 133"/>
                  <a:gd name="T26" fmla="*/ 59 w 82"/>
                  <a:gd name="T27" fmla="*/ 6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3">
                    <a:moveTo>
                      <a:pt x="47" y="133"/>
                    </a:moveTo>
                    <a:cubicBezTo>
                      <a:pt x="21" y="133"/>
                      <a:pt x="0" y="117"/>
                      <a:pt x="0" y="88"/>
                    </a:cubicBezTo>
                    <a:cubicBezTo>
                      <a:pt x="0" y="61"/>
                      <a:pt x="20" y="42"/>
                      <a:pt x="48" y="42"/>
                    </a:cubicBezTo>
                    <a:cubicBezTo>
                      <a:pt x="52" y="42"/>
                      <a:pt x="56" y="42"/>
                      <a:pt x="59" y="42"/>
                    </a:cubicBezTo>
                    <a:cubicBezTo>
                      <a:pt x="60" y="0"/>
                      <a:pt x="60" y="0"/>
                      <a:pt x="60" y="0"/>
                    </a:cubicBezTo>
                    <a:cubicBezTo>
                      <a:pt x="82" y="0"/>
                      <a:pt x="82" y="0"/>
                      <a:pt x="82" y="0"/>
                    </a:cubicBezTo>
                    <a:cubicBezTo>
                      <a:pt x="81" y="126"/>
                      <a:pt x="81" y="126"/>
                      <a:pt x="81" y="126"/>
                    </a:cubicBezTo>
                    <a:cubicBezTo>
                      <a:pt x="73" y="130"/>
                      <a:pt x="62" y="133"/>
                      <a:pt x="47" y="133"/>
                    </a:cubicBezTo>
                    <a:close/>
                    <a:moveTo>
                      <a:pt x="59" y="60"/>
                    </a:moveTo>
                    <a:cubicBezTo>
                      <a:pt x="56" y="60"/>
                      <a:pt x="54" y="59"/>
                      <a:pt x="49" y="59"/>
                    </a:cubicBezTo>
                    <a:cubicBezTo>
                      <a:pt x="33" y="59"/>
                      <a:pt x="22" y="70"/>
                      <a:pt x="22" y="87"/>
                    </a:cubicBezTo>
                    <a:cubicBezTo>
                      <a:pt x="22" y="103"/>
                      <a:pt x="32" y="114"/>
                      <a:pt x="49" y="114"/>
                    </a:cubicBezTo>
                    <a:cubicBezTo>
                      <a:pt x="53" y="114"/>
                      <a:pt x="57" y="114"/>
                      <a:pt x="59" y="113"/>
                    </a:cubicBezTo>
                    <a:lnTo>
                      <a:pt x="59" y="60"/>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73" name="Freeform 9"/>
              <p:cNvSpPr>
                <a:spLocks/>
              </p:cNvSpPr>
              <p:nvPr userDrawn="1"/>
            </p:nvSpPr>
            <p:spPr bwMode="auto">
              <a:xfrm>
                <a:off x="8093949"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74" name="Freeform 10"/>
              <p:cNvSpPr>
                <a:spLocks/>
              </p:cNvSpPr>
              <p:nvPr userDrawn="1"/>
            </p:nvSpPr>
            <p:spPr bwMode="auto">
              <a:xfrm>
                <a:off x="8060545" y="4892699"/>
                <a:ext cx="16702" cy="96052"/>
              </a:xfrm>
              <a:custGeom>
                <a:avLst/>
                <a:gdLst>
                  <a:gd name="T0" fmla="*/ 22 w 22"/>
                  <a:gd name="T1" fmla="*/ 116 h 132"/>
                  <a:gd name="T2" fmla="*/ 0 w 22"/>
                  <a:gd name="T3" fmla="*/ 132 h 132"/>
                  <a:gd name="T4" fmla="*/ 0 w 22"/>
                  <a:gd name="T5" fmla="*/ 0 h 132"/>
                  <a:gd name="T6" fmla="*/ 22 w 22"/>
                  <a:gd name="T7" fmla="*/ 0 h 132"/>
                  <a:gd name="T8" fmla="*/ 22 w 22"/>
                  <a:gd name="T9" fmla="*/ 116 h 132"/>
                </a:gdLst>
                <a:ahLst/>
                <a:cxnLst>
                  <a:cxn ang="0">
                    <a:pos x="T0" y="T1"/>
                  </a:cxn>
                  <a:cxn ang="0">
                    <a:pos x="T2" y="T3"/>
                  </a:cxn>
                  <a:cxn ang="0">
                    <a:pos x="T4" y="T5"/>
                  </a:cxn>
                  <a:cxn ang="0">
                    <a:pos x="T6" y="T7"/>
                  </a:cxn>
                  <a:cxn ang="0">
                    <a:pos x="T8" y="T9"/>
                  </a:cxn>
                </a:cxnLst>
                <a:rect l="0" t="0" r="r" b="b"/>
                <a:pathLst>
                  <a:path w="22" h="132">
                    <a:moveTo>
                      <a:pt x="22" y="116"/>
                    </a:moveTo>
                    <a:cubicBezTo>
                      <a:pt x="22" y="132"/>
                      <a:pt x="0" y="132"/>
                      <a:pt x="0" y="132"/>
                    </a:cubicBezTo>
                    <a:cubicBezTo>
                      <a:pt x="0" y="0"/>
                      <a:pt x="0" y="0"/>
                      <a:pt x="0" y="0"/>
                    </a:cubicBezTo>
                    <a:cubicBezTo>
                      <a:pt x="22" y="0"/>
                      <a:pt x="22" y="0"/>
                      <a:pt x="22" y="0"/>
                    </a:cubicBezTo>
                    <a:cubicBezTo>
                      <a:pt x="22" y="0"/>
                      <a:pt x="22" y="99"/>
                      <a:pt x="22"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75" name="Freeform 11"/>
              <p:cNvSpPr>
                <a:spLocks/>
              </p:cNvSpPr>
              <p:nvPr userDrawn="1"/>
            </p:nvSpPr>
            <p:spPr bwMode="auto">
              <a:xfrm>
                <a:off x="8297262" y="4923177"/>
                <a:ext cx="43039" cy="66190"/>
              </a:xfrm>
              <a:custGeom>
                <a:avLst/>
                <a:gdLst>
                  <a:gd name="T0" fmla="*/ 49 w 57"/>
                  <a:gd name="T1" fmla="*/ 22 h 91"/>
                  <a:gd name="T2" fmla="*/ 39 w 57"/>
                  <a:gd name="T3" fmla="*/ 20 h 91"/>
                  <a:gd name="T4" fmla="*/ 22 w 57"/>
                  <a:gd name="T5" fmla="*/ 27 h 91"/>
                  <a:gd name="T6" fmla="*/ 22 w 57"/>
                  <a:gd name="T7" fmla="*/ 74 h 91"/>
                  <a:gd name="T8" fmla="*/ 0 w 57"/>
                  <a:gd name="T9" fmla="*/ 90 h 91"/>
                  <a:gd name="T10" fmla="*/ 0 w 57"/>
                  <a:gd name="T11" fmla="*/ 2 h 91"/>
                  <a:gd name="T12" fmla="*/ 18 w 57"/>
                  <a:gd name="T13" fmla="*/ 2 h 91"/>
                  <a:gd name="T14" fmla="*/ 21 w 57"/>
                  <a:gd name="T15" fmla="*/ 11 h 91"/>
                  <a:gd name="T16" fmla="*/ 45 w 57"/>
                  <a:gd name="T17" fmla="*/ 0 h 91"/>
                  <a:gd name="T18" fmla="*/ 57 w 57"/>
                  <a:gd name="T19" fmla="*/ 4 h 91"/>
                  <a:gd name="T20" fmla="*/ 49 w 57"/>
                  <a:gd name="T21" fmla="*/ 2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1">
                    <a:moveTo>
                      <a:pt x="49" y="22"/>
                    </a:moveTo>
                    <a:cubicBezTo>
                      <a:pt x="45" y="20"/>
                      <a:pt x="41" y="20"/>
                      <a:pt x="39" y="20"/>
                    </a:cubicBezTo>
                    <a:cubicBezTo>
                      <a:pt x="34" y="20"/>
                      <a:pt x="28" y="22"/>
                      <a:pt x="22" y="27"/>
                    </a:cubicBezTo>
                    <a:cubicBezTo>
                      <a:pt x="22" y="27"/>
                      <a:pt x="22" y="57"/>
                      <a:pt x="22" y="74"/>
                    </a:cubicBezTo>
                    <a:cubicBezTo>
                      <a:pt x="22" y="91"/>
                      <a:pt x="0" y="90"/>
                      <a:pt x="0" y="90"/>
                    </a:cubicBezTo>
                    <a:cubicBezTo>
                      <a:pt x="0" y="2"/>
                      <a:pt x="0" y="2"/>
                      <a:pt x="0" y="2"/>
                    </a:cubicBezTo>
                    <a:cubicBezTo>
                      <a:pt x="18" y="2"/>
                      <a:pt x="18" y="2"/>
                      <a:pt x="18"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76" name="Freeform 12"/>
              <p:cNvSpPr>
                <a:spLocks/>
              </p:cNvSpPr>
              <p:nvPr userDrawn="1"/>
            </p:nvSpPr>
            <p:spPr bwMode="auto">
              <a:xfrm>
                <a:off x="7907980" y="4892699"/>
                <a:ext cx="98605" cy="95129"/>
              </a:xfrm>
              <a:custGeom>
                <a:avLst/>
                <a:gdLst>
                  <a:gd name="T0" fmla="*/ 106 w 130"/>
                  <a:gd name="T1" fmla="*/ 131 h 131"/>
                  <a:gd name="T2" fmla="*/ 106 w 130"/>
                  <a:gd name="T3" fmla="*/ 53 h 131"/>
                  <a:gd name="T4" fmla="*/ 107 w 130"/>
                  <a:gd name="T5" fmla="*/ 39 h 131"/>
                  <a:gd name="T6" fmla="*/ 106 w 130"/>
                  <a:gd name="T7" fmla="*/ 39 h 131"/>
                  <a:gd name="T8" fmla="*/ 99 w 130"/>
                  <a:gd name="T9" fmla="*/ 52 h 131"/>
                  <a:gd name="T10" fmla="*/ 72 w 130"/>
                  <a:gd name="T11" fmla="*/ 93 h 131"/>
                  <a:gd name="T12" fmla="*/ 60 w 130"/>
                  <a:gd name="T13" fmla="*/ 93 h 131"/>
                  <a:gd name="T14" fmla="*/ 32 w 130"/>
                  <a:gd name="T15" fmla="*/ 51 h 131"/>
                  <a:gd name="T16" fmla="*/ 24 w 130"/>
                  <a:gd name="T17" fmla="*/ 39 h 131"/>
                  <a:gd name="T18" fmla="*/ 23 w 130"/>
                  <a:gd name="T19" fmla="*/ 39 h 131"/>
                  <a:gd name="T20" fmla="*/ 24 w 130"/>
                  <a:gd name="T21" fmla="*/ 52 h 131"/>
                  <a:gd name="T22" fmla="*/ 24 w 130"/>
                  <a:gd name="T23" fmla="*/ 131 h 131"/>
                  <a:gd name="T24" fmla="*/ 0 w 130"/>
                  <a:gd name="T25" fmla="*/ 131 h 131"/>
                  <a:gd name="T26" fmla="*/ 0 w 130"/>
                  <a:gd name="T27" fmla="*/ 0 h 131"/>
                  <a:gd name="T28" fmla="*/ 22 w 130"/>
                  <a:gd name="T29" fmla="*/ 0 h 131"/>
                  <a:gd name="T30" fmla="*/ 58 w 130"/>
                  <a:gd name="T31" fmla="*/ 52 h 131"/>
                  <a:gd name="T32" fmla="*/ 66 w 130"/>
                  <a:gd name="T33" fmla="*/ 66 h 131"/>
                  <a:gd name="T34" fmla="*/ 67 w 130"/>
                  <a:gd name="T35" fmla="*/ 66 h 131"/>
                  <a:gd name="T36" fmla="*/ 75 w 130"/>
                  <a:gd name="T37" fmla="*/ 52 h 131"/>
                  <a:gd name="T38" fmla="*/ 108 w 130"/>
                  <a:gd name="T39" fmla="*/ 0 h 131"/>
                  <a:gd name="T40" fmla="*/ 130 w 130"/>
                  <a:gd name="T41" fmla="*/ 0 h 131"/>
                  <a:gd name="T42" fmla="*/ 130 w 130"/>
                  <a:gd name="T43" fmla="*/ 131 h 131"/>
                  <a:gd name="T44" fmla="*/ 106 w 130"/>
                  <a:gd name="T45"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0" h="131">
                    <a:moveTo>
                      <a:pt x="106" y="131"/>
                    </a:moveTo>
                    <a:cubicBezTo>
                      <a:pt x="106" y="53"/>
                      <a:pt x="106" y="53"/>
                      <a:pt x="106" y="53"/>
                    </a:cubicBezTo>
                    <a:cubicBezTo>
                      <a:pt x="106" y="48"/>
                      <a:pt x="106" y="44"/>
                      <a:pt x="107" y="39"/>
                    </a:cubicBezTo>
                    <a:cubicBezTo>
                      <a:pt x="106" y="39"/>
                      <a:pt x="106" y="39"/>
                      <a:pt x="106" y="39"/>
                    </a:cubicBezTo>
                    <a:cubicBezTo>
                      <a:pt x="105" y="43"/>
                      <a:pt x="101" y="49"/>
                      <a:pt x="99" y="52"/>
                    </a:cubicBezTo>
                    <a:cubicBezTo>
                      <a:pt x="72" y="93"/>
                      <a:pt x="72" y="93"/>
                      <a:pt x="72" y="93"/>
                    </a:cubicBezTo>
                    <a:cubicBezTo>
                      <a:pt x="60" y="93"/>
                      <a:pt x="60" y="93"/>
                      <a:pt x="60" y="93"/>
                    </a:cubicBezTo>
                    <a:cubicBezTo>
                      <a:pt x="32" y="51"/>
                      <a:pt x="32" y="51"/>
                      <a:pt x="32" y="51"/>
                    </a:cubicBezTo>
                    <a:cubicBezTo>
                      <a:pt x="29" y="48"/>
                      <a:pt x="26" y="44"/>
                      <a:pt x="24" y="39"/>
                    </a:cubicBezTo>
                    <a:cubicBezTo>
                      <a:pt x="23" y="39"/>
                      <a:pt x="23" y="39"/>
                      <a:pt x="23" y="39"/>
                    </a:cubicBezTo>
                    <a:cubicBezTo>
                      <a:pt x="24" y="44"/>
                      <a:pt x="24" y="48"/>
                      <a:pt x="24" y="52"/>
                    </a:cubicBezTo>
                    <a:cubicBezTo>
                      <a:pt x="24" y="131"/>
                      <a:pt x="24" y="131"/>
                      <a:pt x="24" y="131"/>
                    </a:cubicBezTo>
                    <a:cubicBezTo>
                      <a:pt x="0" y="131"/>
                      <a:pt x="0" y="131"/>
                      <a:pt x="0" y="131"/>
                    </a:cubicBezTo>
                    <a:cubicBezTo>
                      <a:pt x="0" y="0"/>
                      <a:pt x="0" y="0"/>
                      <a:pt x="0" y="0"/>
                    </a:cubicBezTo>
                    <a:cubicBezTo>
                      <a:pt x="22" y="0"/>
                      <a:pt x="22" y="0"/>
                      <a:pt x="22" y="0"/>
                    </a:cubicBezTo>
                    <a:cubicBezTo>
                      <a:pt x="58" y="52"/>
                      <a:pt x="58" y="52"/>
                      <a:pt x="58" y="52"/>
                    </a:cubicBezTo>
                    <a:cubicBezTo>
                      <a:pt x="61" y="57"/>
                      <a:pt x="64" y="61"/>
                      <a:pt x="66" y="66"/>
                    </a:cubicBezTo>
                    <a:cubicBezTo>
                      <a:pt x="67" y="66"/>
                      <a:pt x="67" y="66"/>
                      <a:pt x="67" y="66"/>
                    </a:cubicBezTo>
                    <a:cubicBezTo>
                      <a:pt x="69" y="61"/>
                      <a:pt x="71" y="57"/>
                      <a:pt x="75" y="52"/>
                    </a:cubicBezTo>
                    <a:cubicBezTo>
                      <a:pt x="108" y="0"/>
                      <a:pt x="108" y="0"/>
                      <a:pt x="108" y="0"/>
                    </a:cubicBezTo>
                    <a:cubicBezTo>
                      <a:pt x="130" y="0"/>
                      <a:pt x="130" y="0"/>
                      <a:pt x="130" y="0"/>
                    </a:cubicBezTo>
                    <a:cubicBezTo>
                      <a:pt x="130" y="131"/>
                      <a:pt x="130" y="131"/>
                      <a:pt x="130" y="131"/>
                    </a:cubicBezTo>
                    <a:lnTo>
                      <a:pt x="106" y="131"/>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77" name="Freeform 13"/>
              <p:cNvSpPr>
                <a:spLocks/>
              </p:cNvSpPr>
              <p:nvPr userDrawn="1"/>
            </p:nvSpPr>
            <p:spPr bwMode="auto">
              <a:xfrm>
                <a:off x="7665803" y="4864376"/>
                <a:ext cx="100854" cy="148389"/>
              </a:xfrm>
              <a:custGeom>
                <a:avLst/>
                <a:gdLst>
                  <a:gd name="T0" fmla="*/ 133 w 133"/>
                  <a:gd name="T1" fmla="*/ 23 h 204"/>
                  <a:gd name="T2" fmla="*/ 132 w 133"/>
                  <a:gd name="T3" fmla="*/ 22 h 204"/>
                  <a:gd name="T4" fmla="*/ 65 w 133"/>
                  <a:gd name="T5" fmla="*/ 20 h 204"/>
                  <a:gd name="T6" fmla="*/ 52 w 133"/>
                  <a:gd name="T7" fmla="*/ 52 h 204"/>
                  <a:gd name="T8" fmla="*/ 20 w 133"/>
                  <a:gd name="T9" fmla="*/ 65 h 204"/>
                  <a:gd name="T10" fmla="*/ 22 w 133"/>
                  <a:gd name="T11" fmla="*/ 132 h 204"/>
                  <a:gd name="T12" fmla="*/ 95 w 133"/>
                  <a:gd name="T13" fmla="*/ 204 h 204"/>
                  <a:gd name="T14" fmla="*/ 117 w 133"/>
                  <a:gd name="T15" fmla="*/ 182 h 204"/>
                  <a:gd name="T16" fmla="*/ 44 w 133"/>
                  <a:gd name="T17" fmla="*/ 110 h 204"/>
                  <a:gd name="T18" fmla="*/ 42 w 133"/>
                  <a:gd name="T19" fmla="*/ 86 h 204"/>
                  <a:gd name="T20" fmla="*/ 66 w 133"/>
                  <a:gd name="T21" fmla="*/ 88 h 204"/>
                  <a:gd name="T22" fmla="*/ 133 w 133"/>
                  <a:gd name="T23" fmla="*/ 155 h 204"/>
                  <a:gd name="T24" fmla="*/ 133 w 133"/>
                  <a:gd name="T25" fmla="*/ 111 h 204"/>
                  <a:gd name="T26" fmla="*/ 88 w 133"/>
                  <a:gd name="T27" fmla="*/ 66 h 204"/>
                  <a:gd name="T28" fmla="*/ 86 w 133"/>
                  <a:gd name="T29" fmla="*/ 42 h 204"/>
                  <a:gd name="T30" fmla="*/ 110 w 133"/>
                  <a:gd name="T31" fmla="*/ 44 h 204"/>
                  <a:gd name="T32" fmla="*/ 133 w 133"/>
                  <a:gd name="T33" fmla="*/ 66 h 204"/>
                  <a:gd name="T34" fmla="*/ 133 w 133"/>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204">
                    <a:moveTo>
                      <a:pt x="133" y="23"/>
                    </a:moveTo>
                    <a:cubicBezTo>
                      <a:pt x="132" y="22"/>
                      <a:pt x="132" y="22"/>
                      <a:pt x="132" y="22"/>
                    </a:cubicBezTo>
                    <a:cubicBezTo>
                      <a:pt x="110" y="0"/>
                      <a:pt x="82" y="2"/>
                      <a:pt x="65" y="20"/>
                    </a:cubicBezTo>
                    <a:cubicBezTo>
                      <a:pt x="53" y="32"/>
                      <a:pt x="51" y="46"/>
                      <a:pt x="52" y="52"/>
                    </a:cubicBezTo>
                    <a:cubicBezTo>
                      <a:pt x="47" y="51"/>
                      <a:pt x="32" y="52"/>
                      <a:pt x="20" y="65"/>
                    </a:cubicBezTo>
                    <a:cubicBezTo>
                      <a:pt x="3" y="82"/>
                      <a:pt x="0" y="110"/>
                      <a:pt x="22" y="132"/>
                    </a:cubicBezTo>
                    <a:cubicBezTo>
                      <a:pt x="95" y="204"/>
                      <a:pt x="95" y="204"/>
                      <a:pt x="95" y="204"/>
                    </a:cubicBezTo>
                    <a:cubicBezTo>
                      <a:pt x="117" y="182"/>
                      <a:pt x="117" y="182"/>
                      <a:pt x="117" y="182"/>
                    </a:cubicBezTo>
                    <a:cubicBezTo>
                      <a:pt x="44" y="110"/>
                      <a:pt x="44" y="110"/>
                      <a:pt x="44" y="110"/>
                    </a:cubicBezTo>
                    <a:cubicBezTo>
                      <a:pt x="35" y="101"/>
                      <a:pt x="36" y="91"/>
                      <a:pt x="42" y="86"/>
                    </a:cubicBezTo>
                    <a:cubicBezTo>
                      <a:pt x="47" y="80"/>
                      <a:pt x="58" y="79"/>
                      <a:pt x="66" y="88"/>
                    </a:cubicBezTo>
                    <a:cubicBezTo>
                      <a:pt x="133" y="155"/>
                      <a:pt x="133" y="155"/>
                      <a:pt x="133" y="155"/>
                    </a:cubicBezTo>
                    <a:cubicBezTo>
                      <a:pt x="133" y="111"/>
                      <a:pt x="133" y="111"/>
                      <a:pt x="133" y="111"/>
                    </a:cubicBezTo>
                    <a:cubicBezTo>
                      <a:pt x="88" y="66"/>
                      <a:pt x="88" y="66"/>
                      <a:pt x="88" y="66"/>
                    </a:cubicBezTo>
                    <a:cubicBezTo>
                      <a:pt x="80" y="57"/>
                      <a:pt x="80" y="47"/>
                      <a:pt x="86" y="42"/>
                    </a:cubicBezTo>
                    <a:cubicBezTo>
                      <a:pt x="92" y="36"/>
                      <a:pt x="102" y="35"/>
                      <a:pt x="110" y="44"/>
                    </a:cubicBezTo>
                    <a:cubicBezTo>
                      <a:pt x="133" y="66"/>
                      <a:pt x="133" y="66"/>
                      <a:pt x="133" y="66"/>
                    </a:cubicBezTo>
                    <a:lnTo>
                      <a:pt x="133"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78" name="Freeform 14"/>
              <p:cNvSpPr>
                <a:spLocks noEditPoints="1"/>
              </p:cNvSpPr>
              <p:nvPr userDrawn="1"/>
            </p:nvSpPr>
            <p:spPr bwMode="auto">
              <a:xfrm>
                <a:off x="8023287" y="4895470"/>
                <a:ext cx="20556" cy="93282"/>
              </a:xfrm>
              <a:custGeom>
                <a:avLst/>
                <a:gdLst>
                  <a:gd name="T0" fmla="*/ 14 w 27"/>
                  <a:gd name="T1" fmla="*/ 26 h 128"/>
                  <a:gd name="T2" fmla="*/ 0 w 27"/>
                  <a:gd name="T3" fmla="*/ 13 h 128"/>
                  <a:gd name="T4" fmla="*/ 14 w 27"/>
                  <a:gd name="T5" fmla="*/ 0 h 128"/>
                  <a:gd name="T6" fmla="*/ 27 w 27"/>
                  <a:gd name="T7" fmla="*/ 13 h 128"/>
                  <a:gd name="T8" fmla="*/ 14 w 27"/>
                  <a:gd name="T9" fmla="*/ 26 h 128"/>
                  <a:gd name="T10" fmla="*/ 3 w 27"/>
                  <a:gd name="T11" fmla="*/ 128 h 128"/>
                  <a:gd name="T12" fmla="*/ 3 w 27"/>
                  <a:gd name="T13" fmla="*/ 40 h 128"/>
                  <a:gd name="T14" fmla="*/ 25 w 27"/>
                  <a:gd name="T15" fmla="*/ 40 h 128"/>
                  <a:gd name="T16" fmla="*/ 25 w 27"/>
                  <a:gd name="T17" fmla="*/ 112 h 128"/>
                  <a:gd name="T18" fmla="*/ 3 w 27"/>
                  <a:gd name="T1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128">
                    <a:moveTo>
                      <a:pt x="14" y="26"/>
                    </a:moveTo>
                    <a:cubicBezTo>
                      <a:pt x="6" y="26"/>
                      <a:pt x="0" y="20"/>
                      <a:pt x="0" y="13"/>
                    </a:cubicBezTo>
                    <a:cubicBezTo>
                      <a:pt x="0" y="6"/>
                      <a:pt x="6" y="0"/>
                      <a:pt x="14" y="0"/>
                    </a:cubicBezTo>
                    <a:cubicBezTo>
                      <a:pt x="21" y="0"/>
                      <a:pt x="27" y="5"/>
                      <a:pt x="27" y="13"/>
                    </a:cubicBezTo>
                    <a:cubicBezTo>
                      <a:pt x="27" y="20"/>
                      <a:pt x="21" y="26"/>
                      <a:pt x="14" y="26"/>
                    </a:cubicBezTo>
                    <a:close/>
                    <a:moveTo>
                      <a:pt x="3" y="128"/>
                    </a:moveTo>
                    <a:cubicBezTo>
                      <a:pt x="3" y="40"/>
                      <a:pt x="3" y="40"/>
                      <a:pt x="3" y="40"/>
                    </a:cubicBezTo>
                    <a:cubicBezTo>
                      <a:pt x="25" y="40"/>
                      <a:pt x="25" y="40"/>
                      <a:pt x="25" y="40"/>
                    </a:cubicBezTo>
                    <a:cubicBezTo>
                      <a:pt x="25" y="40"/>
                      <a:pt x="25" y="95"/>
                      <a:pt x="25" y="112"/>
                    </a:cubicBezTo>
                    <a:cubicBezTo>
                      <a:pt x="25" y="128"/>
                      <a:pt x="3" y="128"/>
                      <a:pt x="3" y="1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79" name="Freeform 15"/>
              <p:cNvSpPr>
                <a:spLocks/>
              </p:cNvSpPr>
              <p:nvPr userDrawn="1"/>
            </p:nvSpPr>
            <p:spPr bwMode="auto">
              <a:xfrm>
                <a:off x="8615239" y="4924717"/>
                <a:ext cx="103744" cy="66806"/>
              </a:xfrm>
              <a:custGeom>
                <a:avLst/>
                <a:gdLst>
                  <a:gd name="T0" fmla="*/ 111 w 137"/>
                  <a:gd name="T1" fmla="*/ 72 h 92"/>
                  <a:gd name="T2" fmla="*/ 88 w 137"/>
                  <a:gd name="T3" fmla="*/ 88 h 92"/>
                  <a:gd name="T4" fmla="*/ 68 w 137"/>
                  <a:gd name="T5" fmla="*/ 28 h 92"/>
                  <a:gd name="T6" fmla="*/ 68 w 137"/>
                  <a:gd name="T7" fmla="*/ 28 h 92"/>
                  <a:gd name="T8" fmla="*/ 53 w 137"/>
                  <a:gd name="T9" fmla="*/ 72 h 92"/>
                  <a:gd name="T10" fmla="*/ 31 w 137"/>
                  <a:gd name="T11" fmla="*/ 88 h 92"/>
                  <a:gd name="T12" fmla="*/ 0 w 137"/>
                  <a:gd name="T13" fmla="*/ 0 h 92"/>
                  <a:gd name="T14" fmla="*/ 22 w 137"/>
                  <a:gd name="T15" fmla="*/ 0 h 92"/>
                  <a:gd name="T16" fmla="*/ 41 w 137"/>
                  <a:gd name="T17" fmla="*/ 60 h 92"/>
                  <a:gd name="T18" fmla="*/ 41 w 137"/>
                  <a:gd name="T19" fmla="*/ 60 h 92"/>
                  <a:gd name="T20" fmla="*/ 60 w 137"/>
                  <a:gd name="T21" fmla="*/ 0 h 92"/>
                  <a:gd name="T22" fmla="*/ 77 w 137"/>
                  <a:gd name="T23" fmla="*/ 0 h 92"/>
                  <a:gd name="T24" fmla="*/ 97 w 137"/>
                  <a:gd name="T25" fmla="*/ 60 h 92"/>
                  <a:gd name="T26" fmla="*/ 97 w 137"/>
                  <a:gd name="T27" fmla="*/ 60 h 92"/>
                  <a:gd name="T28" fmla="*/ 115 w 137"/>
                  <a:gd name="T29" fmla="*/ 0 h 92"/>
                  <a:gd name="T30" fmla="*/ 137 w 137"/>
                  <a:gd name="T31" fmla="*/ 0 h 92"/>
                  <a:gd name="T32" fmla="*/ 111 w 137"/>
                  <a:gd name="T33"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 h="92">
                    <a:moveTo>
                      <a:pt x="111" y="72"/>
                    </a:moveTo>
                    <a:cubicBezTo>
                      <a:pt x="104" y="92"/>
                      <a:pt x="88" y="88"/>
                      <a:pt x="88" y="88"/>
                    </a:cubicBezTo>
                    <a:cubicBezTo>
                      <a:pt x="68" y="28"/>
                      <a:pt x="68" y="28"/>
                      <a:pt x="68" y="28"/>
                    </a:cubicBezTo>
                    <a:cubicBezTo>
                      <a:pt x="68" y="28"/>
                      <a:pt x="68" y="28"/>
                      <a:pt x="68" y="28"/>
                    </a:cubicBezTo>
                    <a:cubicBezTo>
                      <a:pt x="68" y="28"/>
                      <a:pt x="59" y="56"/>
                      <a:pt x="53" y="72"/>
                    </a:cubicBezTo>
                    <a:cubicBezTo>
                      <a:pt x="47" y="92"/>
                      <a:pt x="31" y="88"/>
                      <a:pt x="31" y="88"/>
                    </a:cubicBezTo>
                    <a:cubicBezTo>
                      <a:pt x="0" y="0"/>
                      <a:pt x="0" y="0"/>
                      <a:pt x="0" y="0"/>
                    </a:cubicBezTo>
                    <a:cubicBezTo>
                      <a:pt x="22" y="0"/>
                      <a:pt x="22" y="0"/>
                      <a:pt x="22" y="0"/>
                    </a:cubicBezTo>
                    <a:cubicBezTo>
                      <a:pt x="41" y="60"/>
                      <a:pt x="41" y="60"/>
                      <a:pt x="41" y="60"/>
                    </a:cubicBezTo>
                    <a:cubicBezTo>
                      <a:pt x="41" y="60"/>
                      <a:pt x="41" y="60"/>
                      <a:pt x="41" y="60"/>
                    </a:cubicBezTo>
                    <a:cubicBezTo>
                      <a:pt x="60" y="0"/>
                      <a:pt x="60" y="0"/>
                      <a:pt x="60" y="0"/>
                    </a:cubicBezTo>
                    <a:cubicBezTo>
                      <a:pt x="77" y="0"/>
                      <a:pt x="77" y="0"/>
                      <a:pt x="77" y="0"/>
                    </a:cubicBezTo>
                    <a:cubicBezTo>
                      <a:pt x="97" y="60"/>
                      <a:pt x="97" y="60"/>
                      <a:pt x="97" y="60"/>
                    </a:cubicBezTo>
                    <a:cubicBezTo>
                      <a:pt x="97" y="60"/>
                      <a:pt x="97" y="60"/>
                      <a:pt x="97" y="60"/>
                    </a:cubicBezTo>
                    <a:cubicBezTo>
                      <a:pt x="115" y="0"/>
                      <a:pt x="115" y="0"/>
                      <a:pt x="115" y="0"/>
                    </a:cubicBezTo>
                    <a:cubicBezTo>
                      <a:pt x="137" y="0"/>
                      <a:pt x="137" y="0"/>
                      <a:pt x="137" y="0"/>
                    </a:cubicBezTo>
                    <a:cubicBezTo>
                      <a:pt x="137" y="0"/>
                      <a:pt x="116" y="57"/>
                      <a:pt x="111"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80" name="Freeform 16"/>
              <p:cNvSpPr>
                <a:spLocks noEditPoints="1"/>
              </p:cNvSpPr>
              <p:nvPr userDrawn="1"/>
            </p:nvSpPr>
            <p:spPr bwMode="auto">
              <a:xfrm>
                <a:off x="8423168" y="4892699"/>
                <a:ext cx="65844" cy="95129"/>
              </a:xfrm>
              <a:custGeom>
                <a:avLst/>
                <a:gdLst>
                  <a:gd name="T0" fmla="*/ 1 w 87"/>
                  <a:gd name="T1" fmla="*/ 0 h 131"/>
                  <a:gd name="T2" fmla="*/ 0 w 87"/>
                  <a:gd name="T3" fmla="*/ 131 h 131"/>
                  <a:gd name="T4" fmla="*/ 41 w 87"/>
                  <a:gd name="T5" fmla="*/ 131 h 131"/>
                  <a:gd name="T6" fmla="*/ 87 w 87"/>
                  <a:gd name="T7" fmla="*/ 92 h 131"/>
                  <a:gd name="T8" fmla="*/ 65 w 87"/>
                  <a:gd name="T9" fmla="*/ 61 h 131"/>
                  <a:gd name="T10" fmla="*/ 62 w 87"/>
                  <a:gd name="T11" fmla="*/ 60 h 131"/>
                  <a:gd name="T12" fmla="*/ 64 w 87"/>
                  <a:gd name="T13" fmla="*/ 59 h 131"/>
                  <a:gd name="T14" fmla="*/ 79 w 87"/>
                  <a:gd name="T15" fmla="*/ 32 h 131"/>
                  <a:gd name="T16" fmla="*/ 42 w 87"/>
                  <a:gd name="T17" fmla="*/ 0 h 131"/>
                  <a:gd name="T18" fmla="*/ 1 w 87"/>
                  <a:gd name="T19" fmla="*/ 0 h 131"/>
                  <a:gd name="T20" fmla="*/ 23 w 87"/>
                  <a:gd name="T21" fmla="*/ 17 h 131"/>
                  <a:gd name="T22" fmla="*/ 36 w 87"/>
                  <a:gd name="T23" fmla="*/ 17 h 131"/>
                  <a:gd name="T24" fmla="*/ 56 w 87"/>
                  <a:gd name="T25" fmla="*/ 35 h 131"/>
                  <a:gd name="T26" fmla="*/ 38 w 87"/>
                  <a:gd name="T27" fmla="*/ 55 h 131"/>
                  <a:gd name="T28" fmla="*/ 22 w 87"/>
                  <a:gd name="T29" fmla="*/ 55 h 131"/>
                  <a:gd name="T30" fmla="*/ 23 w 87"/>
                  <a:gd name="T31" fmla="*/ 17 h 131"/>
                  <a:gd name="T32" fmla="*/ 22 w 87"/>
                  <a:gd name="T33" fmla="*/ 74 h 131"/>
                  <a:gd name="T34" fmla="*/ 40 w 87"/>
                  <a:gd name="T35" fmla="*/ 74 h 131"/>
                  <a:gd name="T36" fmla="*/ 64 w 87"/>
                  <a:gd name="T37" fmla="*/ 92 h 131"/>
                  <a:gd name="T38" fmla="*/ 39 w 87"/>
                  <a:gd name="T39" fmla="*/ 113 h 131"/>
                  <a:gd name="T40" fmla="*/ 22 w 87"/>
                  <a:gd name="T41" fmla="*/ 113 h 131"/>
                  <a:gd name="T42" fmla="*/ 22 w 87"/>
                  <a:gd name="T43" fmla="*/ 7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131">
                    <a:moveTo>
                      <a:pt x="1" y="0"/>
                    </a:moveTo>
                    <a:cubicBezTo>
                      <a:pt x="1" y="3"/>
                      <a:pt x="0" y="129"/>
                      <a:pt x="0" y="131"/>
                    </a:cubicBezTo>
                    <a:cubicBezTo>
                      <a:pt x="2" y="131"/>
                      <a:pt x="41" y="131"/>
                      <a:pt x="41" y="131"/>
                    </a:cubicBezTo>
                    <a:cubicBezTo>
                      <a:pt x="73" y="131"/>
                      <a:pt x="87" y="111"/>
                      <a:pt x="87" y="92"/>
                    </a:cubicBezTo>
                    <a:cubicBezTo>
                      <a:pt x="87" y="77"/>
                      <a:pt x="79" y="65"/>
                      <a:pt x="65" y="61"/>
                    </a:cubicBezTo>
                    <a:cubicBezTo>
                      <a:pt x="62" y="60"/>
                      <a:pt x="62" y="60"/>
                      <a:pt x="62" y="60"/>
                    </a:cubicBezTo>
                    <a:cubicBezTo>
                      <a:pt x="64" y="59"/>
                      <a:pt x="64" y="59"/>
                      <a:pt x="64" y="59"/>
                    </a:cubicBezTo>
                    <a:cubicBezTo>
                      <a:pt x="74" y="54"/>
                      <a:pt x="79" y="44"/>
                      <a:pt x="79" y="32"/>
                    </a:cubicBezTo>
                    <a:cubicBezTo>
                      <a:pt x="79" y="17"/>
                      <a:pt x="68" y="0"/>
                      <a:pt x="42" y="0"/>
                    </a:cubicBezTo>
                    <a:cubicBezTo>
                      <a:pt x="42" y="0"/>
                      <a:pt x="3" y="0"/>
                      <a:pt x="1" y="0"/>
                    </a:cubicBezTo>
                    <a:close/>
                    <a:moveTo>
                      <a:pt x="23" y="17"/>
                    </a:moveTo>
                    <a:cubicBezTo>
                      <a:pt x="36" y="17"/>
                      <a:pt x="36" y="17"/>
                      <a:pt x="36" y="17"/>
                    </a:cubicBezTo>
                    <a:cubicBezTo>
                      <a:pt x="49" y="17"/>
                      <a:pt x="56" y="24"/>
                      <a:pt x="56" y="35"/>
                    </a:cubicBezTo>
                    <a:cubicBezTo>
                      <a:pt x="56" y="47"/>
                      <a:pt x="47" y="55"/>
                      <a:pt x="38" y="55"/>
                    </a:cubicBezTo>
                    <a:cubicBezTo>
                      <a:pt x="22" y="55"/>
                      <a:pt x="22" y="55"/>
                      <a:pt x="22" y="55"/>
                    </a:cubicBezTo>
                    <a:lnTo>
                      <a:pt x="23" y="17"/>
                    </a:lnTo>
                    <a:close/>
                    <a:moveTo>
                      <a:pt x="22" y="74"/>
                    </a:moveTo>
                    <a:cubicBezTo>
                      <a:pt x="40" y="74"/>
                      <a:pt x="40" y="74"/>
                      <a:pt x="40" y="74"/>
                    </a:cubicBezTo>
                    <a:cubicBezTo>
                      <a:pt x="55" y="74"/>
                      <a:pt x="64" y="81"/>
                      <a:pt x="64" y="92"/>
                    </a:cubicBezTo>
                    <a:cubicBezTo>
                      <a:pt x="64" y="105"/>
                      <a:pt x="55" y="113"/>
                      <a:pt x="39" y="113"/>
                    </a:cubicBezTo>
                    <a:cubicBezTo>
                      <a:pt x="22" y="113"/>
                      <a:pt x="22" y="113"/>
                      <a:pt x="22" y="113"/>
                    </a:cubicBezTo>
                    <a:lnTo>
                      <a:pt x="22" y="74"/>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81" name="Freeform 17"/>
              <p:cNvSpPr>
                <a:spLocks noEditPoints="1"/>
              </p:cNvSpPr>
              <p:nvPr userDrawn="1"/>
            </p:nvSpPr>
            <p:spPr bwMode="auto">
              <a:xfrm>
                <a:off x="8546184" y="4923177"/>
                <a:ext cx="66486" cy="66190"/>
              </a:xfrm>
              <a:custGeom>
                <a:avLst/>
                <a:gdLst>
                  <a:gd name="T0" fmla="*/ 75 w 88"/>
                  <a:gd name="T1" fmla="*/ 78 h 91"/>
                  <a:gd name="T2" fmla="*/ 44 w 88"/>
                  <a:gd name="T3" fmla="*/ 91 h 91"/>
                  <a:gd name="T4" fmla="*/ 14 w 88"/>
                  <a:gd name="T5" fmla="*/ 80 h 91"/>
                  <a:gd name="T6" fmla="*/ 0 w 88"/>
                  <a:gd name="T7" fmla="*/ 46 h 91"/>
                  <a:gd name="T8" fmla="*/ 13 w 88"/>
                  <a:gd name="T9" fmla="*/ 12 h 91"/>
                  <a:gd name="T10" fmla="*/ 44 w 88"/>
                  <a:gd name="T11" fmla="*/ 0 h 91"/>
                  <a:gd name="T12" fmla="*/ 76 w 88"/>
                  <a:gd name="T13" fmla="*/ 12 h 91"/>
                  <a:gd name="T14" fmla="*/ 88 w 88"/>
                  <a:gd name="T15" fmla="*/ 45 h 91"/>
                  <a:gd name="T16" fmla="*/ 75 w 88"/>
                  <a:gd name="T17" fmla="*/ 78 h 91"/>
                  <a:gd name="T18" fmla="*/ 44 w 88"/>
                  <a:gd name="T19" fmla="*/ 17 h 91"/>
                  <a:gd name="T20" fmla="*/ 23 w 88"/>
                  <a:gd name="T21" fmla="*/ 45 h 91"/>
                  <a:gd name="T22" fmla="*/ 44 w 88"/>
                  <a:gd name="T23" fmla="*/ 73 h 91"/>
                  <a:gd name="T24" fmla="*/ 65 w 88"/>
                  <a:gd name="T25" fmla="*/ 45 h 91"/>
                  <a:gd name="T26" fmla="*/ 44 w 88"/>
                  <a:gd name="T27"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91">
                    <a:moveTo>
                      <a:pt x="75" y="78"/>
                    </a:moveTo>
                    <a:cubicBezTo>
                      <a:pt x="68" y="86"/>
                      <a:pt x="57" y="91"/>
                      <a:pt x="44" y="91"/>
                    </a:cubicBezTo>
                    <a:cubicBezTo>
                      <a:pt x="32" y="91"/>
                      <a:pt x="21" y="87"/>
                      <a:pt x="14" y="80"/>
                    </a:cubicBezTo>
                    <a:cubicBezTo>
                      <a:pt x="5" y="72"/>
                      <a:pt x="0" y="60"/>
                      <a:pt x="0" y="46"/>
                    </a:cubicBezTo>
                    <a:cubicBezTo>
                      <a:pt x="0" y="32"/>
                      <a:pt x="5" y="20"/>
                      <a:pt x="13" y="12"/>
                    </a:cubicBezTo>
                    <a:cubicBezTo>
                      <a:pt x="21" y="4"/>
                      <a:pt x="31" y="0"/>
                      <a:pt x="44" y="0"/>
                    </a:cubicBezTo>
                    <a:cubicBezTo>
                      <a:pt x="57" y="0"/>
                      <a:pt x="68" y="4"/>
                      <a:pt x="76" y="12"/>
                    </a:cubicBezTo>
                    <a:cubicBezTo>
                      <a:pt x="84" y="20"/>
                      <a:pt x="88" y="32"/>
                      <a:pt x="88" y="45"/>
                    </a:cubicBezTo>
                    <a:cubicBezTo>
                      <a:pt x="88" y="58"/>
                      <a:pt x="83" y="70"/>
                      <a:pt x="75" y="78"/>
                    </a:cubicBezTo>
                    <a:close/>
                    <a:moveTo>
                      <a:pt x="44" y="17"/>
                    </a:moveTo>
                    <a:cubicBezTo>
                      <a:pt x="30" y="17"/>
                      <a:pt x="23" y="29"/>
                      <a:pt x="23" y="45"/>
                    </a:cubicBezTo>
                    <a:cubicBezTo>
                      <a:pt x="23" y="62"/>
                      <a:pt x="31" y="73"/>
                      <a:pt x="44" y="73"/>
                    </a:cubicBezTo>
                    <a:cubicBezTo>
                      <a:pt x="58" y="73"/>
                      <a:pt x="65" y="61"/>
                      <a:pt x="65" y="45"/>
                    </a:cubicBezTo>
                    <a:cubicBezTo>
                      <a:pt x="65" y="28"/>
                      <a:pt x="57" y="17"/>
                      <a:pt x="44" y="1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82" name="Freeform 18"/>
              <p:cNvSpPr>
                <a:spLocks/>
              </p:cNvSpPr>
              <p:nvPr userDrawn="1"/>
            </p:nvSpPr>
            <p:spPr bwMode="auto">
              <a:xfrm>
                <a:off x="8728298" y="4923177"/>
                <a:ext cx="60705" cy="65574"/>
              </a:xfrm>
              <a:custGeom>
                <a:avLst/>
                <a:gdLst>
                  <a:gd name="T0" fmla="*/ 58 w 80"/>
                  <a:gd name="T1" fmla="*/ 90 h 90"/>
                  <a:gd name="T2" fmla="*/ 58 w 80"/>
                  <a:gd name="T3" fmla="*/ 38 h 90"/>
                  <a:gd name="T4" fmla="*/ 45 w 80"/>
                  <a:gd name="T5" fmla="*/ 19 h 90"/>
                  <a:gd name="T6" fmla="*/ 23 w 80"/>
                  <a:gd name="T7" fmla="*/ 28 h 90"/>
                  <a:gd name="T8" fmla="*/ 23 w 80"/>
                  <a:gd name="T9" fmla="*/ 74 h 90"/>
                  <a:gd name="T10" fmla="*/ 0 w 80"/>
                  <a:gd name="T11" fmla="*/ 90 h 90"/>
                  <a:gd name="T12" fmla="*/ 0 w 80"/>
                  <a:gd name="T13" fmla="*/ 2 h 90"/>
                  <a:gd name="T14" fmla="*/ 19 w 80"/>
                  <a:gd name="T15" fmla="*/ 2 h 90"/>
                  <a:gd name="T16" fmla="*/ 22 w 80"/>
                  <a:gd name="T17" fmla="*/ 11 h 90"/>
                  <a:gd name="T18" fmla="*/ 52 w 80"/>
                  <a:gd name="T19" fmla="*/ 0 h 90"/>
                  <a:gd name="T20" fmla="*/ 80 w 80"/>
                  <a:gd name="T21" fmla="*/ 31 h 90"/>
                  <a:gd name="T22" fmla="*/ 80 w 80"/>
                  <a:gd name="T23" fmla="*/ 74 h 90"/>
                  <a:gd name="T24" fmla="*/ 58 w 80"/>
                  <a:gd name="T2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90">
                    <a:moveTo>
                      <a:pt x="58" y="90"/>
                    </a:moveTo>
                    <a:cubicBezTo>
                      <a:pt x="58" y="38"/>
                      <a:pt x="58" y="38"/>
                      <a:pt x="58" y="38"/>
                    </a:cubicBezTo>
                    <a:cubicBezTo>
                      <a:pt x="58" y="29"/>
                      <a:pt x="56" y="19"/>
                      <a:pt x="45" y="19"/>
                    </a:cubicBezTo>
                    <a:cubicBezTo>
                      <a:pt x="37" y="19"/>
                      <a:pt x="29" y="23"/>
                      <a:pt x="23" y="28"/>
                    </a:cubicBezTo>
                    <a:cubicBezTo>
                      <a:pt x="23" y="28"/>
                      <a:pt x="23" y="57"/>
                      <a:pt x="23" y="74"/>
                    </a:cubicBezTo>
                    <a:cubicBezTo>
                      <a:pt x="23" y="90"/>
                      <a:pt x="0" y="90"/>
                      <a:pt x="0" y="90"/>
                    </a:cubicBezTo>
                    <a:cubicBezTo>
                      <a:pt x="0" y="2"/>
                      <a:pt x="0" y="2"/>
                      <a:pt x="0" y="2"/>
                    </a:cubicBezTo>
                    <a:cubicBezTo>
                      <a:pt x="19" y="2"/>
                      <a:pt x="19" y="2"/>
                      <a:pt x="19" y="2"/>
                    </a:cubicBezTo>
                    <a:cubicBezTo>
                      <a:pt x="22" y="11"/>
                      <a:pt x="22" y="11"/>
                      <a:pt x="22" y="11"/>
                    </a:cubicBezTo>
                    <a:cubicBezTo>
                      <a:pt x="31" y="4"/>
                      <a:pt x="40" y="0"/>
                      <a:pt x="52" y="0"/>
                    </a:cubicBezTo>
                    <a:cubicBezTo>
                      <a:pt x="65" y="0"/>
                      <a:pt x="80" y="8"/>
                      <a:pt x="80" y="31"/>
                    </a:cubicBezTo>
                    <a:cubicBezTo>
                      <a:pt x="80" y="31"/>
                      <a:pt x="80" y="57"/>
                      <a:pt x="80" y="74"/>
                    </a:cubicBezTo>
                    <a:cubicBezTo>
                      <a:pt x="80" y="90"/>
                      <a:pt x="58" y="90"/>
                      <a:pt x="58" y="9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83" name="Freeform 19"/>
              <p:cNvSpPr>
                <a:spLocks/>
              </p:cNvSpPr>
              <p:nvPr userDrawn="1"/>
            </p:nvSpPr>
            <p:spPr bwMode="auto">
              <a:xfrm>
                <a:off x="8501217" y="4923177"/>
                <a:ext cx="43361" cy="65574"/>
              </a:xfrm>
              <a:custGeom>
                <a:avLst/>
                <a:gdLst>
                  <a:gd name="T0" fmla="*/ 49 w 57"/>
                  <a:gd name="T1" fmla="*/ 22 h 90"/>
                  <a:gd name="T2" fmla="*/ 39 w 57"/>
                  <a:gd name="T3" fmla="*/ 20 h 90"/>
                  <a:gd name="T4" fmla="*/ 22 w 57"/>
                  <a:gd name="T5" fmla="*/ 27 h 90"/>
                  <a:gd name="T6" fmla="*/ 22 w 57"/>
                  <a:gd name="T7" fmla="*/ 74 h 90"/>
                  <a:gd name="T8" fmla="*/ 0 w 57"/>
                  <a:gd name="T9" fmla="*/ 90 h 90"/>
                  <a:gd name="T10" fmla="*/ 0 w 57"/>
                  <a:gd name="T11" fmla="*/ 2 h 90"/>
                  <a:gd name="T12" fmla="*/ 19 w 57"/>
                  <a:gd name="T13" fmla="*/ 2 h 90"/>
                  <a:gd name="T14" fmla="*/ 21 w 57"/>
                  <a:gd name="T15" fmla="*/ 11 h 90"/>
                  <a:gd name="T16" fmla="*/ 45 w 57"/>
                  <a:gd name="T17" fmla="*/ 0 h 90"/>
                  <a:gd name="T18" fmla="*/ 57 w 57"/>
                  <a:gd name="T19" fmla="*/ 4 h 90"/>
                  <a:gd name="T20" fmla="*/ 49 w 57"/>
                  <a:gd name="T21" fmla="*/ 2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90">
                    <a:moveTo>
                      <a:pt x="49" y="22"/>
                    </a:moveTo>
                    <a:cubicBezTo>
                      <a:pt x="46" y="20"/>
                      <a:pt x="42" y="20"/>
                      <a:pt x="39" y="20"/>
                    </a:cubicBezTo>
                    <a:cubicBezTo>
                      <a:pt x="34" y="20"/>
                      <a:pt x="28" y="22"/>
                      <a:pt x="22" y="27"/>
                    </a:cubicBezTo>
                    <a:cubicBezTo>
                      <a:pt x="22" y="27"/>
                      <a:pt x="22" y="57"/>
                      <a:pt x="22" y="74"/>
                    </a:cubicBezTo>
                    <a:cubicBezTo>
                      <a:pt x="22" y="90"/>
                      <a:pt x="0" y="90"/>
                      <a:pt x="0" y="90"/>
                    </a:cubicBezTo>
                    <a:cubicBezTo>
                      <a:pt x="0" y="2"/>
                      <a:pt x="0" y="2"/>
                      <a:pt x="0" y="2"/>
                    </a:cubicBezTo>
                    <a:cubicBezTo>
                      <a:pt x="19" y="2"/>
                      <a:pt x="19" y="2"/>
                      <a:pt x="19" y="2"/>
                    </a:cubicBezTo>
                    <a:cubicBezTo>
                      <a:pt x="21" y="11"/>
                      <a:pt x="21" y="11"/>
                      <a:pt x="21" y="11"/>
                    </a:cubicBezTo>
                    <a:cubicBezTo>
                      <a:pt x="30" y="3"/>
                      <a:pt x="37" y="0"/>
                      <a:pt x="45" y="0"/>
                    </a:cubicBezTo>
                    <a:cubicBezTo>
                      <a:pt x="49" y="0"/>
                      <a:pt x="54" y="1"/>
                      <a:pt x="57" y="4"/>
                    </a:cubicBezTo>
                    <a:lnTo>
                      <a:pt x="49" y="2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84" name="Freeform 20"/>
              <p:cNvSpPr>
                <a:spLocks/>
              </p:cNvSpPr>
              <p:nvPr userDrawn="1"/>
            </p:nvSpPr>
            <p:spPr bwMode="auto">
              <a:xfrm>
                <a:off x="7766657" y="4864376"/>
                <a:ext cx="100211" cy="148389"/>
              </a:xfrm>
              <a:custGeom>
                <a:avLst/>
                <a:gdLst>
                  <a:gd name="T0" fmla="*/ 0 w 132"/>
                  <a:gd name="T1" fmla="*/ 23 h 204"/>
                  <a:gd name="T2" fmla="*/ 1 w 132"/>
                  <a:gd name="T3" fmla="*/ 22 h 204"/>
                  <a:gd name="T4" fmla="*/ 67 w 132"/>
                  <a:gd name="T5" fmla="*/ 20 h 204"/>
                  <a:gd name="T6" fmla="*/ 80 w 132"/>
                  <a:gd name="T7" fmla="*/ 52 h 204"/>
                  <a:gd name="T8" fmla="*/ 113 w 132"/>
                  <a:gd name="T9" fmla="*/ 65 h 204"/>
                  <a:gd name="T10" fmla="*/ 111 w 132"/>
                  <a:gd name="T11" fmla="*/ 132 h 204"/>
                  <a:gd name="T12" fmla="*/ 38 w 132"/>
                  <a:gd name="T13" fmla="*/ 204 h 204"/>
                  <a:gd name="T14" fmla="*/ 16 w 132"/>
                  <a:gd name="T15" fmla="*/ 182 h 204"/>
                  <a:gd name="T16" fmla="*/ 88 w 132"/>
                  <a:gd name="T17" fmla="*/ 110 h 204"/>
                  <a:gd name="T18" fmla="*/ 91 w 132"/>
                  <a:gd name="T19" fmla="*/ 86 h 204"/>
                  <a:gd name="T20" fmla="*/ 67 w 132"/>
                  <a:gd name="T21" fmla="*/ 88 h 204"/>
                  <a:gd name="T22" fmla="*/ 0 w 132"/>
                  <a:gd name="T23" fmla="*/ 155 h 204"/>
                  <a:gd name="T24" fmla="*/ 0 w 132"/>
                  <a:gd name="T25" fmla="*/ 111 h 204"/>
                  <a:gd name="T26" fmla="*/ 45 w 132"/>
                  <a:gd name="T27" fmla="*/ 66 h 204"/>
                  <a:gd name="T28" fmla="*/ 46 w 132"/>
                  <a:gd name="T29" fmla="*/ 42 h 204"/>
                  <a:gd name="T30" fmla="*/ 22 w 132"/>
                  <a:gd name="T31" fmla="*/ 44 h 204"/>
                  <a:gd name="T32" fmla="*/ 0 w 132"/>
                  <a:gd name="T33" fmla="*/ 66 h 204"/>
                  <a:gd name="T34" fmla="*/ 0 w 132"/>
                  <a:gd name="T35" fmla="*/ 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204">
                    <a:moveTo>
                      <a:pt x="0" y="23"/>
                    </a:moveTo>
                    <a:cubicBezTo>
                      <a:pt x="1" y="22"/>
                      <a:pt x="1" y="22"/>
                      <a:pt x="1" y="22"/>
                    </a:cubicBezTo>
                    <a:cubicBezTo>
                      <a:pt x="23" y="0"/>
                      <a:pt x="50" y="2"/>
                      <a:pt x="67" y="20"/>
                    </a:cubicBezTo>
                    <a:cubicBezTo>
                      <a:pt x="80" y="32"/>
                      <a:pt x="81" y="46"/>
                      <a:pt x="80" y="52"/>
                    </a:cubicBezTo>
                    <a:cubicBezTo>
                      <a:pt x="86" y="51"/>
                      <a:pt x="100" y="52"/>
                      <a:pt x="113" y="65"/>
                    </a:cubicBezTo>
                    <a:cubicBezTo>
                      <a:pt x="130" y="82"/>
                      <a:pt x="132" y="110"/>
                      <a:pt x="111" y="132"/>
                    </a:cubicBezTo>
                    <a:cubicBezTo>
                      <a:pt x="38" y="204"/>
                      <a:pt x="38" y="204"/>
                      <a:pt x="38" y="204"/>
                    </a:cubicBezTo>
                    <a:cubicBezTo>
                      <a:pt x="16" y="182"/>
                      <a:pt x="16" y="182"/>
                      <a:pt x="16" y="182"/>
                    </a:cubicBezTo>
                    <a:cubicBezTo>
                      <a:pt x="88" y="110"/>
                      <a:pt x="88" y="110"/>
                      <a:pt x="88" y="110"/>
                    </a:cubicBezTo>
                    <a:cubicBezTo>
                      <a:pt x="97" y="101"/>
                      <a:pt x="96" y="91"/>
                      <a:pt x="91" y="86"/>
                    </a:cubicBezTo>
                    <a:cubicBezTo>
                      <a:pt x="85" y="80"/>
                      <a:pt x="75" y="79"/>
                      <a:pt x="67" y="88"/>
                    </a:cubicBezTo>
                    <a:cubicBezTo>
                      <a:pt x="0" y="155"/>
                      <a:pt x="0" y="155"/>
                      <a:pt x="0" y="155"/>
                    </a:cubicBezTo>
                    <a:cubicBezTo>
                      <a:pt x="0" y="111"/>
                      <a:pt x="0" y="111"/>
                      <a:pt x="0" y="111"/>
                    </a:cubicBezTo>
                    <a:cubicBezTo>
                      <a:pt x="45" y="66"/>
                      <a:pt x="45" y="66"/>
                      <a:pt x="45" y="66"/>
                    </a:cubicBezTo>
                    <a:cubicBezTo>
                      <a:pt x="53" y="57"/>
                      <a:pt x="52" y="47"/>
                      <a:pt x="46" y="42"/>
                    </a:cubicBezTo>
                    <a:cubicBezTo>
                      <a:pt x="41" y="36"/>
                      <a:pt x="31" y="35"/>
                      <a:pt x="22" y="44"/>
                    </a:cubicBezTo>
                    <a:cubicBezTo>
                      <a:pt x="0" y="66"/>
                      <a:pt x="0" y="66"/>
                      <a:pt x="0" y="66"/>
                    </a:cubicBezTo>
                    <a:lnTo>
                      <a:pt x="0" y="2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grpSp>
      <p:sp>
        <p:nvSpPr>
          <p:cNvPr id="86"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solidFill>
                  <a:schemeClr val="tx1">
                    <a:lumMod val="50000"/>
                    <a:lumOff val="50000"/>
                  </a:schemeClr>
                </a:solidFill>
                <a:latin typeface="+mn-lt"/>
              </a:rPr>
              <a:t>Private and Confidental</a:t>
            </a:r>
            <a:endParaRPr lang="pt-BR" sz="500" dirty="0">
              <a:solidFill>
                <a:schemeClr val="tx1">
                  <a:lumMod val="50000"/>
                  <a:lumOff val="50000"/>
                </a:schemeClr>
              </a:solidFill>
              <a:latin typeface="+mn-lt"/>
            </a:endParaRPr>
          </a:p>
        </p:txBody>
      </p:sp>
    </p:spTree>
    <p:extLst>
      <p:ext uri="{BB962C8B-B14F-4D97-AF65-F5344CB8AC3E}">
        <p14:creationId xmlns:p14="http://schemas.microsoft.com/office/powerpoint/2010/main" val="603326621"/>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One Title Only">
    <p:bg>
      <p:bgPr>
        <a:solidFill>
          <a:schemeClr val="bg1"/>
        </a:solidFill>
        <a:effectLst/>
      </p:bgPr>
    </p:bg>
    <p:spTree>
      <p:nvGrpSpPr>
        <p:cNvPr id="1" name=""/>
        <p:cNvGrpSpPr/>
        <p:nvPr/>
      </p:nvGrpSpPr>
      <p:grpSpPr>
        <a:xfrm>
          <a:off x="0" y="0"/>
          <a:ext cx="0" cy="0"/>
          <a:chOff x="0" y="0"/>
          <a:chExt cx="0" cy="0"/>
        </a:xfrm>
      </p:grpSpPr>
      <p:sp>
        <p:nvSpPr>
          <p:cNvPr id="6" name="Title Placeholder 6"/>
          <p:cNvSpPr>
            <a:spLocks noGrp="1"/>
          </p:cNvSpPr>
          <p:nvPr>
            <p:ph type="title"/>
          </p:nvPr>
        </p:nvSpPr>
        <p:spPr>
          <a:xfrm>
            <a:off x="347474" y="323727"/>
            <a:ext cx="8460000" cy="416186"/>
          </a:xfrm>
          <a:prstGeom prst="rect">
            <a:avLst/>
          </a:prstGeom>
        </p:spPr>
        <p:txBody>
          <a:bodyPr vert="horz" lIns="0" tIns="45720" rIns="0" bIns="45720" rtlCol="0" anchor="b">
            <a:noAutofit/>
          </a:bodyPr>
          <a:lstStyle>
            <a:lvl1pPr>
              <a:defRPr sz="2000">
                <a:solidFill>
                  <a:schemeClr val="tx1">
                    <a:lumMod val="75000"/>
                    <a:lumOff val="25000"/>
                  </a:schemeClr>
                </a:solidFill>
              </a:defRPr>
            </a:lvl1pPr>
          </a:lstStyle>
          <a:p>
            <a:r>
              <a:rPr lang="en-US" dirty="0" smtClean="0"/>
              <a:t>Click to edit Master title style</a:t>
            </a:r>
            <a:endParaRPr lang="en-GB" dirty="0"/>
          </a:p>
        </p:txBody>
      </p:sp>
      <p:cxnSp>
        <p:nvCxnSpPr>
          <p:cNvPr id="9" name="Straight Connector 8"/>
          <p:cNvCxnSpPr/>
          <p:nvPr userDrawn="1"/>
        </p:nvCxnSpPr>
        <p:spPr>
          <a:xfrm>
            <a:off x="343366" y="739913"/>
            <a:ext cx="8460000" cy="0"/>
          </a:xfrm>
          <a:prstGeom prst="line">
            <a:avLst/>
          </a:prstGeom>
          <a:ln w="12700">
            <a:solidFill>
              <a:schemeClr val="tx1">
                <a:lumMod val="75000"/>
                <a:lumOff val="25000"/>
              </a:schemeClr>
            </a:solidFill>
            <a:miter lim="800000"/>
          </a:ln>
        </p:spPr>
        <p:style>
          <a:lnRef idx="1">
            <a:schemeClr val="accent1"/>
          </a:lnRef>
          <a:fillRef idx="0">
            <a:schemeClr val="accent1"/>
          </a:fillRef>
          <a:effectRef idx="0">
            <a:schemeClr val="accent1"/>
          </a:effectRef>
          <a:fontRef idx="minor">
            <a:schemeClr val="tx1"/>
          </a:fontRef>
        </p:style>
      </p:cxnSp>
      <p:sp>
        <p:nvSpPr>
          <p:cNvPr id="11" name="Text Placeholder 2"/>
          <p:cNvSpPr>
            <a:spLocks noGrp="1"/>
          </p:cNvSpPr>
          <p:nvPr>
            <p:ph type="body" sz="quarter" idx="25" hasCustomPrompt="1"/>
          </p:nvPr>
        </p:nvSpPr>
        <p:spPr>
          <a:xfrm>
            <a:off x="6202363" y="4807465"/>
            <a:ext cx="1160462" cy="341313"/>
          </a:xfrm>
          <a:prstGeom prst="rect">
            <a:avLst/>
          </a:prstGeom>
        </p:spPr>
        <p:txBody>
          <a:bodyPr anchor="ctr"/>
          <a:lstStyle>
            <a:lvl1pPr marL="0" indent="0" algn="ctr">
              <a:buNone/>
              <a:defRPr sz="800">
                <a:solidFill>
                  <a:schemeClr val="tx1">
                    <a:lumMod val="75000"/>
                    <a:lumOff val="25000"/>
                  </a:schemeClr>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sp>
        <p:nvSpPr>
          <p:cNvPr id="8"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chemeClr val="bg1">
                    <a:lumMod val="75000"/>
                  </a:schemeClr>
                </a:solidFill>
                <a:latin typeface="+mn-lt"/>
              </a:defRPr>
            </a:lvl1pPr>
          </a:lstStyle>
          <a:p>
            <a:fld id="{19AB4E72-7858-48F1-A40D-12FF09E4BFB8}" type="slidenum">
              <a:rPr lang="en-GB" smtClean="0"/>
              <a:pPr/>
              <a:t>‹Nº›</a:t>
            </a:fld>
            <a:endParaRPr lang="en-GB"/>
          </a:p>
        </p:txBody>
      </p:sp>
      <p:sp>
        <p:nvSpPr>
          <p:cNvPr id="12" name="Footer Placeholder 6"/>
          <p:cNvSpPr>
            <a:spLocks noGrp="1"/>
          </p:cNvSpPr>
          <p:nvPr>
            <p:ph type="ftr" sz="quarter" idx="11"/>
          </p:nvPr>
        </p:nvSpPr>
        <p:spPr>
          <a:xfrm>
            <a:off x="608553" y="4816190"/>
            <a:ext cx="5040000" cy="158419"/>
          </a:xfrm>
          <a:prstGeom prst="rect">
            <a:avLst/>
          </a:prstGeom>
        </p:spPr>
        <p:txBody>
          <a:bodyPr lIns="0" rIns="0" bIns="0"/>
          <a:lstStyle>
            <a:lvl1pPr>
              <a:defRPr sz="600">
                <a:solidFill>
                  <a:schemeClr val="bg1">
                    <a:lumMod val="75000"/>
                  </a:schemeClr>
                </a:solidFill>
                <a:latin typeface="+mj-lt"/>
              </a:defRPr>
            </a:lvl1pPr>
          </a:lstStyle>
          <a:p>
            <a:endParaRPr lang="pt-BR"/>
          </a:p>
        </p:txBody>
      </p:sp>
      <p:sp>
        <p:nvSpPr>
          <p:cNvPr id="13"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latin typeface="+mn-lt"/>
              </a:rPr>
              <a:t>Private and Confidental</a:t>
            </a:r>
            <a:endParaRPr lang="pt-BR" sz="500" dirty="0">
              <a:latin typeface="+mn-lt"/>
            </a:endParaRPr>
          </a:p>
        </p:txBody>
      </p:sp>
    </p:spTree>
    <p:extLst>
      <p:ext uri="{BB962C8B-B14F-4D97-AF65-F5344CB8AC3E}">
        <p14:creationId xmlns:p14="http://schemas.microsoft.com/office/powerpoint/2010/main" val="548260925"/>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Titles - Team Bio - 2pl">
    <p:bg>
      <p:bgPr>
        <a:solidFill>
          <a:schemeClr val="bg1"/>
        </a:solidFill>
        <a:effectLst/>
      </p:bgPr>
    </p:bg>
    <p:spTree>
      <p:nvGrpSpPr>
        <p:cNvPr id="1" name=""/>
        <p:cNvGrpSpPr/>
        <p:nvPr/>
      </p:nvGrpSpPr>
      <p:grpSpPr>
        <a:xfrm>
          <a:off x="0" y="0"/>
          <a:ext cx="0" cy="0"/>
          <a:chOff x="0" y="0"/>
          <a:chExt cx="0" cy="0"/>
        </a:xfrm>
      </p:grpSpPr>
      <p:sp>
        <p:nvSpPr>
          <p:cNvPr id="9" name="Title Placeholder 6"/>
          <p:cNvSpPr>
            <a:spLocks noGrp="1"/>
          </p:cNvSpPr>
          <p:nvPr>
            <p:ph type="title"/>
          </p:nvPr>
        </p:nvSpPr>
        <p:spPr>
          <a:xfrm>
            <a:off x="347474" y="323727"/>
            <a:ext cx="8460000" cy="416186"/>
          </a:xfrm>
          <a:prstGeom prst="rect">
            <a:avLst/>
          </a:prstGeom>
        </p:spPr>
        <p:txBody>
          <a:bodyPr vert="horz" lIns="0" tIns="45720" rIns="0" bIns="45720" rtlCol="0" anchor="b">
            <a:noAutofit/>
          </a:bodyPr>
          <a:lstStyle>
            <a:lvl1pPr>
              <a:defRPr sz="2000">
                <a:solidFill>
                  <a:schemeClr val="tx1">
                    <a:lumMod val="75000"/>
                    <a:lumOff val="25000"/>
                  </a:schemeClr>
                </a:solidFill>
              </a:defRPr>
            </a:lvl1pPr>
          </a:lstStyle>
          <a:p>
            <a:r>
              <a:rPr lang="en-US" dirty="0" smtClean="0"/>
              <a:t>Click to edit Master title style</a:t>
            </a:r>
            <a:endParaRPr lang="en-GB" dirty="0"/>
          </a:p>
        </p:txBody>
      </p:sp>
      <p:sp>
        <p:nvSpPr>
          <p:cNvPr id="12" name="Text Placeholder 7"/>
          <p:cNvSpPr>
            <a:spLocks noGrp="1"/>
          </p:cNvSpPr>
          <p:nvPr>
            <p:ph type="body" sz="quarter" idx="20"/>
          </p:nvPr>
        </p:nvSpPr>
        <p:spPr>
          <a:xfrm>
            <a:off x="347473" y="808579"/>
            <a:ext cx="8460000" cy="393270"/>
          </a:xfrm>
          <a:prstGeom prst="rect">
            <a:avLst/>
          </a:prstGeom>
        </p:spPr>
        <p:txBody>
          <a:bodyPr lIns="0" rIns="0"/>
          <a:lstStyle>
            <a:lvl1pPr marL="0" indent="0">
              <a:spcBef>
                <a:spcPts val="0"/>
              </a:spcBef>
              <a:buNone/>
              <a:defRPr lang="en-US" sz="1100" b="1" i="1" kern="1200" dirty="0" smtClean="0">
                <a:solidFill>
                  <a:schemeClr val="tx2"/>
                </a:solidFill>
                <a:latin typeface="+mj-lt"/>
                <a:ea typeface="+mn-ea"/>
                <a:cs typeface="Arial"/>
              </a:defRPr>
            </a:lvl1pPr>
            <a:lvl2pPr marL="0" indent="0">
              <a:spcBef>
                <a:spcPts val="0"/>
              </a:spcBef>
              <a:buNone/>
              <a:defRPr lang="en-US" sz="1100" b="0" i="0" kern="1200" dirty="0" smtClean="0">
                <a:solidFill>
                  <a:schemeClr val="tx1">
                    <a:lumMod val="75000"/>
                    <a:lumOff val="25000"/>
                  </a:schemeClr>
                </a:solidFill>
                <a:latin typeface="+mj-lt"/>
                <a:ea typeface="+mn-ea"/>
                <a:cs typeface="Arial"/>
              </a:defRPr>
            </a:lvl2pPr>
          </a:lstStyle>
          <a:p>
            <a:pPr lvl="0"/>
            <a:r>
              <a:rPr lang="en-US" dirty="0" smtClean="0"/>
              <a:t>Click to edit Master text styles</a:t>
            </a:r>
          </a:p>
          <a:p>
            <a:pPr lvl="1"/>
            <a:r>
              <a:rPr lang="en-US" dirty="0" smtClean="0"/>
              <a:t>Second level</a:t>
            </a:r>
          </a:p>
        </p:txBody>
      </p:sp>
      <p:cxnSp>
        <p:nvCxnSpPr>
          <p:cNvPr id="13" name="Straight Connector 12"/>
          <p:cNvCxnSpPr/>
          <p:nvPr userDrawn="1"/>
        </p:nvCxnSpPr>
        <p:spPr>
          <a:xfrm>
            <a:off x="343366" y="739913"/>
            <a:ext cx="8460000" cy="0"/>
          </a:xfrm>
          <a:prstGeom prst="line">
            <a:avLst/>
          </a:prstGeom>
          <a:ln w="12700">
            <a:solidFill>
              <a:schemeClr val="tx1">
                <a:lumMod val="75000"/>
                <a:lumOff val="25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351670" y="1270022"/>
            <a:ext cx="8460000" cy="0"/>
          </a:xfrm>
          <a:prstGeom prst="line">
            <a:avLst/>
          </a:prstGeom>
          <a:ln w="12700" cap="rnd">
            <a:solidFill>
              <a:schemeClr val="tx1">
                <a:lumMod val="75000"/>
                <a:lumOff val="25000"/>
              </a:schemeClr>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43" name="Text Placeholder 46"/>
          <p:cNvSpPr>
            <a:spLocks noGrp="1"/>
          </p:cNvSpPr>
          <p:nvPr>
            <p:ph idx="1" hasCustomPrompt="1"/>
          </p:nvPr>
        </p:nvSpPr>
        <p:spPr>
          <a:xfrm>
            <a:off x="347472" y="2539169"/>
            <a:ext cx="4141429" cy="205060"/>
          </a:xfrm>
          <a:prstGeom prst="rect">
            <a:avLst/>
          </a:prstGeom>
        </p:spPr>
        <p:txBody>
          <a:bodyPr vert="horz" lIns="0" tIns="25200" rIns="0" bIns="45720" rtlCol="0">
            <a:noAutofit/>
          </a:bodyPr>
          <a:lstStyle>
            <a:lvl1pPr marL="0" indent="0">
              <a:spcBef>
                <a:spcPts val="600"/>
              </a:spcBef>
              <a:buClr>
                <a:schemeClr val="tx2"/>
              </a:buClr>
              <a:buNone/>
              <a:defRPr sz="1000" b="1" baseline="0">
                <a:solidFill>
                  <a:schemeClr val="tx2"/>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name</a:t>
            </a:r>
            <a:endParaRPr lang="en-GB" dirty="0"/>
          </a:p>
        </p:txBody>
      </p:sp>
      <p:sp>
        <p:nvSpPr>
          <p:cNvPr id="44" name="Picture Placeholder 2"/>
          <p:cNvSpPr>
            <a:spLocks noGrp="1"/>
          </p:cNvSpPr>
          <p:nvPr>
            <p:ph type="pic" sz="quarter" idx="25" hasCustomPrompt="1"/>
          </p:nvPr>
        </p:nvSpPr>
        <p:spPr>
          <a:xfrm>
            <a:off x="347472" y="1528560"/>
            <a:ext cx="941987" cy="941987"/>
          </a:xfrm>
          <a:prstGeom prst="rect">
            <a:avLst/>
          </a:prstGeom>
          <a:noFill/>
          <a:ln w="6350" cmpd="sng">
            <a:noFill/>
          </a:ln>
        </p:spPr>
        <p:txBody>
          <a:bodyPr vert="horz"/>
          <a:lstStyle>
            <a:lvl1pPr marL="0" indent="0" algn="ctr">
              <a:lnSpc>
                <a:spcPct val="90000"/>
              </a:lnSpc>
              <a:buNone/>
              <a:defRPr sz="1000">
                <a:solidFill>
                  <a:schemeClr val="bg1">
                    <a:lumMod val="65000"/>
                  </a:schemeClr>
                </a:solidFill>
              </a:defRPr>
            </a:lvl1pPr>
          </a:lstStyle>
          <a:p>
            <a:r>
              <a:rPr lang="en-US" smtClean="0"/>
              <a:t>Click to add a picture</a:t>
            </a:r>
            <a:endParaRPr lang="en-US"/>
          </a:p>
        </p:txBody>
      </p:sp>
      <p:sp>
        <p:nvSpPr>
          <p:cNvPr id="45" name="Text Placeholder 46"/>
          <p:cNvSpPr>
            <a:spLocks noGrp="1"/>
          </p:cNvSpPr>
          <p:nvPr>
            <p:ph idx="29" hasCustomPrompt="1"/>
          </p:nvPr>
        </p:nvSpPr>
        <p:spPr>
          <a:xfrm>
            <a:off x="347472" y="2950325"/>
            <a:ext cx="4141429" cy="1744015"/>
          </a:xfrm>
          <a:prstGeom prst="rect">
            <a:avLst/>
          </a:prstGeom>
        </p:spPr>
        <p:txBody>
          <a:bodyPr vert="horz" lIns="0" tIns="45720" rIns="0" bIns="45720" rtlCol="0">
            <a:noAutofit/>
          </a:bodyPr>
          <a:lstStyle>
            <a:lvl1pPr marL="0" indent="0">
              <a:spcBef>
                <a:spcPts val="600"/>
              </a:spcBef>
              <a:buClr>
                <a:schemeClr val="tx2"/>
              </a:buClr>
              <a:buNone/>
              <a:defRPr sz="800" b="0">
                <a:solidFill>
                  <a:schemeClr val="tx1">
                    <a:lumMod val="75000"/>
                    <a:lumOff val="25000"/>
                  </a:schemeClr>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bio</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6" name="Text Placeholder 46"/>
          <p:cNvSpPr>
            <a:spLocks noGrp="1"/>
          </p:cNvSpPr>
          <p:nvPr>
            <p:ph idx="30" hasCustomPrompt="1"/>
          </p:nvPr>
        </p:nvSpPr>
        <p:spPr>
          <a:xfrm>
            <a:off x="347472" y="2744229"/>
            <a:ext cx="4141429" cy="176217"/>
          </a:xfrm>
          <a:prstGeom prst="rect">
            <a:avLst/>
          </a:prstGeom>
        </p:spPr>
        <p:txBody>
          <a:bodyPr vert="horz" lIns="0" tIns="0" rIns="0" bIns="45720" rtlCol="0">
            <a:noAutofit/>
          </a:bodyPr>
          <a:lstStyle>
            <a:lvl1pPr marL="0" indent="0">
              <a:spcBef>
                <a:spcPts val="600"/>
              </a:spcBef>
              <a:buClr>
                <a:schemeClr val="tx2"/>
              </a:buClr>
              <a:buNone/>
              <a:defRPr sz="900" b="0" baseline="0">
                <a:solidFill>
                  <a:schemeClr val="tx1">
                    <a:lumMod val="75000"/>
                    <a:lumOff val="25000"/>
                  </a:schemeClr>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job title</a:t>
            </a:r>
            <a:endParaRPr lang="en-GB" dirty="0"/>
          </a:p>
        </p:txBody>
      </p:sp>
      <p:cxnSp>
        <p:nvCxnSpPr>
          <p:cNvPr id="47" name="Straight Connector 46"/>
          <p:cNvCxnSpPr/>
          <p:nvPr userDrawn="1"/>
        </p:nvCxnSpPr>
        <p:spPr>
          <a:xfrm>
            <a:off x="343366" y="1455737"/>
            <a:ext cx="4145536" cy="0"/>
          </a:xfrm>
          <a:prstGeom prst="line">
            <a:avLst/>
          </a:prstGeom>
          <a:ln w="12700" cmpd="sng">
            <a:solidFill>
              <a:schemeClr val="tx1">
                <a:lumMod val="75000"/>
                <a:lumOff val="25000"/>
              </a:schemeClr>
            </a:solidFill>
            <a:prstDash val="solid"/>
            <a:miter lim="800000"/>
          </a:ln>
        </p:spPr>
        <p:style>
          <a:lnRef idx="1">
            <a:schemeClr val="accent1"/>
          </a:lnRef>
          <a:fillRef idx="0">
            <a:schemeClr val="accent1"/>
          </a:fillRef>
          <a:effectRef idx="0">
            <a:schemeClr val="accent1"/>
          </a:effectRef>
          <a:fontRef idx="minor">
            <a:schemeClr val="tx1"/>
          </a:fontRef>
        </p:style>
      </p:cxnSp>
      <p:sp>
        <p:nvSpPr>
          <p:cNvPr id="48" name="Text Placeholder 46"/>
          <p:cNvSpPr>
            <a:spLocks noGrp="1"/>
          </p:cNvSpPr>
          <p:nvPr>
            <p:ph idx="41" hasCustomPrompt="1"/>
          </p:nvPr>
        </p:nvSpPr>
        <p:spPr>
          <a:xfrm>
            <a:off x="4666134" y="2539169"/>
            <a:ext cx="4133125" cy="205060"/>
          </a:xfrm>
          <a:prstGeom prst="rect">
            <a:avLst/>
          </a:prstGeom>
        </p:spPr>
        <p:txBody>
          <a:bodyPr vert="horz" lIns="0" tIns="25200" rIns="0" bIns="45720" rtlCol="0">
            <a:noAutofit/>
          </a:bodyPr>
          <a:lstStyle>
            <a:lvl1pPr marL="0" indent="0">
              <a:spcBef>
                <a:spcPts val="600"/>
              </a:spcBef>
              <a:buClr>
                <a:schemeClr val="tx2"/>
              </a:buClr>
              <a:buNone/>
              <a:defRPr sz="1000" b="1" baseline="0">
                <a:solidFill>
                  <a:schemeClr val="tx2"/>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name</a:t>
            </a:r>
            <a:endParaRPr lang="en-GB" dirty="0"/>
          </a:p>
        </p:txBody>
      </p:sp>
      <p:sp>
        <p:nvSpPr>
          <p:cNvPr id="77" name="Text Placeholder 46"/>
          <p:cNvSpPr>
            <a:spLocks noGrp="1"/>
          </p:cNvSpPr>
          <p:nvPr>
            <p:ph idx="43" hasCustomPrompt="1"/>
          </p:nvPr>
        </p:nvSpPr>
        <p:spPr>
          <a:xfrm>
            <a:off x="4666134" y="2950325"/>
            <a:ext cx="4133125" cy="1744015"/>
          </a:xfrm>
          <a:prstGeom prst="rect">
            <a:avLst/>
          </a:prstGeom>
        </p:spPr>
        <p:txBody>
          <a:bodyPr vert="horz" lIns="0" tIns="45720" rIns="0" bIns="45720" rtlCol="0">
            <a:noAutofit/>
          </a:bodyPr>
          <a:lstStyle>
            <a:lvl1pPr marL="0" indent="0">
              <a:spcBef>
                <a:spcPts val="600"/>
              </a:spcBef>
              <a:buClr>
                <a:schemeClr val="tx2"/>
              </a:buClr>
              <a:buNone/>
              <a:defRPr sz="800" b="0">
                <a:solidFill>
                  <a:schemeClr val="tx1">
                    <a:lumMod val="75000"/>
                    <a:lumOff val="25000"/>
                  </a:schemeClr>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bio</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8" name="Text Placeholder 46"/>
          <p:cNvSpPr>
            <a:spLocks noGrp="1"/>
          </p:cNvSpPr>
          <p:nvPr>
            <p:ph idx="44" hasCustomPrompt="1"/>
          </p:nvPr>
        </p:nvSpPr>
        <p:spPr>
          <a:xfrm>
            <a:off x="4666134" y="2744229"/>
            <a:ext cx="4133125" cy="176217"/>
          </a:xfrm>
          <a:prstGeom prst="rect">
            <a:avLst/>
          </a:prstGeom>
        </p:spPr>
        <p:txBody>
          <a:bodyPr vert="horz" lIns="0" tIns="0" rIns="0" bIns="45720" rtlCol="0">
            <a:noAutofit/>
          </a:bodyPr>
          <a:lstStyle>
            <a:lvl1pPr marL="0" indent="0">
              <a:spcBef>
                <a:spcPts val="600"/>
              </a:spcBef>
              <a:buClr>
                <a:schemeClr val="tx2"/>
              </a:buClr>
              <a:buNone/>
              <a:defRPr sz="900" b="0" baseline="0">
                <a:solidFill>
                  <a:schemeClr val="tx1">
                    <a:lumMod val="75000"/>
                    <a:lumOff val="25000"/>
                  </a:schemeClr>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job title</a:t>
            </a:r>
            <a:endParaRPr lang="en-GB" dirty="0"/>
          </a:p>
        </p:txBody>
      </p:sp>
      <p:cxnSp>
        <p:nvCxnSpPr>
          <p:cNvPr id="79" name="Straight Connector 78"/>
          <p:cNvCxnSpPr/>
          <p:nvPr userDrawn="1"/>
        </p:nvCxnSpPr>
        <p:spPr>
          <a:xfrm>
            <a:off x="4666134" y="2543370"/>
            <a:ext cx="4137232" cy="0"/>
          </a:xfrm>
          <a:prstGeom prst="line">
            <a:avLst/>
          </a:prstGeom>
          <a:ln w="12700" cmpd="sng">
            <a:solidFill>
              <a:schemeClr val="tx1">
                <a:lumMod val="75000"/>
                <a:lumOff val="25000"/>
              </a:schemeClr>
            </a:solidFill>
            <a:prstDash val="solid"/>
            <a:miter lim="800000"/>
          </a:ln>
        </p:spPr>
        <p:style>
          <a:lnRef idx="1">
            <a:schemeClr val="accent1"/>
          </a:lnRef>
          <a:fillRef idx="0">
            <a:schemeClr val="accent1"/>
          </a:fillRef>
          <a:effectRef idx="0">
            <a:schemeClr val="accent1"/>
          </a:effectRef>
          <a:fontRef idx="minor">
            <a:schemeClr val="tx1"/>
          </a:fontRef>
        </p:style>
      </p:cxnSp>
      <p:sp>
        <p:nvSpPr>
          <p:cNvPr id="80" name="Picture Placeholder 2"/>
          <p:cNvSpPr>
            <a:spLocks noGrp="1"/>
          </p:cNvSpPr>
          <p:nvPr>
            <p:ph type="pic" sz="quarter" idx="50" hasCustomPrompt="1"/>
          </p:nvPr>
        </p:nvSpPr>
        <p:spPr>
          <a:xfrm>
            <a:off x="4666134" y="1528560"/>
            <a:ext cx="941987" cy="941987"/>
          </a:xfrm>
          <a:prstGeom prst="rect">
            <a:avLst/>
          </a:prstGeom>
          <a:noFill/>
          <a:ln w="6350" cmpd="sng">
            <a:noFill/>
          </a:ln>
        </p:spPr>
        <p:txBody>
          <a:bodyPr vert="horz"/>
          <a:lstStyle>
            <a:lvl1pPr marL="0" indent="0" algn="ctr">
              <a:lnSpc>
                <a:spcPct val="90000"/>
              </a:lnSpc>
              <a:buNone/>
              <a:defRPr sz="1000">
                <a:solidFill>
                  <a:schemeClr val="bg1">
                    <a:lumMod val="65000"/>
                  </a:schemeClr>
                </a:solidFill>
              </a:defRPr>
            </a:lvl1pPr>
          </a:lstStyle>
          <a:p>
            <a:r>
              <a:rPr lang="en-US" smtClean="0"/>
              <a:t>Click to add a picture</a:t>
            </a:r>
            <a:endParaRPr lang="en-US"/>
          </a:p>
        </p:txBody>
      </p:sp>
      <p:cxnSp>
        <p:nvCxnSpPr>
          <p:cNvPr id="81" name="Straight Connector 80"/>
          <p:cNvCxnSpPr/>
          <p:nvPr userDrawn="1"/>
        </p:nvCxnSpPr>
        <p:spPr>
          <a:xfrm>
            <a:off x="4666134" y="1455737"/>
            <a:ext cx="4137232" cy="0"/>
          </a:xfrm>
          <a:prstGeom prst="line">
            <a:avLst/>
          </a:prstGeom>
          <a:ln w="12700" cmpd="sng">
            <a:solidFill>
              <a:schemeClr val="tx1">
                <a:lumMod val="75000"/>
                <a:lumOff val="25000"/>
              </a:schemeClr>
            </a:solidFill>
            <a:prstDash val="solid"/>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userDrawn="1"/>
        </p:nvCxnSpPr>
        <p:spPr>
          <a:xfrm>
            <a:off x="343366" y="2543370"/>
            <a:ext cx="4145536" cy="0"/>
          </a:xfrm>
          <a:prstGeom prst="line">
            <a:avLst/>
          </a:prstGeom>
          <a:ln w="12700" cmpd="sng">
            <a:solidFill>
              <a:schemeClr val="tx1">
                <a:lumMod val="75000"/>
                <a:lumOff val="25000"/>
              </a:schemeClr>
            </a:solidFill>
            <a:prstDash val="solid"/>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userDrawn="1"/>
        </p:nvCxnSpPr>
        <p:spPr>
          <a:xfrm>
            <a:off x="351670" y="2950325"/>
            <a:ext cx="4137231" cy="0"/>
          </a:xfrm>
          <a:prstGeom prst="line">
            <a:avLst/>
          </a:prstGeom>
          <a:ln w="12700" cap="rnd">
            <a:solidFill>
              <a:schemeClr val="tx1">
                <a:lumMod val="75000"/>
                <a:lumOff val="25000"/>
              </a:schemeClr>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userDrawn="1"/>
        </p:nvCxnSpPr>
        <p:spPr>
          <a:xfrm>
            <a:off x="4666134" y="2950325"/>
            <a:ext cx="4133125" cy="0"/>
          </a:xfrm>
          <a:prstGeom prst="line">
            <a:avLst/>
          </a:prstGeom>
          <a:ln w="12700" cap="rnd">
            <a:solidFill>
              <a:schemeClr val="tx1">
                <a:lumMod val="75000"/>
                <a:lumOff val="25000"/>
              </a:schemeClr>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23" name="Text Placeholder 2"/>
          <p:cNvSpPr>
            <a:spLocks noGrp="1"/>
          </p:cNvSpPr>
          <p:nvPr>
            <p:ph type="body" sz="quarter" idx="51" hasCustomPrompt="1"/>
          </p:nvPr>
        </p:nvSpPr>
        <p:spPr>
          <a:xfrm>
            <a:off x="6202363" y="4807465"/>
            <a:ext cx="1160462" cy="341313"/>
          </a:xfrm>
          <a:prstGeom prst="rect">
            <a:avLst/>
          </a:prstGeom>
        </p:spPr>
        <p:txBody>
          <a:bodyPr anchor="ctr"/>
          <a:lstStyle>
            <a:lvl1pPr marL="0" indent="0" algn="ctr">
              <a:buNone/>
              <a:defRPr sz="800">
                <a:solidFill>
                  <a:schemeClr val="tx1">
                    <a:lumMod val="75000"/>
                    <a:lumOff val="25000"/>
                  </a:schemeClr>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sp>
        <p:nvSpPr>
          <p:cNvPr id="24"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chemeClr val="bg1">
                    <a:lumMod val="75000"/>
                  </a:schemeClr>
                </a:solidFill>
                <a:latin typeface="+mn-lt"/>
              </a:defRPr>
            </a:lvl1pPr>
          </a:lstStyle>
          <a:p>
            <a:fld id="{19AB4E72-7858-48F1-A40D-12FF09E4BFB8}" type="slidenum">
              <a:rPr lang="en-GB" smtClean="0"/>
              <a:pPr/>
              <a:t>‹Nº›</a:t>
            </a:fld>
            <a:endParaRPr lang="en-GB"/>
          </a:p>
        </p:txBody>
      </p:sp>
      <p:sp>
        <p:nvSpPr>
          <p:cNvPr id="25" name="Footer Placeholder 6"/>
          <p:cNvSpPr>
            <a:spLocks noGrp="1"/>
          </p:cNvSpPr>
          <p:nvPr>
            <p:ph type="ftr" sz="quarter" idx="11"/>
          </p:nvPr>
        </p:nvSpPr>
        <p:spPr>
          <a:xfrm>
            <a:off x="608553" y="4816190"/>
            <a:ext cx="5040000" cy="158419"/>
          </a:xfrm>
          <a:prstGeom prst="rect">
            <a:avLst/>
          </a:prstGeom>
        </p:spPr>
        <p:txBody>
          <a:bodyPr lIns="0" rIns="0" bIns="0"/>
          <a:lstStyle>
            <a:lvl1pPr>
              <a:defRPr sz="600">
                <a:solidFill>
                  <a:schemeClr val="bg1">
                    <a:lumMod val="75000"/>
                  </a:schemeClr>
                </a:solidFill>
                <a:latin typeface="+mj-lt"/>
              </a:defRPr>
            </a:lvl1pPr>
          </a:lstStyle>
          <a:p>
            <a:endParaRPr lang="pt-BR"/>
          </a:p>
        </p:txBody>
      </p:sp>
      <p:sp>
        <p:nvSpPr>
          <p:cNvPr id="26"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latin typeface="+mn-lt"/>
              </a:rPr>
              <a:t>Private and Confidental</a:t>
            </a:r>
            <a:endParaRPr lang="pt-BR" sz="500" dirty="0">
              <a:latin typeface="+mn-lt"/>
            </a:endParaRPr>
          </a:p>
        </p:txBody>
      </p:sp>
    </p:spTree>
    <p:extLst>
      <p:ext uri="{BB962C8B-B14F-4D97-AF65-F5344CB8AC3E}">
        <p14:creationId xmlns:p14="http://schemas.microsoft.com/office/powerpoint/2010/main" val="1457850316"/>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Titles - Team Bio - 4pl">
    <p:bg>
      <p:bgPr>
        <a:solidFill>
          <a:schemeClr val="bg1"/>
        </a:solidFill>
        <a:effectLst/>
      </p:bgPr>
    </p:bg>
    <p:spTree>
      <p:nvGrpSpPr>
        <p:cNvPr id="1" name=""/>
        <p:cNvGrpSpPr/>
        <p:nvPr/>
      </p:nvGrpSpPr>
      <p:grpSpPr>
        <a:xfrm>
          <a:off x="0" y="0"/>
          <a:ext cx="0" cy="0"/>
          <a:chOff x="0" y="0"/>
          <a:chExt cx="0" cy="0"/>
        </a:xfrm>
      </p:grpSpPr>
      <p:sp>
        <p:nvSpPr>
          <p:cNvPr id="9" name="Title Placeholder 6"/>
          <p:cNvSpPr>
            <a:spLocks noGrp="1"/>
          </p:cNvSpPr>
          <p:nvPr>
            <p:ph type="title"/>
          </p:nvPr>
        </p:nvSpPr>
        <p:spPr>
          <a:xfrm>
            <a:off x="347474" y="323727"/>
            <a:ext cx="8460000" cy="416186"/>
          </a:xfrm>
          <a:prstGeom prst="rect">
            <a:avLst/>
          </a:prstGeom>
        </p:spPr>
        <p:txBody>
          <a:bodyPr vert="horz" lIns="0" tIns="45720" rIns="0" bIns="45720" rtlCol="0" anchor="b">
            <a:noAutofit/>
          </a:bodyPr>
          <a:lstStyle>
            <a:lvl1pPr>
              <a:defRPr sz="2000">
                <a:solidFill>
                  <a:schemeClr val="tx1">
                    <a:lumMod val="75000"/>
                    <a:lumOff val="25000"/>
                  </a:schemeClr>
                </a:solidFill>
              </a:defRPr>
            </a:lvl1pPr>
          </a:lstStyle>
          <a:p>
            <a:r>
              <a:rPr lang="en-US" dirty="0" smtClean="0"/>
              <a:t>Click to edit Master title style</a:t>
            </a:r>
            <a:endParaRPr lang="en-GB" dirty="0"/>
          </a:p>
        </p:txBody>
      </p:sp>
      <p:sp>
        <p:nvSpPr>
          <p:cNvPr id="12" name="Text Placeholder 7"/>
          <p:cNvSpPr>
            <a:spLocks noGrp="1"/>
          </p:cNvSpPr>
          <p:nvPr>
            <p:ph type="body" sz="quarter" idx="20"/>
          </p:nvPr>
        </p:nvSpPr>
        <p:spPr>
          <a:xfrm>
            <a:off x="347473" y="808579"/>
            <a:ext cx="8460000" cy="393270"/>
          </a:xfrm>
          <a:prstGeom prst="rect">
            <a:avLst/>
          </a:prstGeom>
        </p:spPr>
        <p:txBody>
          <a:bodyPr lIns="0" rIns="0"/>
          <a:lstStyle>
            <a:lvl1pPr marL="0" indent="0">
              <a:spcBef>
                <a:spcPts val="0"/>
              </a:spcBef>
              <a:buNone/>
              <a:defRPr lang="en-US" sz="1100" b="1" i="1" kern="1200" dirty="0" smtClean="0">
                <a:solidFill>
                  <a:schemeClr val="tx2"/>
                </a:solidFill>
                <a:latin typeface="+mj-lt"/>
                <a:ea typeface="+mn-ea"/>
                <a:cs typeface="Arial"/>
              </a:defRPr>
            </a:lvl1pPr>
            <a:lvl2pPr marL="0" indent="0">
              <a:spcBef>
                <a:spcPts val="0"/>
              </a:spcBef>
              <a:buNone/>
              <a:defRPr lang="en-US" sz="1100" b="0" i="0" kern="1200" dirty="0" smtClean="0">
                <a:solidFill>
                  <a:schemeClr val="tx1">
                    <a:lumMod val="75000"/>
                    <a:lumOff val="25000"/>
                  </a:schemeClr>
                </a:solidFill>
                <a:latin typeface="+mj-lt"/>
                <a:ea typeface="+mn-ea"/>
                <a:cs typeface="Arial"/>
              </a:defRPr>
            </a:lvl2pPr>
          </a:lstStyle>
          <a:p>
            <a:pPr lvl="0"/>
            <a:r>
              <a:rPr lang="en-US" dirty="0" smtClean="0"/>
              <a:t>Click to edit Master text styles</a:t>
            </a:r>
          </a:p>
          <a:p>
            <a:pPr lvl="1"/>
            <a:r>
              <a:rPr lang="en-US" dirty="0" smtClean="0"/>
              <a:t>Second level</a:t>
            </a:r>
          </a:p>
        </p:txBody>
      </p:sp>
      <p:cxnSp>
        <p:nvCxnSpPr>
          <p:cNvPr id="13" name="Straight Connector 12"/>
          <p:cNvCxnSpPr/>
          <p:nvPr userDrawn="1"/>
        </p:nvCxnSpPr>
        <p:spPr>
          <a:xfrm>
            <a:off x="343366" y="739913"/>
            <a:ext cx="8460000" cy="0"/>
          </a:xfrm>
          <a:prstGeom prst="line">
            <a:avLst/>
          </a:prstGeom>
          <a:ln w="12700">
            <a:solidFill>
              <a:schemeClr val="tx1">
                <a:lumMod val="75000"/>
                <a:lumOff val="25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351670" y="1270022"/>
            <a:ext cx="8460000" cy="0"/>
          </a:xfrm>
          <a:prstGeom prst="line">
            <a:avLst/>
          </a:prstGeom>
          <a:ln w="12700" cap="rnd">
            <a:solidFill>
              <a:schemeClr val="tx1">
                <a:lumMod val="75000"/>
                <a:lumOff val="25000"/>
              </a:schemeClr>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77" name="Picture Placeholder 2"/>
          <p:cNvSpPr>
            <a:spLocks noGrp="1"/>
          </p:cNvSpPr>
          <p:nvPr>
            <p:ph type="pic" sz="quarter" idx="25" hasCustomPrompt="1"/>
          </p:nvPr>
        </p:nvSpPr>
        <p:spPr>
          <a:xfrm>
            <a:off x="347472" y="1528560"/>
            <a:ext cx="941987" cy="941987"/>
          </a:xfrm>
          <a:prstGeom prst="rect">
            <a:avLst/>
          </a:prstGeom>
          <a:noFill/>
          <a:ln w="6350" cmpd="sng">
            <a:noFill/>
          </a:ln>
        </p:spPr>
        <p:txBody>
          <a:bodyPr vert="horz"/>
          <a:lstStyle>
            <a:lvl1pPr marL="0" indent="0" algn="ctr">
              <a:lnSpc>
                <a:spcPct val="90000"/>
              </a:lnSpc>
              <a:buNone/>
              <a:defRPr sz="1000">
                <a:solidFill>
                  <a:schemeClr val="bg1">
                    <a:lumMod val="65000"/>
                  </a:schemeClr>
                </a:solidFill>
              </a:defRPr>
            </a:lvl1pPr>
          </a:lstStyle>
          <a:p>
            <a:r>
              <a:rPr lang="en-US" smtClean="0"/>
              <a:t>Click to add a picture</a:t>
            </a:r>
            <a:endParaRPr lang="en-US"/>
          </a:p>
        </p:txBody>
      </p:sp>
      <p:cxnSp>
        <p:nvCxnSpPr>
          <p:cNvPr id="78" name="Straight Connector 77"/>
          <p:cNvCxnSpPr/>
          <p:nvPr userDrawn="1"/>
        </p:nvCxnSpPr>
        <p:spPr>
          <a:xfrm>
            <a:off x="343366" y="2543370"/>
            <a:ext cx="1984107" cy="0"/>
          </a:xfrm>
          <a:prstGeom prst="line">
            <a:avLst/>
          </a:prstGeom>
          <a:ln w="12700" cmpd="sng">
            <a:solidFill>
              <a:schemeClr val="tx1">
                <a:lumMod val="75000"/>
                <a:lumOff val="25000"/>
              </a:schemeClr>
            </a:solidFill>
            <a:prstDash val="solid"/>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userDrawn="1"/>
        </p:nvCxnSpPr>
        <p:spPr>
          <a:xfrm>
            <a:off x="343366" y="1455737"/>
            <a:ext cx="1984107" cy="0"/>
          </a:xfrm>
          <a:prstGeom prst="line">
            <a:avLst/>
          </a:prstGeom>
          <a:ln w="12700" cmpd="sng">
            <a:solidFill>
              <a:schemeClr val="tx1">
                <a:lumMod val="75000"/>
                <a:lumOff val="25000"/>
              </a:schemeClr>
            </a:solidFill>
            <a:prstDash val="solid"/>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userDrawn="1"/>
        </p:nvCxnSpPr>
        <p:spPr>
          <a:xfrm>
            <a:off x="6823367" y="2543370"/>
            <a:ext cx="1984107" cy="0"/>
          </a:xfrm>
          <a:prstGeom prst="line">
            <a:avLst/>
          </a:prstGeom>
          <a:ln w="12700" cmpd="sng">
            <a:solidFill>
              <a:schemeClr val="tx1">
                <a:lumMod val="75000"/>
                <a:lumOff val="25000"/>
              </a:schemeClr>
            </a:solidFill>
            <a:prstDash val="solid"/>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userDrawn="1"/>
        </p:nvCxnSpPr>
        <p:spPr>
          <a:xfrm>
            <a:off x="6823367" y="1455737"/>
            <a:ext cx="1984107" cy="0"/>
          </a:xfrm>
          <a:prstGeom prst="line">
            <a:avLst/>
          </a:prstGeom>
          <a:ln w="12700" cmpd="sng">
            <a:solidFill>
              <a:schemeClr val="tx1">
                <a:lumMod val="75000"/>
                <a:lumOff val="25000"/>
              </a:schemeClr>
            </a:solidFill>
            <a:prstDash val="solid"/>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userDrawn="1"/>
        </p:nvCxnSpPr>
        <p:spPr>
          <a:xfrm>
            <a:off x="4666134" y="2543370"/>
            <a:ext cx="1984107" cy="0"/>
          </a:xfrm>
          <a:prstGeom prst="line">
            <a:avLst/>
          </a:prstGeom>
          <a:ln w="12700" cmpd="sng">
            <a:solidFill>
              <a:schemeClr val="tx1">
                <a:lumMod val="75000"/>
                <a:lumOff val="25000"/>
              </a:schemeClr>
            </a:solidFill>
            <a:prstDash val="solid"/>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userDrawn="1"/>
        </p:nvCxnSpPr>
        <p:spPr>
          <a:xfrm>
            <a:off x="4666134" y="1455737"/>
            <a:ext cx="1984107" cy="0"/>
          </a:xfrm>
          <a:prstGeom prst="line">
            <a:avLst/>
          </a:prstGeom>
          <a:ln w="12700" cmpd="sng">
            <a:solidFill>
              <a:schemeClr val="tx1">
                <a:lumMod val="75000"/>
                <a:lumOff val="25000"/>
              </a:schemeClr>
            </a:solidFill>
            <a:prstDash val="solid"/>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userDrawn="1"/>
        </p:nvCxnSpPr>
        <p:spPr>
          <a:xfrm>
            <a:off x="2504795" y="2543370"/>
            <a:ext cx="1984107" cy="0"/>
          </a:xfrm>
          <a:prstGeom prst="line">
            <a:avLst/>
          </a:prstGeom>
          <a:ln w="12700" cmpd="sng">
            <a:solidFill>
              <a:schemeClr val="tx1">
                <a:lumMod val="75000"/>
                <a:lumOff val="25000"/>
              </a:schemeClr>
            </a:solidFill>
            <a:prstDash val="solid"/>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userDrawn="1"/>
        </p:nvCxnSpPr>
        <p:spPr>
          <a:xfrm>
            <a:off x="2504795" y="1455737"/>
            <a:ext cx="1984107" cy="0"/>
          </a:xfrm>
          <a:prstGeom prst="line">
            <a:avLst/>
          </a:prstGeom>
          <a:ln w="12700" cmpd="sng">
            <a:solidFill>
              <a:schemeClr val="tx1">
                <a:lumMod val="75000"/>
                <a:lumOff val="25000"/>
              </a:schemeClr>
            </a:solidFill>
            <a:prstDash val="solid"/>
            <a:miter lim="800000"/>
          </a:ln>
        </p:spPr>
        <p:style>
          <a:lnRef idx="1">
            <a:schemeClr val="accent1"/>
          </a:lnRef>
          <a:fillRef idx="0">
            <a:schemeClr val="accent1"/>
          </a:fillRef>
          <a:effectRef idx="0">
            <a:schemeClr val="accent1"/>
          </a:effectRef>
          <a:fontRef idx="minor">
            <a:schemeClr val="tx1"/>
          </a:fontRef>
        </p:style>
      </p:cxnSp>
      <p:sp>
        <p:nvSpPr>
          <p:cNvPr id="86" name="Picture Placeholder 2"/>
          <p:cNvSpPr>
            <a:spLocks noGrp="1"/>
          </p:cNvSpPr>
          <p:nvPr>
            <p:ph type="pic" sz="quarter" idx="49" hasCustomPrompt="1"/>
          </p:nvPr>
        </p:nvSpPr>
        <p:spPr>
          <a:xfrm>
            <a:off x="6823367" y="1528560"/>
            <a:ext cx="941987" cy="941987"/>
          </a:xfrm>
          <a:prstGeom prst="rect">
            <a:avLst/>
          </a:prstGeom>
          <a:noFill/>
          <a:ln w="6350" cmpd="sng">
            <a:noFill/>
          </a:ln>
        </p:spPr>
        <p:txBody>
          <a:bodyPr vert="horz"/>
          <a:lstStyle>
            <a:lvl1pPr marL="0" indent="0" algn="ctr">
              <a:lnSpc>
                <a:spcPct val="90000"/>
              </a:lnSpc>
              <a:buNone/>
              <a:defRPr sz="1000">
                <a:solidFill>
                  <a:schemeClr val="bg1">
                    <a:lumMod val="65000"/>
                  </a:schemeClr>
                </a:solidFill>
              </a:defRPr>
            </a:lvl1pPr>
          </a:lstStyle>
          <a:p>
            <a:r>
              <a:rPr lang="en-US" smtClean="0"/>
              <a:t>Click to add a picture</a:t>
            </a:r>
            <a:endParaRPr lang="en-US"/>
          </a:p>
        </p:txBody>
      </p:sp>
      <p:sp>
        <p:nvSpPr>
          <p:cNvPr id="87" name="Picture Placeholder 2"/>
          <p:cNvSpPr>
            <a:spLocks noGrp="1"/>
          </p:cNvSpPr>
          <p:nvPr>
            <p:ph type="pic" sz="quarter" idx="50" hasCustomPrompt="1"/>
          </p:nvPr>
        </p:nvSpPr>
        <p:spPr>
          <a:xfrm>
            <a:off x="4666134" y="1528560"/>
            <a:ext cx="941987" cy="941987"/>
          </a:xfrm>
          <a:prstGeom prst="rect">
            <a:avLst/>
          </a:prstGeom>
          <a:noFill/>
          <a:ln w="6350" cmpd="sng">
            <a:noFill/>
          </a:ln>
        </p:spPr>
        <p:txBody>
          <a:bodyPr vert="horz"/>
          <a:lstStyle>
            <a:lvl1pPr marL="0" indent="0" algn="ctr">
              <a:lnSpc>
                <a:spcPct val="90000"/>
              </a:lnSpc>
              <a:buNone/>
              <a:defRPr sz="1000">
                <a:solidFill>
                  <a:schemeClr val="bg1">
                    <a:lumMod val="65000"/>
                  </a:schemeClr>
                </a:solidFill>
              </a:defRPr>
            </a:lvl1pPr>
          </a:lstStyle>
          <a:p>
            <a:r>
              <a:rPr lang="en-US" smtClean="0"/>
              <a:t>Click to add a picture</a:t>
            </a:r>
            <a:endParaRPr lang="en-US"/>
          </a:p>
        </p:txBody>
      </p:sp>
      <p:sp>
        <p:nvSpPr>
          <p:cNvPr id="88" name="Picture Placeholder 2"/>
          <p:cNvSpPr>
            <a:spLocks noGrp="1"/>
          </p:cNvSpPr>
          <p:nvPr>
            <p:ph type="pic" sz="quarter" idx="51" hasCustomPrompt="1"/>
          </p:nvPr>
        </p:nvSpPr>
        <p:spPr>
          <a:xfrm>
            <a:off x="2504795" y="1528560"/>
            <a:ext cx="941987" cy="941987"/>
          </a:xfrm>
          <a:prstGeom prst="rect">
            <a:avLst/>
          </a:prstGeom>
          <a:noFill/>
          <a:ln w="6350" cmpd="sng">
            <a:noFill/>
          </a:ln>
        </p:spPr>
        <p:txBody>
          <a:bodyPr vert="horz"/>
          <a:lstStyle>
            <a:lvl1pPr marL="0" indent="0" algn="ctr">
              <a:lnSpc>
                <a:spcPct val="90000"/>
              </a:lnSpc>
              <a:buNone/>
              <a:defRPr sz="1000">
                <a:solidFill>
                  <a:schemeClr val="bg1">
                    <a:lumMod val="65000"/>
                  </a:schemeClr>
                </a:solidFill>
              </a:defRPr>
            </a:lvl1pPr>
          </a:lstStyle>
          <a:p>
            <a:r>
              <a:rPr lang="en-US" smtClean="0"/>
              <a:t>Click to add a picture</a:t>
            </a:r>
            <a:endParaRPr lang="en-US"/>
          </a:p>
        </p:txBody>
      </p:sp>
      <p:sp>
        <p:nvSpPr>
          <p:cNvPr id="89" name="Text Placeholder 46"/>
          <p:cNvSpPr>
            <a:spLocks noGrp="1"/>
          </p:cNvSpPr>
          <p:nvPr>
            <p:ph idx="1" hasCustomPrompt="1"/>
          </p:nvPr>
        </p:nvSpPr>
        <p:spPr>
          <a:xfrm>
            <a:off x="347472" y="2539169"/>
            <a:ext cx="1980001" cy="205060"/>
          </a:xfrm>
          <a:prstGeom prst="rect">
            <a:avLst/>
          </a:prstGeom>
        </p:spPr>
        <p:txBody>
          <a:bodyPr vert="horz" lIns="0" tIns="25200" rIns="0" bIns="45720" rtlCol="0">
            <a:noAutofit/>
          </a:bodyPr>
          <a:lstStyle>
            <a:lvl1pPr marL="0" indent="0">
              <a:spcBef>
                <a:spcPts val="600"/>
              </a:spcBef>
              <a:buClr>
                <a:schemeClr val="tx2"/>
              </a:buClr>
              <a:buNone/>
              <a:defRPr sz="1000" b="1" baseline="0">
                <a:solidFill>
                  <a:schemeClr val="tx2"/>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name</a:t>
            </a:r>
            <a:endParaRPr lang="en-GB" dirty="0"/>
          </a:p>
        </p:txBody>
      </p:sp>
      <p:sp>
        <p:nvSpPr>
          <p:cNvPr id="90" name="Text Placeholder 46"/>
          <p:cNvSpPr>
            <a:spLocks noGrp="1"/>
          </p:cNvSpPr>
          <p:nvPr>
            <p:ph idx="29" hasCustomPrompt="1"/>
          </p:nvPr>
        </p:nvSpPr>
        <p:spPr>
          <a:xfrm>
            <a:off x="347472" y="2950325"/>
            <a:ext cx="1980001" cy="1744015"/>
          </a:xfrm>
          <a:prstGeom prst="rect">
            <a:avLst/>
          </a:prstGeom>
        </p:spPr>
        <p:txBody>
          <a:bodyPr vert="horz" lIns="0" tIns="45720" rIns="0" bIns="45720" rtlCol="0">
            <a:noAutofit/>
          </a:bodyPr>
          <a:lstStyle>
            <a:lvl1pPr marL="0" indent="0">
              <a:spcBef>
                <a:spcPts val="600"/>
              </a:spcBef>
              <a:buClr>
                <a:schemeClr val="tx2"/>
              </a:buClr>
              <a:buNone/>
              <a:defRPr sz="800" b="0">
                <a:solidFill>
                  <a:schemeClr val="tx1">
                    <a:lumMod val="75000"/>
                    <a:lumOff val="25000"/>
                  </a:schemeClr>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bio</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91" name="Text Placeholder 46"/>
          <p:cNvSpPr>
            <a:spLocks noGrp="1"/>
          </p:cNvSpPr>
          <p:nvPr>
            <p:ph idx="30" hasCustomPrompt="1"/>
          </p:nvPr>
        </p:nvSpPr>
        <p:spPr>
          <a:xfrm>
            <a:off x="347472" y="2744229"/>
            <a:ext cx="1980001" cy="176217"/>
          </a:xfrm>
          <a:prstGeom prst="rect">
            <a:avLst/>
          </a:prstGeom>
        </p:spPr>
        <p:txBody>
          <a:bodyPr vert="horz" lIns="0" tIns="0" rIns="0" bIns="45720" rtlCol="0">
            <a:noAutofit/>
          </a:bodyPr>
          <a:lstStyle>
            <a:lvl1pPr marL="0" indent="0">
              <a:spcBef>
                <a:spcPts val="600"/>
              </a:spcBef>
              <a:buClr>
                <a:schemeClr val="tx2"/>
              </a:buClr>
              <a:buNone/>
              <a:defRPr sz="900" b="0" baseline="0">
                <a:solidFill>
                  <a:schemeClr val="tx1">
                    <a:lumMod val="75000"/>
                    <a:lumOff val="25000"/>
                  </a:schemeClr>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job title</a:t>
            </a:r>
            <a:endParaRPr lang="en-GB" dirty="0"/>
          </a:p>
        </p:txBody>
      </p:sp>
      <p:cxnSp>
        <p:nvCxnSpPr>
          <p:cNvPr id="92" name="Straight Connector 91"/>
          <p:cNvCxnSpPr/>
          <p:nvPr userDrawn="1"/>
        </p:nvCxnSpPr>
        <p:spPr>
          <a:xfrm>
            <a:off x="351670" y="2950325"/>
            <a:ext cx="1977994" cy="0"/>
          </a:xfrm>
          <a:prstGeom prst="line">
            <a:avLst/>
          </a:prstGeom>
          <a:ln w="12700" cap="rnd">
            <a:solidFill>
              <a:schemeClr val="tx1">
                <a:lumMod val="75000"/>
                <a:lumOff val="25000"/>
              </a:schemeClr>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93" name="Text Placeholder 46"/>
          <p:cNvSpPr>
            <a:spLocks noGrp="1"/>
          </p:cNvSpPr>
          <p:nvPr>
            <p:ph idx="52" hasCustomPrompt="1"/>
          </p:nvPr>
        </p:nvSpPr>
        <p:spPr>
          <a:xfrm>
            <a:off x="2504795" y="2539169"/>
            <a:ext cx="1980001" cy="205060"/>
          </a:xfrm>
          <a:prstGeom prst="rect">
            <a:avLst/>
          </a:prstGeom>
        </p:spPr>
        <p:txBody>
          <a:bodyPr vert="horz" lIns="0" tIns="25200" rIns="0" bIns="45720" rtlCol="0">
            <a:noAutofit/>
          </a:bodyPr>
          <a:lstStyle>
            <a:lvl1pPr marL="0" indent="0">
              <a:spcBef>
                <a:spcPts val="600"/>
              </a:spcBef>
              <a:buClr>
                <a:schemeClr val="tx2"/>
              </a:buClr>
              <a:buNone/>
              <a:defRPr sz="1000" b="1" baseline="0">
                <a:solidFill>
                  <a:schemeClr val="tx2"/>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name</a:t>
            </a:r>
            <a:endParaRPr lang="en-GB" dirty="0"/>
          </a:p>
        </p:txBody>
      </p:sp>
      <p:sp>
        <p:nvSpPr>
          <p:cNvPr id="94" name="Text Placeholder 46"/>
          <p:cNvSpPr>
            <a:spLocks noGrp="1"/>
          </p:cNvSpPr>
          <p:nvPr>
            <p:ph idx="53" hasCustomPrompt="1"/>
          </p:nvPr>
        </p:nvSpPr>
        <p:spPr>
          <a:xfrm>
            <a:off x="2504795" y="2950325"/>
            <a:ext cx="1980001" cy="1744015"/>
          </a:xfrm>
          <a:prstGeom prst="rect">
            <a:avLst/>
          </a:prstGeom>
        </p:spPr>
        <p:txBody>
          <a:bodyPr vert="horz" lIns="0" tIns="45720" rIns="0" bIns="45720" rtlCol="0">
            <a:noAutofit/>
          </a:bodyPr>
          <a:lstStyle>
            <a:lvl1pPr marL="0" indent="0">
              <a:spcBef>
                <a:spcPts val="600"/>
              </a:spcBef>
              <a:buClr>
                <a:schemeClr val="tx2"/>
              </a:buClr>
              <a:buNone/>
              <a:defRPr sz="800" b="0">
                <a:solidFill>
                  <a:schemeClr val="tx1">
                    <a:lumMod val="75000"/>
                    <a:lumOff val="25000"/>
                  </a:schemeClr>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bio</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95" name="Text Placeholder 46"/>
          <p:cNvSpPr>
            <a:spLocks noGrp="1"/>
          </p:cNvSpPr>
          <p:nvPr>
            <p:ph idx="54" hasCustomPrompt="1"/>
          </p:nvPr>
        </p:nvSpPr>
        <p:spPr>
          <a:xfrm>
            <a:off x="2504795" y="2744229"/>
            <a:ext cx="1980001" cy="176217"/>
          </a:xfrm>
          <a:prstGeom prst="rect">
            <a:avLst/>
          </a:prstGeom>
        </p:spPr>
        <p:txBody>
          <a:bodyPr vert="horz" lIns="0" tIns="0" rIns="0" bIns="45720" rtlCol="0">
            <a:noAutofit/>
          </a:bodyPr>
          <a:lstStyle>
            <a:lvl1pPr marL="0" indent="0">
              <a:spcBef>
                <a:spcPts val="600"/>
              </a:spcBef>
              <a:buClr>
                <a:schemeClr val="tx2"/>
              </a:buClr>
              <a:buNone/>
              <a:defRPr sz="900" b="0" baseline="0">
                <a:solidFill>
                  <a:schemeClr val="tx1">
                    <a:lumMod val="75000"/>
                    <a:lumOff val="25000"/>
                  </a:schemeClr>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job title</a:t>
            </a:r>
            <a:endParaRPr lang="en-GB" dirty="0"/>
          </a:p>
        </p:txBody>
      </p:sp>
      <p:cxnSp>
        <p:nvCxnSpPr>
          <p:cNvPr id="96" name="Straight Connector 95"/>
          <p:cNvCxnSpPr/>
          <p:nvPr userDrawn="1"/>
        </p:nvCxnSpPr>
        <p:spPr>
          <a:xfrm>
            <a:off x="2504795" y="2950325"/>
            <a:ext cx="1977994" cy="0"/>
          </a:xfrm>
          <a:prstGeom prst="line">
            <a:avLst/>
          </a:prstGeom>
          <a:ln w="12700" cap="rnd">
            <a:solidFill>
              <a:schemeClr val="tx1">
                <a:lumMod val="75000"/>
                <a:lumOff val="25000"/>
              </a:schemeClr>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97" name="Text Placeholder 46"/>
          <p:cNvSpPr>
            <a:spLocks noGrp="1"/>
          </p:cNvSpPr>
          <p:nvPr>
            <p:ph idx="55" hasCustomPrompt="1"/>
          </p:nvPr>
        </p:nvSpPr>
        <p:spPr>
          <a:xfrm>
            <a:off x="4666134" y="2539169"/>
            <a:ext cx="1980001" cy="205060"/>
          </a:xfrm>
          <a:prstGeom prst="rect">
            <a:avLst/>
          </a:prstGeom>
        </p:spPr>
        <p:txBody>
          <a:bodyPr vert="horz" lIns="0" tIns="25200" rIns="0" bIns="45720" rtlCol="0">
            <a:noAutofit/>
          </a:bodyPr>
          <a:lstStyle>
            <a:lvl1pPr marL="0" indent="0">
              <a:spcBef>
                <a:spcPts val="600"/>
              </a:spcBef>
              <a:buClr>
                <a:schemeClr val="tx2"/>
              </a:buClr>
              <a:buNone/>
              <a:defRPr sz="1000" b="1" baseline="0">
                <a:solidFill>
                  <a:schemeClr val="tx2"/>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name</a:t>
            </a:r>
            <a:endParaRPr lang="en-GB" dirty="0"/>
          </a:p>
        </p:txBody>
      </p:sp>
      <p:sp>
        <p:nvSpPr>
          <p:cNvPr id="98" name="Text Placeholder 46"/>
          <p:cNvSpPr>
            <a:spLocks noGrp="1"/>
          </p:cNvSpPr>
          <p:nvPr>
            <p:ph idx="56" hasCustomPrompt="1"/>
          </p:nvPr>
        </p:nvSpPr>
        <p:spPr>
          <a:xfrm>
            <a:off x="4666134" y="2950325"/>
            <a:ext cx="1980001" cy="1744015"/>
          </a:xfrm>
          <a:prstGeom prst="rect">
            <a:avLst/>
          </a:prstGeom>
        </p:spPr>
        <p:txBody>
          <a:bodyPr vert="horz" lIns="0" tIns="45720" rIns="0" bIns="45720" rtlCol="0">
            <a:noAutofit/>
          </a:bodyPr>
          <a:lstStyle>
            <a:lvl1pPr marL="0" indent="0">
              <a:spcBef>
                <a:spcPts val="600"/>
              </a:spcBef>
              <a:buClr>
                <a:schemeClr val="tx2"/>
              </a:buClr>
              <a:buNone/>
              <a:defRPr sz="800" b="0">
                <a:solidFill>
                  <a:schemeClr val="tx1">
                    <a:lumMod val="75000"/>
                    <a:lumOff val="25000"/>
                  </a:schemeClr>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bio</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99" name="Text Placeholder 46"/>
          <p:cNvSpPr>
            <a:spLocks noGrp="1"/>
          </p:cNvSpPr>
          <p:nvPr>
            <p:ph idx="57" hasCustomPrompt="1"/>
          </p:nvPr>
        </p:nvSpPr>
        <p:spPr>
          <a:xfrm>
            <a:off x="4666134" y="2744229"/>
            <a:ext cx="1980001" cy="176217"/>
          </a:xfrm>
          <a:prstGeom prst="rect">
            <a:avLst/>
          </a:prstGeom>
        </p:spPr>
        <p:txBody>
          <a:bodyPr vert="horz" lIns="0" tIns="0" rIns="0" bIns="45720" rtlCol="0">
            <a:noAutofit/>
          </a:bodyPr>
          <a:lstStyle>
            <a:lvl1pPr marL="0" indent="0">
              <a:spcBef>
                <a:spcPts val="600"/>
              </a:spcBef>
              <a:buClr>
                <a:schemeClr val="tx2"/>
              </a:buClr>
              <a:buNone/>
              <a:defRPr sz="900" b="0" baseline="0">
                <a:solidFill>
                  <a:schemeClr val="tx1">
                    <a:lumMod val="75000"/>
                    <a:lumOff val="25000"/>
                  </a:schemeClr>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job title</a:t>
            </a:r>
            <a:endParaRPr lang="en-GB" dirty="0"/>
          </a:p>
        </p:txBody>
      </p:sp>
      <p:cxnSp>
        <p:nvCxnSpPr>
          <p:cNvPr id="100" name="Straight Connector 99"/>
          <p:cNvCxnSpPr/>
          <p:nvPr userDrawn="1"/>
        </p:nvCxnSpPr>
        <p:spPr>
          <a:xfrm>
            <a:off x="4666134" y="2950325"/>
            <a:ext cx="1977994" cy="0"/>
          </a:xfrm>
          <a:prstGeom prst="line">
            <a:avLst/>
          </a:prstGeom>
          <a:ln w="12700" cap="rnd">
            <a:solidFill>
              <a:schemeClr val="tx1">
                <a:lumMod val="75000"/>
                <a:lumOff val="25000"/>
              </a:schemeClr>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101" name="Text Placeholder 46"/>
          <p:cNvSpPr>
            <a:spLocks noGrp="1"/>
          </p:cNvSpPr>
          <p:nvPr>
            <p:ph idx="58" hasCustomPrompt="1"/>
          </p:nvPr>
        </p:nvSpPr>
        <p:spPr>
          <a:xfrm>
            <a:off x="6823367" y="2539169"/>
            <a:ext cx="1980001" cy="205060"/>
          </a:xfrm>
          <a:prstGeom prst="rect">
            <a:avLst/>
          </a:prstGeom>
        </p:spPr>
        <p:txBody>
          <a:bodyPr vert="horz" lIns="0" tIns="25200" rIns="0" bIns="45720" rtlCol="0">
            <a:noAutofit/>
          </a:bodyPr>
          <a:lstStyle>
            <a:lvl1pPr marL="0" indent="0">
              <a:spcBef>
                <a:spcPts val="600"/>
              </a:spcBef>
              <a:buClr>
                <a:schemeClr val="tx2"/>
              </a:buClr>
              <a:buNone/>
              <a:defRPr sz="1000" b="1" baseline="0">
                <a:solidFill>
                  <a:schemeClr val="tx2"/>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name</a:t>
            </a:r>
            <a:endParaRPr lang="en-GB" dirty="0"/>
          </a:p>
        </p:txBody>
      </p:sp>
      <p:sp>
        <p:nvSpPr>
          <p:cNvPr id="102" name="Text Placeholder 46"/>
          <p:cNvSpPr>
            <a:spLocks noGrp="1"/>
          </p:cNvSpPr>
          <p:nvPr>
            <p:ph idx="59" hasCustomPrompt="1"/>
          </p:nvPr>
        </p:nvSpPr>
        <p:spPr>
          <a:xfrm>
            <a:off x="6823367" y="2950325"/>
            <a:ext cx="1980001" cy="1744015"/>
          </a:xfrm>
          <a:prstGeom prst="rect">
            <a:avLst/>
          </a:prstGeom>
        </p:spPr>
        <p:txBody>
          <a:bodyPr vert="horz" lIns="0" tIns="45720" rIns="0" bIns="45720" rtlCol="0">
            <a:noAutofit/>
          </a:bodyPr>
          <a:lstStyle>
            <a:lvl1pPr marL="0" indent="0">
              <a:spcBef>
                <a:spcPts val="600"/>
              </a:spcBef>
              <a:buClr>
                <a:schemeClr val="tx2"/>
              </a:buClr>
              <a:buNone/>
              <a:defRPr sz="800" b="0">
                <a:solidFill>
                  <a:schemeClr val="tx1">
                    <a:lumMod val="75000"/>
                    <a:lumOff val="25000"/>
                  </a:schemeClr>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bio</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03" name="Text Placeholder 46"/>
          <p:cNvSpPr>
            <a:spLocks noGrp="1"/>
          </p:cNvSpPr>
          <p:nvPr>
            <p:ph idx="60" hasCustomPrompt="1"/>
          </p:nvPr>
        </p:nvSpPr>
        <p:spPr>
          <a:xfrm>
            <a:off x="6823367" y="2744229"/>
            <a:ext cx="1980001" cy="176217"/>
          </a:xfrm>
          <a:prstGeom prst="rect">
            <a:avLst/>
          </a:prstGeom>
        </p:spPr>
        <p:txBody>
          <a:bodyPr vert="horz" lIns="0" tIns="0" rIns="0" bIns="45720" rtlCol="0">
            <a:noAutofit/>
          </a:bodyPr>
          <a:lstStyle>
            <a:lvl1pPr marL="0" indent="0">
              <a:spcBef>
                <a:spcPts val="600"/>
              </a:spcBef>
              <a:buClr>
                <a:schemeClr val="tx2"/>
              </a:buClr>
              <a:buNone/>
              <a:defRPr sz="900" b="0" baseline="0">
                <a:solidFill>
                  <a:schemeClr val="tx1">
                    <a:lumMod val="75000"/>
                    <a:lumOff val="25000"/>
                  </a:schemeClr>
                </a:solidFill>
                <a:latin typeface="Arial"/>
                <a:cs typeface="Arial"/>
              </a:defRPr>
            </a:lvl1pPr>
            <a:lvl2pPr marL="179388" indent="-179388">
              <a:spcBef>
                <a:spcPts val="600"/>
              </a:spcBef>
              <a:buClr>
                <a:schemeClr val="tx2"/>
              </a:buClr>
              <a:defRPr sz="800">
                <a:latin typeface="Arial"/>
                <a:cs typeface="Arial"/>
              </a:defRPr>
            </a:lvl2pPr>
            <a:lvl3pPr marL="179388" indent="-179388">
              <a:spcBef>
                <a:spcPts val="600"/>
              </a:spcBef>
              <a:buClr>
                <a:schemeClr val="tx2"/>
              </a:buClr>
              <a:defRPr sz="800">
                <a:latin typeface="Arial"/>
                <a:cs typeface="Arial"/>
              </a:defRPr>
            </a:lvl3pPr>
            <a:lvl4pPr marL="179388" indent="-179388">
              <a:spcBef>
                <a:spcPts val="600"/>
              </a:spcBef>
              <a:buClr>
                <a:schemeClr val="tx2"/>
              </a:buClr>
              <a:tabLst/>
              <a:defRPr sz="800">
                <a:latin typeface="Arial"/>
                <a:cs typeface="Arial"/>
              </a:defRPr>
            </a:lvl4pPr>
            <a:lvl5pPr marL="179388" indent="-179388">
              <a:spcBef>
                <a:spcPts val="600"/>
              </a:spcBef>
              <a:buClr>
                <a:schemeClr val="tx2"/>
              </a:buClr>
              <a:defRPr sz="800">
                <a:latin typeface="Arial"/>
                <a:cs typeface="Arial"/>
              </a:defRPr>
            </a:lvl5pPr>
          </a:lstStyle>
          <a:p>
            <a:pPr lvl="0"/>
            <a:r>
              <a:rPr lang="en-US" dirty="0" smtClean="0"/>
              <a:t>Click to add a job title</a:t>
            </a:r>
            <a:endParaRPr lang="en-GB" dirty="0"/>
          </a:p>
        </p:txBody>
      </p:sp>
      <p:cxnSp>
        <p:nvCxnSpPr>
          <p:cNvPr id="104" name="Straight Connector 103"/>
          <p:cNvCxnSpPr/>
          <p:nvPr userDrawn="1"/>
        </p:nvCxnSpPr>
        <p:spPr>
          <a:xfrm>
            <a:off x="6823367" y="2950325"/>
            <a:ext cx="1977994" cy="0"/>
          </a:xfrm>
          <a:prstGeom prst="line">
            <a:avLst/>
          </a:prstGeom>
          <a:ln w="12700" cap="rnd">
            <a:solidFill>
              <a:schemeClr val="tx1">
                <a:lumMod val="75000"/>
                <a:lumOff val="25000"/>
              </a:schemeClr>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37" name="Text Placeholder 2"/>
          <p:cNvSpPr>
            <a:spLocks noGrp="1"/>
          </p:cNvSpPr>
          <p:nvPr>
            <p:ph type="body" sz="quarter" idx="61" hasCustomPrompt="1"/>
          </p:nvPr>
        </p:nvSpPr>
        <p:spPr>
          <a:xfrm>
            <a:off x="6202363" y="4807465"/>
            <a:ext cx="1160462" cy="341313"/>
          </a:xfrm>
          <a:prstGeom prst="rect">
            <a:avLst/>
          </a:prstGeom>
        </p:spPr>
        <p:txBody>
          <a:bodyPr anchor="ctr"/>
          <a:lstStyle>
            <a:lvl1pPr marL="0" indent="0" algn="ctr">
              <a:buNone/>
              <a:defRPr sz="800">
                <a:solidFill>
                  <a:schemeClr val="tx1">
                    <a:lumMod val="75000"/>
                    <a:lumOff val="25000"/>
                  </a:schemeClr>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US" dirty="0" smtClean="0"/>
              <a:t>Client Logo HERE</a:t>
            </a:r>
            <a:endParaRPr lang="en-GB" dirty="0"/>
          </a:p>
        </p:txBody>
      </p:sp>
      <p:sp>
        <p:nvSpPr>
          <p:cNvPr id="38"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chemeClr val="bg1">
                    <a:lumMod val="75000"/>
                  </a:schemeClr>
                </a:solidFill>
                <a:latin typeface="+mn-lt"/>
              </a:defRPr>
            </a:lvl1pPr>
          </a:lstStyle>
          <a:p>
            <a:fld id="{19AB4E72-7858-48F1-A40D-12FF09E4BFB8}" type="slidenum">
              <a:rPr lang="en-GB" smtClean="0"/>
              <a:pPr/>
              <a:t>‹Nº›</a:t>
            </a:fld>
            <a:endParaRPr lang="en-GB"/>
          </a:p>
        </p:txBody>
      </p:sp>
      <p:sp>
        <p:nvSpPr>
          <p:cNvPr id="39" name="Footer Placeholder 6"/>
          <p:cNvSpPr>
            <a:spLocks noGrp="1"/>
          </p:cNvSpPr>
          <p:nvPr>
            <p:ph type="ftr" sz="quarter" idx="11"/>
          </p:nvPr>
        </p:nvSpPr>
        <p:spPr>
          <a:xfrm>
            <a:off x="608553" y="4816190"/>
            <a:ext cx="5040000" cy="158419"/>
          </a:xfrm>
          <a:prstGeom prst="rect">
            <a:avLst/>
          </a:prstGeom>
        </p:spPr>
        <p:txBody>
          <a:bodyPr lIns="0" rIns="0" bIns="0"/>
          <a:lstStyle>
            <a:lvl1pPr>
              <a:defRPr sz="600">
                <a:solidFill>
                  <a:schemeClr val="bg1">
                    <a:lumMod val="75000"/>
                  </a:schemeClr>
                </a:solidFill>
                <a:latin typeface="+mj-lt"/>
              </a:defRPr>
            </a:lvl1pPr>
          </a:lstStyle>
          <a:p>
            <a:endParaRPr lang="pt-BR"/>
          </a:p>
        </p:txBody>
      </p:sp>
      <p:sp>
        <p:nvSpPr>
          <p:cNvPr id="40" name="Footer Placeholder 6"/>
          <p:cNvSpPr txBox="1">
            <a:spLocks/>
          </p:cNvSpPr>
          <p:nvPr userDrawn="1"/>
        </p:nvSpPr>
        <p:spPr>
          <a:xfrm>
            <a:off x="608553" y="4988257"/>
            <a:ext cx="5040000" cy="158419"/>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US" sz="600" i="0" kern="1200">
                <a:solidFill>
                  <a:schemeClr val="bg1">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500" dirty="0" smtClean="0">
                <a:latin typeface="+mn-lt"/>
              </a:rPr>
              <a:t>Private and Confidental</a:t>
            </a:r>
            <a:endParaRPr lang="pt-BR" sz="500" dirty="0">
              <a:latin typeface="+mn-lt"/>
            </a:endParaRPr>
          </a:p>
        </p:txBody>
      </p:sp>
    </p:spTree>
    <p:extLst>
      <p:ext uri="{BB962C8B-B14F-4D97-AF65-F5344CB8AC3E}">
        <p14:creationId xmlns:p14="http://schemas.microsoft.com/office/powerpoint/2010/main" val="138312607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oleObject" Target="../embeddings/oleObject1.bin"/></Relationships>
</file>

<file path=ppt/slideMasters/_rels/slideMaster10.xml.rels><?xml version="1.0" encoding="UTF-8" standalone="yes"?>
<Relationships xmlns="http://schemas.openxmlformats.org/package/2006/relationships"><Relationship Id="rId3" Type="http://schemas.openxmlformats.org/officeDocument/2006/relationships/theme" Target="../theme/theme10.xml"/><Relationship Id="rId2" Type="http://schemas.openxmlformats.org/officeDocument/2006/relationships/slideLayout" Target="../slideLayouts/slideLayout50.xml"/><Relationship Id="rId1" Type="http://schemas.openxmlformats.org/officeDocument/2006/relationships/slideLayout" Target="../slideLayouts/slideLayout49.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53.xml"/><Relationship Id="rId2" Type="http://schemas.openxmlformats.org/officeDocument/2006/relationships/slideLayout" Target="../slideLayouts/slideLayout52.xml"/><Relationship Id="rId1" Type="http://schemas.openxmlformats.org/officeDocument/2006/relationships/slideLayout" Target="../slideLayouts/slideLayout51.xml"/><Relationship Id="rId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3" Type="http://schemas.openxmlformats.org/officeDocument/2006/relationships/theme" Target="../theme/theme12.xml"/><Relationship Id="rId2" Type="http://schemas.openxmlformats.org/officeDocument/2006/relationships/slideLayout" Target="../slideLayouts/slideLayout55.xml"/><Relationship Id="rId1" Type="http://schemas.openxmlformats.org/officeDocument/2006/relationships/slideLayout" Target="../slideLayouts/slideLayout54.xml"/></Relationships>
</file>

<file path=ppt/slideMasters/_rels/slideMaster13.xml.rels><?xml version="1.0" encoding="UTF-8" standalone="yes"?>
<Relationships xmlns="http://schemas.openxmlformats.org/package/2006/relationships"><Relationship Id="rId3" Type="http://schemas.openxmlformats.org/officeDocument/2006/relationships/theme" Target="../theme/theme13.xml"/><Relationship Id="rId2" Type="http://schemas.openxmlformats.org/officeDocument/2006/relationships/slideLayout" Target="../slideLayouts/slideLayout57.xml"/><Relationship Id="rId1" Type="http://schemas.openxmlformats.org/officeDocument/2006/relationships/slideLayout" Target="../slideLayouts/slideLayout56.xml"/></Relationships>
</file>

<file path=ppt/slideMasters/_rels/slideMaster14.xml.rels><?xml version="1.0" encoding="UTF-8" standalone="yes"?>
<Relationships xmlns="http://schemas.openxmlformats.org/package/2006/relationships"><Relationship Id="rId3" Type="http://schemas.openxmlformats.org/officeDocument/2006/relationships/slideLayout" Target="../slideLayouts/slideLayout60.xml"/><Relationship Id="rId2" Type="http://schemas.openxmlformats.org/officeDocument/2006/relationships/slideLayout" Target="../slideLayouts/slideLayout59.xml"/><Relationship Id="rId1" Type="http://schemas.openxmlformats.org/officeDocument/2006/relationships/slideLayout" Target="../slideLayouts/slideLayout58.xml"/><Relationship Id="rId4"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3" Type="http://schemas.openxmlformats.org/officeDocument/2006/relationships/theme" Target="../theme/theme15.xml"/><Relationship Id="rId2" Type="http://schemas.openxmlformats.org/officeDocument/2006/relationships/slideLayout" Target="../slideLayouts/slideLayout62.xml"/><Relationship Id="rId1" Type="http://schemas.openxmlformats.org/officeDocument/2006/relationships/slideLayout" Target="../slideLayouts/slideLayout61.xml"/></Relationships>
</file>

<file path=ppt/slideMasters/_rels/slideMaster16.xml.rels><?xml version="1.0" encoding="UTF-8" standalone="yes"?>
<Relationships xmlns="http://schemas.openxmlformats.org/package/2006/relationships"><Relationship Id="rId3" Type="http://schemas.openxmlformats.org/officeDocument/2006/relationships/theme" Target="../theme/theme16.xml"/><Relationship Id="rId2" Type="http://schemas.openxmlformats.org/officeDocument/2006/relationships/slideLayout" Target="../slideLayouts/slideLayout64.xml"/><Relationship Id="rId1" Type="http://schemas.openxmlformats.org/officeDocument/2006/relationships/slideLayout" Target="../slideLayouts/slideLayout63.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slideLayout" Target="../slideLayouts/slideLayout28.xml"/><Relationship Id="rId1" Type="http://schemas.openxmlformats.org/officeDocument/2006/relationships/slideLayout" Target="../slideLayouts/slideLayout27.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slideLayout" Target="../slideLayouts/slideLayout31.xml"/><Relationship Id="rId1" Type="http://schemas.openxmlformats.org/officeDocument/2006/relationships/slideLayout" Target="../slideLayouts/slideLayout30.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slideLayout" Target="../slideLayouts/slideLayout34.xml"/><Relationship Id="rId1" Type="http://schemas.openxmlformats.org/officeDocument/2006/relationships/slideLayout" Target="../slideLayouts/slideLayout33.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slideLayout" Target="../slideLayouts/slideLayout37.xml"/><Relationship Id="rId1" Type="http://schemas.openxmlformats.org/officeDocument/2006/relationships/slideLayout" Target="../slideLayouts/slideLayout36.xml"/><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1.xml"/><Relationship Id="rId2" Type="http://schemas.openxmlformats.org/officeDocument/2006/relationships/slideLayout" Target="../slideLayouts/slideLayout40.xml"/><Relationship Id="rId1" Type="http://schemas.openxmlformats.org/officeDocument/2006/relationships/slideLayout" Target="../slideLayouts/slideLayout39.xml"/><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44.xml"/><Relationship Id="rId2" Type="http://schemas.openxmlformats.org/officeDocument/2006/relationships/slideLayout" Target="../slideLayouts/slideLayout43.xml"/><Relationship Id="rId1" Type="http://schemas.openxmlformats.org/officeDocument/2006/relationships/slideLayout" Target="../slideLayouts/slideLayout42.xml"/><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3" Type="http://schemas.openxmlformats.org/officeDocument/2006/relationships/theme" Target="../theme/theme8.xml"/><Relationship Id="rId2" Type="http://schemas.openxmlformats.org/officeDocument/2006/relationships/slideLayout" Target="../slideLayouts/slideLayout46.xml"/><Relationship Id="rId1" Type="http://schemas.openxmlformats.org/officeDocument/2006/relationships/slideLayout" Target="../slideLayouts/slideLayout45.xml"/></Relationships>
</file>

<file path=ppt/slideMasters/_rels/slideMaster9.xml.rels><?xml version="1.0" encoding="UTF-8" standalone="yes"?>
<Relationships xmlns="http://schemas.openxmlformats.org/package/2006/relationships"><Relationship Id="rId3" Type="http://schemas.openxmlformats.org/officeDocument/2006/relationships/theme" Target="../theme/theme9.xml"/><Relationship Id="rId2" Type="http://schemas.openxmlformats.org/officeDocument/2006/relationships/slideLayout" Target="../slideLayouts/slideLayout48.xml"/><Relationship Id="rId1" Type="http://schemas.openxmlformats.org/officeDocument/2006/relationships/slideLayout" Target="../slideLayouts/slideLayout4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1 Objeto" hidden="1"/>
          <p:cNvGraphicFramePr>
            <a:graphicFrameLocks noChangeAspect="1"/>
          </p:cNvGraphicFramePr>
          <p:nvPr userDrawn="1">
            <p:custDataLst>
              <p:tags r:id="rId29"/>
            </p:custDataLst>
            <p:extLst>
              <p:ext uri="{D42A27DB-BD31-4B8C-83A1-F6EECF244321}">
                <p14:modId xmlns:p14="http://schemas.microsoft.com/office/powerpoint/2010/main" val="1350229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95" name="Diapositiva de think-cell" r:id="rId30" imgW="421" imgH="420" progId="TCLayout.ActiveDocument.1">
                  <p:embed/>
                </p:oleObj>
              </mc:Choice>
              <mc:Fallback>
                <p:oleObj name="Diapositiva de think-cell" r:id="rId30" imgW="421" imgH="420" progId="TCLayout.ActiveDocument.1">
                  <p:embed/>
                  <p:pic>
                    <p:nvPicPr>
                      <p:cNvPr id="0" name=""/>
                      <p:cNvPicPr/>
                      <p:nvPr/>
                    </p:nvPicPr>
                    <p:blipFill>
                      <a:blip r:embed="rId31"/>
                      <a:stretch>
                        <a:fillRect/>
                      </a:stretch>
                    </p:blipFill>
                    <p:spPr>
                      <a:xfrm>
                        <a:off x="1588" y="1588"/>
                        <a:ext cx="1587" cy="1587"/>
                      </a:xfrm>
                      <a:prstGeom prst="rect">
                        <a:avLst/>
                      </a:prstGeom>
                    </p:spPr>
                  </p:pic>
                </p:oleObj>
              </mc:Fallback>
            </mc:AlternateContent>
          </a:graphicData>
        </a:graphic>
      </p:graphicFrame>
      <p:cxnSp>
        <p:nvCxnSpPr>
          <p:cNvPr id="24" name="Straight Connector 23"/>
          <p:cNvCxnSpPr/>
          <p:nvPr userDrawn="1"/>
        </p:nvCxnSpPr>
        <p:spPr>
          <a:xfrm>
            <a:off x="343366" y="4801146"/>
            <a:ext cx="8460000" cy="0"/>
          </a:xfrm>
          <a:prstGeom prst="line">
            <a:avLst/>
          </a:prstGeom>
          <a:ln w="12700">
            <a:solidFill>
              <a:schemeClr val="tx1">
                <a:lumMod val="75000"/>
                <a:lumOff val="25000"/>
              </a:schemeClr>
            </a:solidFill>
            <a:miter lim="800000"/>
          </a:ln>
        </p:spPr>
        <p:style>
          <a:lnRef idx="1">
            <a:schemeClr val="accent1"/>
          </a:lnRef>
          <a:fillRef idx="0">
            <a:schemeClr val="accent1"/>
          </a:fillRef>
          <a:effectRef idx="0">
            <a:schemeClr val="accent1"/>
          </a:effectRef>
          <a:fontRef idx="minor">
            <a:schemeClr val="tx1"/>
          </a:fontRef>
        </p:style>
      </p:cxnSp>
      <p:grpSp>
        <p:nvGrpSpPr>
          <p:cNvPr id="39" name="Group 38"/>
          <p:cNvGrpSpPr/>
          <p:nvPr userDrawn="1"/>
        </p:nvGrpSpPr>
        <p:grpSpPr>
          <a:xfrm>
            <a:off x="7686461" y="4906654"/>
            <a:ext cx="1124815" cy="151147"/>
            <a:chOff x="7686461" y="4581466"/>
            <a:chExt cx="1124815" cy="151147"/>
          </a:xfrm>
        </p:grpSpPr>
        <p:sp>
          <p:nvSpPr>
            <p:cNvPr id="40"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1"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2"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3"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4"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5"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6"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7"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8"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9"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0"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1"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2"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3"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4"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grpSp>
      <p:sp>
        <p:nvSpPr>
          <p:cNvPr id="22" name="Slide Number Placeholder 1"/>
          <p:cNvSpPr>
            <a:spLocks noGrp="1"/>
          </p:cNvSpPr>
          <p:nvPr>
            <p:ph type="sldNum" sz="quarter" idx="4"/>
          </p:nvPr>
        </p:nvSpPr>
        <p:spPr>
          <a:xfrm>
            <a:off x="347517" y="4836661"/>
            <a:ext cx="208119" cy="311601"/>
          </a:xfrm>
          <a:prstGeom prst="rect">
            <a:avLst/>
          </a:prstGeom>
        </p:spPr>
        <p:txBody>
          <a:bodyPr lIns="0" rIns="0" bIns="0" anchor="ctr"/>
          <a:lstStyle>
            <a:lvl1pPr algn="l">
              <a:defRPr sz="700">
                <a:solidFill>
                  <a:schemeClr val="bg1">
                    <a:lumMod val="85000"/>
                  </a:schemeClr>
                </a:solidFill>
                <a:latin typeface="+mn-lt"/>
              </a:defRPr>
            </a:lvl1pPr>
          </a:lstStyle>
          <a:p>
            <a:fld id="{19AB4E72-7858-48F1-A40D-12FF09E4BFB8}" type="slidenum">
              <a:rPr lang="en-GB" smtClean="0"/>
              <a:pPr/>
              <a:t>‹Nº›</a:t>
            </a:fld>
            <a:endParaRPr lang="en-GB"/>
          </a:p>
        </p:txBody>
      </p:sp>
    </p:spTree>
    <p:extLst>
      <p:ext uri="{BB962C8B-B14F-4D97-AF65-F5344CB8AC3E}">
        <p14:creationId xmlns:p14="http://schemas.microsoft.com/office/powerpoint/2010/main" val="1477203742"/>
      </p:ext>
    </p:extLst>
  </p:cSld>
  <p:clrMap bg1="lt1" tx1="dk1" bg2="lt2" tx2="dk2" accent1="accent1" accent2="accent2" accent3="accent3" accent4="accent4" accent5="accent5" accent6="accent6" hlink="hlink" folHlink="folHlink"/>
  <p:sldLayoutIdLst>
    <p:sldLayoutId id="2147483841" r:id="rId1"/>
    <p:sldLayoutId id="2147483829" r:id="rId2"/>
    <p:sldLayoutId id="2147483844" r:id="rId3"/>
    <p:sldLayoutId id="2147483843" r:id="rId4"/>
    <p:sldLayoutId id="2147483845" r:id="rId5"/>
    <p:sldLayoutId id="2147483919" r:id="rId6"/>
    <p:sldLayoutId id="2147483842" r:id="rId7"/>
    <p:sldLayoutId id="2147483923" r:id="rId8"/>
    <p:sldLayoutId id="2147483921" r:id="rId9"/>
    <p:sldLayoutId id="2147483924" r:id="rId10"/>
    <p:sldLayoutId id="2147483890" r:id="rId11"/>
    <p:sldLayoutId id="2147483891" r:id="rId12"/>
    <p:sldLayoutId id="2147483892" r:id="rId13"/>
    <p:sldLayoutId id="2147483893" r:id="rId14"/>
    <p:sldLayoutId id="2147483920" r:id="rId15"/>
    <p:sldLayoutId id="2147483758" r:id="rId16"/>
    <p:sldLayoutId id="2147483925" r:id="rId17"/>
    <p:sldLayoutId id="2147483922" r:id="rId18"/>
    <p:sldLayoutId id="2147483926" r:id="rId19"/>
    <p:sldLayoutId id="2147483874" r:id="rId20"/>
    <p:sldLayoutId id="2147483875" r:id="rId21"/>
    <p:sldLayoutId id="2147483885" r:id="rId22"/>
    <p:sldLayoutId id="2147483872" r:id="rId23"/>
    <p:sldLayoutId id="2147484089" r:id="rId24"/>
    <p:sldLayoutId id="2147484029" r:id="rId25"/>
    <p:sldLayoutId id="2147484030" r:id="rId26"/>
  </p:sldLayoutIdLst>
  <p:timing>
    <p:tnLst>
      <p:par>
        <p:cTn id="1" dur="indefinite" restart="never" nodeType="tmRoot"/>
      </p:par>
    </p:tnLst>
  </p:timing>
  <p:hf hdr="0" dt="0"/>
  <p:txStyles>
    <p:titleStyle>
      <a:lvl1pPr algn="l" defTabSz="914400" rtl="0" eaLnBrk="1" latinLnBrk="0" hangingPunct="1">
        <a:spcBef>
          <a:spcPct val="0"/>
        </a:spcBef>
        <a:buNone/>
        <a:defRPr lang="en-US" sz="2800" i="0" kern="1200" baseline="0" dirty="0">
          <a:solidFill>
            <a:schemeClr val="tx1">
              <a:lumMod val="75000"/>
              <a:lumOff val="25000"/>
            </a:schemeClr>
          </a:solidFill>
          <a:latin typeface="Georgia" pitchFamily="18" charset="0"/>
          <a:ea typeface="+mj-ea"/>
          <a:cs typeface="+mj-cs"/>
        </a:defRPr>
      </a:lvl1pPr>
    </p:titleStyle>
    <p:bodyStyle>
      <a:lvl1pPr marL="228600" indent="-228600" algn="l" defTabSz="914400" rtl="0" eaLnBrk="1" latinLnBrk="0" hangingPunct="1">
        <a:spcBef>
          <a:spcPct val="20000"/>
        </a:spcBef>
        <a:buClr>
          <a:schemeClr val="accent1"/>
        </a:buClr>
        <a:buSzPct val="99000"/>
        <a:buFont typeface="Arial" pitchFamily="34" charset="0"/>
        <a:buChar char="•"/>
        <a:defRPr lang="en-US" sz="20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1pPr>
      <a:lvl2pPr marL="400050" indent="-171450" algn="l" defTabSz="914400" rtl="0" eaLnBrk="1" latinLnBrk="0" hangingPunct="1">
        <a:spcBef>
          <a:spcPct val="20000"/>
        </a:spcBef>
        <a:buClr>
          <a:schemeClr val="accent1"/>
        </a:buClr>
        <a:buSzPct val="99000"/>
        <a:buFont typeface="Arial" pitchFamily="34" charset="0"/>
        <a:buChar char="•"/>
        <a:defRPr lang="en-US" sz="16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2pPr>
      <a:lvl3pPr marL="571500" indent="-171450" algn="l" defTabSz="914400" rtl="0" eaLnBrk="1" latinLnBrk="0" hangingPunct="1">
        <a:spcBef>
          <a:spcPct val="20000"/>
        </a:spcBef>
        <a:buClr>
          <a:schemeClr val="accent1"/>
        </a:buClr>
        <a:buSzPct val="99000"/>
        <a:buFont typeface="Arial" pitchFamily="34" charset="0"/>
        <a:buChar char="•"/>
        <a:defRPr lang="en-US" sz="16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3pPr>
      <a:lvl4pPr marL="742950" indent="-171450" algn="l" defTabSz="914400" rtl="0" eaLnBrk="1" latinLnBrk="0" hangingPunct="1">
        <a:spcBef>
          <a:spcPct val="20000"/>
        </a:spcBef>
        <a:buClr>
          <a:schemeClr val="accent1"/>
        </a:buClr>
        <a:buSzPct val="99000"/>
        <a:buFont typeface="Arial" pitchFamily="34" charset="0"/>
        <a:buChar char="•"/>
        <a:tabLst/>
        <a:defRPr lang="en-US" sz="16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4pPr>
      <a:lvl5pPr marL="914400" indent="-171450" algn="l" defTabSz="914400" rtl="0" eaLnBrk="1" latinLnBrk="0" hangingPunct="1">
        <a:spcBef>
          <a:spcPct val="20000"/>
        </a:spcBef>
        <a:buClr>
          <a:schemeClr val="accent1"/>
        </a:buClr>
        <a:buSzPct val="99000"/>
        <a:buFont typeface="Arial" pitchFamily="34" charset="0"/>
        <a:buChar char="•"/>
        <a:defRPr lang="en-US" sz="1600" i="0" kern="1200" dirty="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0" y="4849795"/>
            <a:ext cx="474480" cy="298467"/>
          </a:xfrm>
          <a:prstGeom prst="rect">
            <a:avLst/>
          </a:prstGeom>
        </p:spPr>
        <p:txBody>
          <a:bodyPr vert="horz" lIns="91440" tIns="0" rIns="91440" bIns="36576" rtlCol="0" anchor="ctr"/>
          <a:lstStyle>
            <a:lvl1pPr algn="r">
              <a:defRPr lang="en-US" sz="1200" i="0" smtClean="0">
                <a:solidFill>
                  <a:schemeClr val="bg1">
                    <a:lumMod val="75000"/>
                  </a:schemeClr>
                </a:solidFill>
                <a:latin typeface="Georgia" pitchFamily="18" charset="0"/>
              </a:defRPr>
            </a:lvl1pPr>
          </a:lstStyle>
          <a:p>
            <a:fld id="{19AB4E72-7858-48F1-A40D-12FF09E4BFB8}" type="slidenum">
              <a:rPr lang="en-GB" smtClean="0"/>
              <a:pPr/>
              <a:t>‹Nº›</a:t>
            </a:fld>
            <a:endParaRPr lang="en-GB"/>
          </a:p>
        </p:txBody>
      </p:sp>
      <p:sp>
        <p:nvSpPr>
          <p:cNvPr id="3" name="Date Placeholder 2"/>
          <p:cNvSpPr>
            <a:spLocks noGrp="1"/>
          </p:cNvSpPr>
          <p:nvPr>
            <p:ph type="dt" sz="half" idx="2"/>
          </p:nvPr>
        </p:nvSpPr>
        <p:spPr>
          <a:xfrm>
            <a:off x="33334" y="5060852"/>
            <a:ext cx="452438" cy="65358"/>
          </a:xfrm>
          <a:prstGeom prst="rect">
            <a:avLst/>
          </a:prstGeom>
        </p:spPr>
        <p:txBody>
          <a:bodyPr vert="horz" wrap="none" lIns="0" tIns="45720" rIns="0" bIns="45720" rtlCol="0" anchor="ctr"/>
          <a:lstStyle>
            <a:lvl1pPr algn="ctr">
              <a:defRPr lang="en-US" sz="600" i="0" kern="1200" smtClean="0">
                <a:solidFill>
                  <a:schemeClr val="bg1">
                    <a:lumMod val="75000"/>
                  </a:schemeClr>
                </a:solidFill>
                <a:latin typeface="Georgia" pitchFamily="18" charset="0"/>
                <a:ea typeface="+mn-ea"/>
                <a:cs typeface="+mn-cs"/>
              </a:defRPr>
            </a:lvl1pPr>
          </a:lstStyle>
          <a:p>
            <a:endParaRPr lang="en-GB"/>
          </a:p>
        </p:txBody>
      </p:sp>
      <p:cxnSp>
        <p:nvCxnSpPr>
          <p:cNvPr id="24" name="Straight Connector 23"/>
          <p:cNvCxnSpPr/>
          <p:nvPr userDrawn="1"/>
        </p:nvCxnSpPr>
        <p:spPr>
          <a:xfrm>
            <a:off x="343366" y="4801146"/>
            <a:ext cx="8460000" cy="0"/>
          </a:xfrm>
          <a:prstGeom prst="line">
            <a:avLst/>
          </a:prstGeom>
          <a:ln w="12700">
            <a:solidFill>
              <a:schemeClr val="tx1">
                <a:lumMod val="75000"/>
                <a:lumOff val="25000"/>
              </a:schemeClr>
            </a:solidFill>
            <a:miter lim="800000"/>
          </a:ln>
        </p:spPr>
        <p:style>
          <a:lnRef idx="1">
            <a:schemeClr val="accent1"/>
          </a:lnRef>
          <a:fillRef idx="0">
            <a:schemeClr val="accent1"/>
          </a:fillRef>
          <a:effectRef idx="0">
            <a:schemeClr val="accent1"/>
          </a:effectRef>
          <a:fontRef idx="minor">
            <a:schemeClr val="tx1"/>
          </a:fontRef>
        </p:style>
      </p:cxnSp>
      <p:sp>
        <p:nvSpPr>
          <p:cNvPr id="47" name="Footer Placeholder 6"/>
          <p:cNvSpPr>
            <a:spLocks noGrp="1"/>
          </p:cNvSpPr>
          <p:nvPr>
            <p:ph type="ftr" sz="quarter" idx="3"/>
          </p:nvPr>
        </p:nvSpPr>
        <p:spPr>
          <a:xfrm>
            <a:off x="608553" y="4836662"/>
            <a:ext cx="3973117" cy="311601"/>
          </a:xfrm>
          <a:prstGeom prst="rect">
            <a:avLst/>
          </a:prstGeom>
        </p:spPr>
        <p:txBody>
          <a:bodyPr lIns="0" rIns="0" bIns="0" anchor="ctr"/>
          <a:lstStyle>
            <a:lvl1pPr>
              <a:defRPr sz="600">
                <a:solidFill>
                  <a:schemeClr val="bg1">
                    <a:lumMod val="75000"/>
                  </a:schemeClr>
                </a:solidFill>
                <a:latin typeface="+mj-lt"/>
              </a:defRPr>
            </a:lvl1pPr>
          </a:lstStyle>
          <a:p>
            <a:endParaRPr lang="pt-BR" dirty="0"/>
          </a:p>
        </p:txBody>
      </p:sp>
      <p:grpSp>
        <p:nvGrpSpPr>
          <p:cNvPr id="45" name="Group 44"/>
          <p:cNvGrpSpPr/>
          <p:nvPr userDrawn="1"/>
        </p:nvGrpSpPr>
        <p:grpSpPr>
          <a:xfrm>
            <a:off x="7686461" y="4906654"/>
            <a:ext cx="1124815" cy="151147"/>
            <a:chOff x="7686461" y="4581466"/>
            <a:chExt cx="1124815" cy="151147"/>
          </a:xfrm>
        </p:grpSpPr>
        <p:sp>
          <p:nvSpPr>
            <p:cNvPr id="70"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71"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72"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73"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74"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75"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76"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77"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78"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79"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80"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81"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82"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83"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84"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711889442"/>
      </p:ext>
    </p:extLst>
  </p:cSld>
  <p:clrMap bg1="lt1" tx1="dk1" bg2="lt2" tx2="dk2" accent1="accent1" accent2="accent2" accent3="accent3" accent4="accent4" accent5="accent5" accent6="accent6" hlink="hlink" folHlink="folHlink"/>
  <p:sldLayoutIdLst>
    <p:sldLayoutId id="2147484005" r:id="rId1"/>
    <p:sldLayoutId id="2147484033" r:id="rId2"/>
  </p:sldLayoutIdLst>
  <p:timing>
    <p:tnLst>
      <p:par>
        <p:cTn id="1" dur="indefinite" restart="never" nodeType="tmRoot"/>
      </p:par>
    </p:tnLst>
  </p:timing>
  <p:hf hdr="0" dt="0"/>
  <p:txStyles>
    <p:titleStyle>
      <a:lvl1pPr algn="l" defTabSz="914400" rtl="0" eaLnBrk="1" latinLnBrk="0" hangingPunct="1">
        <a:spcBef>
          <a:spcPct val="0"/>
        </a:spcBef>
        <a:buNone/>
        <a:defRPr lang="en-US" sz="2800" i="0" kern="1200" baseline="0" dirty="0">
          <a:solidFill>
            <a:schemeClr val="tx1">
              <a:lumMod val="75000"/>
              <a:lumOff val="25000"/>
            </a:schemeClr>
          </a:solidFill>
          <a:latin typeface="Georgia" pitchFamily="18" charset="0"/>
          <a:ea typeface="+mj-ea"/>
          <a:cs typeface="+mj-cs"/>
        </a:defRPr>
      </a:lvl1pPr>
    </p:titleStyle>
    <p:bodyStyle>
      <a:lvl1pPr marL="228600" indent="-228600" algn="l" defTabSz="914400" rtl="0" eaLnBrk="1" latinLnBrk="0" hangingPunct="1">
        <a:spcBef>
          <a:spcPct val="20000"/>
        </a:spcBef>
        <a:buClr>
          <a:schemeClr val="accent1"/>
        </a:buClr>
        <a:buSzPct val="99000"/>
        <a:buFont typeface="Arial" pitchFamily="34" charset="0"/>
        <a:buChar char="•"/>
        <a:defRPr lang="en-US" sz="20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1pPr>
      <a:lvl2pPr marL="400050" indent="-171450" algn="l" defTabSz="914400" rtl="0" eaLnBrk="1" latinLnBrk="0" hangingPunct="1">
        <a:spcBef>
          <a:spcPct val="20000"/>
        </a:spcBef>
        <a:buClr>
          <a:schemeClr val="accent1"/>
        </a:buClr>
        <a:buSzPct val="99000"/>
        <a:buFont typeface="Arial" pitchFamily="34" charset="0"/>
        <a:buChar char="•"/>
        <a:defRPr lang="en-US" sz="16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2pPr>
      <a:lvl3pPr marL="571500" indent="-171450" algn="l" defTabSz="914400" rtl="0" eaLnBrk="1" latinLnBrk="0" hangingPunct="1">
        <a:spcBef>
          <a:spcPct val="20000"/>
        </a:spcBef>
        <a:buClr>
          <a:schemeClr val="accent1"/>
        </a:buClr>
        <a:buSzPct val="99000"/>
        <a:buFont typeface="Arial" pitchFamily="34" charset="0"/>
        <a:buChar char="•"/>
        <a:defRPr lang="en-US" sz="16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3pPr>
      <a:lvl4pPr marL="742950" indent="-171450" algn="l" defTabSz="914400" rtl="0" eaLnBrk="1" latinLnBrk="0" hangingPunct="1">
        <a:spcBef>
          <a:spcPct val="20000"/>
        </a:spcBef>
        <a:buClr>
          <a:schemeClr val="accent1"/>
        </a:buClr>
        <a:buSzPct val="99000"/>
        <a:buFont typeface="Arial" pitchFamily="34" charset="0"/>
        <a:buChar char="•"/>
        <a:tabLst/>
        <a:defRPr lang="en-US" sz="16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4pPr>
      <a:lvl5pPr marL="914400" indent="-171450" algn="l" defTabSz="914400" rtl="0" eaLnBrk="1" latinLnBrk="0" hangingPunct="1">
        <a:spcBef>
          <a:spcPct val="20000"/>
        </a:spcBef>
        <a:buClr>
          <a:schemeClr val="accent1"/>
        </a:buClr>
        <a:buSzPct val="99000"/>
        <a:buFont typeface="Arial" pitchFamily="34" charset="0"/>
        <a:buChar char="•"/>
        <a:defRPr lang="en-US" sz="1600" i="0" kern="1200" dirty="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0" y="4849795"/>
            <a:ext cx="474480" cy="298467"/>
          </a:xfrm>
          <a:prstGeom prst="rect">
            <a:avLst/>
          </a:prstGeom>
        </p:spPr>
        <p:txBody>
          <a:bodyPr vert="horz" lIns="91440" tIns="0" rIns="91440" bIns="36576" rtlCol="0" anchor="ctr"/>
          <a:lstStyle>
            <a:lvl1pPr algn="r">
              <a:defRPr lang="en-US" sz="1200" i="0" smtClean="0">
                <a:solidFill>
                  <a:schemeClr val="bg1">
                    <a:lumMod val="75000"/>
                  </a:schemeClr>
                </a:solidFill>
                <a:latin typeface="Georgia" pitchFamily="18" charset="0"/>
              </a:defRPr>
            </a:lvl1pPr>
          </a:lstStyle>
          <a:p>
            <a:fld id="{19AB4E72-7858-48F1-A40D-12FF09E4BFB8}" type="slidenum">
              <a:rPr lang="en-GB" smtClean="0"/>
              <a:pPr/>
              <a:t>‹Nº›</a:t>
            </a:fld>
            <a:endParaRPr lang="en-GB"/>
          </a:p>
        </p:txBody>
      </p:sp>
      <p:sp>
        <p:nvSpPr>
          <p:cNvPr id="3" name="Date Placeholder 2"/>
          <p:cNvSpPr>
            <a:spLocks noGrp="1"/>
          </p:cNvSpPr>
          <p:nvPr>
            <p:ph type="dt" sz="half" idx="2"/>
          </p:nvPr>
        </p:nvSpPr>
        <p:spPr>
          <a:xfrm>
            <a:off x="33334" y="5060852"/>
            <a:ext cx="452438" cy="65358"/>
          </a:xfrm>
          <a:prstGeom prst="rect">
            <a:avLst/>
          </a:prstGeom>
        </p:spPr>
        <p:txBody>
          <a:bodyPr vert="horz" wrap="none" lIns="0" tIns="45720" rIns="0" bIns="45720" rtlCol="0" anchor="ctr"/>
          <a:lstStyle>
            <a:lvl1pPr algn="ctr">
              <a:defRPr lang="en-US" sz="600" i="0" kern="1200" smtClean="0">
                <a:solidFill>
                  <a:schemeClr val="bg1">
                    <a:lumMod val="75000"/>
                  </a:schemeClr>
                </a:solidFill>
                <a:latin typeface="Georgia" pitchFamily="18" charset="0"/>
                <a:ea typeface="+mn-ea"/>
                <a:cs typeface="+mn-cs"/>
              </a:defRPr>
            </a:lvl1pPr>
          </a:lstStyle>
          <a:p>
            <a:endParaRPr lang="en-GB"/>
          </a:p>
        </p:txBody>
      </p:sp>
      <p:cxnSp>
        <p:nvCxnSpPr>
          <p:cNvPr id="24" name="Straight Connector 23"/>
          <p:cNvCxnSpPr/>
          <p:nvPr userDrawn="1"/>
        </p:nvCxnSpPr>
        <p:spPr>
          <a:xfrm>
            <a:off x="343366" y="4801146"/>
            <a:ext cx="8460000" cy="0"/>
          </a:xfrm>
          <a:prstGeom prst="line">
            <a:avLst/>
          </a:prstGeom>
          <a:ln w="12700">
            <a:solidFill>
              <a:schemeClr val="tx1">
                <a:lumMod val="75000"/>
                <a:lumOff val="25000"/>
              </a:schemeClr>
            </a:solidFill>
            <a:miter lim="800000"/>
          </a:ln>
        </p:spPr>
        <p:style>
          <a:lnRef idx="1">
            <a:schemeClr val="accent1"/>
          </a:lnRef>
          <a:fillRef idx="0">
            <a:schemeClr val="accent1"/>
          </a:fillRef>
          <a:effectRef idx="0">
            <a:schemeClr val="accent1"/>
          </a:effectRef>
          <a:fontRef idx="minor">
            <a:schemeClr val="tx1"/>
          </a:fontRef>
        </p:style>
      </p:cxnSp>
      <p:sp>
        <p:nvSpPr>
          <p:cNvPr id="47" name="Footer Placeholder 6"/>
          <p:cNvSpPr>
            <a:spLocks noGrp="1"/>
          </p:cNvSpPr>
          <p:nvPr>
            <p:ph type="ftr" sz="quarter" idx="3"/>
          </p:nvPr>
        </p:nvSpPr>
        <p:spPr>
          <a:xfrm>
            <a:off x="608553" y="4836662"/>
            <a:ext cx="3973117" cy="311601"/>
          </a:xfrm>
          <a:prstGeom prst="rect">
            <a:avLst/>
          </a:prstGeom>
        </p:spPr>
        <p:txBody>
          <a:bodyPr lIns="0" rIns="0" bIns="0" anchor="ctr"/>
          <a:lstStyle>
            <a:lvl1pPr>
              <a:defRPr sz="600">
                <a:solidFill>
                  <a:schemeClr val="bg1">
                    <a:lumMod val="75000"/>
                  </a:schemeClr>
                </a:solidFill>
                <a:latin typeface="+mj-lt"/>
              </a:defRPr>
            </a:lvl1pPr>
          </a:lstStyle>
          <a:p>
            <a:endParaRPr lang="pt-BR" dirty="0"/>
          </a:p>
        </p:txBody>
      </p:sp>
      <p:grpSp>
        <p:nvGrpSpPr>
          <p:cNvPr id="22" name="Group 21"/>
          <p:cNvGrpSpPr/>
          <p:nvPr userDrawn="1"/>
        </p:nvGrpSpPr>
        <p:grpSpPr>
          <a:xfrm>
            <a:off x="7686461" y="4906654"/>
            <a:ext cx="1124815" cy="151147"/>
            <a:chOff x="7686461" y="4581466"/>
            <a:chExt cx="1124815" cy="151147"/>
          </a:xfrm>
        </p:grpSpPr>
        <p:sp>
          <p:nvSpPr>
            <p:cNvPr id="23"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5"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6"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7"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8"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9"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0"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1"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2"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3"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4"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5"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6"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7"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8"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379414603"/>
      </p:ext>
    </p:extLst>
  </p:cSld>
  <p:clrMap bg1="lt1" tx1="dk1" bg2="lt2" tx2="dk2" accent1="accent1" accent2="accent2" accent3="accent3" accent4="accent4" accent5="accent5" accent6="accent6" hlink="hlink" folHlink="folHlink"/>
  <p:sldLayoutIdLst>
    <p:sldLayoutId id="2147484011" r:id="rId1"/>
    <p:sldLayoutId id="2147484041" r:id="rId2"/>
    <p:sldLayoutId id="2147484035" r:id="rId3"/>
  </p:sldLayoutIdLst>
  <p:timing>
    <p:tnLst>
      <p:par>
        <p:cTn id="1" dur="indefinite" restart="never" nodeType="tmRoot"/>
      </p:par>
    </p:tnLst>
  </p:timing>
  <p:hf hdr="0" dt="0"/>
  <p:txStyles>
    <p:titleStyle>
      <a:lvl1pPr algn="l" defTabSz="914400" rtl="0" eaLnBrk="1" latinLnBrk="0" hangingPunct="1">
        <a:spcBef>
          <a:spcPct val="0"/>
        </a:spcBef>
        <a:buNone/>
        <a:defRPr lang="en-US" sz="2800" i="0" kern="1200" baseline="0" dirty="0">
          <a:solidFill>
            <a:schemeClr val="tx1">
              <a:lumMod val="75000"/>
              <a:lumOff val="25000"/>
            </a:schemeClr>
          </a:solidFill>
          <a:latin typeface="Georgia" pitchFamily="18" charset="0"/>
          <a:ea typeface="+mj-ea"/>
          <a:cs typeface="+mj-cs"/>
        </a:defRPr>
      </a:lvl1pPr>
    </p:titleStyle>
    <p:bodyStyle>
      <a:lvl1pPr marL="228600" indent="-228600" algn="l" defTabSz="914400" rtl="0" eaLnBrk="1" latinLnBrk="0" hangingPunct="1">
        <a:spcBef>
          <a:spcPct val="20000"/>
        </a:spcBef>
        <a:buClr>
          <a:schemeClr val="accent1"/>
        </a:buClr>
        <a:buSzPct val="99000"/>
        <a:buFont typeface="Arial" pitchFamily="34" charset="0"/>
        <a:buChar char="•"/>
        <a:defRPr lang="en-US" sz="20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1pPr>
      <a:lvl2pPr marL="400050" indent="-171450" algn="l" defTabSz="914400" rtl="0" eaLnBrk="1" latinLnBrk="0" hangingPunct="1">
        <a:spcBef>
          <a:spcPct val="20000"/>
        </a:spcBef>
        <a:buClr>
          <a:schemeClr val="accent1"/>
        </a:buClr>
        <a:buSzPct val="99000"/>
        <a:buFont typeface="Arial" pitchFamily="34" charset="0"/>
        <a:buChar char="•"/>
        <a:defRPr lang="en-US" sz="16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2pPr>
      <a:lvl3pPr marL="571500" indent="-171450" algn="l" defTabSz="914400" rtl="0" eaLnBrk="1" latinLnBrk="0" hangingPunct="1">
        <a:spcBef>
          <a:spcPct val="20000"/>
        </a:spcBef>
        <a:buClr>
          <a:schemeClr val="accent1"/>
        </a:buClr>
        <a:buSzPct val="99000"/>
        <a:buFont typeface="Arial" pitchFamily="34" charset="0"/>
        <a:buChar char="•"/>
        <a:defRPr lang="en-US" sz="16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3pPr>
      <a:lvl4pPr marL="742950" indent="-171450" algn="l" defTabSz="914400" rtl="0" eaLnBrk="1" latinLnBrk="0" hangingPunct="1">
        <a:spcBef>
          <a:spcPct val="20000"/>
        </a:spcBef>
        <a:buClr>
          <a:schemeClr val="accent1"/>
        </a:buClr>
        <a:buSzPct val="99000"/>
        <a:buFont typeface="Arial" pitchFamily="34" charset="0"/>
        <a:buChar char="•"/>
        <a:tabLst/>
        <a:defRPr lang="en-US" sz="16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4pPr>
      <a:lvl5pPr marL="914400" indent="-171450" algn="l" defTabSz="914400" rtl="0" eaLnBrk="1" latinLnBrk="0" hangingPunct="1">
        <a:spcBef>
          <a:spcPct val="20000"/>
        </a:spcBef>
        <a:buClr>
          <a:schemeClr val="accent1"/>
        </a:buClr>
        <a:buSzPct val="99000"/>
        <a:buFont typeface="Arial" pitchFamily="34" charset="0"/>
        <a:buChar char="•"/>
        <a:defRPr lang="en-US" sz="1600" i="0" kern="1200" dirty="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0" y="4849795"/>
            <a:ext cx="474480" cy="298467"/>
          </a:xfrm>
          <a:prstGeom prst="rect">
            <a:avLst/>
          </a:prstGeom>
        </p:spPr>
        <p:txBody>
          <a:bodyPr vert="horz" lIns="91440" tIns="0" rIns="91440" bIns="36576" rtlCol="0" anchor="ctr"/>
          <a:lstStyle>
            <a:lvl1pPr algn="r">
              <a:defRPr lang="en-US" sz="1200" i="0" smtClean="0">
                <a:solidFill>
                  <a:schemeClr val="bg1">
                    <a:lumMod val="75000"/>
                  </a:schemeClr>
                </a:solidFill>
                <a:latin typeface="Georgia" pitchFamily="18" charset="0"/>
              </a:defRPr>
            </a:lvl1pPr>
          </a:lstStyle>
          <a:p>
            <a:fld id="{19AB4E72-7858-48F1-A40D-12FF09E4BFB8}" type="slidenum">
              <a:rPr lang="en-GB" smtClean="0"/>
              <a:pPr/>
              <a:t>‹Nº›</a:t>
            </a:fld>
            <a:endParaRPr lang="en-GB"/>
          </a:p>
        </p:txBody>
      </p:sp>
      <p:sp>
        <p:nvSpPr>
          <p:cNvPr id="3" name="Date Placeholder 2"/>
          <p:cNvSpPr>
            <a:spLocks noGrp="1"/>
          </p:cNvSpPr>
          <p:nvPr>
            <p:ph type="dt" sz="half" idx="2"/>
          </p:nvPr>
        </p:nvSpPr>
        <p:spPr>
          <a:xfrm>
            <a:off x="33334" y="5060852"/>
            <a:ext cx="452438" cy="65358"/>
          </a:xfrm>
          <a:prstGeom prst="rect">
            <a:avLst/>
          </a:prstGeom>
        </p:spPr>
        <p:txBody>
          <a:bodyPr vert="horz" wrap="none" lIns="0" tIns="45720" rIns="0" bIns="45720" rtlCol="0" anchor="ctr"/>
          <a:lstStyle>
            <a:lvl1pPr algn="ctr">
              <a:defRPr lang="en-US" sz="600" i="0" kern="1200" smtClean="0">
                <a:solidFill>
                  <a:schemeClr val="bg1">
                    <a:lumMod val="75000"/>
                  </a:schemeClr>
                </a:solidFill>
                <a:latin typeface="Georgia" pitchFamily="18" charset="0"/>
                <a:ea typeface="+mn-ea"/>
                <a:cs typeface="+mn-cs"/>
              </a:defRPr>
            </a:lvl1pPr>
          </a:lstStyle>
          <a:p>
            <a:endParaRPr lang="en-GB"/>
          </a:p>
        </p:txBody>
      </p:sp>
      <p:cxnSp>
        <p:nvCxnSpPr>
          <p:cNvPr id="24" name="Straight Connector 23"/>
          <p:cNvCxnSpPr/>
          <p:nvPr userDrawn="1"/>
        </p:nvCxnSpPr>
        <p:spPr>
          <a:xfrm>
            <a:off x="343366" y="4801146"/>
            <a:ext cx="8460000" cy="0"/>
          </a:xfrm>
          <a:prstGeom prst="line">
            <a:avLst/>
          </a:prstGeom>
          <a:ln w="12700">
            <a:solidFill>
              <a:schemeClr val="tx1">
                <a:lumMod val="75000"/>
                <a:lumOff val="25000"/>
              </a:schemeClr>
            </a:solidFill>
            <a:miter lim="800000"/>
          </a:ln>
        </p:spPr>
        <p:style>
          <a:lnRef idx="1">
            <a:schemeClr val="accent1"/>
          </a:lnRef>
          <a:fillRef idx="0">
            <a:schemeClr val="accent1"/>
          </a:fillRef>
          <a:effectRef idx="0">
            <a:schemeClr val="accent1"/>
          </a:effectRef>
          <a:fontRef idx="minor">
            <a:schemeClr val="tx1"/>
          </a:fontRef>
        </p:style>
      </p:cxnSp>
      <p:sp>
        <p:nvSpPr>
          <p:cNvPr id="47" name="Footer Placeholder 6"/>
          <p:cNvSpPr>
            <a:spLocks noGrp="1"/>
          </p:cNvSpPr>
          <p:nvPr>
            <p:ph type="ftr" sz="quarter" idx="3"/>
          </p:nvPr>
        </p:nvSpPr>
        <p:spPr>
          <a:xfrm>
            <a:off x="608553" y="4836662"/>
            <a:ext cx="3973117" cy="311601"/>
          </a:xfrm>
          <a:prstGeom prst="rect">
            <a:avLst/>
          </a:prstGeom>
        </p:spPr>
        <p:txBody>
          <a:bodyPr lIns="0" rIns="0" bIns="0" anchor="ctr"/>
          <a:lstStyle>
            <a:lvl1pPr>
              <a:defRPr sz="600">
                <a:solidFill>
                  <a:schemeClr val="bg1">
                    <a:lumMod val="75000"/>
                  </a:schemeClr>
                </a:solidFill>
                <a:latin typeface="+mj-lt"/>
              </a:defRPr>
            </a:lvl1pPr>
          </a:lstStyle>
          <a:p>
            <a:endParaRPr lang="pt-BR" dirty="0"/>
          </a:p>
        </p:txBody>
      </p:sp>
      <p:grpSp>
        <p:nvGrpSpPr>
          <p:cNvPr id="22" name="Group 21"/>
          <p:cNvGrpSpPr/>
          <p:nvPr userDrawn="1"/>
        </p:nvGrpSpPr>
        <p:grpSpPr>
          <a:xfrm>
            <a:off x="7686461" y="4906654"/>
            <a:ext cx="1124815" cy="151147"/>
            <a:chOff x="7686461" y="4581466"/>
            <a:chExt cx="1124815" cy="151147"/>
          </a:xfrm>
        </p:grpSpPr>
        <p:sp>
          <p:nvSpPr>
            <p:cNvPr id="23"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5"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6"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7"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8"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9"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0"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1"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2"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3"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4"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5"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6"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7"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8"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07734337"/>
      </p:ext>
    </p:extLst>
  </p:cSld>
  <p:clrMap bg1="lt1" tx1="dk1" bg2="lt2" tx2="dk2" accent1="accent1" accent2="accent2" accent3="accent3" accent4="accent4" accent5="accent5" accent6="accent6" hlink="hlink" folHlink="folHlink"/>
  <p:sldLayoutIdLst>
    <p:sldLayoutId id="2147484052" r:id="rId1"/>
    <p:sldLayoutId id="2147484054" r:id="rId2"/>
  </p:sldLayoutIdLst>
  <p:timing>
    <p:tnLst>
      <p:par>
        <p:cTn id="1" dur="indefinite" restart="never" nodeType="tmRoot"/>
      </p:par>
    </p:tnLst>
  </p:timing>
  <p:hf hdr="0" dt="0"/>
  <p:txStyles>
    <p:titleStyle>
      <a:lvl1pPr algn="l" defTabSz="914400" rtl="0" eaLnBrk="1" latinLnBrk="0" hangingPunct="1">
        <a:spcBef>
          <a:spcPct val="0"/>
        </a:spcBef>
        <a:buNone/>
        <a:defRPr lang="en-US" sz="2800" i="0" kern="1200" baseline="0" dirty="0">
          <a:solidFill>
            <a:schemeClr val="tx1">
              <a:lumMod val="75000"/>
              <a:lumOff val="25000"/>
            </a:schemeClr>
          </a:solidFill>
          <a:latin typeface="Georgia" pitchFamily="18" charset="0"/>
          <a:ea typeface="+mj-ea"/>
          <a:cs typeface="+mj-cs"/>
        </a:defRPr>
      </a:lvl1pPr>
    </p:titleStyle>
    <p:bodyStyle>
      <a:lvl1pPr marL="228600" indent="-228600" algn="l" defTabSz="914400" rtl="0" eaLnBrk="1" latinLnBrk="0" hangingPunct="1">
        <a:spcBef>
          <a:spcPct val="20000"/>
        </a:spcBef>
        <a:buClr>
          <a:schemeClr val="accent1"/>
        </a:buClr>
        <a:buSzPct val="99000"/>
        <a:buFont typeface="Arial" pitchFamily="34" charset="0"/>
        <a:buChar char="•"/>
        <a:defRPr lang="en-US" sz="20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1pPr>
      <a:lvl2pPr marL="400050" indent="-171450" algn="l" defTabSz="914400" rtl="0" eaLnBrk="1" latinLnBrk="0" hangingPunct="1">
        <a:spcBef>
          <a:spcPct val="20000"/>
        </a:spcBef>
        <a:buClr>
          <a:schemeClr val="accent1"/>
        </a:buClr>
        <a:buSzPct val="99000"/>
        <a:buFont typeface="Arial" pitchFamily="34" charset="0"/>
        <a:buChar char="•"/>
        <a:defRPr lang="en-US" sz="16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2pPr>
      <a:lvl3pPr marL="571500" indent="-171450" algn="l" defTabSz="914400" rtl="0" eaLnBrk="1" latinLnBrk="0" hangingPunct="1">
        <a:spcBef>
          <a:spcPct val="20000"/>
        </a:spcBef>
        <a:buClr>
          <a:schemeClr val="accent1"/>
        </a:buClr>
        <a:buSzPct val="99000"/>
        <a:buFont typeface="Arial" pitchFamily="34" charset="0"/>
        <a:buChar char="•"/>
        <a:defRPr lang="en-US" sz="16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3pPr>
      <a:lvl4pPr marL="742950" indent="-171450" algn="l" defTabSz="914400" rtl="0" eaLnBrk="1" latinLnBrk="0" hangingPunct="1">
        <a:spcBef>
          <a:spcPct val="20000"/>
        </a:spcBef>
        <a:buClr>
          <a:schemeClr val="accent1"/>
        </a:buClr>
        <a:buSzPct val="99000"/>
        <a:buFont typeface="Arial" pitchFamily="34" charset="0"/>
        <a:buChar char="•"/>
        <a:tabLst/>
        <a:defRPr lang="en-US" sz="16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4pPr>
      <a:lvl5pPr marL="914400" indent="-171450" algn="l" defTabSz="914400" rtl="0" eaLnBrk="1" latinLnBrk="0" hangingPunct="1">
        <a:spcBef>
          <a:spcPct val="20000"/>
        </a:spcBef>
        <a:buClr>
          <a:schemeClr val="accent1"/>
        </a:buClr>
        <a:buSzPct val="99000"/>
        <a:buFont typeface="Arial" pitchFamily="34" charset="0"/>
        <a:buChar char="•"/>
        <a:defRPr lang="en-US" sz="1600" i="0" kern="1200" dirty="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0" y="4849795"/>
            <a:ext cx="474480" cy="298467"/>
          </a:xfrm>
          <a:prstGeom prst="rect">
            <a:avLst/>
          </a:prstGeom>
        </p:spPr>
        <p:txBody>
          <a:bodyPr vert="horz" lIns="91440" tIns="0" rIns="91440" bIns="36576" rtlCol="0" anchor="ctr"/>
          <a:lstStyle>
            <a:lvl1pPr algn="r">
              <a:defRPr lang="en-US" sz="1200" i="0" smtClean="0">
                <a:solidFill>
                  <a:schemeClr val="bg1">
                    <a:lumMod val="75000"/>
                  </a:schemeClr>
                </a:solidFill>
                <a:latin typeface="Georgia" pitchFamily="18" charset="0"/>
              </a:defRPr>
            </a:lvl1pPr>
          </a:lstStyle>
          <a:p>
            <a:fld id="{19AB4E72-7858-48F1-A40D-12FF09E4BFB8}" type="slidenum">
              <a:rPr lang="en-GB" smtClean="0"/>
              <a:pPr/>
              <a:t>‹Nº›</a:t>
            </a:fld>
            <a:endParaRPr lang="en-GB"/>
          </a:p>
        </p:txBody>
      </p:sp>
      <p:sp>
        <p:nvSpPr>
          <p:cNvPr id="3" name="Date Placeholder 2"/>
          <p:cNvSpPr>
            <a:spLocks noGrp="1"/>
          </p:cNvSpPr>
          <p:nvPr>
            <p:ph type="dt" sz="half" idx="2"/>
          </p:nvPr>
        </p:nvSpPr>
        <p:spPr>
          <a:xfrm>
            <a:off x="33334" y="5060852"/>
            <a:ext cx="452438" cy="65358"/>
          </a:xfrm>
          <a:prstGeom prst="rect">
            <a:avLst/>
          </a:prstGeom>
        </p:spPr>
        <p:txBody>
          <a:bodyPr vert="horz" wrap="none" lIns="0" tIns="45720" rIns="0" bIns="45720" rtlCol="0" anchor="ctr"/>
          <a:lstStyle>
            <a:lvl1pPr algn="ctr">
              <a:defRPr lang="en-US" sz="600" i="0" kern="1200" smtClean="0">
                <a:solidFill>
                  <a:schemeClr val="bg1">
                    <a:lumMod val="75000"/>
                  </a:schemeClr>
                </a:solidFill>
                <a:latin typeface="Georgia" pitchFamily="18" charset="0"/>
                <a:ea typeface="+mn-ea"/>
                <a:cs typeface="+mn-cs"/>
              </a:defRPr>
            </a:lvl1pPr>
          </a:lstStyle>
          <a:p>
            <a:endParaRPr lang="en-GB"/>
          </a:p>
        </p:txBody>
      </p:sp>
      <p:cxnSp>
        <p:nvCxnSpPr>
          <p:cNvPr id="24" name="Straight Connector 23"/>
          <p:cNvCxnSpPr/>
          <p:nvPr userDrawn="1"/>
        </p:nvCxnSpPr>
        <p:spPr>
          <a:xfrm>
            <a:off x="343366" y="4801146"/>
            <a:ext cx="8460000" cy="0"/>
          </a:xfrm>
          <a:prstGeom prst="line">
            <a:avLst/>
          </a:prstGeom>
          <a:ln w="12700">
            <a:solidFill>
              <a:schemeClr val="tx1">
                <a:lumMod val="75000"/>
                <a:lumOff val="25000"/>
              </a:schemeClr>
            </a:solidFill>
            <a:miter lim="800000"/>
          </a:ln>
        </p:spPr>
        <p:style>
          <a:lnRef idx="1">
            <a:schemeClr val="accent1"/>
          </a:lnRef>
          <a:fillRef idx="0">
            <a:schemeClr val="accent1"/>
          </a:fillRef>
          <a:effectRef idx="0">
            <a:schemeClr val="accent1"/>
          </a:effectRef>
          <a:fontRef idx="minor">
            <a:schemeClr val="tx1"/>
          </a:fontRef>
        </p:style>
      </p:cxnSp>
      <p:sp>
        <p:nvSpPr>
          <p:cNvPr id="47" name="Footer Placeholder 6"/>
          <p:cNvSpPr>
            <a:spLocks noGrp="1"/>
          </p:cNvSpPr>
          <p:nvPr>
            <p:ph type="ftr" sz="quarter" idx="3"/>
          </p:nvPr>
        </p:nvSpPr>
        <p:spPr>
          <a:xfrm>
            <a:off x="608553" y="4836662"/>
            <a:ext cx="3973117" cy="311601"/>
          </a:xfrm>
          <a:prstGeom prst="rect">
            <a:avLst/>
          </a:prstGeom>
        </p:spPr>
        <p:txBody>
          <a:bodyPr lIns="0" rIns="0" bIns="0" anchor="ctr"/>
          <a:lstStyle>
            <a:lvl1pPr>
              <a:defRPr sz="600">
                <a:solidFill>
                  <a:schemeClr val="bg1">
                    <a:lumMod val="75000"/>
                  </a:schemeClr>
                </a:solidFill>
                <a:latin typeface="+mj-lt"/>
              </a:defRPr>
            </a:lvl1pPr>
          </a:lstStyle>
          <a:p>
            <a:endParaRPr lang="pt-BR" dirty="0"/>
          </a:p>
        </p:txBody>
      </p:sp>
      <p:grpSp>
        <p:nvGrpSpPr>
          <p:cNvPr id="45" name="Group 44"/>
          <p:cNvGrpSpPr/>
          <p:nvPr userDrawn="1"/>
        </p:nvGrpSpPr>
        <p:grpSpPr>
          <a:xfrm>
            <a:off x="7686461" y="4906654"/>
            <a:ext cx="1124815" cy="151147"/>
            <a:chOff x="7686461" y="4581466"/>
            <a:chExt cx="1124815" cy="151147"/>
          </a:xfrm>
        </p:grpSpPr>
        <p:sp>
          <p:nvSpPr>
            <p:cNvPr id="70"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71"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72"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73"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74"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75"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76"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77"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78"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79"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80"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81"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82"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83"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84"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770109917"/>
      </p:ext>
    </p:extLst>
  </p:cSld>
  <p:clrMap bg1="lt1" tx1="dk1" bg2="lt2" tx2="dk2" accent1="accent1" accent2="accent2" accent3="accent3" accent4="accent4" accent5="accent5" accent6="accent6" hlink="hlink" folHlink="folHlink"/>
  <p:sldLayoutIdLst>
    <p:sldLayoutId id="2147484045" r:id="rId1"/>
    <p:sldLayoutId id="2147484046" r:id="rId2"/>
  </p:sldLayoutIdLst>
  <p:timing>
    <p:tnLst>
      <p:par>
        <p:cTn id="1" dur="indefinite" restart="never" nodeType="tmRoot"/>
      </p:par>
    </p:tnLst>
  </p:timing>
  <p:hf hdr="0" dt="0"/>
  <p:txStyles>
    <p:titleStyle>
      <a:lvl1pPr algn="l" defTabSz="914400" rtl="0" eaLnBrk="1" latinLnBrk="0" hangingPunct="1">
        <a:spcBef>
          <a:spcPct val="0"/>
        </a:spcBef>
        <a:buNone/>
        <a:defRPr lang="en-US" sz="2800" i="0" kern="1200" baseline="0" dirty="0">
          <a:solidFill>
            <a:schemeClr val="tx1">
              <a:lumMod val="75000"/>
              <a:lumOff val="25000"/>
            </a:schemeClr>
          </a:solidFill>
          <a:latin typeface="Georgia" pitchFamily="18" charset="0"/>
          <a:ea typeface="+mj-ea"/>
          <a:cs typeface="+mj-cs"/>
        </a:defRPr>
      </a:lvl1pPr>
    </p:titleStyle>
    <p:bodyStyle>
      <a:lvl1pPr marL="228600" indent="-228600" algn="l" defTabSz="914400" rtl="0" eaLnBrk="1" latinLnBrk="0" hangingPunct="1">
        <a:spcBef>
          <a:spcPct val="20000"/>
        </a:spcBef>
        <a:buClr>
          <a:schemeClr val="accent1"/>
        </a:buClr>
        <a:buSzPct val="99000"/>
        <a:buFont typeface="Arial" pitchFamily="34" charset="0"/>
        <a:buChar char="•"/>
        <a:defRPr lang="en-US" sz="20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1pPr>
      <a:lvl2pPr marL="400050" indent="-171450" algn="l" defTabSz="914400" rtl="0" eaLnBrk="1" latinLnBrk="0" hangingPunct="1">
        <a:spcBef>
          <a:spcPct val="20000"/>
        </a:spcBef>
        <a:buClr>
          <a:schemeClr val="accent1"/>
        </a:buClr>
        <a:buSzPct val="99000"/>
        <a:buFont typeface="Arial" pitchFamily="34" charset="0"/>
        <a:buChar char="•"/>
        <a:defRPr lang="en-US" sz="16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2pPr>
      <a:lvl3pPr marL="571500" indent="-171450" algn="l" defTabSz="914400" rtl="0" eaLnBrk="1" latinLnBrk="0" hangingPunct="1">
        <a:spcBef>
          <a:spcPct val="20000"/>
        </a:spcBef>
        <a:buClr>
          <a:schemeClr val="accent1"/>
        </a:buClr>
        <a:buSzPct val="99000"/>
        <a:buFont typeface="Arial" pitchFamily="34" charset="0"/>
        <a:buChar char="•"/>
        <a:defRPr lang="en-US" sz="16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3pPr>
      <a:lvl4pPr marL="742950" indent="-171450" algn="l" defTabSz="914400" rtl="0" eaLnBrk="1" latinLnBrk="0" hangingPunct="1">
        <a:spcBef>
          <a:spcPct val="20000"/>
        </a:spcBef>
        <a:buClr>
          <a:schemeClr val="accent1"/>
        </a:buClr>
        <a:buSzPct val="99000"/>
        <a:buFont typeface="Arial" pitchFamily="34" charset="0"/>
        <a:buChar char="•"/>
        <a:tabLst/>
        <a:defRPr lang="en-US" sz="16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4pPr>
      <a:lvl5pPr marL="914400" indent="-171450" algn="l" defTabSz="914400" rtl="0" eaLnBrk="1" latinLnBrk="0" hangingPunct="1">
        <a:spcBef>
          <a:spcPct val="20000"/>
        </a:spcBef>
        <a:buClr>
          <a:schemeClr val="accent1"/>
        </a:buClr>
        <a:buSzPct val="99000"/>
        <a:buFont typeface="Arial" pitchFamily="34" charset="0"/>
        <a:buChar char="•"/>
        <a:defRPr lang="en-US" sz="1600" i="0" kern="1200" dirty="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0" y="4849795"/>
            <a:ext cx="474480" cy="298467"/>
          </a:xfrm>
          <a:prstGeom prst="rect">
            <a:avLst/>
          </a:prstGeom>
        </p:spPr>
        <p:txBody>
          <a:bodyPr vert="horz" lIns="91440" tIns="0" rIns="91440" bIns="36576" rtlCol="0" anchor="ctr"/>
          <a:lstStyle>
            <a:lvl1pPr algn="r">
              <a:defRPr lang="en-US" sz="1200" i="0" smtClean="0">
                <a:solidFill>
                  <a:schemeClr val="bg1">
                    <a:lumMod val="75000"/>
                  </a:schemeClr>
                </a:solidFill>
                <a:latin typeface="Georgia" pitchFamily="18" charset="0"/>
              </a:defRPr>
            </a:lvl1pPr>
          </a:lstStyle>
          <a:p>
            <a:fld id="{19AB4E72-7858-48F1-A40D-12FF09E4BFB8}" type="slidenum">
              <a:rPr lang="en-GB" smtClean="0"/>
              <a:pPr/>
              <a:t>‹Nº›</a:t>
            </a:fld>
            <a:endParaRPr lang="en-GB"/>
          </a:p>
        </p:txBody>
      </p:sp>
      <p:sp>
        <p:nvSpPr>
          <p:cNvPr id="3" name="Date Placeholder 2"/>
          <p:cNvSpPr>
            <a:spLocks noGrp="1"/>
          </p:cNvSpPr>
          <p:nvPr>
            <p:ph type="dt" sz="half" idx="2"/>
          </p:nvPr>
        </p:nvSpPr>
        <p:spPr>
          <a:xfrm>
            <a:off x="33334" y="5060852"/>
            <a:ext cx="452438" cy="65358"/>
          </a:xfrm>
          <a:prstGeom prst="rect">
            <a:avLst/>
          </a:prstGeom>
        </p:spPr>
        <p:txBody>
          <a:bodyPr vert="horz" wrap="none" lIns="0" tIns="45720" rIns="0" bIns="45720" rtlCol="0" anchor="ctr"/>
          <a:lstStyle>
            <a:lvl1pPr algn="ctr">
              <a:defRPr lang="en-US" sz="600" i="0" kern="1200" smtClean="0">
                <a:solidFill>
                  <a:schemeClr val="bg1">
                    <a:lumMod val="75000"/>
                  </a:schemeClr>
                </a:solidFill>
                <a:latin typeface="Georgia" pitchFamily="18" charset="0"/>
                <a:ea typeface="+mn-ea"/>
                <a:cs typeface="+mn-cs"/>
              </a:defRPr>
            </a:lvl1pPr>
          </a:lstStyle>
          <a:p>
            <a:endParaRPr lang="en-GB"/>
          </a:p>
        </p:txBody>
      </p:sp>
      <p:cxnSp>
        <p:nvCxnSpPr>
          <p:cNvPr id="24" name="Straight Connector 23"/>
          <p:cNvCxnSpPr/>
          <p:nvPr userDrawn="1"/>
        </p:nvCxnSpPr>
        <p:spPr>
          <a:xfrm>
            <a:off x="343366" y="4801146"/>
            <a:ext cx="8460000" cy="0"/>
          </a:xfrm>
          <a:prstGeom prst="line">
            <a:avLst/>
          </a:prstGeom>
          <a:ln w="12700">
            <a:solidFill>
              <a:schemeClr val="tx1">
                <a:lumMod val="75000"/>
                <a:lumOff val="25000"/>
              </a:schemeClr>
            </a:solidFill>
            <a:miter lim="800000"/>
          </a:ln>
        </p:spPr>
        <p:style>
          <a:lnRef idx="1">
            <a:schemeClr val="accent1"/>
          </a:lnRef>
          <a:fillRef idx="0">
            <a:schemeClr val="accent1"/>
          </a:fillRef>
          <a:effectRef idx="0">
            <a:schemeClr val="accent1"/>
          </a:effectRef>
          <a:fontRef idx="minor">
            <a:schemeClr val="tx1"/>
          </a:fontRef>
        </p:style>
      </p:cxnSp>
      <p:sp>
        <p:nvSpPr>
          <p:cNvPr id="47" name="Footer Placeholder 6"/>
          <p:cNvSpPr>
            <a:spLocks noGrp="1"/>
          </p:cNvSpPr>
          <p:nvPr>
            <p:ph type="ftr" sz="quarter" idx="3"/>
          </p:nvPr>
        </p:nvSpPr>
        <p:spPr>
          <a:xfrm>
            <a:off x="608553" y="4836662"/>
            <a:ext cx="3973117" cy="311601"/>
          </a:xfrm>
          <a:prstGeom prst="rect">
            <a:avLst/>
          </a:prstGeom>
        </p:spPr>
        <p:txBody>
          <a:bodyPr lIns="0" rIns="0" bIns="0" anchor="ctr"/>
          <a:lstStyle>
            <a:lvl1pPr>
              <a:defRPr sz="600">
                <a:solidFill>
                  <a:schemeClr val="bg1">
                    <a:lumMod val="75000"/>
                  </a:schemeClr>
                </a:solidFill>
                <a:latin typeface="+mj-lt"/>
              </a:defRPr>
            </a:lvl1pPr>
          </a:lstStyle>
          <a:p>
            <a:endParaRPr lang="pt-BR" dirty="0"/>
          </a:p>
        </p:txBody>
      </p:sp>
      <p:grpSp>
        <p:nvGrpSpPr>
          <p:cNvPr id="39" name="Group 38"/>
          <p:cNvGrpSpPr/>
          <p:nvPr userDrawn="1"/>
        </p:nvGrpSpPr>
        <p:grpSpPr>
          <a:xfrm>
            <a:off x="7686461" y="4906654"/>
            <a:ext cx="1124815" cy="151147"/>
            <a:chOff x="7686461" y="4581466"/>
            <a:chExt cx="1124815" cy="151147"/>
          </a:xfrm>
        </p:grpSpPr>
        <p:sp>
          <p:nvSpPr>
            <p:cNvPr id="40"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1"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2"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3"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4"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5"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6"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8"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9"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0"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1"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2"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3"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4"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5"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72968903"/>
      </p:ext>
    </p:extLst>
  </p:cSld>
  <p:clrMap bg1="lt1" tx1="dk1" bg2="lt2" tx2="dk2" accent1="accent1" accent2="accent2" accent3="accent3" accent4="accent4" accent5="accent5" accent6="accent6" hlink="hlink" folHlink="folHlink"/>
  <p:sldLayoutIdLst>
    <p:sldLayoutId id="2147484062" r:id="rId1"/>
    <p:sldLayoutId id="2147484063" r:id="rId2"/>
    <p:sldLayoutId id="2147484064" r:id="rId3"/>
  </p:sldLayoutIdLst>
  <p:timing>
    <p:tnLst>
      <p:par>
        <p:cTn id="1" dur="indefinite" restart="never" nodeType="tmRoot"/>
      </p:par>
    </p:tnLst>
  </p:timing>
  <p:hf hdr="0" dt="0"/>
  <p:txStyles>
    <p:titleStyle>
      <a:lvl1pPr algn="l" defTabSz="914400" rtl="0" eaLnBrk="1" latinLnBrk="0" hangingPunct="1">
        <a:spcBef>
          <a:spcPct val="0"/>
        </a:spcBef>
        <a:buNone/>
        <a:defRPr lang="en-US" sz="2800" i="0" kern="1200" baseline="0" dirty="0">
          <a:solidFill>
            <a:schemeClr val="tx1">
              <a:lumMod val="75000"/>
              <a:lumOff val="25000"/>
            </a:schemeClr>
          </a:solidFill>
          <a:latin typeface="Georgia" pitchFamily="18" charset="0"/>
          <a:ea typeface="+mj-ea"/>
          <a:cs typeface="+mj-cs"/>
        </a:defRPr>
      </a:lvl1pPr>
    </p:titleStyle>
    <p:bodyStyle>
      <a:lvl1pPr marL="228600" indent="-228600" algn="l" defTabSz="914400" rtl="0" eaLnBrk="1" latinLnBrk="0" hangingPunct="1">
        <a:spcBef>
          <a:spcPct val="20000"/>
        </a:spcBef>
        <a:buClr>
          <a:schemeClr val="accent1"/>
        </a:buClr>
        <a:buSzPct val="99000"/>
        <a:buFont typeface="Arial" pitchFamily="34" charset="0"/>
        <a:buChar char="•"/>
        <a:defRPr lang="en-US" sz="20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1pPr>
      <a:lvl2pPr marL="400050" indent="-171450" algn="l" defTabSz="914400" rtl="0" eaLnBrk="1" latinLnBrk="0" hangingPunct="1">
        <a:spcBef>
          <a:spcPct val="20000"/>
        </a:spcBef>
        <a:buClr>
          <a:schemeClr val="accent1"/>
        </a:buClr>
        <a:buSzPct val="99000"/>
        <a:buFont typeface="Arial" pitchFamily="34" charset="0"/>
        <a:buChar char="•"/>
        <a:defRPr lang="en-US" sz="16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2pPr>
      <a:lvl3pPr marL="571500" indent="-171450" algn="l" defTabSz="914400" rtl="0" eaLnBrk="1" latinLnBrk="0" hangingPunct="1">
        <a:spcBef>
          <a:spcPct val="20000"/>
        </a:spcBef>
        <a:buClr>
          <a:schemeClr val="accent1"/>
        </a:buClr>
        <a:buSzPct val="99000"/>
        <a:buFont typeface="Arial" pitchFamily="34" charset="0"/>
        <a:buChar char="•"/>
        <a:defRPr lang="en-US" sz="16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3pPr>
      <a:lvl4pPr marL="742950" indent="-171450" algn="l" defTabSz="914400" rtl="0" eaLnBrk="1" latinLnBrk="0" hangingPunct="1">
        <a:spcBef>
          <a:spcPct val="20000"/>
        </a:spcBef>
        <a:buClr>
          <a:schemeClr val="accent1"/>
        </a:buClr>
        <a:buSzPct val="99000"/>
        <a:buFont typeface="Arial" pitchFamily="34" charset="0"/>
        <a:buChar char="•"/>
        <a:tabLst/>
        <a:defRPr lang="en-US" sz="16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4pPr>
      <a:lvl5pPr marL="914400" indent="-171450" algn="l" defTabSz="914400" rtl="0" eaLnBrk="1" latinLnBrk="0" hangingPunct="1">
        <a:spcBef>
          <a:spcPct val="20000"/>
        </a:spcBef>
        <a:buClr>
          <a:schemeClr val="accent1"/>
        </a:buClr>
        <a:buSzPct val="99000"/>
        <a:buFont typeface="Arial" pitchFamily="34" charset="0"/>
        <a:buChar char="•"/>
        <a:defRPr lang="en-US" sz="1600" i="0" kern="1200" dirty="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0" y="4849795"/>
            <a:ext cx="474480" cy="298467"/>
          </a:xfrm>
          <a:prstGeom prst="rect">
            <a:avLst/>
          </a:prstGeom>
        </p:spPr>
        <p:txBody>
          <a:bodyPr vert="horz" lIns="91440" tIns="0" rIns="91440" bIns="36576" rtlCol="0" anchor="ctr"/>
          <a:lstStyle>
            <a:lvl1pPr algn="r">
              <a:defRPr lang="en-US" sz="1200" i="0" smtClean="0">
                <a:solidFill>
                  <a:schemeClr val="bg1">
                    <a:lumMod val="75000"/>
                  </a:schemeClr>
                </a:solidFill>
                <a:latin typeface="Georgia" pitchFamily="18" charset="0"/>
              </a:defRPr>
            </a:lvl1pPr>
          </a:lstStyle>
          <a:p>
            <a:fld id="{19AB4E72-7858-48F1-A40D-12FF09E4BFB8}" type="slidenum">
              <a:rPr lang="en-GB" smtClean="0"/>
              <a:pPr/>
              <a:t>‹Nº›</a:t>
            </a:fld>
            <a:endParaRPr lang="en-GB"/>
          </a:p>
        </p:txBody>
      </p:sp>
      <p:sp>
        <p:nvSpPr>
          <p:cNvPr id="3" name="Date Placeholder 2"/>
          <p:cNvSpPr>
            <a:spLocks noGrp="1"/>
          </p:cNvSpPr>
          <p:nvPr>
            <p:ph type="dt" sz="half" idx="2"/>
          </p:nvPr>
        </p:nvSpPr>
        <p:spPr>
          <a:xfrm>
            <a:off x="33334" y="5060852"/>
            <a:ext cx="452438" cy="65358"/>
          </a:xfrm>
          <a:prstGeom prst="rect">
            <a:avLst/>
          </a:prstGeom>
        </p:spPr>
        <p:txBody>
          <a:bodyPr vert="horz" wrap="none" lIns="0" tIns="45720" rIns="0" bIns="45720" rtlCol="0" anchor="ctr"/>
          <a:lstStyle>
            <a:lvl1pPr algn="ctr">
              <a:defRPr lang="en-US" sz="600" i="0" kern="1200" smtClean="0">
                <a:solidFill>
                  <a:schemeClr val="bg1">
                    <a:lumMod val="75000"/>
                  </a:schemeClr>
                </a:solidFill>
                <a:latin typeface="Georgia" pitchFamily="18" charset="0"/>
                <a:ea typeface="+mn-ea"/>
                <a:cs typeface="+mn-cs"/>
              </a:defRPr>
            </a:lvl1pPr>
          </a:lstStyle>
          <a:p>
            <a:endParaRPr lang="en-GB"/>
          </a:p>
        </p:txBody>
      </p:sp>
      <p:cxnSp>
        <p:nvCxnSpPr>
          <p:cNvPr id="24" name="Straight Connector 23"/>
          <p:cNvCxnSpPr/>
          <p:nvPr userDrawn="1"/>
        </p:nvCxnSpPr>
        <p:spPr>
          <a:xfrm>
            <a:off x="343366" y="4801146"/>
            <a:ext cx="8460000" cy="0"/>
          </a:xfrm>
          <a:prstGeom prst="line">
            <a:avLst/>
          </a:prstGeom>
          <a:ln w="12700">
            <a:solidFill>
              <a:schemeClr val="tx1">
                <a:lumMod val="75000"/>
                <a:lumOff val="25000"/>
              </a:schemeClr>
            </a:solidFill>
            <a:miter lim="800000"/>
          </a:ln>
        </p:spPr>
        <p:style>
          <a:lnRef idx="1">
            <a:schemeClr val="accent1"/>
          </a:lnRef>
          <a:fillRef idx="0">
            <a:schemeClr val="accent1"/>
          </a:fillRef>
          <a:effectRef idx="0">
            <a:schemeClr val="accent1"/>
          </a:effectRef>
          <a:fontRef idx="minor">
            <a:schemeClr val="tx1"/>
          </a:fontRef>
        </p:style>
      </p:cxnSp>
      <p:sp>
        <p:nvSpPr>
          <p:cNvPr id="47" name="Footer Placeholder 6"/>
          <p:cNvSpPr>
            <a:spLocks noGrp="1"/>
          </p:cNvSpPr>
          <p:nvPr>
            <p:ph type="ftr" sz="quarter" idx="3"/>
          </p:nvPr>
        </p:nvSpPr>
        <p:spPr>
          <a:xfrm>
            <a:off x="608553" y="4836662"/>
            <a:ext cx="3973117" cy="311601"/>
          </a:xfrm>
          <a:prstGeom prst="rect">
            <a:avLst/>
          </a:prstGeom>
        </p:spPr>
        <p:txBody>
          <a:bodyPr lIns="0" rIns="0" bIns="0" anchor="ctr"/>
          <a:lstStyle>
            <a:lvl1pPr>
              <a:defRPr sz="600">
                <a:solidFill>
                  <a:schemeClr val="bg1">
                    <a:lumMod val="75000"/>
                  </a:schemeClr>
                </a:solidFill>
                <a:latin typeface="+mj-lt"/>
              </a:defRPr>
            </a:lvl1pPr>
          </a:lstStyle>
          <a:p>
            <a:endParaRPr lang="pt-BR" dirty="0"/>
          </a:p>
        </p:txBody>
      </p:sp>
      <p:grpSp>
        <p:nvGrpSpPr>
          <p:cNvPr id="39" name="Group 38"/>
          <p:cNvGrpSpPr/>
          <p:nvPr userDrawn="1"/>
        </p:nvGrpSpPr>
        <p:grpSpPr>
          <a:xfrm>
            <a:off x="7686461" y="4906654"/>
            <a:ext cx="1124815" cy="151147"/>
            <a:chOff x="7686461" y="4581466"/>
            <a:chExt cx="1124815" cy="151147"/>
          </a:xfrm>
        </p:grpSpPr>
        <p:sp>
          <p:nvSpPr>
            <p:cNvPr id="40"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1"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2"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3"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4"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5"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6"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8"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9"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0"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1"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2"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3"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4"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5"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978383191"/>
      </p:ext>
    </p:extLst>
  </p:cSld>
  <p:clrMap bg1="lt1" tx1="dk1" bg2="lt2" tx2="dk2" accent1="accent1" accent2="accent2" accent3="accent3" accent4="accent4" accent5="accent5" accent6="accent6" hlink="hlink" folHlink="folHlink"/>
  <p:sldLayoutIdLst>
    <p:sldLayoutId id="2147484059" r:id="rId1"/>
    <p:sldLayoutId id="2147484060" r:id="rId2"/>
  </p:sldLayoutIdLst>
  <p:timing>
    <p:tnLst>
      <p:par>
        <p:cTn id="1" dur="indefinite" restart="never" nodeType="tmRoot"/>
      </p:par>
    </p:tnLst>
  </p:timing>
  <p:hf hdr="0" dt="0"/>
  <p:txStyles>
    <p:titleStyle>
      <a:lvl1pPr algn="l" defTabSz="914400" rtl="0" eaLnBrk="1" latinLnBrk="0" hangingPunct="1">
        <a:spcBef>
          <a:spcPct val="0"/>
        </a:spcBef>
        <a:buNone/>
        <a:defRPr lang="en-US" sz="2800" i="0" kern="1200" baseline="0" dirty="0">
          <a:solidFill>
            <a:schemeClr val="tx1">
              <a:lumMod val="75000"/>
              <a:lumOff val="25000"/>
            </a:schemeClr>
          </a:solidFill>
          <a:latin typeface="Georgia" pitchFamily="18" charset="0"/>
          <a:ea typeface="+mj-ea"/>
          <a:cs typeface="+mj-cs"/>
        </a:defRPr>
      </a:lvl1pPr>
    </p:titleStyle>
    <p:bodyStyle>
      <a:lvl1pPr marL="228600" indent="-228600" algn="l" defTabSz="914400" rtl="0" eaLnBrk="1" latinLnBrk="0" hangingPunct="1">
        <a:spcBef>
          <a:spcPct val="20000"/>
        </a:spcBef>
        <a:buClr>
          <a:schemeClr val="accent1"/>
        </a:buClr>
        <a:buSzPct val="99000"/>
        <a:buFont typeface="Arial" pitchFamily="34" charset="0"/>
        <a:buChar char="•"/>
        <a:defRPr lang="en-US" sz="20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1pPr>
      <a:lvl2pPr marL="400050" indent="-171450" algn="l" defTabSz="914400" rtl="0" eaLnBrk="1" latinLnBrk="0" hangingPunct="1">
        <a:spcBef>
          <a:spcPct val="20000"/>
        </a:spcBef>
        <a:buClr>
          <a:schemeClr val="accent1"/>
        </a:buClr>
        <a:buSzPct val="99000"/>
        <a:buFont typeface="Arial" pitchFamily="34" charset="0"/>
        <a:buChar char="•"/>
        <a:defRPr lang="en-US" sz="16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2pPr>
      <a:lvl3pPr marL="571500" indent="-171450" algn="l" defTabSz="914400" rtl="0" eaLnBrk="1" latinLnBrk="0" hangingPunct="1">
        <a:spcBef>
          <a:spcPct val="20000"/>
        </a:spcBef>
        <a:buClr>
          <a:schemeClr val="accent1"/>
        </a:buClr>
        <a:buSzPct val="99000"/>
        <a:buFont typeface="Arial" pitchFamily="34" charset="0"/>
        <a:buChar char="•"/>
        <a:defRPr lang="en-US" sz="16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3pPr>
      <a:lvl4pPr marL="742950" indent="-171450" algn="l" defTabSz="914400" rtl="0" eaLnBrk="1" latinLnBrk="0" hangingPunct="1">
        <a:spcBef>
          <a:spcPct val="20000"/>
        </a:spcBef>
        <a:buClr>
          <a:schemeClr val="accent1"/>
        </a:buClr>
        <a:buSzPct val="99000"/>
        <a:buFont typeface="Arial" pitchFamily="34" charset="0"/>
        <a:buChar char="•"/>
        <a:tabLst/>
        <a:defRPr lang="en-US" sz="16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4pPr>
      <a:lvl5pPr marL="914400" indent="-171450" algn="l" defTabSz="914400" rtl="0" eaLnBrk="1" latinLnBrk="0" hangingPunct="1">
        <a:spcBef>
          <a:spcPct val="20000"/>
        </a:spcBef>
        <a:buClr>
          <a:schemeClr val="accent1"/>
        </a:buClr>
        <a:buSzPct val="99000"/>
        <a:buFont typeface="Arial" pitchFamily="34" charset="0"/>
        <a:buChar char="•"/>
        <a:defRPr lang="en-US" sz="1600" i="0" kern="1200" dirty="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0" y="4849795"/>
            <a:ext cx="474480" cy="298467"/>
          </a:xfrm>
          <a:prstGeom prst="rect">
            <a:avLst/>
          </a:prstGeom>
        </p:spPr>
        <p:txBody>
          <a:bodyPr vert="horz" lIns="91440" tIns="0" rIns="91440" bIns="36576" rtlCol="0" anchor="ctr"/>
          <a:lstStyle>
            <a:lvl1pPr algn="r">
              <a:defRPr lang="en-US" sz="1200" i="0" smtClean="0">
                <a:solidFill>
                  <a:schemeClr val="bg1">
                    <a:lumMod val="75000"/>
                  </a:schemeClr>
                </a:solidFill>
                <a:latin typeface="Georgia" pitchFamily="18" charset="0"/>
              </a:defRPr>
            </a:lvl1pPr>
          </a:lstStyle>
          <a:p>
            <a:fld id="{19AB4E72-7858-48F1-A40D-12FF09E4BFB8}" type="slidenum">
              <a:rPr lang="en-GB" smtClean="0"/>
              <a:pPr/>
              <a:t>‹Nº›</a:t>
            </a:fld>
            <a:endParaRPr lang="en-GB"/>
          </a:p>
        </p:txBody>
      </p:sp>
      <p:sp>
        <p:nvSpPr>
          <p:cNvPr id="3" name="Date Placeholder 2"/>
          <p:cNvSpPr>
            <a:spLocks noGrp="1"/>
          </p:cNvSpPr>
          <p:nvPr>
            <p:ph type="dt" sz="half" idx="2"/>
          </p:nvPr>
        </p:nvSpPr>
        <p:spPr>
          <a:xfrm>
            <a:off x="33334" y="5060852"/>
            <a:ext cx="452438" cy="65358"/>
          </a:xfrm>
          <a:prstGeom prst="rect">
            <a:avLst/>
          </a:prstGeom>
        </p:spPr>
        <p:txBody>
          <a:bodyPr vert="horz" wrap="none" lIns="0" tIns="45720" rIns="0" bIns="45720" rtlCol="0" anchor="ctr"/>
          <a:lstStyle>
            <a:lvl1pPr algn="ctr">
              <a:defRPr lang="en-US" sz="600" i="0" kern="1200" smtClean="0">
                <a:solidFill>
                  <a:schemeClr val="bg1">
                    <a:lumMod val="75000"/>
                  </a:schemeClr>
                </a:solidFill>
                <a:latin typeface="Georgia" pitchFamily="18" charset="0"/>
                <a:ea typeface="+mn-ea"/>
                <a:cs typeface="+mn-cs"/>
              </a:defRPr>
            </a:lvl1pPr>
          </a:lstStyle>
          <a:p>
            <a:endParaRPr lang="en-GB"/>
          </a:p>
        </p:txBody>
      </p:sp>
      <p:cxnSp>
        <p:nvCxnSpPr>
          <p:cNvPr id="24" name="Straight Connector 23"/>
          <p:cNvCxnSpPr/>
          <p:nvPr userDrawn="1"/>
        </p:nvCxnSpPr>
        <p:spPr>
          <a:xfrm>
            <a:off x="343366" y="4801146"/>
            <a:ext cx="8460000" cy="0"/>
          </a:xfrm>
          <a:prstGeom prst="line">
            <a:avLst/>
          </a:prstGeom>
          <a:ln w="12700">
            <a:solidFill>
              <a:schemeClr val="tx1">
                <a:lumMod val="75000"/>
                <a:lumOff val="25000"/>
              </a:schemeClr>
            </a:solidFill>
            <a:miter lim="800000"/>
          </a:ln>
        </p:spPr>
        <p:style>
          <a:lnRef idx="1">
            <a:schemeClr val="accent1"/>
          </a:lnRef>
          <a:fillRef idx="0">
            <a:schemeClr val="accent1"/>
          </a:fillRef>
          <a:effectRef idx="0">
            <a:schemeClr val="accent1"/>
          </a:effectRef>
          <a:fontRef idx="minor">
            <a:schemeClr val="tx1"/>
          </a:fontRef>
        </p:style>
      </p:cxnSp>
      <p:sp>
        <p:nvSpPr>
          <p:cNvPr id="47" name="Footer Placeholder 6"/>
          <p:cNvSpPr>
            <a:spLocks noGrp="1"/>
          </p:cNvSpPr>
          <p:nvPr>
            <p:ph type="ftr" sz="quarter" idx="3"/>
          </p:nvPr>
        </p:nvSpPr>
        <p:spPr>
          <a:xfrm>
            <a:off x="608553" y="4836662"/>
            <a:ext cx="3973117" cy="311601"/>
          </a:xfrm>
          <a:prstGeom prst="rect">
            <a:avLst/>
          </a:prstGeom>
        </p:spPr>
        <p:txBody>
          <a:bodyPr lIns="0" rIns="0" bIns="0" anchor="ctr"/>
          <a:lstStyle>
            <a:lvl1pPr>
              <a:defRPr sz="600">
                <a:solidFill>
                  <a:schemeClr val="bg1">
                    <a:lumMod val="75000"/>
                  </a:schemeClr>
                </a:solidFill>
                <a:latin typeface="+mj-lt"/>
              </a:defRPr>
            </a:lvl1pPr>
          </a:lstStyle>
          <a:p>
            <a:endParaRPr lang="pt-BR" dirty="0"/>
          </a:p>
        </p:txBody>
      </p:sp>
      <p:grpSp>
        <p:nvGrpSpPr>
          <p:cNvPr id="22" name="Group 21"/>
          <p:cNvGrpSpPr/>
          <p:nvPr userDrawn="1"/>
        </p:nvGrpSpPr>
        <p:grpSpPr>
          <a:xfrm>
            <a:off x="7686461" y="4906654"/>
            <a:ext cx="1124815" cy="151147"/>
            <a:chOff x="7686461" y="4581466"/>
            <a:chExt cx="1124815" cy="151147"/>
          </a:xfrm>
        </p:grpSpPr>
        <p:sp>
          <p:nvSpPr>
            <p:cNvPr id="23"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5"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6"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7"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8"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9"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0"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1"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2"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3"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4"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5"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6"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7"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8"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92786219"/>
      </p:ext>
    </p:extLst>
  </p:cSld>
  <p:clrMap bg1="lt1" tx1="dk1" bg2="lt2" tx2="dk2" accent1="accent1" accent2="accent2" accent3="accent3" accent4="accent4" accent5="accent5" accent6="accent6" hlink="hlink" folHlink="folHlink"/>
  <p:sldLayoutIdLst>
    <p:sldLayoutId id="2147484077" r:id="rId1"/>
    <p:sldLayoutId id="2147484078" r:id="rId2"/>
  </p:sldLayoutIdLst>
  <p:timing>
    <p:tnLst>
      <p:par>
        <p:cTn id="1" dur="indefinite" restart="never" nodeType="tmRoot"/>
      </p:par>
    </p:tnLst>
  </p:timing>
  <p:hf hdr="0" dt="0"/>
  <p:txStyles>
    <p:titleStyle>
      <a:lvl1pPr algn="l" defTabSz="914400" rtl="0" eaLnBrk="1" latinLnBrk="0" hangingPunct="1">
        <a:spcBef>
          <a:spcPct val="0"/>
        </a:spcBef>
        <a:buNone/>
        <a:defRPr lang="en-US" sz="2800" i="0" kern="1200" baseline="0" dirty="0">
          <a:solidFill>
            <a:schemeClr val="tx1">
              <a:lumMod val="75000"/>
              <a:lumOff val="25000"/>
            </a:schemeClr>
          </a:solidFill>
          <a:latin typeface="Georgia" pitchFamily="18" charset="0"/>
          <a:ea typeface="+mj-ea"/>
          <a:cs typeface="+mj-cs"/>
        </a:defRPr>
      </a:lvl1pPr>
    </p:titleStyle>
    <p:bodyStyle>
      <a:lvl1pPr marL="228600" indent="-228600" algn="l" defTabSz="914400" rtl="0" eaLnBrk="1" latinLnBrk="0" hangingPunct="1">
        <a:spcBef>
          <a:spcPct val="20000"/>
        </a:spcBef>
        <a:buClr>
          <a:schemeClr val="accent1"/>
        </a:buClr>
        <a:buSzPct val="99000"/>
        <a:buFont typeface="Arial" pitchFamily="34" charset="0"/>
        <a:buChar char="•"/>
        <a:defRPr lang="en-US" sz="20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1pPr>
      <a:lvl2pPr marL="400050" indent="-171450" algn="l" defTabSz="914400" rtl="0" eaLnBrk="1" latinLnBrk="0" hangingPunct="1">
        <a:spcBef>
          <a:spcPct val="20000"/>
        </a:spcBef>
        <a:buClr>
          <a:schemeClr val="accent1"/>
        </a:buClr>
        <a:buSzPct val="99000"/>
        <a:buFont typeface="Arial" pitchFamily="34" charset="0"/>
        <a:buChar char="•"/>
        <a:defRPr lang="en-US" sz="16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2pPr>
      <a:lvl3pPr marL="571500" indent="-171450" algn="l" defTabSz="914400" rtl="0" eaLnBrk="1" latinLnBrk="0" hangingPunct="1">
        <a:spcBef>
          <a:spcPct val="20000"/>
        </a:spcBef>
        <a:buClr>
          <a:schemeClr val="accent1"/>
        </a:buClr>
        <a:buSzPct val="99000"/>
        <a:buFont typeface="Arial" pitchFamily="34" charset="0"/>
        <a:buChar char="•"/>
        <a:defRPr lang="en-US" sz="16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3pPr>
      <a:lvl4pPr marL="742950" indent="-171450" algn="l" defTabSz="914400" rtl="0" eaLnBrk="1" latinLnBrk="0" hangingPunct="1">
        <a:spcBef>
          <a:spcPct val="20000"/>
        </a:spcBef>
        <a:buClr>
          <a:schemeClr val="accent1"/>
        </a:buClr>
        <a:buSzPct val="99000"/>
        <a:buFont typeface="Arial" pitchFamily="34" charset="0"/>
        <a:buChar char="•"/>
        <a:tabLst/>
        <a:defRPr lang="en-US" sz="16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4pPr>
      <a:lvl5pPr marL="914400" indent="-171450" algn="l" defTabSz="914400" rtl="0" eaLnBrk="1" latinLnBrk="0" hangingPunct="1">
        <a:spcBef>
          <a:spcPct val="20000"/>
        </a:spcBef>
        <a:buClr>
          <a:schemeClr val="accent1"/>
        </a:buClr>
        <a:buSzPct val="99000"/>
        <a:buFont typeface="Arial" pitchFamily="34" charset="0"/>
        <a:buChar char="•"/>
        <a:defRPr lang="en-US" sz="1600" i="0" kern="1200" dirty="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0" y="4849795"/>
            <a:ext cx="474480" cy="298467"/>
          </a:xfrm>
          <a:prstGeom prst="rect">
            <a:avLst/>
          </a:prstGeom>
        </p:spPr>
        <p:txBody>
          <a:bodyPr vert="horz" lIns="91440" tIns="0" rIns="91440" bIns="36576" rtlCol="0" anchor="ctr"/>
          <a:lstStyle>
            <a:lvl1pPr algn="r">
              <a:defRPr lang="en-US" sz="1200" i="0" smtClean="0">
                <a:solidFill>
                  <a:schemeClr val="bg1">
                    <a:lumMod val="75000"/>
                  </a:schemeClr>
                </a:solidFill>
                <a:latin typeface="Georgia" pitchFamily="18" charset="0"/>
              </a:defRPr>
            </a:lvl1pPr>
          </a:lstStyle>
          <a:p>
            <a:fld id="{19AB4E72-7858-48F1-A40D-12FF09E4BFB8}" type="slidenum">
              <a:rPr lang="en-GB" smtClean="0"/>
              <a:pPr/>
              <a:t>‹Nº›</a:t>
            </a:fld>
            <a:endParaRPr lang="en-GB"/>
          </a:p>
        </p:txBody>
      </p:sp>
      <p:sp>
        <p:nvSpPr>
          <p:cNvPr id="3" name="Date Placeholder 2"/>
          <p:cNvSpPr>
            <a:spLocks noGrp="1"/>
          </p:cNvSpPr>
          <p:nvPr>
            <p:ph type="dt" sz="half" idx="2"/>
          </p:nvPr>
        </p:nvSpPr>
        <p:spPr>
          <a:xfrm>
            <a:off x="33334" y="5060852"/>
            <a:ext cx="452438" cy="65358"/>
          </a:xfrm>
          <a:prstGeom prst="rect">
            <a:avLst/>
          </a:prstGeom>
        </p:spPr>
        <p:txBody>
          <a:bodyPr vert="horz" wrap="none" lIns="0" tIns="45720" rIns="0" bIns="45720" rtlCol="0" anchor="ctr"/>
          <a:lstStyle>
            <a:lvl1pPr algn="ctr">
              <a:defRPr lang="en-US" sz="600" i="0" kern="1200" smtClean="0">
                <a:solidFill>
                  <a:schemeClr val="bg1">
                    <a:lumMod val="75000"/>
                  </a:schemeClr>
                </a:solidFill>
                <a:latin typeface="Georgia" pitchFamily="18" charset="0"/>
                <a:ea typeface="+mn-ea"/>
                <a:cs typeface="+mn-cs"/>
              </a:defRPr>
            </a:lvl1pPr>
          </a:lstStyle>
          <a:p>
            <a:endParaRPr lang="en-GB"/>
          </a:p>
        </p:txBody>
      </p:sp>
      <p:cxnSp>
        <p:nvCxnSpPr>
          <p:cNvPr id="24" name="Straight Connector 23"/>
          <p:cNvCxnSpPr/>
          <p:nvPr userDrawn="1"/>
        </p:nvCxnSpPr>
        <p:spPr>
          <a:xfrm>
            <a:off x="343366" y="4801146"/>
            <a:ext cx="8460000" cy="0"/>
          </a:xfrm>
          <a:prstGeom prst="line">
            <a:avLst/>
          </a:prstGeom>
          <a:ln w="12700">
            <a:solidFill>
              <a:schemeClr val="tx1">
                <a:lumMod val="75000"/>
                <a:lumOff val="25000"/>
              </a:schemeClr>
            </a:solidFill>
            <a:miter lim="800000"/>
          </a:ln>
        </p:spPr>
        <p:style>
          <a:lnRef idx="1">
            <a:schemeClr val="accent1"/>
          </a:lnRef>
          <a:fillRef idx="0">
            <a:schemeClr val="accent1"/>
          </a:fillRef>
          <a:effectRef idx="0">
            <a:schemeClr val="accent1"/>
          </a:effectRef>
          <a:fontRef idx="minor">
            <a:schemeClr val="tx1"/>
          </a:fontRef>
        </p:style>
      </p:cxnSp>
      <p:sp>
        <p:nvSpPr>
          <p:cNvPr id="47" name="Footer Placeholder 6"/>
          <p:cNvSpPr>
            <a:spLocks noGrp="1"/>
          </p:cNvSpPr>
          <p:nvPr>
            <p:ph type="ftr" sz="quarter" idx="3"/>
          </p:nvPr>
        </p:nvSpPr>
        <p:spPr>
          <a:xfrm>
            <a:off x="608553" y="4836662"/>
            <a:ext cx="3973117" cy="311601"/>
          </a:xfrm>
          <a:prstGeom prst="rect">
            <a:avLst/>
          </a:prstGeom>
        </p:spPr>
        <p:txBody>
          <a:bodyPr lIns="0" rIns="0" bIns="0" anchor="ctr"/>
          <a:lstStyle>
            <a:lvl1pPr>
              <a:defRPr sz="600">
                <a:solidFill>
                  <a:schemeClr val="bg1">
                    <a:lumMod val="75000"/>
                  </a:schemeClr>
                </a:solidFill>
                <a:latin typeface="+mj-lt"/>
              </a:defRPr>
            </a:lvl1pPr>
          </a:lstStyle>
          <a:p>
            <a:endParaRPr lang="pt-BR" dirty="0"/>
          </a:p>
        </p:txBody>
      </p:sp>
      <p:grpSp>
        <p:nvGrpSpPr>
          <p:cNvPr id="79" name="Group 78"/>
          <p:cNvGrpSpPr/>
          <p:nvPr userDrawn="1"/>
        </p:nvGrpSpPr>
        <p:grpSpPr>
          <a:xfrm>
            <a:off x="7686461" y="4906654"/>
            <a:ext cx="1124815" cy="151147"/>
            <a:chOff x="7686461" y="4581466"/>
            <a:chExt cx="1124815" cy="151147"/>
          </a:xfrm>
        </p:grpSpPr>
        <p:sp>
          <p:nvSpPr>
            <p:cNvPr id="80"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81"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82"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83"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84"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85"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86"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87"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88"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89"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90"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91"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92"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93"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94"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90551182"/>
      </p:ext>
    </p:extLst>
  </p:cSld>
  <p:clrMap bg1="lt1" tx1="dk1" bg2="lt2" tx2="dk2" accent1="accent1" accent2="accent2" accent3="accent3" accent4="accent4" accent5="accent5" accent6="accent6" hlink="hlink" folHlink="folHlink"/>
  <p:sldLayoutIdLst>
    <p:sldLayoutId id="2147483961" r:id="rId1"/>
    <p:sldLayoutId id="2147484039" r:id="rId2"/>
    <p:sldLayoutId id="2147484031" r:id="rId3"/>
  </p:sldLayoutIdLst>
  <p:timing>
    <p:tnLst>
      <p:par>
        <p:cTn id="1" dur="indefinite" restart="never" nodeType="tmRoot"/>
      </p:par>
    </p:tnLst>
  </p:timing>
  <p:hf hdr="0" dt="0"/>
  <p:txStyles>
    <p:titleStyle>
      <a:lvl1pPr algn="l" defTabSz="914400" rtl="0" eaLnBrk="1" latinLnBrk="0" hangingPunct="1">
        <a:spcBef>
          <a:spcPct val="0"/>
        </a:spcBef>
        <a:buNone/>
        <a:defRPr lang="en-US" sz="2800" i="0" kern="1200" baseline="0" dirty="0">
          <a:solidFill>
            <a:schemeClr val="tx1">
              <a:lumMod val="75000"/>
              <a:lumOff val="25000"/>
            </a:schemeClr>
          </a:solidFill>
          <a:latin typeface="Georgia" pitchFamily="18" charset="0"/>
          <a:ea typeface="+mj-ea"/>
          <a:cs typeface="+mj-cs"/>
        </a:defRPr>
      </a:lvl1pPr>
    </p:titleStyle>
    <p:bodyStyle>
      <a:lvl1pPr marL="228600" indent="-228600" algn="l" defTabSz="914400" rtl="0" eaLnBrk="1" latinLnBrk="0" hangingPunct="1">
        <a:spcBef>
          <a:spcPct val="20000"/>
        </a:spcBef>
        <a:buClr>
          <a:schemeClr val="accent1"/>
        </a:buClr>
        <a:buSzPct val="99000"/>
        <a:buFont typeface="Arial" pitchFamily="34" charset="0"/>
        <a:buChar char="•"/>
        <a:defRPr lang="en-US" sz="20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1pPr>
      <a:lvl2pPr marL="400050" indent="-171450" algn="l" defTabSz="914400" rtl="0" eaLnBrk="1" latinLnBrk="0" hangingPunct="1">
        <a:spcBef>
          <a:spcPct val="20000"/>
        </a:spcBef>
        <a:buClr>
          <a:schemeClr val="accent1"/>
        </a:buClr>
        <a:buSzPct val="99000"/>
        <a:buFont typeface="Arial" pitchFamily="34" charset="0"/>
        <a:buChar char="•"/>
        <a:defRPr lang="en-US" sz="16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2pPr>
      <a:lvl3pPr marL="571500" indent="-171450" algn="l" defTabSz="914400" rtl="0" eaLnBrk="1" latinLnBrk="0" hangingPunct="1">
        <a:spcBef>
          <a:spcPct val="20000"/>
        </a:spcBef>
        <a:buClr>
          <a:schemeClr val="accent1"/>
        </a:buClr>
        <a:buSzPct val="99000"/>
        <a:buFont typeface="Arial" pitchFamily="34" charset="0"/>
        <a:buChar char="•"/>
        <a:defRPr lang="en-US" sz="16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3pPr>
      <a:lvl4pPr marL="742950" indent="-171450" algn="l" defTabSz="914400" rtl="0" eaLnBrk="1" latinLnBrk="0" hangingPunct="1">
        <a:spcBef>
          <a:spcPct val="20000"/>
        </a:spcBef>
        <a:buClr>
          <a:schemeClr val="accent1"/>
        </a:buClr>
        <a:buSzPct val="99000"/>
        <a:buFont typeface="Arial" pitchFamily="34" charset="0"/>
        <a:buChar char="•"/>
        <a:tabLst/>
        <a:defRPr lang="en-US" sz="16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4pPr>
      <a:lvl5pPr marL="914400" indent="-171450" algn="l" defTabSz="914400" rtl="0" eaLnBrk="1" latinLnBrk="0" hangingPunct="1">
        <a:spcBef>
          <a:spcPct val="20000"/>
        </a:spcBef>
        <a:buClr>
          <a:schemeClr val="accent1"/>
        </a:buClr>
        <a:buSzPct val="99000"/>
        <a:buFont typeface="Arial" pitchFamily="34" charset="0"/>
        <a:buChar char="•"/>
        <a:defRPr lang="en-US" sz="1600" i="0" kern="1200" dirty="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0" y="4849795"/>
            <a:ext cx="474480" cy="298467"/>
          </a:xfrm>
          <a:prstGeom prst="rect">
            <a:avLst/>
          </a:prstGeom>
        </p:spPr>
        <p:txBody>
          <a:bodyPr vert="horz" lIns="91440" tIns="0" rIns="91440" bIns="36576" rtlCol="0" anchor="ctr"/>
          <a:lstStyle>
            <a:lvl1pPr algn="r">
              <a:defRPr lang="en-US" sz="1200" i="0" smtClean="0">
                <a:solidFill>
                  <a:schemeClr val="bg1">
                    <a:lumMod val="75000"/>
                  </a:schemeClr>
                </a:solidFill>
                <a:latin typeface="Georgia" pitchFamily="18" charset="0"/>
              </a:defRPr>
            </a:lvl1pPr>
          </a:lstStyle>
          <a:p>
            <a:fld id="{19AB4E72-7858-48F1-A40D-12FF09E4BFB8}" type="slidenum">
              <a:rPr lang="en-GB" smtClean="0"/>
              <a:pPr/>
              <a:t>‹Nº›</a:t>
            </a:fld>
            <a:endParaRPr lang="en-GB"/>
          </a:p>
        </p:txBody>
      </p:sp>
      <p:sp>
        <p:nvSpPr>
          <p:cNvPr id="3" name="Date Placeholder 2"/>
          <p:cNvSpPr>
            <a:spLocks noGrp="1"/>
          </p:cNvSpPr>
          <p:nvPr>
            <p:ph type="dt" sz="half" idx="2"/>
          </p:nvPr>
        </p:nvSpPr>
        <p:spPr>
          <a:xfrm>
            <a:off x="33334" y="5060852"/>
            <a:ext cx="452438" cy="65358"/>
          </a:xfrm>
          <a:prstGeom prst="rect">
            <a:avLst/>
          </a:prstGeom>
        </p:spPr>
        <p:txBody>
          <a:bodyPr vert="horz" wrap="none" lIns="0" tIns="45720" rIns="0" bIns="45720" rtlCol="0" anchor="ctr"/>
          <a:lstStyle>
            <a:lvl1pPr algn="ctr">
              <a:defRPr lang="en-US" sz="600" i="0" kern="1200" smtClean="0">
                <a:solidFill>
                  <a:schemeClr val="bg1">
                    <a:lumMod val="75000"/>
                  </a:schemeClr>
                </a:solidFill>
                <a:latin typeface="Georgia" pitchFamily="18" charset="0"/>
                <a:ea typeface="+mn-ea"/>
                <a:cs typeface="+mn-cs"/>
              </a:defRPr>
            </a:lvl1pPr>
          </a:lstStyle>
          <a:p>
            <a:endParaRPr lang="en-GB"/>
          </a:p>
        </p:txBody>
      </p:sp>
      <p:cxnSp>
        <p:nvCxnSpPr>
          <p:cNvPr id="24" name="Straight Connector 23"/>
          <p:cNvCxnSpPr/>
          <p:nvPr userDrawn="1"/>
        </p:nvCxnSpPr>
        <p:spPr>
          <a:xfrm>
            <a:off x="343366" y="4801146"/>
            <a:ext cx="8460000" cy="0"/>
          </a:xfrm>
          <a:prstGeom prst="line">
            <a:avLst/>
          </a:prstGeom>
          <a:ln w="12700">
            <a:solidFill>
              <a:schemeClr val="tx1">
                <a:lumMod val="75000"/>
                <a:lumOff val="25000"/>
              </a:schemeClr>
            </a:solidFill>
            <a:miter lim="800000"/>
          </a:ln>
        </p:spPr>
        <p:style>
          <a:lnRef idx="1">
            <a:schemeClr val="accent1"/>
          </a:lnRef>
          <a:fillRef idx="0">
            <a:schemeClr val="accent1"/>
          </a:fillRef>
          <a:effectRef idx="0">
            <a:schemeClr val="accent1"/>
          </a:effectRef>
          <a:fontRef idx="minor">
            <a:schemeClr val="tx1"/>
          </a:fontRef>
        </p:style>
      </p:cxnSp>
      <p:sp>
        <p:nvSpPr>
          <p:cNvPr id="47" name="Footer Placeholder 6"/>
          <p:cNvSpPr>
            <a:spLocks noGrp="1"/>
          </p:cNvSpPr>
          <p:nvPr>
            <p:ph type="ftr" sz="quarter" idx="3"/>
          </p:nvPr>
        </p:nvSpPr>
        <p:spPr>
          <a:xfrm>
            <a:off x="608553" y="4836662"/>
            <a:ext cx="3973117" cy="311601"/>
          </a:xfrm>
          <a:prstGeom prst="rect">
            <a:avLst/>
          </a:prstGeom>
        </p:spPr>
        <p:txBody>
          <a:bodyPr lIns="0" rIns="0" bIns="0" anchor="ctr"/>
          <a:lstStyle>
            <a:lvl1pPr>
              <a:defRPr sz="600">
                <a:solidFill>
                  <a:schemeClr val="bg1">
                    <a:lumMod val="75000"/>
                  </a:schemeClr>
                </a:solidFill>
                <a:latin typeface="+mj-lt"/>
              </a:defRPr>
            </a:lvl1pPr>
          </a:lstStyle>
          <a:p>
            <a:endParaRPr lang="pt-BR" dirty="0"/>
          </a:p>
        </p:txBody>
      </p:sp>
      <p:grpSp>
        <p:nvGrpSpPr>
          <p:cNvPr id="39" name="Group 38"/>
          <p:cNvGrpSpPr/>
          <p:nvPr userDrawn="1"/>
        </p:nvGrpSpPr>
        <p:grpSpPr>
          <a:xfrm>
            <a:off x="7686461" y="4906654"/>
            <a:ext cx="1124815" cy="151147"/>
            <a:chOff x="7686461" y="4581466"/>
            <a:chExt cx="1124815" cy="151147"/>
          </a:xfrm>
        </p:grpSpPr>
        <p:sp>
          <p:nvSpPr>
            <p:cNvPr id="40"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1"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2"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3"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4"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5"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6"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8"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9"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0"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1"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2"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3"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4"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5"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27937035"/>
      </p:ext>
    </p:extLst>
  </p:cSld>
  <p:clrMap bg1="lt1" tx1="dk1" bg2="lt2" tx2="dk2" accent1="accent1" accent2="accent2" accent3="accent3" accent4="accent4" accent5="accent5" accent6="accent6" hlink="hlink" folHlink="folHlink"/>
  <p:sldLayoutIdLst>
    <p:sldLayoutId id="2147484080" r:id="rId1"/>
    <p:sldLayoutId id="2147484081" r:id="rId2"/>
    <p:sldLayoutId id="2147484082" r:id="rId3"/>
  </p:sldLayoutIdLst>
  <p:timing>
    <p:tnLst>
      <p:par>
        <p:cTn id="1" dur="indefinite" restart="never" nodeType="tmRoot"/>
      </p:par>
    </p:tnLst>
  </p:timing>
  <p:hf hdr="0" dt="0"/>
  <p:txStyles>
    <p:titleStyle>
      <a:lvl1pPr algn="l" defTabSz="914400" rtl="0" eaLnBrk="1" latinLnBrk="0" hangingPunct="1">
        <a:spcBef>
          <a:spcPct val="0"/>
        </a:spcBef>
        <a:buNone/>
        <a:defRPr lang="en-US" sz="2800" i="0" kern="1200" baseline="0" dirty="0">
          <a:solidFill>
            <a:schemeClr val="tx1">
              <a:lumMod val="75000"/>
              <a:lumOff val="25000"/>
            </a:schemeClr>
          </a:solidFill>
          <a:latin typeface="Georgia" pitchFamily="18" charset="0"/>
          <a:ea typeface="+mj-ea"/>
          <a:cs typeface="+mj-cs"/>
        </a:defRPr>
      </a:lvl1pPr>
    </p:titleStyle>
    <p:bodyStyle>
      <a:lvl1pPr marL="228600" indent="-228600" algn="l" defTabSz="914400" rtl="0" eaLnBrk="1" latinLnBrk="0" hangingPunct="1">
        <a:spcBef>
          <a:spcPct val="20000"/>
        </a:spcBef>
        <a:buClr>
          <a:schemeClr val="accent1"/>
        </a:buClr>
        <a:buSzPct val="99000"/>
        <a:buFont typeface="Arial" pitchFamily="34" charset="0"/>
        <a:buChar char="•"/>
        <a:defRPr lang="en-US" sz="20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1pPr>
      <a:lvl2pPr marL="400050" indent="-171450" algn="l" defTabSz="914400" rtl="0" eaLnBrk="1" latinLnBrk="0" hangingPunct="1">
        <a:spcBef>
          <a:spcPct val="20000"/>
        </a:spcBef>
        <a:buClr>
          <a:schemeClr val="accent1"/>
        </a:buClr>
        <a:buSzPct val="99000"/>
        <a:buFont typeface="Arial" pitchFamily="34" charset="0"/>
        <a:buChar char="•"/>
        <a:defRPr lang="en-US" sz="16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2pPr>
      <a:lvl3pPr marL="571500" indent="-171450" algn="l" defTabSz="914400" rtl="0" eaLnBrk="1" latinLnBrk="0" hangingPunct="1">
        <a:spcBef>
          <a:spcPct val="20000"/>
        </a:spcBef>
        <a:buClr>
          <a:schemeClr val="accent1"/>
        </a:buClr>
        <a:buSzPct val="99000"/>
        <a:buFont typeface="Arial" pitchFamily="34" charset="0"/>
        <a:buChar char="•"/>
        <a:defRPr lang="en-US" sz="16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3pPr>
      <a:lvl4pPr marL="742950" indent="-171450" algn="l" defTabSz="914400" rtl="0" eaLnBrk="1" latinLnBrk="0" hangingPunct="1">
        <a:spcBef>
          <a:spcPct val="20000"/>
        </a:spcBef>
        <a:buClr>
          <a:schemeClr val="accent1"/>
        </a:buClr>
        <a:buSzPct val="99000"/>
        <a:buFont typeface="Arial" pitchFamily="34" charset="0"/>
        <a:buChar char="•"/>
        <a:tabLst/>
        <a:defRPr lang="en-US" sz="16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4pPr>
      <a:lvl5pPr marL="914400" indent="-171450" algn="l" defTabSz="914400" rtl="0" eaLnBrk="1" latinLnBrk="0" hangingPunct="1">
        <a:spcBef>
          <a:spcPct val="20000"/>
        </a:spcBef>
        <a:buClr>
          <a:schemeClr val="accent1"/>
        </a:buClr>
        <a:buSzPct val="99000"/>
        <a:buFont typeface="Arial" pitchFamily="34" charset="0"/>
        <a:buChar char="•"/>
        <a:defRPr lang="en-US" sz="1600" i="0" kern="1200" dirty="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0" y="4849795"/>
            <a:ext cx="474480" cy="298467"/>
          </a:xfrm>
          <a:prstGeom prst="rect">
            <a:avLst/>
          </a:prstGeom>
        </p:spPr>
        <p:txBody>
          <a:bodyPr vert="horz" lIns="91440" tIns="0" rIns="91440" bIns="36576" rtlCol="0" anchor="ctr"/>
          <a:lstStyle>
            <a:lvl1pPr algn="r">
              <a:defRPr lang="en-US" sz="1200" i="0" smtClean="0">
                <a:solidFill>
                  <a:schemeClr val="bg1">
                    <a:lumMod val="75000"/>
                  </a:schemeClr>
                </a:solidFill>
                <a:latin typeface="Georgia" pitchFamily="18" charset="0"/>
              </a:defRPr>
            </a:lvl1pPr>
          </a:lstStyle>
          <a:p>
            <a:fld id="{19AB4E72-7858-48F1-A40D-12FF09E4BFB8}" type="slidenum">
              <a:rPr lang="en-GB" smtClean="0"/>
              <a:pPr/>
              <a:t>‹Nº›</a:t>
            </a:fld>
            <a:endParaRPr lang="en-GB"/>
          </a:p>
        </p:txBody>
      </p:sp>
      <p:sp>
        <p:nvSpPr>
          <p:cNvPr id="3" name="Date Placeholder 2"/>
          <p:cNvSpPr>
            <a:spLocks noGrp="1"/>
          </p:cNvSpPr>
          <p:nvPr>
            <p:ph type="dt" sz="half" idx="2"/>
          </p:nvPr>
        </p:nvSpPr>
        <p:spPr>
          <a:xfrm>
            <a:off x="33334" y="5060852"/>
            <a:ext cx="452438" cy="65358"/>
          </a:xfrm>
          <a:prstGeom prst="rect">
            <a:avLst/>
          </a:prstGeom>
        </p:spPr>
        <p:txBody>
          <a:bodyPr vert="horz" wrap="none" lIns="0" tIns="45720" rIns="0" bIns="45720" rtlCol="0" anchor="ctr"/>
          <a:lstStyle>
            <a:lvl1pPr algn="ctr">
              <a:defRPr lang="en-US" sz="600" i="0" kern="1200" smtClean="0">
                <a:solidFill>
                  <a:schemeClr val="bg1">
                    <a:lumMod val="75000"/>
                  </a:schemeClr>
                </a:solidFill>
                <a:latin typeface="Georgia" pitchFamily="18" charset="0"/>
                <a:ea typeface="+mn-ea"/>
                <a:cs typeface="+mn-cs"/>
              </a:defRPr>
            </a:lvl1pPr>
          </a:lstStyle>
          <a:p>
            <a:endParaRPr lang="en-GB"/>
          </a:p>
        </p:txBody>
      </p:sp>
      <p:cxnSp>
        <p:nvCxnSpPr>
          <p:cNvPr id="24" name="Straight Connector 23"/>
          <p:cNvCxnSpPr/>
          <p:nvPr userDrawn="1"/>
        </p:nvCxnSpPr>
        <p:spPr>
          <a:xfrm>
            <a:off x="343366" y="4801146"/>
            <a:ext cx="8460000" cy="0"/>
          </a:xfrm>
          <a:prstGeom prst="line">
            <a:avLst/>
          </a:prstGeom>
          <a:ln w="12700">
            <a:solidFill>
              <a:schemeClr val="tx1">
                <a:lumMod val="75000"/>
                <a:lumOff val="25000"/>
              </a:schemeClr>
            </a:solidFill>
            <a:miter lim="800000"/>
          </a:ln>
        </p:spPr>
        <p:style>
          <a:lnRef idx="1">
            <a:schemeClr val="accent1"/>
          </a:lnRef>
          <a:fillRef idx="0">
            <a:schemeClr val="accent1"/>
          </a:fillRef>
          <a:effectRef idx="0">
            <a:schemeClr val="accent1"/>
          </a:effectRef>
          <a:fontRef idx="minor">
            <a:schemeClr val="tx1"/>
          </a:fontRef>
        </p:style>
      </p:cxnSp>
      <p:sp>
        <p:nvSpPr>
          <p:cNvPr id="47" name="Footer Placeholder 6"/>
          <p:cNvSpPr>
            <a:spLocks noGrp="1"/>
          </p:cNvSpPr>
          <p:nvPr>
            <p:ph type="ftr" sz="quarter" idx="3"/>
          </p:nvPr>
        </p:nvSpPr>
        <p:spPr>
          <a:xfrm>
            <a:off x="608553" y="4836662"/>
            <a:ext cx="3973117" cy="311601"/>
          </a:xfrm>
          <a:prstGeom prst="rect">
            <a:avLst/>
          </a:prstGeom>
        </p:spPr>
        <p:txBody>
          <a:bodyPr lIns="0" rIns="0" bIns="0" anchor="ctr"/>
          <a:lstStyle>
            <a:lvl1pPr>
              <a:defRPr sz="600">
                <a:solidFill>
                  <a:schemeClr val="bg1">
                    <a:lumMod val="75000"/>
                  </a:schemeClr>
                </a:solidFill>
                <a:latin typeface="+mj-lt"/>
              </a:defRPr>
            </a:lvl1pPr>
          </a:lstStyle>
          <a:p>
            <a:endParaRPr lang="pt-BR" dirty="0"/>
          </a:p>
        </p:txBody>
      </p:sp>
      <p:grpSp>
        <p:nvGrpSpPr>
          <p:cNvPr id="39" name="Group 38"/>
          <p:cNvGrpSpPr/>
          <p:nvPr userDrawn="1"/>
        </p:nvGrpSpPr>
        <p:grpSpPr>
          <a:xfrm>
            <a:off x="7686461" y="4906654"/>
            <a:ext cx="1124815" cy="151147"/>
            <a:chOff x="7686461" y="4581466"/>
            <a:chExt cx="1124815" cy="151147"/>
          </a:xfrm>
        </p:grpSpPr>
        <p:sp>
          <p:nvSpPr>
            <p:cNvPr id="40"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1"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2"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3"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4"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5"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6"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8"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9"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0"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1"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2"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3"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4"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5"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688185082"/>
      </p:ext>
    </p:extLst>
  </p:cSld>
  <p:clrMap bg1="lt1" tx1="dk1" bg2="lt2" tx2="dk2" accent1="accent1" accent2="accent2" accent3="accent3" accent4="accent4" accent5="accent5" accent6="accent6" hlink="hlink" folHlink="folHlink"/>
  <p:sldLayoutIdLst>
    <p:sldLayoutId id="2147484069" r:id="rId1"/>
    <p:sldLayoutId id="2147484070" r:id="rId2"/>
    <p:sldLayoutId id="2147484071" r:id="rId3"/>
  </p:sldLayoutIdLst>
  <p:timing>
    <p:tnLst>
      <p:par>
        <p:cTn id="1" dur="indefinite" restart="never" nodeType="tmRoot"/>
      </p:par>
    </p:tnLst>
  </p:timing>
  <p:hf hdr="0" dt="0"/>
  <p:txStyles>
    <p:titleStyle>
      <a:lvl1pPr algn="l" defTabSz="914400" rtl="0" eaLnBrk="1" latinLnBrk="0" hangingPunct="1">
        <a:spcBef>
          <a:spcPct val="0"/>
        </a:spcBef>
        <a:buNone/>
        <a:defRPr lang="en-US" sz="2800" i="0" kern="1200" baseline="0" dirty="0">
          <a:solidFill>
            <a:schemeClr val="tx1">
              <a:lumMod val="75000"/>
              <a:lumOff val="25000"/>
            </a:schemeClr>
          </a:solidFill>
          <a:latin typeface="Georgia" pitchFamily="18" charset="0"/>
          <a:ea typeface="+mj-ea"/>
          <a:cs typeface="+mj-cs"/>
        </a:defRPr>
      </a:lvl1pPr>
    </p:titleStyle>
    <p:bodyStyle>
      <a:lvl1pPr marL="228600" indent="-228600" algn="l" defTabSz="914400" rtl="0" eaLnBrk="1" latinLnBrk="0" hangingPunct="1">
        <a:spcBef>
          <a:spcPct val="20000"/>
        </a:spcBef>
        <a:buClr>
          <a:schemeClr val="accent1"/>
        </a:buClr>
        <a:buSzPct val="99000"/>
        <a:buFont typeface="Arial" pitchFamily="34" charset="0"/>
        <a:buChar char="•"/>
        <a:defRPr lang="en-US" sz="20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1pPr>
      <a:lvl2pPr marL="400050" indent="-171450" algn="l" defTabSz="914400" rtl="0" eaLnBrk="1" latinLnBrk="0" hangingPunct="1">
        <a:spcBef>
          <a:spcPct val="20000"/>
        </a:spcBef>
        <a:buClr>
          <a:schemeClr val="accent1"/>
        </a:buClr>
        <a:buSzPct val="99000"/>
        <a:buFont typeface="Arial" pitchFamily="34" charset="0"/>
        <a:buChar char="•"/>
        <a:defRPr lang="en-US" sz="16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2pPr>
      <a:lvl3pPr marL="571500" indent="-171450" algn="l" defTabSz="914400" rtl="0" eaLnBrk="1" latinLnBrk="0" hangingPunct="1">
        <a:spcBef>
          <a:spcPct val="20000"/>
        </a:spcBef>
        <a:buClr>
          <a:schemeClr val="accent1"/>
        </a:buClr>
        <a:buSzPct val="99000"/>
        <a:buFont typeface="Arial" pitchFamily="34" charset="0"/>
        <a:buChar char="•"/>
        <a:defRPr lang="en-US" sz="16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3pPr>
      <a:lvl4pPr marL="742950" indent="-171450" algn="l" defTabSz="914400" rtl="0" eaLnBrk="1" latinLnBrk="0" hangingPunct="1">
        <a:spcBef>
          <a:spcPct val="20000"/>
        </a:spcBef>
        <a:buClr>
          <a:schemeClr val="accent1"/>
        </a:buClr>
        <a:buSzPct val="99000"/>
        <a:buFont typeface="Arial" pitchFamily="34" charset="0"/>
        <a:buChar char="•"/>
        <a:tabLst/>
        <a:defRPr lang="en-US" sz="16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4pPr>
      <a:lvl5pPr marL="914400" indent="-171450" algn="l" defTabSz="914400" rtl="0" eaLnBrk="1" latinLnBrk="0" hangingPunct="1">
        <a:spcBef>
          <a:spcPct val="20000"/>
        </a:spcBef>
        <a:buClr>
          <a:schemeClr val="accent1"/>
        </a:buClr>
        <a:buSzPct val="99000"/>
        <a:buFont typeface="Arial" pitchFamily="34" charset="0"/>
        <a:buChar char="•"/>
        <a:defRPr lang="en-US" sz="1600" i="0" kern="1200" dirty="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0" y="4849795"/>
            <a:ext cx="474480" cy="298467"/>
          </a:xfrm>
          <a:prstGeom prst="rect">
            <a:avLst/>
          </a:prstGeom>
        </p:spPr>
        <p:txBody>
          <a:bodyPr vert="horz" lIns="91440" tIns="0" rIns="91440" bIns="36576" rtlCol="0" anchor="ctr"/>
          <a:lstStyle>
            <a:lvl1pPr algn="r">
              <a:defRPr lang="en-US" sz="1200" i="0" smtClean="0">
                <a:solidFill>
                  <a:schemeClr val="bg1">
                    <a:lumMod val="75000"/>
                  </a:schemeClr>
                </a:solidFill>
                <a:latin typeface="Georgia" pitchFamily="18" charset="0"/>
              </a:defRPr>
            </a:lvl1pPr>
          </a:lstStyle>
          <a:p>
            <a:fld id="{19AB4E72-7858-48F1-A40D-12FF09E4BFB8}" type="slidenum">
              <a:rPr lang="en-GB" smtClean="0"/>
              <a:pPr/>
              <a:t>‹Nº›</a:t>
            </a:fld>
            <a:endParaRPr lang="en-GB"/>
          </a:p>
        </p:txBody>
      </p:sp>
      <p:sp>
        <p:nvSpPr>
          <p:cNvPr id="3" name="Date Placeholder 2"/>
          <p:cNvSpPr>
            <a:spLocks noGrp="1"/>
          </p:cNvSpPr>
          <p:nvPr>
            <p:ph type="dt" sz="half" idx="2"/>
          </p:nvPr>
        </p:nvSpPr>
        <p:spPr>
          <a:xfrm>
            <a:off x="33334" y="5060852"/>
            <a:ext cx="452438" cy="65358"/>
          </a:xfrm>
          <a:prstGeom prst="rect">
            <a:avLst/>
          </a:prstGeom>
        </p:spPr>
        <p:txBody>
          <a:bodyPr vert="horz" wrap="none" lIns="0" tIns="45720" rIns="0" bIns="45720" rtlCol="0" anchor="ctr"/>
          <a:lstStyle>
            <a:lvl1pPr algn="ctr">
              <a:defRPr lang="en-US" sz="600" i="0" kern="1200" smtClean="0">
                <a:solidFill>
                  <a:schemeClr val="bg1">
                    <a:lumMod val="75000"/>
                  </a:schemeClr>
                </a:solidFill>
                <a:latin typeface="Georgia" pitchFamily="18" charset="0"/>
                <a:ea typeface="+mn-ea"/>
                <a:cs typeface="+mn-cs"/>
              </a:defRPr>
            </a:lvl1pPr>
          </a:lstStyle>
          <a:p>
            <a:endParaRPr lang="en-GB"/>
          </a:p>
        </p:txBody>
      </p:sp>
      <p:cxnSp>
        <p:nvCxnSpPr>
          <p:cNvPr id="24" name="Straight Connector 23"/>
          <p:cNvCxnSpPr/>
          <p:nvPr userDrawn="1"/>
        </p:nvCxnSpPr>
        <p:spPr>
          <a:xfrm>
            <a:off x="343366" y="4801146"/>
            <a:ext cx="8460000" cy="0"/>
          </a:xfrm>
          <a:prstGeom prst="line">
            <a:avLst/>
          </a:prstGeom>
          <a:ln w="12700">
            <a:solidFill>
              <a:schemeClr val="tx1">
                <a:lumMod val="75000"/>
                <a:lumOff val="25000"/>
              </a:schemeClr>
            </a:solidFill>
            <a:miter lim="800000"/>
          </a:ln>
        </p:spPr>
        <p:style>
          <a:lnRef idx="1">
            <a:schemeClr val="accent1"/>
          </a:lnRef>
          <a:fillRef idx="0">
            <a:schemeClr val="accent1"/>
          </a:fillRef>
          <a:effectRef idx="0">
            <a:schemeClr val="accent1"/>
          </a:effectRef>
          <a:fontRef idx="minor">
            <a:schemeClr val="tx1"/>
          </a:fontRef>
        </p:style>
      </p:cxnSp>
      <p:sp>
        <p:nvSpPr>
          <p:cNvPr id="47" name="Footer Placeholder 6"/>
          <p:cNvSpPr>
            <a:spLocks noGrp="1"/>
          </p:cNvSpPr>
          <p:nvPr>
            <p:ph type="ftr" sz="quarter" idx="3"/>
          </p:nvPr>
        </p:nvSpPr>
        <p:spPr>
          <a:xfrm>
            <a:off x="608553" y="4836662"/>
            <a:ext cx="3973117" cy="311601"/>
          </a:xfrm>
          <a:prstGeom prst="rect">
            <a:avLst/>
          </a:prstGeom>
        </p:spPr>
        <p:txBody>
          <a:bodyPr lIns="0" rIns="0" bIns="0" anchor="ctr"/>
          <a:lstStyle>
            <a:lvl1pPr>
              <a:defRPr sz="600">
                <a:solidFill>
                  <a:schemeClr val="bg1">
                    <a:lumMod val="75000"/>
                  </a:schemeClr>
                </a:solidFill>
                <a:latin typeface="+mj-lt"/>
              </a:defRPr>
            </a:lvl1pPr>
          </a:lstStyle>
          <a:p>
            <a:endParaRPr lang="pt-BR" dirty="0"/>
          </a:p>
        </p:txBody>
      </p:sp>
      <p:grpSp>
        <p:nvGrpSpPr>
          <p:cNvPr id="39" name="Group 38"/>
          <p:cNvGrpSpPr/>
          <p:nvPr userDrawn="1"/>
        </p:nvGrpSpPr>
        <p:grpSpPr>
          <a:xfrm>
            <a:off x="7686461" y="4906654"/>
            <a:ext cx="1124815" cy="151147"/>
            <a:chOff x="7686461" y="4581466"/>
            <a:chExt cx="1124815" cy="151147"/>
          </a:xfrm>
        </p:grpSpPr>
        <p:sp>
          <p:nvSpPr>
            <p:cNvPr id="40"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1"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2"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3"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4"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5"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6"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8"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9"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0"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1"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2"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3"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4"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5"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62467735"/>
      </p:ext>
    </p:extLst>
  </p:cSld>
  <p:clrMap bg1="lt1" tx1="dk1" bg2="lt2" tx2="dk2" accent1="accent1" accent2="accent2" accent3="accent3" accent4="accent4" accent5="accent5" accent6="accent6" hlink="hlink" folHlink="folHlink"/>
  <p:sldLayoutIdLst>
    <p:sldLayoutId id="2147484073" r:id="rId1"/>
    <p:sldLayoutId id="2147484074" r:id="rId2"/>
    <p:sldLayoutId id="2147484075" r:id="rId3"/>
  </p:sldLayoutIdLst>
  <p:timing>
    <p:tnLst>
      <p:par>
        <p:cTn id="1" dur="indefinite" restart="never" nodeType="tmRoot"/>
      </p:par>
    </p:tnLst>
  </p:timing>
  <p:hf hdr="0" dt="0"/>
  <p:txStyles>
    <p:titleStyle>
      <a:lvl1pPr algn="l" defTabSz="914400" rtl="0" eaLnBrk="1" latinLnBrk="0" hangingPunct="1">
        <a:spcBef>
          <a:spcPct val="0"/>
        </a:spcBef>
        <a:buNone/>
        <a:defRPr lang="en-US" sz="2800" i="0" kern="1200" baseline="0" dirty="0">
          <a:solidFill>
            <a:schemeClr val="tx1">
              <a:lumMod val="75000"/>
              <a:lumOff val="25000"/>
            </a:schemeClr>
          </a:solidFill>
          <a:latin typeface="Georgia" pitchFamily="18" charset="0"/>
          <a:ea typeface="+mj-ea"/>
          <a:cs typeface="+mj-cs"/>
        </a:defRPr>
      </a:lvl1pPr>
    </p:titleStyle>
    <p:bodyStyle>
      <a:lvl1pPr marL="228600" indent="-228600" algn="l" defTabSz="914400" rtl="0" eaLnBrk="1" latinLnBrk="0" hangingPunct="1">
        <a:spcBef>
          <a:spcPct val="20000"/>
        </a:spcBef>
        <a:buClr>
          <a:schemeClr val="accent1"/>
        </a:buClr>
        <a:buSzPct val="99000"/>
        <a:buFont typeface="Arial" pitchFamily="34" charset="0"/>
        <a:buChar char="•"/>
        <a:defRPr lang="en-US" sz="20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1pPr>
      <a:lvl2pPr marL="400050" indent="-171450" algn="l" defTabSz="914400" rtl="0" eaLnBrk="1" latinLnBrk="0" hangingPunct="1">
        <a:spcBef>
          <a:spcPct val="20000"/>
        </a:spcBef>
        <a:buClr>
          <a:schemeClr val="accent1"/>
        </a:buClr>
        <a:buSzPct val="99000"/>
        <a:buFont typeface="Arial" pitchFamily="34" charset="0"/>
        <a:buChar char="•"/>
        <a:defRPr lang="en-US" sz="16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2pPr>
      <a:lvl3pPr marL="571500" indent="-171450" algn="l" defTabSz="914400" rtl="0" eaLnBrk="1" latinLnBrk="0" hangingPunct="1">
        <a:spcBef>
          <a:spcPct val="20000"/>
        </a:spcBef>
        <a:buClr>
          <a:schemeClr val="accent1"/>
        </a:buClr>
        <a:buSzPct val="99000"/>
        <a:buFont typeface="Arial" pitchFamily="34" charset="0"/>
        <a:buChar char="•"/>
        <a:defRPr lang="en-US" sz="16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3pPr>
      <a:lvl4pPr marL="742950" indent="-171450" algn="l" defTabSz="914400" rtl="0" eaLnBrk="1" latinLnBrk="0" hangingPunct="1">
        <a:spcBef>
          <a:spcPct val="20000"/>
        </a:spcBef>
        <a:buClr>
          <a:schemeClr val="accent1"/>
        </a:buClr>
        <a:buSzPct val="99000"/>
        <a:buFont typeface="Arial" pitchFamily="34" charset="0"/>
        <a:buChar char="•"/>
        <a:tabLst/>
        <a:defRPr lang="en-US" sz="16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4pPr>
      <a:lvl5pPr marL="914400" indent="-171450" algn="l" defTabSz="914400" rtl="0" eaLnBrk="1" latinLnBrk="0" hangingPunct="1">
        <a:spcBef>
          <a:spcPct val="20000"/>
        </a:spcBef>
        <a:buClr>
          <a:schemeClr val="accent1"/>
        </a:buClr>
        <a:buSzPct val="99000"/>
        <a:buFont typeface="Arial" pitchFamily="34" charset="0"/>
        <a:buChar char="•"/>
        <a:defRPr lang="en-US" sz="1600" i="0" kern="1200" dirty="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0" y="4849795"/>
            <a:ext cx="474480" cy="298467"/>
          </a:xfrm>
          <a:prstGeom prst="rect">
            <a:avLst/>
          </a:prstGeom>
        </p:spPr>
        <p:txBody>
          <a:bodyPr vert="horz" lIns="91440" tIns="0" rIns="91440" bIns="36576" rtlCol="0" anchor="ctr"/>
          <a:lstStyle>
            <a:lvl1pPr algn="r">
              <a:defRPr lang="en-US" sz="1200" i="0" smtClean="0">
                <a:solidFill>
                  <a:schemeClr val="bg1">
                    <a:lumMod val="75000"/>
                  </a:schemeClr>
                </a:solidFill>
                <a:latin typeface="Georgia" pitchFamily="18" charset="0"/>
              </a:defRPr>
            </a:lvl1pPr>
          </a:lstStyle>
          <a:p>
            <a:fld id="{19AB4E72-7858-48F1-A40D-12FF09E4BFB8}" type="slidenum">
              <a:rPr lang="en-GB" smtClean="0"/>
              <a:pPr/>
              <a:t>‹Nº›</a:t>
            </a:fld>
            <a:endParaRPr lang="en-GB"/>
          </a:p>
        </p:txBody>
      </p:sp>
      <p:sp>
        <p:nvSpPr>
          <p:cNvPr id="3" name="Date Placeholder 2"/>
          <p:cNvSpPr>
            <a:spLocks noGrp="1"/>
          </p:cNvSpPr>
          <p:nvPr>
            <p:ph type="dt" sz="half" idx="2"/>
          </p:nvPr>
        </p:nvSpPr>
        <p:spPr>
          <a:xfrm>
            <a:off x="33334" y="5060852"/>
            <a:ext cx="452438" cy="65358"/>
          </a:xfrm>
          <a:prstGeom prst="rect">
            <a:avLst/>
          </a:prstGeom>
        </p:spPr>
        <p:txBody>
          <a:bodyPr vert="horz" wrap="none" lIns="0" tIns="45720" rIns="0" bIns="45720" rtlCol="0" anchor="ctr"/>
          <a:lstStyle>
            <a:lvl1pPr algn="ctr">
              <a:defRPr lang="en-US" sz="600" i="0" kern="1200" smtClean="0">
                <a:solidFill>
                  <a:schemeClr val="bg1">
                    <a:lumMod val="75000"/>
                  </a:schemeClr>
                </a:solidFill>
                <a:latin typeface="Georgia" pitchFamily="18" charset="0"/>
                <a:ea typeface="+mn-ea"/>
                <a:cs typeface="+mn-cs"/>
              </a:defRPr>
            </a:lvl1pPr>
          </a:lstStyle>
          <a:p>
            <a:endParaRPr lang="en-GB"/>
          </a:p>
        </p:txBody>
      </p:sp>
      <p:cxnSp>
        <p:nvCxnSpPr>
          <p:cNvPr id="24" name="Straight Connector 23"/>
          <p:cNvCxnSpPr/>
          <p:nvPr userDrawn="1"/>
        </p:nvCxnSpPr>
        <p:spPr>
          <a:xfrm>
            <a:off x="343366" y="4801146"/>
            <a:ext cx="8460000" cy="0"/>
          </a:xfrm>
          <a:prstGeom prst="line">
            <a:avLst/>
          </a:prstGeom>
          <a:ln w="12700">
            <a:solidFill>
              <a:schemeClr val="tx1">
                <a:lumMod val="75000"/>
                <a:lumOff val="25000"/>
              </a:schemeClr>
            </a:solidFill>
            <a:miter lim="800000"/>
          </a:ln>
        </p:spPr>
        <p:style>
          <a:lnRef idx="1">
            <a:schemeClr val="accent1"/>
          </a:lnRef>
          <a:fillRef idx="0">
            <a:schemeClr val="accent1"/>
          </a:fillRef>
          <a:effectRef idx="0">
            <a:schemeClr val="accent1"/>
          </a:effectRef>
          <a:fontRef idx="minor">
            <a:schemeClr val="tx1"/>
          </a:fontRef>
        </p:style>
      </p:cxnSp>
      <p:sp>
        <p:nvSpPr>
          <p:cNvPr id="47" name="Footer Placeholder 6"/>
          <p:cNvSpPr>
            <a:spLocks noGrp="1"/>
          </p:cNvSpPr>
          <p:nvPr>
            <p:ph type="ftr" sz="quarter" idx="3"/>
          </p:nvPr>
        </p:nvSpPr>
        <p:spPr>
          <a:xfrm>
            <a:off x="608553" y="4836662"/>
            <a:ext cx="3973117" cy="311601"/>
          </a:xfrm>
          <a:prstGeom prst="rect">
            <a:avLst/>
          </a:prstGeom>
        </p:spPr>
        <p:txBody>
          <a:bodyPr lIns="0" rIns="0" bIns="0" anchor="ctr"/>
          <a:lstStyle>
            <a:lvl1pPr>
              <a:defRPr sz="600">
                <a:solidFill>
                  <a:schemeClr val="bg1">
                    <a:lumMod val="75000"/>
                  </a:schemeClr>
                </a:solidFill>
                <a:latin typeface="+mj-lt"/>
              </a:defRPr>
            </a:lvl1pPr>
          </a:lstStyle>
          <a:p>
            <a:endParaRPr lang="pt-BR" dirty="0"/>
          </a:p>
        </p:txBody>
      </p:sp>
      <p:grpSp>
        <p:nvGrpSpPr>
          <p:cNvPr id="22" name="Group 21"/>
          <p:cNvGrpSpPr/>
          <p:nvPr userDrawn="1"/>
        </p:nvGrpSpPr>
        <p:grpSpPr>
          <a:xfrm>
            <a:off x="7686461" y="4906654"/>
            <a:ext cx="1124815" cy="151147"/>
            <a:chOff x="7686461" y="4581466"/>
            <a:chExt cx="1124815" cy="151147"/>
          </a:xfrm>
        </p:grpSpPr>
        <p:sp>
          <p:nvSpPr>
            <p:cNvPr id="23"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5"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6"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7"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8"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9"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0"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1"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2"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3"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4"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5"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6"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7"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8"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739824420"/>
      </p:ext>
    </p:extLst>
  </p:cSld>
  <p:clrMap bg1="lt1" tx1="dk1" bg2="lt2" tx2="dk2" accent1="accent1" accent2="accent2" accent3="accent3" accent4="accent4" accent5="accent5" accent6="accent6" hlink="hlink" folHlink="folHlink"/>
  <p:sldLayoutIdLst>
    <p:sldLayoutId id="2147483994" r:id="rId1"/>
    <p:sldLayoutId id="2147483995" r:id="rId2"/>
    <p:sldLayoutId id="2147484032" r:id="rId3"/>
  </p:sldLayoutIdLst>
  <p:timing>
    <p:tnLst>
      <p:par>
        <p:cTn id="1" dur="indefinite" restart="never" nodeType="tmRoot"/>
      </p:par>
    </p:tnLst>
  </p:timing>
  <p:hf hdr="0" dt="0"/>
  <p:txStyles>
    <p:titleStyle>
      <a:lvl1pPr algn="l" defTabSz="914400" rtl="0" eaLnBrk="1" latinLnBrk="0" hangingPunct="1">
        <a:spcBef>
          <a:spcPct val="0"/>
        </a:spcBef>
        <a:buNone/>
        <a:defRPr lang="en-US" sz="2800" i="0" kern="1200" baseline="0" dirty="0">
          <a:solidFill>
            <a:schemeClr val="tx1">
              <a:lumMod val="75000"/>
              <a:lumOff val="25000"/>
            </a:schemeClr>
          </a:solidFill>
          <a:latin typeface="Georgia" pitchFamily="18" charset="0"/>
          <a:ea typeface="+mj-ea"/>
          <a:cs typeface="+mj-cs"/>
        </a:defRPr>
      </a:lvl1pPr>
    </p:titleStyle>
    <p:bodyStyle>
      <a:lvl1pPr marL="228600" indent="-228600" algn="l" defTabSz="914400" rtl="0" eaLnBrk="1" latinLnBrk="0" hangingPunct="1">
        <a:spcBef>
          <a:spcPct val="20000"/>
        </a:spcBef>
        <a:buClr>
          <a:schemeClr val="accent1"/>
        </a:buClr>
        <a:buSzPct val="99000"/>
        <a:buFont typeface="Arial" pitchFamily="34" charset="0"/>
        <a:buChar char="•"/>
        <a:defRPr lang="en-US" sz="20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1pPr>
      <a:lvl2pPr marL="400050" indent="-171450" algn="l" defTabSz="914400" rtl="0" eaLnBrk="1" latinLnBrk="0" hangingPunct="1">
        <a:spcBef>
          <a:spcPct val="20000"/>
        </a:spcBef>
        <a:buClr>
          <a:schemeClr val="accent1"/>
        </a:buClr>
        <a:buSzPct val="99000"/>
        <a:buFont typeface="Arial" pitchFamily="34" charset="0"/>
        <a:buChar char="•"/>
        <a:defRPr lang="en-US" sz="16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2pPr>
      <a:lvl3pPr marL="571500" indent="-171450" algn="l" defTabSz="914400" rtl="0" eaLnBrk="1" latinLnBrk="0" hangingPunct="1">
        <a:spcBef>
          <a:spcPct val="20000"/>
        </a:spcBef>
        <a:buClr>
          <a:schemeClr val="accent1"/>
        </a:buClr>
        <a:buSzPct val="99000"/>
        <a:buFont typeface="Arial" pitchFamily="34" charset="0"/>
        <a:buChar char="•"/>
        <a:defRPr lang="en-US" sz="16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3pPr>
      <a:lvl4pPr marL="742950" indent="-171450" algn="l" defTabSz="914400" rtl="0" eaLnBrk="1" latinLnBrk="0" hangingPunct="1">
        <a:spcBef>
          <a:spcPct val="20000"/>
        </a:spcBef>
        <a:buClr>
          <a:schemeClr val="accent1"/>
        </a:buClr>
        <a:buSzPct val="99000"/>
        <a:buFont typeface="Arial" pitchFamily="34" charset="0"/>
        <a:buChar char="•"/>
        <a:tabLst/>
        <a:defRPr lang="en-US" sz="16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4pPr>
      <a:lvl5pPr marL="914400" indent="-171450" algn="l" defTabSz="914400" rtl="0" eaLnBrk="1" latinLnBrk="0" hangingPunct="1">
        <a:spcBef>
          <a:spcPct val="20000"/>
        </a:spcBef>
        <a:buClr>
          <a:schemeClr val="accent1"/>
        </a:buClr>
        <a:buSzPct val="99000"/>
        <a:buFont typeface="Arial" pitchFamily="34" charset="0"/>
        <a:buChar char="•"/>
        <a:defRPr lang="en-US" sz="1600" i="0" kern="1200" dirty="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0" y="4849795"/>
            <a:ext cx="474480" cy="298467"/>
          </a:xfrm>
          <a:prstGeom prst="rect">
            <a:avLst/>
          </a:prstGeom>
        </p:spPr>
        <p:txBody>
          <a:bodyPr vert="horz" lIns="91440" tIns="0" rIns="91440" bIns="36576" rtlCol="0" anchor="ctr"/>
          <a:lstStyle>
            <a:lvl1pPr algn="r">
              <a:defRPr lang="en-US" sz="1200" i="0" smtClean="0">
                <a:solidFill>
                  <a:schemeClr val="bg1">
                    <a:lumMod val="75000"/>
                  </a:schemeClr>
                </a:solidFill>
                <a:latin typeface="Georgia" pitchFamily="18" charset="0"/>
              </a:defRPr>
            </a:lvl1pPr>
          </a:lstStyle>
          <a:p>
            <a:fld id="{19AB4E72-7858-48F1-A40D-12FF09E4BFB8}" type="slidenum">
              <a:rPr lang="en-GB" smtClean="0"/>
              <a:pPr/>
              <a:t>‹Nº›</a:t>
            </a:fld>
            <a:endParaRPr lang="en-GB"/>
          </a:p>
        </p:txBody>
      </p:sp>
      <p:sp>
        <p:nvSpPr>
          <p:cNvPr id="3" name="Date Placeholder 2"/>
          <p:cNvSpPr>
            <a:spLocks noGrp="1"/>
          </p:cNvSpPr>
          <p:nvPr>
            <p:ph type="dt" sz="half" idx="2"/>
          </p:nvPr>
        </p:nvSpPr>
        <p:spPr>
          <a:xfrm>
            <a:off x="33334" y="5060852"/>
            <a:ext cx="452438" cy="65358"/>
          </a:xfrm>
          <a:prstGeom prst="rect">
            <a:avLst/>
          </a:prstGeom>
        </p:spPr>
        <p:txBody>
          <a:bodyPr vert="horz" wrap="none" lIns="0" tIns="45720" rIns="0" bIns="45720" rtlCol="0" anchor="ctr"/>
          <a:lstStyle>
            <a:lvl1pPr algn="ctr">
              <a:defRPr lang="en-US" sz="600" i="0" kern="1200" smtClean="0">
                <a:solidFill>
                  <a:schemeClr val="bg1">
                    <a:lumMod val="75000"/>
                  </a:schemeClr>
                </a:solidFill>
                <a:latin typeface="Georgia" pitchFamily="18" charset="0"/>
                <a:ea typeface="+mn-ea"/>
                <a:cs typeface="+mn-cs"/>
              </a:defRPr>
            </a:lvl1pPr>
          </a:lstStyle>
          <a:p>
            <a:endParaRPr lang="en-GB"/>
          </a:p>
        </p:txBody>
      </p:sp>
      <p:cxnSp>
        <p:nvCxnSpPr>
          <p:cNvPr id="24" name="Straight Connector 23"/>
          <p:cNvCxnSpPr/>
          <p:nvPr userDrawn="1"/>
        </p:nvCxnSpPr>
        <p:spPr>
          <a:xfrm>
            <a:off x="343366" y="4801146"/>
            <a:ext cx="8460000" cy="0"/>
          </a:xfrm>
          <a:prstGeom prst="line">
            <a:avLst/>
          </a:prstGeom>
          <a:ln w="12700">
            <a:solidFill>
              <a:schemeClr val="tx1">
                <a:lumMod val="75000"/>
                <a:lumOff val="25000"/>
              </a:schemeClr>
            </a:solidFill>
            <a:miter lim="800000"/>
          </a:ln>
        </p:spPr>
        <p:style>
          <a:lnRef idx="1">
            <a:schemeClr val="accent1"/>
          </a:lnRef>
          <a:fillRef idx="0">
            <a:schemeClr val="accent1"/>
          </a:fillRef>
          <a:effectRef idx="0">
            <a:schemeClr val="accent1"/>
          </a:effectRef>
          <a:fontRef idx="minor">
            <a:schemeClr val="tx1"/>
          </a:fontRef>
        </p:style>
      </p:cxnSp>
      <p:sp>
        <p:nvSpPr>
          <p:cNvPr id="47" name="Footer Placeholder 6"/>
          <p:cNvSpPr>
            <a:spLocks noGrp="1"/>
          </p:cNvSpPr>
          <p:nvPr>
            <p:ph type="ftr" sz="quarter" idx="3"/>
          </p:nvPr>
        </p:nvSpPr>
        <p:spPr>
          <a:xfrm>
            <a:off x="608553" y="4836662"/>
            <a:ext cx="3973117" cy="311601"/>
          </a:xfrm>
          <a:prstGeom prst="rect">
            <a:avLst/>
          </a:prstGeom>
        </p:spPr>
        <p:txBody>
          <a:bodyPr lIns="0" rIns="0" bIns="0" anchor="ctr"/>
          <a:lstStyle>
            <a:lvl1pPr>
              <a:defRPr sz="600">
                <a:solidFill>
                  <a:schemeClr val="bg1">
                    <a:lumMod val="75000"/>
                  </a:schemeClr>
                </a:solidFill>
                <a:latin typeface="+mj-lt"/>
              </a:defRPr>
            </a:lvl1pPr>
          </a:lstStyle>
          <a:p>
            <a:endParaRPr lang="pt-BR" dirty="0"/>
          </a:p>
        </p:txBody>
      </p:sp>
      <p:grpSp>
        <p:nvGrpSpPr>
          <p:cNvPr id="22" name="Group 21"/>
          <p:cNvGrpSpPr/>
          <p:nvPr userDrawn="1"/>
        </p:nvGrpSpPr>
        <p:grpSpPr>
          <a:xfrm>
            <a:off x="7686461" y="4906654"/>
            <a:ext cx="1124815" cy="151147"/>
            <a:chOff x="7686461" y="4581466"/>
            <a:chExt cx="1124815" cy="151147"/>
          </a:xfrm>
        </p:grpSpPr>
        <p:sp>
          <p:nvSpPr>
            <p:cNvPr id="23"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5"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6"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7"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8"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9"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0"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1"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2"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3"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4"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5"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6"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7"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8"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806554187"/>
      </p:ext>
    </p:extLst>
  </p:cSld>
  <p:clrMap bg1="lt1" tx1="dk1" bg2="lt2" tx2="dk2" accent1="accent1" accent2="accent2" accent3="accent3" accent4="accent4" accent5="accent5" accent6="accent6" hlink="hlink" folHlink="folHlink"/>
  <p:sldLayoutIdLst>
    <p:sldLayoutId id="2147484017" r:id="rId1"/>
    <p:sldLayoutId id="2147484040" r:id="rId2"/>
    <p:sldLayoutId id="2147484034" r:id="rId3"/>
  </p:sldLayoutIdLst>
  <p:timing>
    <p:tnLst>
      <p:par>
        <p:cTn id="1" dur="indefinite" restart="never" nodeType="tmRoot"/>
      </p:par>
    </p:tnLst>
  </p:timing>
  <p:hf hdr="0" dt="0"/>
  <p:txStyles>
    <p:titleStyle>
      <a:lvl1pPr algn="l" defTabSz="914400" rtl="0" eaLnBrk="1" latinLnBrk="0" hangingPunct="1">
        <a:spcBef>
          <a:spcPct val="0"/>
        </a:spcBef>
        <a:buNone/>
        <a:defRPr lang="en-US" sz="2800" i="0" kern="1200" baseline="0" dirty="0">
          <a:solidFill>
            <a:schemeClr val="tx1">
              <a:lumMod val="75000"/>
              <a:lumOff val="25000"/>
            </a:schemeClr>
          </a:solidFill>
          <a:latin typeface="Georgia" pitchFamily="18" charset="0"/>
          <a:ea typeface="+mj-ea"/>
          <a:cs typeface="+mj-cs"/>
        </a:defRPr>
      </a:lvl1pPr>
    </p:titleStyle>
    <p:bodyStyle>
      <a:lvl1pPr marL="228600" indent="-228600" algn="l" defTabSz="914400" rtl="0" eaLnBrk="1" latinLnBrk="0" hangingPunct="1">
        <a:spcBef>
          <a:spcPct val="20000"/>
        </a:spcBef>
        <a:buClr>
          <a:schemeClr val="accent1"/>
        </a:buClr>
        <a:buSzPct val="99000"/>
        <a:buFont typeface="Arial" pitchFamily="34" charset="0"/>
        <a:buChar char="•"/>
        <a:defRPr lang="en-US" sz="20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1pPr>
      <a:lvl2pPr marL="400050" indent="-171450" algn="l" defTabSz="914400" rtl="0" eaLnBrk="1" latinLnBrk="0" hangingPunct="1">
        <a:spcBef>
          <a:spcPct val="20000"/>
        </a:spcBef>
        <a:buClr>
          <a:schemeClr val="accent1"/>
        </a:buClr>
        <a:buSzPct val="99000"/>
        <a:buFont typeface="Arial" pitchFamily="34" charset="0"/>
        <a:buChar char="•"/>
        <a:defRPr lang="en-US" sz="16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2pPr>
      <a:lvl3pPr marL="571500" indent="-171450" algn="l" defTabSz="914400" rtl="0" eaLnBrk="1" latinLnBrk="0" hangingPunct="1">
        <a:spcBef>
          <a:spcPct val="20000"/>
        </a:spcBef>
        <a:buClr>
          <a:schemeClr val="accent1"/>
        </a:buClr>
        <a:buSzPct val="99000"/>
        <a:buFont typeface="Arial" pitchFamily="34" charset="0"/>
        <a:buChar char="•"/>
        <a:defRPr lang="en-US" sz="16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3pPr>
      <a:lvl4pPr marL="742950" indent="-171450" algn="l" defTabSz="914400" rtl="0" eaLnBrk="1" latinLnBrk="0" hangingPunct="1">
        <a:spcBef>
          <a:spcPct val="20000"/>
        </a:spcBef>
        <a:buClr>
          <a:schemeClr val="accent1"/>
        </a:buClr>
        <a:buSzPct val="99000"/>
        <a:buFont typeface="Arial" pitchFamily="34" charset="0"/>
        <a:buChar char="•"/>
        <a:tabLst/>
        <a:defRPr lang="en-US" sz="16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4pPr>
      <a:lvl5pPr marL="914400" indent="-171450" algn="l" defTabSz="914400" rtl="0" eaLnBrk="1" latinLnBrk="0" hangingPunct="1">
        <a:spcBef>
          <a:spcPct val="20000"/>
        </a:spcBef>
        <a:buClr>
          <a:schemeClr val="accent1"/>
        </a:buClr>
        <a:buSzPct val="99000"/>
        <a:buFont typeface="Arial" pitchFamily="34" charset="0"/>
        <a:buChar char="•"/>
        <a:defRPr lang="en-US" sz="1600" i="0" kern="1200" dirty="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0" y="4849795"/>
            <a:ext cx="474480" cy="298467"/>
          </a:xfrm>
          <a:prstGeom prst="rect">
            <a:avLst/>
          </a:prstGeom>
        </p:spPr>
        <p:txBody>
          <a:bodyPr vert="horz" lIns="91440" tIns="0" rIns="91440" bIns="36576" rtlCol="0" anchor="ctr"/>
          <a:lstStyle>
            <a:lvl1pPr algn="r">
              <a:defRPr lang="en-US" sz="1200" i="0" smtClean="0">
                <a:solidFill>
                  <a:schemeClr val="bg1">
                    <a:lumMod val="75000"/>
                  </a:schemeClr>
                </a:solidFill>
                <a:latin typeface="Georgia" pitchFamily="18" charset="0"/>
              </a:defRPr>
            </a:lvl1pPr>
          </a:lstStyle>
          <a:p>
            <a:fld id="{19AB4E72-7858-48F1-A40D-12FF09E4BFB8}" type="slidenum">
              <a:rPr lang="en-GB" smtClean="0"/>
              <a:pPr/>
              <a:t>‹Nº›</a:t>
            </a:fld>
            <a:endParaRPr lang="en-GB"/>
          </a:p>
        </p:txBody>
      </p:sp>
      <p:sp>
        <p:nvSpPr>
          <p:cNvPr id="3" name="Date Placeholder 2"/>
          <p:cNvSpPr>
            <a:spLocks noGrp="1"/>
          </p:cNvSpPr>
          <p:nvPr>
            <p:ph type="dt" sz="half" idx="2"/>
          </p:nvPr>
        </p:nvSpPr>
        <p:spPr>
          <a:xfrm>
            <a:off x="33334" y="5060852"/>
            <a:ext cx="452438" cy="65358"/>
          </a:xfrm>
          <a:prstGeom prst="rect">
            <a:avLst/>
          </a:prstGeom>
        </p:spPr>
        <p:txBody>
          <a:bodyPr vert="horz" wrap="none" lIns="0" tIns="45720" rIns="0" bIns="45720" rtlCol="0" anchor="ctr"/>
          <a:lstStyle>
            <a:lvl1pPr algn="ctr">
              <a:defRPr lang="en-US" sz="600" i="0" kern="1200" smtClean="0">
                <a:solidFill>
                  <a:schemeClr val="bg1">
                    <a:lumMod val="75000"/>
                  </a:schemeClr>
                </a:solidFill>
                <a:latin typeface="Georgia" pitchFamily="18" charset="0"/>
                <a:ea typeface="+mn-ea"/>
                <a:cs typeface="+mn-cs"/>
              </a:defRPr>
            </a:lvl1pPr>
          </a:lstStyle>
          <a:p>
            <a:endParaRPr lang="en-GB"/>
          </a:p>
        </p:txBody>
      </p:sp>
      <p:cxnSp>
        <p:nvCxnSpPr>
          <p:cNvPr id="24" name="Straight Connector 23"/>
          <p:cNvCxnSpPr/>
          <p:nvPr userDrawn="1"/>
        </p:nvCxnSpPr>
        <p:spPr>
          <a:xfrm>
            <a:off x="343366" y="4801146"/>
            <a:ext cx="8460000" cy="0"/>
          </a:xfrm>
          <a:prstGeom prst="line">
            <a:avLst/>
          </a:prstGeom>
          <a:ln w="12700">
            <a:solidFill>
              <a:schemeClr val="tx1">
                <a:lumMod val="75000"/>
                <a:lumOff val="25000"/>
              </a:schemeClr>
            </a:solidFill>
            <a:miter lim="800000"/>
          </a:ln>
        </p:spPr>
        <p:style>
          <a:lnRef idx="1">
            <a:schemeClr val="accent1"/>
          </a:lnRef>
          <a:fillRef idx="0">
            <a:schemeClr val="accent1"/>
          </a:fillRef>
          <a:effectRef idx="0">
            <a:schemeClr val="accent1"/>
          </a:effectRef>
          <a:fontRef idx="minor">
            <a:schemeClr val="tx1"/>
          </a:fontRef>
        </p:style>
      </p:cxnSp>
      <p:sp>
        <p:nvSpPr>
          <p:cNvPr id="47" name="Footer Placeholder 6"/>
          <p:cNvSpPr>
            <a:spLocks noGrp="1"/>
          </p:cNvSpPr>
          <p:nvPr>
            <p:ph type="ftr" sz="quarter" idx="3"/>
          </p:nvPr>
        </p:nvSpPr>
        <p:spPr>
          <a:xfrm>
            <a:off x="608553" y="4836662"/>
            <a:ext cx="3973117" cy="311601"/>
          </a:xfrm>
          <a:prstGeom prst="rect">
            <a:avLst/>
          </a:prstGeom>
        </p:spPr>
        <p:txBody>
          <a:bodyPr lIns="0" rIns="0" bIns="0" anchor="ctr"/>
          <a:lstStyle>
            <a:lvl1pPr>
              <a:defRPr sz="600">
                <a:solidFill>
                  <a:schemeClr val="bg1">
                    <a:lumMod val="75000"/>
                  </a:schemeClr>
                </a:solidFill>
                <a:latin typeface="+mj-lt"/>
              </a:defRPr>
            </a:lvl1pPr>
          </a:lstStyle>
          <a:p>
            <a:endParaRPr lang="pt-BR" dirty="0"/>
          </a:p>
        </p:txBody>
      </p:sp>
      <p:grpSp>
        <p:nvGrpSpPr>
          <p:cNvPr id="39" name="Group 38"/>
          <p:cNvGrpSpPr/>
          <p:nvPr userDrawn="1"/>
        </p:nvGrpSpPr>
        <p:grpSpPr>
          <a:xfrm>
            <a:off x="7686461" y="4906654"/>
            <a:ext cx="1124815" cy="151147"/>
            <a:chOff x="7686461" y="4581466"/>
            <a:chExt cx="1124815" cy="151147"/>
          </a:xfrm>
        </p:grpSpPr>
        <p:sp>
          <p:nvSpPr>
            <p:cNvPr id="40"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1"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2"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3"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4"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5"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6"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8"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9"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0"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1"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2"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3"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4"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5"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801138293"/>
      </p:ext>
    </p:extLst>
  </p:cSld>
  <p:clrMap bg1="lt1" tx1="dk1" bg2="lt2" tx2="dk2" accent1="accent1" accent2="accent2" accent3="accent3" accent4="accent4" accent5="accent5" accent6="accent6" hlink="hlink" folHlink="folHlink"/>
  <p:sldLayoutIdLst>
    <p:sldLayoutId id="2147484084" r:id="rId1"/>
    <p:sldLayoutId id="2147484085" r:id="rId2"/>
  </p:sldLayoutIdLst>
  <p:timing>
    <p:tnLst>
      <p:par>
        <p:cTn id="1" dur="indefinite" restart="never" nodeType="tmRoot"/>
      </p:par>
    </p:tnLst>
  </p:timing>
  <p:hf hdr="0" dt="0"/>
  <p:txStyles>
    <p:titleStyle>
      <a:lvl1pPr algn="l" defTabSz="914400" rtl="0" eaLnBrk="1" latinLnBrk="0" hangingPunct="1">
        <a:spcBef>
          <a:spcPct val="0"/>
        </a:spcBef>
        <a:buNone/>
        <a:defRPr lang="en-US" sz="2800" i="0" kern="1200" baseline="0" dirty="0">
          <a:solidFill>
            <a:schemeClr val="tx1">
              <a:lumMod val="75000"/>
              <a:lumOff val="25000"/>
            </a:schemeClr>
          </a:solidFill>
          <a:latin typeface="Georgia" pitchFamily="18" charset="0"/>
          <a:ea typeface="+mj-ea"/>
          <a:cs typeface="+mj-cs"/>
        </a:defRPr>
      </a:lvl1pPr>
    </p:titleStyle>
    <p:bodyStyle>
      <a:lvl1pPr marL="228600" indent="-228600" algn="l" defTabSz="914400" rtl="0" eaLnBrk="1" latinLnBrk="0" hangingPunct="1">
        <a:spcBef>
          <a:spcPct val="20000"/>
        </a:spcBef>
        <a:buClr>
          <a:schemeClr val="accent1"/>
        </a:buClr>
        <a:buSzPct val="99000"/>
        <a:buFont typeface="Arial" pitchFamily="34" charset="0"/>
        <a:buChar char="•"/>
        <a:defRPr lang="en-US" sz="20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1pPr>
      <a:lvl2pPr marL="400050" indent="-171450" algn="l" defTabSz="914400" rtl="0" eaLnBrk="1" latinLnBrk="0" hangingPunct="1">
        <a:spcBef>
          <a:spcPct val="20000"/>
        </a:spcBef>
        <a:buClr>
          <a:schemeClr val="accent1"/>
        </a:buClr>
        <a:buSzPct val="99000"/>
        <a:buFont typeface="Arial" pitchFamily="34" charset="0"/>
        <a:buChar char="•"/>
        <a:defRPr lang="en-US" sz="16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2pPr>
      <a:lvl3pPr marL="571500" indent="-171450" algn="l" defTabSz="914400" rtl="0" eaLnBrk="1" latinLnBrk="0" hangingPunct="1">
        <a:spcBef>
          <a:spcPct val="20000"/>
        </a:spcBef>
        <a:buClr>
          <a:schemeClr val="accent1"/>
        </a:buClr>
        <a:buSzPct val="99000"/>
        <a:buFont typeface="Arial" pitchFamily="34" charset="0"/>
        <a:buChar char="•"/>
        <a:defRPr lang="en-US" sz="16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3pPr>
      <a:lvl4pPr marL="742950" indent="-171450" algn="l" defTabSz="914400" rtl="0" eaLnBrk="1" latinLnBrk="0" hangingPunct="1">
        <a:spcBef>
          <a:spcPct val="20000"/>
        </a:spcBef>
        <a:buClr>
          <a:schemeClr val="accent1"/>
        </a:buClr>
        <a:buSzPct val="99000"/>
        <a:buFont typeface="Arial" pitchFamily="34" charset="0"/>
        <a:buChar char="•"/>
        <a:tabLst/>
        <a:defRPr lang="en-US" sz="16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4pPr>
      <a:lvl5pPr marL="914400" indent="-171450" algn="l" defTabSz="914400" rtl="0" eaLnBrk="1" latinLnBrk="0" hangingPunct="1">
        <a:spcBef>
          <a:spcPct val="20000"/>
        </a:spcBef>
        <a:buClr>
          <a:schemeClr val="accent1"/>
        </a:buClr>
        <a:buSzPct val="99000"/>
        <a:buFont typeface="Arial" pitchFamily="34" charset="0"/>
        <a:buChar char="•"/>
        <a:defRPr lang="en-US" sz="1600" i="0" kern="1200" dirty="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0" y="4849795"/>
            <a:ext cx="474480" cy="298467"/>
          </a:xfrm>
          <a:prstGeom prst="rect">
            <a:avLst/>
          </a:prstGeom>
        </p:spPr>
        <p:txBody>
          <a:bodyPr vert="horz" lIns="91440" tIns="0" rIns="91440" bIns="36576" rtlCol="0" anchor="ctr"/>
          <a:lstStyle>
            <a:lvl1pPr algn="r">
              <a:defRPr lang="en-US" sz="1200" i="0" smtClean="0">
                <a:solidFill>
                  <a:schemeClr val="bg1">
                    <a:lumMod val="75000"/>
                  </a:schemeClr>
                </a:solidFill>
                <a:latin typeface="Georgia" pitchFamily="18" charset="0"/>
              </a:defRPr>
            </a:lvl1pPr>
          </a:lstStyle>
          <a:p>
            <a:fld id="{19AB4E72-7858-48F1-A40D-12FF09E4BFB8}" type="slidenum">
              <a:rPr lang="en-GB" smtClean="0"/>
              <a:pPr/>
              <a:t>‹Nº›</a:t>
            </a:fld>
            <a:endParaRPr lang="en-GB"/>
          </a:p>
        </p:txBody>
      </p:sp>
      <p:sp>
        <p:nvSpPr>
          <p:cNvPr id="3" name="Date Placeholder 2"/>
          <p:cNvSpPr>
            <a:spLocks noGrp="1"/>
          </p:cNvSpPr>
          <p:nvPr>
            <p:ph type="dt" sz="half" idx="2"/>
          </p:nvPr>
        </p:nvSpPr>
        <p:spPr>
          <a:xfrm>
            <a:off x="33334" y="5060852"/>
            <a:ext cx="452438" cy="65358"/>
          </a:xfrm>
          <a:prstGeom prst="rect">
            <a:avLst/>
          </a:prstGeom>
        </p:spPr>
        <p:txBody>
          <a:bodyPr vert="horz" wrap="none" lIns="0" tIns="45720" rIns="0" bIns="45720" rtlCol="0" anchor="ctr"/>
          <a:lstStyle>
            <a:lvl1pPr algn="ctr">
              <a:defRPr lang="en-US" sz="600" i="0" kern="1200" smtClean="0">
                <a:solidFill>
                  <a:schemeClr val="bg1">
                    <a:lumMod val="75000"/>
                  </a:schemeClr>
                </a:solidFill>
                <a:latin typeface="Georgia" pitchFamily="18" charset="0"/>
                <a:ea typeface="+mn-ea"/>
                <a:cs typeface="+mn-cs"/>
              </a:defRPr>
            </a:lvl1pPr>
          </a:lstStyle>
          <a:p>
            <a:endParaRPr lang="en-GB"/>
          </a:p>
        </p:txBody>
      </p:sp>
      <p:cxnSp>
        <p:nvCxnSpPr>
          <p:cNvPr id="24" name="Straight Connector 23"/>
          <p:cNvCxnSpPr/>
          <p:nvPr userDrawn="1"/>
        </p:nvCxnSpPr>
        <p:spPr>
          <a:xfrm>
            <a:off x="343366" y="4801146"/>
            <a:ext cx="8460000" cy="0"/>
          </a:xfrm>
          <a:prstGeom prst="line">
            <a:avLst/>
          </a:prstGeom>
          <a:ln w="12700">
            <a:solidFill>
              <a:schemeClr val="tx1">
                <a:lumMod val="75000"/>
                <a:lumOff val="25000"/>
              </a:schemeClr>
            </a:solidFill>
            <a:miter lim="800000"/>
          </a:ln>
        </p:spPr>
        <p:style>
          <a:lnRef idx="1">
            <a:schemeClr val="accent1"/>
          </a:lnRef>
          <a:fillRef idx="0">
            <a:schemeClr val="accent1"/>
          </a:fillRef>
          <a:effectRef idx="0">
            <a:schemeClr val="accent1"/>
          </a:effectRef>
          <a:fontRef idx="minor">
            <a:schemeClr val="tx1"/>
          </a:fontRef>
        </p:style>
      </p:cxnSp>
      <p:sp>
        <p:nvSpPr>
          <p:cNvPr id="47" name="Footer Placeholder 6"/>
          <p:cNvSpPr>
            <a:spLocks noGrp="1"/>
          </p:cNvSpPr>
          <p:nvPr>
            <p:ph type="ftr" sz="quarter" idx="3"/>
          </p:nvPr>
        </p:nvSpPr>
        <p:spPr>
          <a:xfrm>
            <a:off x="608553" y="4836662"/>
            <a:ext cx="3973117" cy="311601"/>
          </a:xfrm>
          <a:prstGeom prst="rect">
            <a:avLst/>
          </a:prstGeom>
        </p:spPr>
        <p:txBody>
          <a:bodyPr lIns="0" rIns="0" bIns="0" anchor="ctr"/>
          <a:lstStyle>
            <a:lvl1pPr>
              <a:defRPr sz="600">
                <a:solidFill>
                  <a:schemeClr val="bg1">
                    <a:lumMod val="75000"/>
                  </a:schemeClr>
                </a:solidFill>
                <a:latin typeface="+mj-lt"/>
              </a:defRPr>
            </a:lvl1pPr>
          </a:lstStyle>
          <a:p>
            <a:endParaRPr lang="pt-BR" dirty="0"/>
          </a:p>
        </p:txBody>
      </p:sp>
      <p:grpSp>
        <p:nvGrpSpPr>
          <p:cNvPr id="39" name="Group 38"/>
          <p:cNvGrpSpPr/>
          <p:nvPr userDrawn="1"/>
        </p:nvGrpSpPr>
        <p:grpSpPr>
          <a:xfrm>
            <a:off x="7686461" y="4906654"/>
            <a:ext cx="1124815" cy="151147"/>
            <a:chOff x="7686461" y="4581466"/>
            <a:chExt cx="1124815" cy="151147"/>
          </a:xfrm>
        </p:grpSpPr>
        <p:sp>
          <p:nvSpPr>
            <p:cNvPr id="40" name="Freeform 5"/>
            <p:cNvSpPr>
              <a:spLocks/>
            </p:cNvSpPr>
            <p:nvPr userDrawn="1"/>
          </p:nvSpPr>
          <p:spPr bwMode="auto">
            <a:xfrm>
              <a:off x="8636695" y="4639855"/>
              <a:ext cx="104280" cy="67762"/>
            </a:xfrm>
            <a:custGeom>
              <a:avLst/>
              <a:gdLst>
                <a:gd name="T0" fmla="*/ 868 w 1069"/>
                <a:gd name="T1" fmla="*/ 567 h 693"/>
                <a:gd name="T2" fmla="*/ 868 w 1069"/>
                <a:gd name="T3" fmla="*/ 567 h 693"/>
                <a:gd name="T4" fmla="*/ 863 w 1069"/>
                <a:gd name="T5" fmla="*/ 581 h 693"/>
                <a:gd name="T6" fmla="*/ 857 w 1069"/>
                <a:gd name="T7" fmla="*/ 594 h 693"/>
                <a:gd name="T8" fmla="*/ 851 w 1069"/>
                <a:gd name="T9" fmla="*/ 606 h 693"/>
                <a:gd name="T10" fmla="*/ 845 w 1069"/>
                <a:gd name="T11" fmla="*/ 617 h 693"/>
                <a:gd name="T12" fmla="*/ 837 w 1069"/>
                <a:gd name="T13" fmla="*/ 626 h 693"/>
                <a:gd name="T14" fmla="*/ 831 w 1069"/>
                <a:gd name="T15" fmla="*/ 636 h 693"/>
                <a:gd name="T16" fmla="*/ 823 w 1069"/>
                <a:gd name="T17" fmla="*/ 644 h 693"/>
                <a:gd name="T18" fmla="*/ 816 w 1069"/>
                <a:gd name="T19" fmla="*/ 652 h 693"/>
                <a:gd name="T20" fmla="*/ 801 w 1069"/>
                <a:gd name="T21" fmla="*/ 664 h 693"/>
                <a:gd name="T22" fmla="*/ 786 w 1069"/>
                <a:gd name="T23" fmla="*/ 674 h 693"/>
                <a:gd name="T24" fmla="*/ 771 w 1069"/>
                <a:gd name="T25" fmla="*/ 682 h 693"/>
                <a:gd name="T26" fmla="*/ 757 w 1069"/>
                <a:gd name="T27" fmla="*/ 687 h 693"/>
                <a:gd name="T28" fmla="*/ 743 w 1069"/>
                <a:gd name="T29" fmla="*/ 690 h 693"/>
                <a:gd name="T30" fmla="*/ 730 w 1069"/>
                <a:gd name="T31" fmla="*/ 692 h 693"/>
                <a:gd name="T32" fmla="*/ 719 w 1069"/>
                <a:gd name="T33" fmla="*/ 693 h 693"/>
                <a:gd name="T34" fmla="*/ 708 w 1069"/>
                <a:gd name="T35" fmla="*/ 693 h 693"/>
                <a:gd name="T36" fmla="*/ 693 w 1069"/>
                <a:gd name="T37" fmla="*/ 692 h 693"/>
                <a:gd name="T38" fmla="*/ 688 w 1069"/>
                <a:gd name="T39" fmla="*/ 691 h 693"/>
                <a:gd name="T40" fmla="*/ 534 w 1069"/>
                <a:gd name="T41" fmla="*/ 221 h 693"/>
                <a:gd name="T42" fmla="*/ 532 w 1069"/>
                <a:gd name="T43" fmla="*/ 221 h 693"/>
                <a:gd name="T44" fmla="*/ 532 w 1069"/>
                <a:gd name="T45" fmla="*/ 221 h 693"/>
                <a:gd name="T46" fmla="*/ 491 w 1069"/>
                <a:gd name="T47" fmla="*/ 347 h 693"/>
                <a:gd name="T48" fmla="*/ 419 w 1069"/>
                <a:gd name="T49" fmla="*/ 567 h 693"/>
                <a:gd name="T50" fmla="*/ 419 w 1069"/>
                <a:gd name="T51" fmla="*/ 567 h 693"/>
                <a:gd name="T52" fmla="*/ 415 w 1069"/>
                <a:gd name="T53" fmla="*/ 580 h 693"/>
                <a:gd name="T54" fmla="*/ 410 w 1069"/>
                <a:gd name="T55" fmla="*/ 593 h 693"/>
                <a:gd name="T56" fmla="*/ 404 w 1069"/>
                <a:gd name="T57" fmla="*/ 605 h 693"/>
                <a:gd name="T58" fmla="*/ 398 w 1069"/>
                <a:gd name="T59" fmla="*/ 615 h 693"/>
                <a:gd name="T60" fmla="*/ 392 w 1069"/>
                <a:gd name="T61" fmla="*/ 626 h 693"/>
                <a:gd name="T62" fmla="*/ 385 w 1069"/>
                <a:gd name="T63" fmla="*/ 635 h 693"/>
                <a:gd name="T64" fmla="*/ 379 w 1069"/>
                <a:gd name="T65" fmla="*/ 643 h 693"/>
                <a:gd name="T66" fmla="*/ 371 w 1069"/>
                <a:gd name="T67" fmla="*/ 651 h 693"/>
                <a:gd name="T68" fmla="*/ 357 w 1069"/>
                <a:gd name="T69" fmla="*/ 664 h 693"/>
                <a:gd name="T70" fmla="*/ 343 w 1069"/>
                <a:gd name="T71" fmla="*/ 673 h 693"/>
                <a:gd name="T72" fmla="*/ 328 w 1069"/>
                <a:gd name="T73" fmla="*/ 681 h 693"/>
                <a:gd name="T74" fmla="*/ 315 w 1069"/>
                <a:gd name="T75" fmla="*/ 686 h 693"/>
                <a:gd name="T76" fmla="*/ 301 w 1069"/>
                <a:gd name="T77" fmla="*/ 690 h 693"/>
                <a:gd name="T78" fmla="*/ 288 w 1069"/>
                <a:gd name="T79" fmla="*/ 692 h 693"/>
                <a:gd name="T80" fmla="*/ 276 w 1069"/>
                <a:gd name="T81" fmla="*/ 693 h 693"/>
                <a:gd name="T82" fmla="*/ 266 w 1069"/>
                <a:gd name="T83" fmla="*/ 693 h 693"/>
                <a:gd name="T84" fmla="*/ 251 w 1069"/>
                <a:gd name="T85" fmla="*/ 692 h 693"/>
                <a:gd name="T86" fmla="*/ 246 w 1069"/>
                <a:gd name="T87" fmla="*/ 691 h 693"/>
                <a:gd name="T88" fmla="*/ 0 w 1069"/>
                <a:gd name="T89" fmla="*/ 0 h 693"/>
                <a:gd name="T90" fmla="*/ 176 w 1069"/>
                <a:gd name="T91" fmla="*/ 0 h 693"/>
                <a:gd name="T92" fmla="*/ 321 w 1069"/>
                <a:gd name="T93" fmla="*/ 471 h 693"/>
                <a:gd name="T94" fmla="*/ 324 w 1069"/>
                <a:gd name="T95" fmla="*/ 471 h 693"/>
                <a:gd name="T96" fmla="*/ 474 w 1069"/>
                <a:gd name="T97" fmla="*/ 0 h 693"/>
                <a:gd name="T98" fmla="*/ 606 w 1069"/>
                <a:gd name="T99" fmla="*/ 0 h 693"/>
                <a:gd name="T100" fmla="*/ 757 w 1069"/>
                <a:gd name="T101" fmla="*/ 472 h 693"/>
                <a:gd name="T102" fmla="*/ 761 w 1069"/>
                <a:gd name="T103" fmla="*/ 472 h 693"/>
                <a:gd name="T104" fmla="*/ 904 w 1069"/>
                <a:gd name="T105" fmla="*/ 0 h 693"/>
                <a:gd name="T106" fmla="*/ 1069 w 1069"/>
                <a:gd name="T107" fmla="*/ 0 h 693"/>
                <a:gd name="T108" fmla="*/ 1069 w 1069"/>
                <a:gd name="T109" fmla="*/ 0 h 693"/>
                <a:gd name="T110" fmla="*/ 985 w 1069"/>
                <a:gd name="T111" fmla="*/ 239 h 693"/>
                <a:gd name="T112" fmla="*/ 918 w 1069"/>
                <a:gd name="T113" fmla="*/ 428 h 693"/>
                <a:gd name="T114" fmla="*/ 868 w 1069"/>
                <a:gd name="T115" fmla="*/ 567 h 693"/>
                <a:gd name="T116" fmla="*/ 868 w 1069"/>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693">
                  <a:moveTo>
                    <a:pt x="868" y="567"/>
                  </a:moveTo>
                  <a:lnTo>
                    <a:pt x="868" y="567"/>
                  </a:lnTo>
                  <a:lnTo>
                    <a:pt x="863" y="581"/>
                  </a:lnTo>
                  <a:lnTo>
                    <a:pt x="857" y="594"/>
                  </a:lnTo>
                  <a:lnTo>
                    <a:pt x="851" y="606"/>
                  </a:lnTo>
                  <a:lnTo>
                    <a:pt x="845" y="617"/>
                  </a:lnTo>
                  <a:lnTo>
                    <a:pt x="837" y="626"/>
                  </a:lnTo>
                  <a:lnTo>
                    <a:pt x="831" y="636"/>
                  </a:lnTo>
                  <a:lnTo>
                    <a:pt x="823" y="644"/>
                  </a:lnTo>
                  <a:lnTo>
                    <a:pt x="816" y="652"/>
                  </a:lnTo>
                  <a:lnTo>
                    <a:pt x="801" y="664"/>
                  </a:lnTo>
                  <a:lnTo>
                    <a:pt x="786" y="674"/>
                  </a:lnTo>
                  <a:lnTo>
                    <a:pt x="771" y="682"/>
                  </a:lnTo>
                  <a:lnTo>
                    <a:pt x="757" y="687"/>
                  </a:lnTo>
                  <a:lnTo>
                    <a:pt x="743" y="690"/>
                  </a:lnTo>
                  <a:lnTo>
                    <a:pt x="730" y="692"/>
                  </a:lnTo>
                  <a:lnTo>
                    <a:pt x="719" y="693"/>
                  </a:lnTo>
                  <a:lnTo>
                    <a:pt x="708" y="693"/>
                  </a:lnTo>
                  <a:lnTo>
                    <a:pt x="693" y="692"/>
                  </a:lnTo>
                  <a:lnTo>
                    <a:pt x="688" y="691"/>
                  </a:lnTo>
                  <a:lnTo>
                    <a:pt x="534" y="221"/>
                  </a:lnTo>
                  <a:lnTo>
                    <a:pt x="532" y="221"/>
                  </a:lnTo>
                  <a:lnTo>
                    <a:pt x="532" y="221"/>
                  </a:lnTo>
                  <a:lnTo>
                    <a:pt x="491" y="347"/>
                  </a:lnTo>
                  <a:lnTo>
                    <a:pt x="419" y="567"/>
                  </a:lnTo>
                  <a:lnTo>
                    <a:pt x="419" y="567"/>
                  </a:lnTo>
                  <a:lnTo>
                    <a:pt x="415" y="580"/>
                  </a:lnTo>
                  <a:lnTo>
                    <a:pt x="410" y="593"/>
                  </a:lnTo>
                  <a:lnTo>
                    <a:pt x="404" y="605"/>
                  </a:lnTo>
                  <a:lnTo>
                    <a:pt x="398" y="615"/>
                  </a:lnTo>
                  <a:lnTo>
                    <a:pt x="392" y="626"/>
                  </a:lnTo>
                  <a:lnTo>
                    <a:pt x="385" y="635"/>
                  </a:lnTo>
                  <a:lnTo>
                    <a:pt x="379" y="643"/>
                  </a:lnTo>
                  <a:lnTo>
                    <a:pt x="371" y="651"/>
                  </a:lnTo>
                  <a:lnTo>
                    <a:pt x="357" y="664"/>
                  </a:lnTo>
                  <a:lnTo>
                    <a:pt x="343" y="673"/>
                  </a:lnTo>
                  <a:lnTo>
                    <a:pt x="328" y="681"/>
                  </a:lnTo>
                  <a:lnTo>
                    <a:pt x="315" y="686"/>
                  </a:lnTo>
                  <a:lnTo>
                    <a:pt x="301" y="690"/>
                  </a:lnTo>
                  <a:lnTo>
                    <a:pt x="288" y="692"/>
                  </a:lnTo>
                  <a:lnTo>
                    <a:pt x="276" y="693"/>
                  </a:lnTo>
                  <a:lnTo>
                    <a:pt x="266" y="693"/>
                  </a:lnTo>
                  <a:lnTo>
                    <a:pt x="251" y="692"/>
                  </a:lnTo>
                  <a:lnTo>
                    <a:pt x="246" y="691"/>
                  </a:lnTo>
                  <a:lnTo>
                    <a:pt x="0" y="0"/>
                  </a:lnTo>
                  <a:lnTo>
                    <a:pt x="176" y="0"/>
                  </a:lnTo>
                  <a:lnTo>
                    <a:pt x="321" y="471"/>
                  </a:lnTo>
                  <a:lnTo>
                    <a:pt x="324" y="471"/>
                  </a:lnTo>
                  <a:lnTo>
                    <a:pt x="474" y="0"/>
                  </a:lnTo>
                  <a:lnTo>
                    <a:pt x="606" y="0"/>
                  </a:lnTo>
                  <a:lnTo>
                    <a:pt x="757" y="472"/>
                  </a:lnTo>
                  <a:lnTo>
                    <a:pt x="761" y="472"/>
                  </a:lnTo>
                  <a:lnTo>
                    <a:pt x="904" y="0"/>
                  </a:lnTo>
                  <a:lnTo>
                    <a:pt x="1069" y="0"/>
                  </a:lnTo>
                  <a:lnTo>
                    <a:pt x="1069" y="0"/>
                  </a:lnTo>
                  <a:lnTo>
                    <a:pt x="985" y="239"/>
                  </a:lnTo>
                  <a:lnTo>
                    <a:pt x="918" y="428"/>
                  </a:lnTo>
                  <a:lnTo>
                    <a:pt x="868" y="567"/>
                  </a:lnTo>
                  <a:lnTo>
                    <a:pt x="868" y="567"/>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1" name="Freeform 6"/>
            <p:cNvSpPr>
              <a:spLocks noEditPoints="1"/>
            </p:cNvSpPr>
            <p:nvPr userDrawn="1"/>
          </p:nvSpPr>
          <p:spPr bwMode="auto">
            <a:xfrm>
              <a:off x="8443563" y="4606852"/>
              <a:ext cx="66591" cy="99593"/>
            </a:xfrm>
            <a:custGeom>
              <a:avLst/>
              <a:gdLst>
                <a:gd name="T0" fmla="*/ 0 w 683"/>
                <a:gd name="T1" fmla="*/ 1021 h 1021"/>
                <a:gd name="T2" fmla="*/ 323 w 683"/>
                <a:gd name="T3" fmla="*/ 1021 h 1021"/>
                <a:gd name="T4" fmla="*/ 389 w 683"/>
                <a:gd name="T5" fmla="*/ 1016 h 1021"/>
                <a:gd name="T6" fmla="*/ 449 w 683"/>
                <a:gd name="T7" fmla="*/ 1005 h 1021"/>
                <a:gd name="T8" fmla="*/ 502 w 683"/>
                <a:gd name="T9" fmla="*/ 988 h 1021"/>
                <a:gd name="T10" fmla="*/ 546 w 683"/>
                <a:gd name="T11" fmla="*/ 964 h 1021"/>
                <a:gd name="T12" fmla="*/ 585 w 683"/>
                <a:gd name="T13" fmla="*/ 935 h 1021"/>
                <a:gd name="T14" fmla="*/ 617 w 683"/>
                <a:gd name="T15" fmla="*/ 903 h 1021"/>
                <a:gd name="T16" fmla="*/ 643 w 683"/>
                <a:gd name="T17" fmla="*/ 867 h 1021"/>
                <a:gd name="T18" fmla="*/ 662 w 683"/>
                <a:gd name="T19" fmla="*/ 828 h 1021"/>
                <a:gd name="T20" fmla="*/ 675 w 683"/>
                <a:gd name="T21" fmla="*/ 788 h 1021"/>
                <a:gd name="T22" fmla="*/ 682 w 683"/>
                <a:gd name="T23" fmla="*/ 745 h 1021"/>
                <a:gd name="T24" fmla="*/ 683 w 683"/>
                <a:gd name="T25" fmla="*/ 717 h 1021"/>
                <a:gd name="T26" fmla="*/ 677 w 683"/>
                <a:gd name="T27" fmla="*/ 654 h 1021"/>
                <a:gd name="T28" fmla="*/ 657 w 683"/>
                <a:gd name="T29" fmla="*/ 596 h 1021"/>
                <a:gd name="T30" fmla="*/ 626 w 683"/>
                <a:gd name="T31" fmla="*/ 547 h 1021"/>
                <a:gd name="T32" fmla="*/ 582 w 683"/>
                <a:gd name="T33" fmla="*/ 508 h 1021"/>
                <a:gd name="T34" fmla="*/ 527 w 683"/>
                <a:gd name="T35" fmla="*/ 481 h 1021"/>
                <a:gd name="T36" fmla="*/ 506 w 683"/>
                <a:gd name="T37" fmla="*/ 457 h 1021"/>
                <a:gd name="T38" fmla="*/ 533 w 683"/>
                <a:gd name="T39" fmla="*/ 441 h 1021"/>
                <a:gd name="T40" fmla="*/ 566 w 683"/>
                <a:gd name="T41" fmla="*/ 410 h 1021"/>
                <a:gd name="T42" fmla="*/ 589 w 683"/>
                <a:gd name="T43" fmla="*/ 373 h 1021"/>
                <a:gd name="T44" fmla="*/ 605 w 683"/>
                <a:gd name="T45" fmla="*/ 330 h 1021"/>
                <a:gd name="T46" fmla="*/ 614 w 683"/>
                <a:gd name="T47" fmla="*/ 283 h 1021"/>
                <a:gd name="T48" fmla="*/ 616 w 683"/>
                <a:gd name="T49" fmla="*/ 250 h 1021"/>
                <a:gd name="T50" fmla="*/ 606 w 683"/>
                <a:gd name="T51" fmla="*/ 182 h 1021"/>
                <a:gd name="T52" fmla="*/ 579 w 683"/>
                <a:gd name="T53" fmla="*/ 117 h 1021"/>
                <a:gd name="T54" fmla="*/ 549 w 683"/>
                <a:gd name="T55" fmla="*/ 80 h 1021"/>
                <a:gd name="T56" fmla="*/ 520 w 683"/>
                <a:gd name="T57" fmla="*/ 54 h 1021"/>
                <a:gd name="T58" fmla="*/ 487 w 683"/>
                <a:gd name="T59" fmla="*/ 34 h 1021"/>
                <a:gd name="T60" fmla="*/ 447 w 683"/>
                <a:gd name="T61" fmla="*/ 17 h 1021"/>
                <a:gd name="T62" fmla="*/ 401 w 683"/>
                <a:gd name="T63" fmla="*/ 5 h 1021"/>
                <a:gd name="T64" fmla="*/ 351 w 683"/>
                <a:gd name="T65" fmla="*/ 0 h 1021"/>
                <a:gd name="T66" fmla="*/ 8 w 683"/>
                <a:gd name="T67" fmla="*/ 0 h 1021"/>
                <a:gd name="T68" fmla="*/ 284 w 683"/>
                <a:gd name="T69" fmla="*/ 129 h 1021"/>
                <a:gd name="T70" fmla="*/ 321 w 683"/>
                <a:gd name="T71" fmla="*/ 131 h 1021"/>
                <a:gd name="T72" fmla="*/ 367 w 683"/>
                <a:gd name="T73" fmla="*/ 144 h 1021"/>
                <a:gd name="T74" fmla="*/ 402 w 683"/>
                <a:gd name="T75" fmla="*/ 167 h 1021"/>
                <a:gd name="T76" fmla="*/ 427 w 683"/>
                <a:gd name="T77" fmla="*/ 199 h 1021"/>
                <a:gd name="T78" fmla="*/ 440 w 683"/>
                <a:gd name="T79" fmla="*/ 240 h 1021"/>
                <a:gd name="T80" fmla="*/ 442 w 683"/>
                <a:gd name="T81" fmla="*/ 271 h 1021"/>
                <a:gd name="T82" fmla="*/ 434 w 683"/>
                <a:gd name="T83" fmla="*/ 319 h 1021"/>
                <a:gd name="T84" fmla="*/ 415 w 683"/>
                <a:gd name="T85" fmla="*/ 359 h 1021"/>
                <a:gd name="T86" fmla="*/ 385 w 683"/>
                <a:gd name="T87" fmla="*/ 391 h 1021"/>
                <a:gd name="T88" fmla="*/ 350 w 683"/>
                <a:gd name="T89" fmla="*/ 412 h 1021"/>
                <a:gd name="T90" fmla="*/ 311 w 683"/>
                <a:gd name="T91" fmla="*/ 423 h 1021"/>
                <a:gd name="T92" fmla="*/ 181 w 683"/>
                <a:gd name="T93" fmla="*/ 129 h 1021"/>
                <a:gd name="T94" fmla="*/ 314 w 683"/>
                <a:gd name="T95" fmla="*/ 573 h 1021"/>
                <a:gd name="T96" fmla="*/ 375 w 683"/>
                <a:gd name="T97" fmla="*/ 579 h 1021"/>
                <a:gd name="T98" fmla="*/ 426 w 683"/>
                <a:gd name="T99" fmla="*/ 595 h 1021"/>
                <a:gd name="T100" fmla="*/ 465 w 683"/>
                <a:gd name="T101" fmla="*/ 622 h 1021"/>
                <a:gd name="T102" fmla="*/ 492 w 683"/>
                <a:gd name="T103" fmla="*/ 657 h 1021"/>
                <a:gd name="T104" fmla="*/ 504 w 683"/>
                <a:gd name="T105" fmla="*/ 701 h 1021"/>
                <a:gd name="T106" fmla="*/ 504 w 683"/>
                <a:gd name="T107" fmla="*/ 735 h 1021"/>
                <a:gd name="T108" fmla="*/ 492 w 683"/>
                <a:gd name="T109" fmla="*/ 786 h 1021"/>
                <a:gd name="T110" fmla="*/ 465 w 683"/>
                <a:gd name="T111" fmla="*/ 825 h 1021"/>
                <a:gd name="T112" fmla="*/ 426 w 683"/>
                <a:gd name="T113" fmla="*/ 853 h 1021"/>
                <a:gd name="T114" fmla="*/ 372 w 683"/>
                <a:gd name="T115" fmla="*/ 871 h 1021"/>
                <a:gd name="T116" fmla="*/ 306 w 683"/>
                <a:gd name="T117" fmla="*/ 876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1021">
                  <a:moveTo>
                    <a:pt x="8" y="0"/>
                  </a:moveTo>
                  <a:lnTo>
                    <a:pt x="8" y="0"/>
                  </a:lnTo>
                  <a:lnTo>
                    <a:pt x="0" y="1021"/>
                  </a:lnTo>
                  <a:lnTo>
                    <a:pt x="0" y="1021"/>
                  </a:lnTo>
                  <a:lnTo>
                    <a:pt x="323" y="1021"/>
                  </a:lnTo>
                  <a:lnTo>
                    <a:pt x="323" y="1021"/>
                  </a:lnTo>
                  <a:lnTo>
                    <a:pt x="346" y="1020"/>
                  </a:lnTo>
                  <a:lnTo>
                    <a:pt x="368" y="1019"/>
                  </a:lnTo>
                  <a:lnTo>
                    <a:pt x="389" y="1016"/>
                  </a:lnTo>
                  <a:lnTo>
                    <a:pt x="411" y="1013"/>
                  </a:lnTo>
                  <a:lnTo>
                    <a:pt x="430" y="1010"/>
                  </a:lnTo>
                  <a:lnTo>
                    <a:pt x="449" y="1005"/>
                  </a:lnTo>
                  <a:lnTo>
                    <a:pt x="467" y="1000"/>
                  </a:lnTo>
                  <a:lnTo>
                    <a:pt x="484" y="994"/>
                  </a:lnTo>
                  <a:lnTo>
                    <a:pt x="502" y="988"/>
                  </a:lnTo>
                  <a:lnTo>
                    <a:pt x="517" y="980"/>
                  </a:lnTo>
                  <a:lnTo>
                    <a:pt x="533" y="973"/>
                  </a:lnTo>
                  <a:lnTo>
                    <a:pt x="546" y="964"/>
                  </a:lnTo>
                  <a:lnTo>
                    <a:pt x="560" y="956"/>
                  </a:lnTo>
                  <a:lnTo>
                    <a:pt x="573" y="946"/>
                  </a:lnTo>
                  <a:lnTo>
                    <a:pt x="585" y="935"/>
                  </a:lnTo>
                  <a:lnTo>
                    <a:pt x="597" y="926"/>
                  </a:lnTo>
                  <a:lnTo>
                    <a:pt x="607" y="915"/>
                  </a:lnTo>
                  <a:lnTo>
                    <a:pt x="617" y="903"/>
                  </a:lnTo>
                  <a:lnTo>
                    <a:pt x="627" y="891"/>
                  </a:lnTo>
                  <a:lnTo>
                    <a:pt x="635" y="880"/>
                  </a:lnTo>
                  <a:lnTo>
                    <a:pt x="643" y="867"/>
                  </a:lnTo>
                  <a:lnTo>
                    <a:pt x="650" y="854"/>
                  </a:lnTo>
                  <a:lnTo>
                    <a:pt x="657" y="841"/>
                  </a:lnTo>
                  <a:lnTo>
                    <a:pt x="662" y="828"/>
                  </a:lnTo>
                  <a:lnTo>
                    <a:pt x="667" y="814"/>
                  </a:lnTo>
                  <a:lnTo>
                    <a:pt x="672" y="802"/>
                  </a:lnTo>
                  <a:lnTo>
                    <a:pt x="675" y="788"/>
                  </a:lnTo>
                  <a:lnTo>
                    <a:pt x="678" y="774"/>
                  </a:lnTo>
                  <a:lnTo>
                    <a:pt x="680" y="760"/>
                  </a:lnTo>
                  <a:lnTo>
                    <a:pt x="682" y="745"/>
                  </a:lnTo>
                  <a:lnTo>
                    <a:pt x="683" y="731"/>
                  </a:lnTo>
                  <a:lnTo>
                    <a:pt x="683" y="717"/>
                  </a:lnTo>
                  <a:lnTo>
                    <a:pt x="683" y="717"/>
                  </a:lnTo>
                  <a:lnTo>
                    <a:pt x="682" y="696"/>
                  </a:lnTo>
                  <a:lnTo>
                    <a:pt x="680" y="674"/>
                  </a:lnTo>
                  <a:lnTo>
                    <a:pt x="677" y="654"/>
                  </a:lnTo>
                  <a:lnTo>
                    <a:pt x="672" y="634"/>
                  </a:lnTo>
                  <a:lnTo>
                    <a:pt x="665" y="614"/>
                  </a:lnTo>
                  <a:lnTo>
                    <a:pt x="657" y="596"/>
                  </a:lnTo>
                  <a:lnTo>
                    <a:pt x="648" y="578"/>
                  </a:lnTo>
                  <a:lnTo>
                    <a:pt x="637" y="562"/>
                  </a:lnTo>
                  <a:lnTo>
                    <a:pt x="626" y="547"/>
                  </a:lnTo>
                  <a:lnTo>
                    <a:pt x="612" y="532"/>
                  </a:lnTo>
                  <a:lnTo>
                    <a:pt x="598" y="519"/>
                  </a:lnTo>
                  <a:lnTo>
                    <a:pt x="582" y="508"/>
                  </a:lnTo>
                  <a:lnTo>
                    <a:pt x="565" y="497"/>
                  </a:lnTo>
                  <a:lnTo>
                    <a:pt x="546" y="488"/>
                  </a:lnTo>
                  <a:lnTo>
                    <a:pt x="527" y="481"/>
                  </a:lnTo>
                  <a:lnTo>
                    <a:pt x="507" y="476"/>
                  </a:lnTo>
                  <a:lnTo>
                    <a:pt x="484" y="470"/>
                  </a:lnTo>
                  <a:lnTo>
                    <a:pt x="506" y="457"/>
                  </a:lnTo>
                  <a:lnTo>
                    <a:pt x="506" y="457"/>
                  </a:lnTo>
                  <a:lnTo>
                    <a:pt x="520" y="450"/>
                  </a:lnTo>
                  <a:lnTo>
                    <a:pt x="533" y="441"/>
                  </a:lnTo>
                  <a:lnTo>
                    <a:pt x="544" y="432"/>
                  </a:lnTo>
                  <a:lnTo>
                    <a:pt x="555" y="421"/>
                  </a:lnTo>
                  <a:lnTo>
                    <a:pt x="566" y="410"/>
                  </a:lnTo>
                  <a:lnTo>
                    <a:pt x="574" y="399"/>
                  </a:lnTo>
                  <a:lnTo>
                    <a:pt x="583" y="387"/>
                  </a:lnTo>
                  <a:lnTo>
                    <a:pt x="589" y="373"/>
                  </a:lnTo>
                  <a:lnTo>
                    <a:pt x="596" y="360"/>
                  </a:lnTo>
                  <a:lnTo>
                    <a:pt x="601" y="345"/>
                  </a:lnTo>
                  <a:lnTo>
                    <a:pt x="605" y="330"/>
                  </a:lnTo>
                  <a:lnTo>
                    <a:pt x="610" y="315"/>
                  </a:lnTo>
                  <a:lnTo>
                    <a:pt x="612" y="299"/>
                  </a:lnTo>
                  <a:lnTo>
                    <a:pt x="614" y="283"/>
                  </a:lnTo>
                  <a:lnTo>
                    <a:pt x="615" y="267"/>
                  </a:lnTo>
                  <a:lnTo>
                    <a:pt x="616" y="250"/>
                  </a:lnTo>
                  <a:lnTo>
                    <a:pt x="616" y="250"/>
                  </a:lnTo>
                  <a:lnTo>
                    <a:pt x="615" y="226"/>
                  </a:lnTo>
                  <a:lnTo>
                    <a:pt x="612" y="204"/>
                  </a:lnTo>
                  <a:lnTo>
                    <a:pt x="606" y="182"/>
                  </a:lnTo>
                  <a:lnTo>
                    <a:pt x="599" y="160"/>
                  </a:lnTo>
                  <a:lnTo>
                    <a:pt x="590" y="139"/>
                  </a:lnTo>
                  <a:lnTo>
                    <a:pt x="579" y="117"/>
                  </a:lnTo>
                  <a:lnTo>
                    <a:pt x="565" y="98"/>
                  </a:lnTo>
                  <a:lnTo>
                    <a:pt x="557" y="89"/>
                  </a:lnTo>
                  <a:lnTo>
                    <a:pt x="549" y="80"/>
                  </a:lnTo>
                  <a:lnTo>
                    <a:pt x="540" y="71"/>
                  </a:lnTo>
                  <a:lnTo>
                    <a:pt x="530" y="63"/>
                  </a:lnTo>
                  <a:lnTo>
                    <a:pt x="520" y="54"/>
                  </a:lnTo>
                  <a:lnTo>
                    <a:pt x="509" y="47"/>
                  </a:lnTo>
                  <a:lnTo>
                    <a:pt x="498" y="40"/>
                  </a:lnTo>
                  <a:lnTo>
                    <a:pt x="487" y="34"/>
                  </a:lnTo>
                  <a:lnTo>
                    <a:pt x="474" y="28"/>
                  </a:lnTo>
                  <a:lnTo>
                    <a:pt x="461" y="22"/>
                  </a:lnTo>
                  <a:lnTo>
                    <a:pt x="447" y="17"/>
                  </a:lnTo>
                  <a:lnTo>
                    <a:pt x="432" y="13"/>
                  </a:lnTo>
                  <a:lnTo>
                    <a:pt x="417" y="8"/>
                  </a:lnTo>
                  <a:lnTo>
                    <a:pt x="401" y="5"/>
                  </a:lnTo>
                  <a:lnTo>
                    <a:pt x="385" y="3"/>
                  </a:lnTo>
                  <a:lnTo>
                    <a:pt x="368" y="1"/>
                  </a:lnTo>
                  <a:lnTo>
                    <a:pt x="351" y="0"/>
                  </a:lnTo>
                  <a:lnTo>
                    <a:pt x="332" y="0"/>
                  </a:lnTo>
                  <a:lnTo>
                    <a:pt x="332" y="0"/>
                  </a:lnTo>
                  <a:lnTo>
                    <a:pt x="8" y="0"/>
                  </a:lnTo>
                  <a:lnTo>
                    <a:pt x="8" y="0"/>
                  </a:lnTo>
                  <a:close/>
                  <a:moveTo>
                    <a:pt x="181" y="129"/>
                  </a:moveTo>
                  <a:lnTo>
                    <a:pt x="284" y="129"/>
                  </a:lnTo>
                  <a:lnTo>
                    <a:pt x="284" y="129"/>
                  </a:lnTo>
                  <a:lnTo>
                    <a:pt x="304" y="130"/>
                  </a:lnTo>
                  <a:lnTo>
                    <a:pt x="321" y="131"/>
                  </a:lnTo>
                  <a:lnTo>
                    <a:pt x="338" y="134"/>
                  </a:lnTo>
                  <a:lnTo>
                    <a:pt x="353" y="139"/>
                  </a:lnTo>
                  <a:lnTo>
                    <a:pt x="367" y="144"/>
                  </a:lnTo>
                  <a:lnTo>
                    <a:pt x="380" y="151"/>
                  </a:lnTo>
                  <a:lnTo>
                    <a:pt x="391" y="158"/>
                  </a:lnTo>
                  <a:lnTo>
                    <a:pt x="402" y="167"/>
                  </a:lnTo>
                  <a:lnTo>
                    <a:pt x="412" y="176"/>
                  </a:lnTo>
                  <a:lnTo>
                    <a:pt x="419" y="187"/>
                  </a:lnTo>
                  <a:lnTo>
                    <a:pt x="427" y="199"/>
                  </a:lnTo>
                  <a:lnTo>
                    <a:pt x="432" y="211"/>
                  </a:lnTo>
                  <a:lnTo>
                    <a:pt x="436" y="225"/>
                  </a:lnTo>
                  <a:lnTo>
                    <a:pt x="440" y="240"/>
                  </a:lnTo>
                  <a:lnTo>
                    <a:pt x="442" y="255"/>
                  </a:lnTo>
                  <a:lnTo>
                    <a:pt x="442" y="271"/>
                  </a:lnTo>
                  <a:lnTo>
                    <a:pt x="442" y="271"/>
                  </a:lnTo>
                  <a:lnTo>
                    <a:pt x="442" y="288"/>
                  </a:lnTo>
                  <a:lnTo>
                    <a:pt x="438" y="303"/>
                  </a:lnTo>
                  <a:lnTo>
                    <a:pt x="434" y="319"/>
                  </a:lnTo>
                  <a:lnTo>
                    <a:pt x="429" y="333"/>
                  </a:lnTo>
                  <a:lnTo>
                    <a:pt x="422" y="347"/>
                  </a:lnTo>
                  <a:lnTo>
                    <a:pt x="415" y="359"/>
                  </a:lnTo>
                  <a:lnTo>
                    <a:pt x="406" y="371"/>
                  </a:lnTo>
                  <a:lnTo>
                    <a:pt x="396" y="381"/>
                  </a:lnTo>
                  <a:lnTo>
                    <a:pt x="385" y="391"/>
                  </a:lnTo>
                  <a:lnTo>
                    <a:pt x="374" y="400"/>
                  </a:lnTo>
                  <a:lnTo>
                    <a:pt x="363" y="407"/>
                  </a:lnTo>
                  <a:lnTo>
                    <a:pt x="350" y="412"/>
                  </a:lnTo>
                  <a:lnTo>
                    <a:pt x="337" y="418"/>
                  </a:lnTo>
                  <a:lnTo>
                    <a:pt x="324" y="421"/>
                  </a:lnTo>
                  <a:lnTo>
                    <a:pt x="311" y="423"/>
                  </a:lnTo>
                  <a:lnTo>
                    <a:pt x="298" y="424"/>
                  </a:lnTo>
                  <a:lnTo>
                    <a:pt x="173" y="424"/>
                  </a:lnTo>
                  <a:lnTo>
                    <a:pt x="181" y="129"/>
                  </a:lnTo>
                  <a:close/>
                  <a:moveTo>
                    <a:pt x="173" y="573"/>
                  </a:moveTo>
                  <a:lnTo>
                    <a:pt x="314" y="573"/>
                  </a:lnTo>
                  <a:lnTo>
                    <a:pt x="314" y="573"/>
                  </a:lnTo>
                  <a:lnTo>
                    <a:pt x="336" y="574"/>
                  </a:lnTo>
                  <a:lnTo>
                    <a:pt x="356" y="576"/>
                  </a:lnTo>
                  <a:lnTo>
                    <a:pt x="375" y="579"/>
                  </a:lnTo>
                  <a:lnTo>
                    <a:pt x="394" y="583"/>
                  </a:lnTo>
                  <a:lnTo>
                    <a:pt x="411" y="589"/>
                  </a:lnTo>
                  <a:lnTo>
                    <a:pt x="426" y="595"/>
                  </a:lnTo>
                  <a:lnTo>
                    <a:pt x="441" y="603"/>
                  </a:lnTo>
                  <a:lnTo>
                    <a:pt x="453" y="612"/>
                  </a:lnTo>
                  <a:lnTo>
                    <a:pt x="465" y="622"/>
                  </a:lnTo>
                  <a:lnTo>
                    <a:pt x="476" y="633"/>
                  </a:lnTo>
                  <a:lnTo>
                    <a:pt x="484" y="644"/>
                  </a:lnTo>
                  <a:lnTo>
                    <a:pt x="492" y="657"/>
                  </a:lnTo>
                  <a:lnTo>
                    <a:pt x="497" y="671"/>
                  </a:lnTo>
                  <a:lnTo>
                    <a:pt x="502" y="685"/>
                  </a:lnTo>
                  <a:lnTo>
                    <a:pt x="504" y="701"/>
                  </a:lnTo>
                  <a:lnTo>
                    <a:pt x="505" y="717"/>
                  </a:lnTo>
                  <a:lnTo>
                    <a:pt x="505" y="717"/>
                  </a:lnTo>
                  <a:lnTo>
                    <a:pt x="504" y="735"/>
                  </a:lnTo>
                  <a:lnTo>
                    <a:pt x="502" y="753"/>
                  </a:lnTo>
                  <a:lnTo>
                    <a:pt x="497" y="770"/>
                  </a:lnTo>
                  <a:lnTo>
                    <a:pt x="492" y="786"/>
                  </a:lnTo>
                  <a:lnTo>
                    <a:pt x="484" y="799"/>
                  </a:lnTo>
                  <a:lnTo>
                    <a:pt x="476" y="812"/>
                  </a:lnTo>
                  <a:lnTo>
                    <a:pt x="465" y="825"/>
                  </a:lnTo>
                  <a:lnTo>
                    <a:pt x="453" y="836"/>
                  </a:lnTo>
                  <a:lnTo>
                    <a:pt x="441" y="845"/>
                  </a:lnTo>
                  <a:lnTo>
                    <a:pt x="426" y="853"/>
                  </a:lnTo>
                  <a:lnTo>
                    <a:pt x="409" y="860"/>
                  </a:lnTo>
                  <a:lnTo>
                    <a:pt x="391" y="866"/>
                  </a:lnTo>
                  <a:lnTo>
                    <a:pt x="372" y="871"/>
                  </a:lnTo>
                  <a:lnTo>
                    <a:pt x="352" y="874"/>
                  </a:lnTo>
                  <a:lnTo>
                    <a:pt x="329" y="876"/>
                  </a:lnTo>
                  <a:lnTo>
                    <a:pt x="306" y="876"/>
                  </a:lnTo>
                  <a:lnTo>
                    <a:pt x="173" y="876"/>
                  </a:lnTo>
                  <a:lnTo>
                    <a:pt x="173" y="573"/>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2" name="Freeform 7"/>
            <p:cNvSpPr>
              <a:spLocks noEditPoints="1"/>
            </p:cNvSpPr>
            <p:nvPr userDrawn="1"/>
          </p:nvSpPr>
          <p:spPr bwMode="auto">
            <a:xfrm>
              <a:off x="8567566" y="4638293"/>
              <a:ext cx="66591" cy="69520"/>
            </a:xfrm>
            <a:custGeom>
              <a:avLst/>
              <a:gdLst>
                <a:gd name="T0" fmla="*/ 562 w 681"/>
                <a:gd name="T1" fmla="*/ 635 h 711"/>
                <a:gd name="T2" fmla="*/ 508 w 681"/>
                <a:gd name="T3" fmla="*/ 670 h 711"/>
                <a:gd name="T4" fmla="*/ 446 w 681"/>
                <a:gd name="T5" fmla="*/ 696 h 711"/>
                <a:gd name="T6" fmla="*/ 377 w 681"/>
                <a:gd name="T7" fmla="*/ 708 h 711"/>
                <a:gd name="T8" fmla="*/ 322 w 681"/>
                <a:gd name="T9" fmla="*/ 709 h 711"/>
                <a:gd name="T10" fmla="*/ 255 w 681"/>
                <a:gd name="T11" fmla="*/ 701 h 711"/>
                <a:gd name="T12" fmla="*/ 194 w 681"/>
                <a:gd name="T13" fmla="*/ 683 h 711"/>
                <a:gd name="T14" fmla="*/ 140 w 681"/>
                <a:gd name="T15" fmla="*/ 653 h 711"/>
                <a:gd name="T16" fmla="*/ 105 w 681"/>
                <a:gd name="T17" fmla="*/ 625 h 711"/>
                <a:gd name="T18" fmla="*/ 60 w 681"/>
                <a:gd name="T19" fmla="*/ 573 h 711"/>
                <a:gd name="T20" fmla="*/ 27 w 681"/>
                <a:gd name="T21" fmla="*/ 510 h 711"/>
                <a:gd name="T22" fmla="*/ 7 w 681"/>
                <a:gd name="T23" fmla="*/ 438 h 711"/>
                <a:gd name="T24" fmla="*/ 0 w 681"/>
                <a:gd name="T25" fmla="*/ 359 h 711"/>
                <a:gd name="T26" fmla="*/ 4 w 681"/>
                <a:gd name="T27" fmla="*/ 301 h 711"/>
                <a:gd name="T28" fmla="*/ 20 w 681"/>
                <a:gd name="T29" fmla="*/ 228 h 711"/>
                <a:gd name="T30" fmla="*/ 49 w 681"/>
                <a:gd name="T31" fmla="*/ 164 h 711"/>
                <a:gd name="T32" fmla="*/ 88 w 681"/>
                <a:gd name="T33" fmla="*/ 109 h 711"/>
                <a:gd name="T34" fmla="*/ 123 w 681"/>
                <a:gd name="T35" fmla="*/ 74 h 711"/>
                <a:gd name="T36" fmla="*/ 176 w 681"/>
                <a:gd name="T37" fmla="*/ 38 h 711"/>
                <a:gd name="T38" fmla="*/ 237 w 681"/>
                <a:gd name="T39" fmla="*/ 14 h 711"/>
                <a:gd name="T40" fmla="*/ 304 w 681"/>
                <a:gd name="T41" fmla="*/ 1 h 711"/>
                <a:gd name="T42" fmla="*/ 361 w 681"/>
                <a:gd name="T43" fmla="*/ 0 h 711"/>
                <a:gd name="T44" fmla="*/ 433 w 681"/>
                <a:gd name="T45" fmla="*/ 9 h 711"/>
                <a:gd name="T46" fmla="*/ 499 w 681"/>
                <a:gd name="T47" fmla="*/ 32 h 711"/>
                <a:gd name="T48" fmla="*/ 554 w 681"/>
                <a:gd name="T49" fmla="*/ 65 h 711"/>
                <a:gd name="T50" fmla="*/ 592 w 681"/>
                <a:gd name="T51" fmla="*/ 97 h 711"/>
                <a:gd name="T52" fmla="*/ 630 w 681"/>
                <a:gd name="T53" fmla="*/ 149 h 711"/>
                <a:gd name="T54" fmla="*/ 659 w 681"/>
                <a:gd name="T55" fmla="*/ 210 h 711"/>
                <a:gd name="T56" fmla="*/ 676 w 681"/>
                <a:gd name="T57" fmla="*/ 279 h 711"/>
                <a:gd name="T58" fmla="*/ 681 w 681"/>
                <a:gd name="T59" fmla="*/ 353 h 711"/>
                <a:gd name="T60" fmla="*/ 678 w 681"/>
                <a:gd name="T61" fmla="*/ 410 h 711"/>
                <a:gd name="T62" fmla="*/ 663 w 681"/>
                <a:gd name="T63" fmla="*/ 481 h 711"/>
                <a:gd name="T64" fmla="*/ 636 w 681"/>
                <a:gd name="T65" fmla="*/ 545 h 711"/>
                <a:gd name="T66" fmla="*/ 597 w 681"/>
                <a:gd name="T67" fmla="*/ 600 h 711"/>
                <a:gd name="T68" fmla="*/ 338 w 681"/>
                <a:gd name="T69" fmla="*/ 136 h 711"/>
                <a:gd name="T70" fmla="*/ 267 w 681"/>
                <a:gd name="T71" fmla="*/ 153 h 711"/>
                <a:gd name="T72" fmla="*/ 215 w 681"/>
                <a:gd name="T73" fmla="*/ 197 h 711"/>
                <a:gd name="T74" fmla="*/ 185 w 681"/>
                <a:gd name="T75" fmla="*/ 267 h 711"/>
                <a:gd name="T76" fmla="*/ 176 w 681"/>
                <a:gd name="T77" fmla="*/ 355 h 711"/>
                <a:gd name="T78" fmla="*/ 182 w 681"/>
                <a:gd name="T79" fmla="*/ 424 h 711"/>
                <a:gd name="T80" fmla="*/ 210 w 681"/>
                <a:gd name="T81" fmla="*/ 500 h 711"/>
                <a:gd name="T82" fmla="*/ 257 w 681"/>
                <a:gd name="T83" fmla="*/ 551 h 711"/>
                <a:gd name="T84" fmla="*/ 323 w 681"/>
                <a:gd name="T85" fmla="*/ 575 h 711"/>
                <a:gd name="T86" fmla="*/ 380 w 681"/>
                <a:gd name="T87" fmla="*/ 572 h 711"/>
                <a:gd name="T88" fmla="*/ 441 w 681"/>
                <a:gd name="T89" fmla="*/ 540 h 711"/>
                <a:gd name="T90" fmla="*/ 482 w 681"/>
                <a:gd name="T91" fmla="*/ 481 h 711"/>
                <a:gd name="T92" fmla="*/ 503 w 681"/>
                <a:gd name="T93" fmla="*/ 401 h 711"/>
                <a:gd name="T94" fmla="*/ 504 w 681"/>
                <a:gd name="T95" fmla="*/ 331 h 711"/>
                <a:gd name="T96" fmla="*/ 488 w 681"/>
                <a:gd name="T97" fmla="*/ 246 h 711"/>
                <a:gd name="T98" fmla="*/ 451 w 681"/>
                <a:gd name="T99" fmla="*/ 182 h 711"/>
                <a:gd name="T100" fmla="*/ 393 w 681"/>
                <a:gd name="T101" fmla="*/ 145 h 711"/>
                <a:gd name="T102" fmla="*/ 338 w 681"/>
                <a:gd name="T103" fmla="*/ 136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711">
                  <a:moveTo>
                    <a:pt x="585" y="612"/>
                  </a:moveTo>
                  <a:lnTo>
                    <a:pt x="585" y="612"/>
                  </a:lnTo>
                  <a:lnTo>
                    <a:pt x="574" y="624"/>
                  </a:lnTo>
                  <a:lnTo>
                    <a:pt x="562" y="635"/>
                  </a:lnTo>
                  <a:lnTo>
                    <a:pt x="549" y="644"/>
                  </a:lnTo>
                  <a:lnTo>
                    <a:pt x="536" y="654"/>
                  </a:lnTo>
                  <a:lnTo>
                    <a:pt x="522" y="662"/>
                  </a:lnTo>
                  <a:lnTo>
                    <a:pt x="508" y="670"/>
                  </a:lnTo>
                  <a:lnTo>
                    <a:pt x="493" y="677"/>
                  </a:lnTo>
                  <a:lnTo>
                    <a:pt x="478" y="685"/>
                  </a:lnTo>
                  <a:lnTo>
                    <a:pt x="462" y="690"/>
                  </a:lnTo>
                  <a:lnTo>
                    <a:pt x="446" y="696"/>
                  </a:lnTo>
                  <a:lnTo>
                    <a:pt x="429" y="700"/>
                  </a:lnTo>
                  <a:lnTo>
                    <a:pt x="412" y="703"/>
                  </a:lnTo>
                  <a:lnTo>
                    <a:pt x="395" y="706"/>
                  </a:lnTo>
                  <a:lnTo>
                    <a:pt x="377" y="708"/>
                  </a:lnTo>
                  <a:lnTo>
                    <a:pt x="359" y="709"/>
                  </a:lnTo>
                  <a:lnTo>
                    <a:pt x="339" y="711"/>
                  </a:lnTo>
                  <a:lnTo>
                    <a:pt x="339" y="711"/>
                  </a:lnTo>
                  <a:lnTo>
                    <a:pt x="322" y="709"/>
                  </a:lnTo>
                  <a:lnTo>
                    <a:pt x="305" y="708"/>
                  </a:lnTo>
                  <a:lnTo>
                    <a:pt x="288" y="707"/>
                  </a:lnTo>
                  <a:lnTo>
                    <a:pt x="271" y="704"/>
                  </a:lnTo>
                  <a:lnTo>
                    <a:pt x="255" y="701"/>
                  </a:lnTo>
                  <a:lnTo>
                    <a:pt x="239" y="698"/>
                  </a:lnTo>
                  <a:lnTo>
                    <a:pt x="224" y="693"/>
                  </a:lnTo>
                  <a:lnTo>
                    <a:pt x="209" y="688"/>
                  </a:lnTo>
                  <a:lnTo>
                    <a:pt x="194" y="683"/>
                  </a:lnTo>
                  <a:lnTo>
                    <a:pt x="180" y="676"/>
                  </a:lnTo>
                  <a:lnTo>
                    <a:pt x="166" y="669"/>
                  </a:lnTo>
                  <a:lnTo>
                    <a:pt x="153" y="661"/>
                  </a:lnTo>
                  <a:lnTo>
                    <a:pt x="140" y="653"/>
                  </a:lnTo>
                  <a:lnTo>
                    <a:pt x="128" y="644"/>
                  </a:lnTo>
                  <a:lnTo>
                    <a:pt x="116" y="635"/>
                  </a:lnTo>
                  <a:lnTo>
                    <a:pt x="105" y="625"/>
                  </a:lnTo>
                  <a:lnTo>
                    <a:pt x="105" y="625"/>
                  </a:lnTo>
                  <a:lnTo>
                    <a:pt x="92" y="613"/>
                  </a:lnTo>
                  <a:lnTo>
                    <a:pt x="81" y="600"/>
                  </a:lnTo>
                  <a:lnTo>
                    <a:pt x="70" y="587"/>
                  </a:lnTo>
                  <a:lnTo>
                    <a:pt x="60" y="573"/>
                  </a:lnTo>
                  <a:lnTo>
                    <a:pt x="51" y="558"/>
                  </a:lnTo>
                  <a:lnTo>
                    <a:pt x="42" y="542"/>
                  </a:lnTo>
                  <a:lnTo>
                    <a:pt x="35" y="526"/>
                  </a:lnTo>
                  <a:lnTo>
                    <a:pt x="27" y="510"/>
                  </a:lnTo>
                  <a:lnTo>
                    <a:pt x="21" y="492"/>
                  </a:lnTo>
                  <a:lnTo>
                    <a:pt x="15" y="474"/>
                  </a:lnTo>
                  <a:lnTo>
                    <a:pt x="11" y="456"/>
                  </a:lnTo>
                  <a:lnTo>
                    <a:pt x="7" y="438"/>
                  </a:lnTo>
                  <a:lnTo>
                    <a:pt x="4" y="419"/>
                  </a:lnTo>
                  <a:lnTo>
                    <a:pt x="1" y="399"/>
                  </a:lnTo>
                  <a:lnTo>
                    <a:pt x="0" y="379"/>
                  </a:lnTo>
                  <a:lnTo>
                    <a:pt x="0" y="359"/>
                  </a:lnTo>
                  <a:lnTo>
                    <a:pt x="0" y="359"/>
                  </a:lnTo>
                  <a:lnTo>
                    <a:pt x="0" y="340"/>
                  </a:lnTo>
                  <a:lnTo>
                    <a:pt x="1" y="320"/>
                  </a:lnTo>
                  <a:lnTo>
                    <a:pt x="4" y="301"/>
                  </a:lnTo>
                  <a:lnTo>
                    <a:pt x="7" y="282"/>
                  </a:lnTo>
                  <a:lnTo>
                    <a:pt x="10" y="264"/>
                  </a:lnTo>
                  <a:lnTo>
                    <a:pt x="14" y="246"/>
                  </a:lnTo>
                  <a:lnTo>
                    <a:pt x="20" y="228"/>
                  </a:lnTo>
                  <a:lnTo>
                    <a:pt x="26" y="211"/>
                  </a:lnTo>
                  <a:lnTo>
                    <a:pt x="32" y="195"/>
                  </a:lnTo>
                  <a:lnTo>
                    <a:pt x="40" y="179"/>
                  </a:lnTo>
                  <a:lnTo>
                    <a:pt x="49" y="164"/>
                  </a:lnTo>
                  <a:lnTo>
                    <a:pt x="57" y="149"/>
                  </a:lnTo>
                  <a:lnTo>
                    <a:pt x="67" y="135"/>
                  </a:lnTo>
                  <a:lnTo>
                    <a:pt x="76" y="122"/>
                  </a:lnTo>
                  <a:lnTo>
                    <a:pt x="88" y="109"/>
                  </a:lnTo>
                  <a:lnTo>
                    <a:pt x="99" y="96"/>
                  </a:lnTo>
                  <a:lnTo>
                    <a:pt x="99" y="96"/>
                  </a:lnTo>
                  <a:lnTo>
                    <a:pt x="111" y="85"/>
                  </a:lnTo>
                  <a:lnTo>
                    <a:pt x="123" y="74"/>
                  </a:lnTo>
                  <a:lnTo>
                    <a:pt x="135" y="65"/>
                  </a:lnTo>
                  <a:lnTo>
                    <a:pt x="149" y="55"/>
                  </a:lnTo>
                  <a:lnTo>
                    <a:pt x="162" y="47"/>
                  </a:lnTo>
                  <a:lnTo>
                    <a:pt x="176" y="38"/>
                  </a:lnTo>
                  <a:lnTo>
                    <a:pt x="191" y="32"/>
                  </a:lnTo>
                  <a:lnTo>
                    <a:pt x="206" y="25"/>
                  </a:lnTo>
                  <a:lnTo>
                    <a:pt x="221" y="19"/>
                  </a:lnTo>
                  <a:lnTo>
                    <a:pt x="237" y="14"/>
                  </a:lnTo>
                  <a:lnTo>
                    <a:pt x="253" y="9"/>
                  </a:lnTo>
                  <a:lnTo>
                    <a:pt x="270" y="6"/>
                  </a:lnTo>
                  <a:lnTo>
                    <a:pt x="287" y="3"/>
                  </a:lnTo>
                  <a:lnTo>
                    <a:pt x="304" y="1"/>
                  </a:lnTo>
                  <a:lnTo>
                    <a:pt x="322" y="0"/>
                  </a:lnTo>
                  <a:lnTo>
                    <a:pt x="340" y="0"/>
                  </a:lnTo>
                  <a:lnTo>
                    <a:pt x="340" y="0"/>
                  </a:lnTo>
                  <a:lnTo>
                    <a:pt x="361" y="0"/>
                  </a:lnTo>
                  <a:lnTo>
                    <a:pt x="379" y="1"/>
                  </a:lnTo>
                  <a:lnTo>
                    <a:pt x="398" y="3"/>
                  </a:lnTo>
                  <a:lnTo>
                    <a:pt x="416" y="6"/>
                  </a:lnTo>
                  <a:lnTo>
                    <a:pt x="433" y="9"/>
                  </a:lnTo>
                  <a:lnTo>
                    <a:pt x="451" y="14"/>
                  </a:lnTo>
                  <a:lnTo>
                    <a:pt x="467" y="19"/>
                  </a:lnTo>
                  <a:lnTo>
                    <a:pt x="483" y="25"/>
                  </a:lnTo>
                  <a:lnTo>
                    <a:pt x="499" y="32"/>
                  </a:lnTo>
                  <a:lnTo>
                    <a:pt x="514" y="39"/>
                  </a:lnTo>
                  <a:lnTo>
                    <a:pt x="528" y="47"/>
                  </a:lnTo>
                  <a:lnTo>
                    <a:pt x="541" y="55"/>
                  </a:lnTo>
                  <a:lnTo>
                    <a:pt x="554" y="65"/>
                  </a:lnTo>
                  <a:lnTo>
                    <a:pt x="567" y="76"/>
                  </a:lnTo>
                  <a:lnTo>
                    <a:pt x="580" y="86"/>
                  </a:lnTo>
                  <a:lnTo>
                    <a:pt x="592" y="97"/>
                  </a:lnTo>
                  <a:lnTo>
                    <a:pt x="592" y="97"/>
                  </a:lnTo>
                  <a:lnTo>
                    <a:pt x="602" y="110"/>
                  </a:lnTo>
                  <a:lnTo>
                    <a:pt x="612" y="123"/>
                  </a:lnTo>
                  <a:lnTo>
                    <a:pt x="622" y="135"/>
                  </a:lnTo>
                  <a:lnTo>
                    <a:pt x="630" y="149"/>
                  </a:lnTo>
                  <a:lnTo>
                    <a:pt x="639" y="163"/>
                  </a:lnTo>
                  <a:lnTo>
                    <a:pt x="646" y="178"/>
                  </a:lnTo>
                  <a:lnTo>
                    <a:pt x="653" y="194"/>
                  </a:lnTo>
                  <a:lnTo>
                    <a:pt x="659" y="210"/>
                  </a:lnTo>
                  <a:lnTo>
                    <a:pt x="664" y="226"/>
                  </a:lnTo>
                  <a:lnTo>
                    <a:pt x="669" y="243"/>
                  </a:lnTo>
                  <a:lnTo>
                    <a:pt x="673" y="260"/>
                  </a:lnTo>
                  <a:lnTo>
                    <a:pt x="676" y="279"/>
                  </a:lnTo>
                  <a:lnTo>
                    <a:pt x="678" y="297"/>
                  </a:lnTo>
                  <a:lnTo>
                    <a:pt x="680" y="315"/>
                  </a:lnTo>
                  <a:lnTo>
                    <a:pt x="681" y="334"/>
                  </a:lnTo>
                  <a:lnTo>
                    <a:pt x="681" y="353"/>
                  </a:lnTo>
                  <a:lnTo>
                    <a:pt x="681" y="353"/>
                  </a:lnTo>
                  <a:lnTo>
                    <a:pt x="681" y="373"/>
                  </a:lnTo>
                  <a:lnTo>
                    <a:pt x="680" y="392"/>
                  </a:lnTo>
                  <a:lnTo>
                    <a:pt x="678" y="410"/>
                  </a:lnTo>
                  <a:lnTo>
                    <a:pt x="676" y="428"/>
                  </a:lnTo>
                  <a:lnTo>
                    <a:pt x="672" y="447"/>
                  </a:lnTo>
                  <a:lnTo>
                    <a:pt x="669" y="464"/>
                  </a:lnTo>
                  <a:lnTo>
                    <a:pt x="663" y="481"/>
                  </a:lnTo>
                  <a:lnTo>
                    <a:pt x="658" y="498"/>
                  </a:lnTo>
                  <a:lnTo>
                    <a:pt x="652" y="514"/>
                  </a:lnTo>
                  <a:lnTo>
                    <a:pt x="644" y="530"/>
                  </a:lnTo>
                  <a:lnTo>
                    <a:pt x="636" y="545"/>
                  </a:lnTo>
                  <a:lnTo>
                    <a:pt x="627" y="560"/>
                  </a:lnTo>
                  <a:lnTo>
                    <a:pt x="618" y="574"/>
                  </a:lnTo>
                  <a:lnTo>
                    <a:pt x="608" y="588"/>
                  </a:lnTo>
                  <a:lnTo>
                    <a:pt x="597" y="600"/>
                  </a:lnTo>
                  <a:lnTo>
                    <a:pt x="585" y="612"/>
                  </a:lnTo>
                  <a:lnTo>
                    <a:pt x="585" y="612"/>
                  </a:lnTo>
                  <a:close/>
                  <a:moveTo>
                    <a:pt x="338" y="136"/>
                  </a:moveTo>
                  <a:lnTo>
                    <a:pt x="338" y="136"/>
                  </a:lnTo>
                  <a:lnTo>
                    <a:pt x="318" y="138"/>
                  </a:lnTo>
                  <a:lnTo>
                    <a:pt x="300" y="140"/>
                  </a:lnTo>
                  <a:lnTo>
                    <a:pt x="283" y="145"/>
                  </a:lnTo>
                  <a:lnTo>
                    <a:pt x="267" y="153"/>
                  </a:lnTo>
                  <a:lnTo>
                    <a:pt x="252" y="161"/>
                  </a:lnTo>
                  <a:lnTo>
                    <a:pt x="239" y="172"/>
                  </a:lnTo>
                  <a:lnTo>
                    <a:pt x="227" y="184"/>
                  </a:lnTo>
                  <a:lnTo>
                    <a:pt x="215" y="197"/>
                  </a:lnTo>
                  <a:lnTo>
                    <a:pt x="207" y="213"/>
                  </a:lnTo>
                  <a:lnTo>
                    <a:pt x="198" y="229"/>
                  </a:lnTo>
                  <a:lnTo>
                    <a:pt x="191" y="248"/>
                  </a:lnTo>
                  <a:lnTo>
                    <a:pt x="185" y="267"/>
                  </a:lnTo>
                  <a:lnTo>
                    <a:pt x="181" y="287"/>
                  </a:lnTo>
                  <a:lnTo>
                    <a:pt x="178" y="309"/>
                  </a:lnTo>
                  <a:lnTo>
                    <a:pt x="176" y="331"/>
                  </a:lnTo>
                  <a:lnTo>
                    <a:pt x="176" y="355"/>
                  </a:lnTo>
                  <a:lnTo>
                    <a:pt x="176" y="355"/>
                  </a:lnTo>
                  <a:lnTo>
                    <a:pt x="176" y="379"/>
                  </a:lnTo>
                  <a:lnTo>
                    <a:pt x="178" y="403"/>
                  </a:lnTo>
                  <a:lnTo>
                    <a:pt x="182" y="424"/>
                  </a:lnTo>
                  <a:lnTo>
                    <a:pt x="186" y="445"/>
                  </a:lnTo>
                  <a:lnTo>
                    <a:pt x="193" y="465"/>
                  </a:lnTo>
                  <a:lnTo>
                    <a:pt x="200" y="483"/>
                  </a:lnTo>
                  <a:lnTo>
                    <a:pt x="210" y="500"/>
                  </a:lnTo>
                  <a:lnTo>
                    <a:pt x="220" y="515"/>
                  </a:lnTo>
                  <a:lnTo>
                    <a:pt x="231" y="529"/>
                  </a:lnTo>
                  <a:lnTo>
                    <a:pt x="243" y="541"/>
                  </a:lnTo>
                  <a:lnTo>
                    <a:pt x="257" y="551"/>
                  </a:lnTo>
                  <a:lnTo>
                    <a:pt x="272" y="560"/>
                  </a:lnTo>
                  <a:lnTo>
                    <a:pt x="288" y="567"/>
                  </a:lnTo>
                  <a:lnTo>
                    <a:pt x="305" y="573"/>
                  </a:lnTo>
                  <a:lnTo>
                    <a:pt x="323" y="575"/>
                  </a:lnTo>
                  <a:lnTo>
                    <a:pt x="343" y="576"/>
                  </a:lnTo>
                  <a:lnTo>
                    <a:pt x="343" y="576"/>
                  </a:lnTo>
                  <a:lnTo>
                    <a:pt x="362" y="575"/>
                  </a:lnTo>
                  <a:lnTo>
                    <a:pt x="380" y="572"/>
                  </a:lnTo>
                  <a:lnTo>
                    <a:pt x="397" y="567"/>
                  </a:lnTo>
                  <a:lnTo>
                    <a:pt x="413" y="560"/>
                  </a:lnTo>
                  <a:lnTo>
                    <a:pt x="428" y="550"/>
                  </a:lnTo>
                  <a:lnTo>
                    <a:pt x="441" y="540"/>
                  </a:lnTo>
                  <a:lnTo>
                    <a:pt x="454" y="528"/>
                  </a:lnTo>
                  <a:lnTo>
                    <a:pt x="464" y="514"/>
                  </a:lnTo>
                  <a:lnTo>
                    <a:pt x="474" y="498"/>
                  </a:lnTo>
                  <a:lnTo>
                    <a:pt x="482" y="481"/>
                  </a:lnTo>
                  <a:lnTo>
                    <a:pt x="489" y="463"/>
                  </a:lnTo>
                  <a:lnTo>
                    <a:pt x="494" y="443"/>
                  </a:lnTo>
                  <a:lnTo>
                    <a:pt x="500" y="423"/>
                  </a:lnTo>
                  <a:lnTo>
                    <a:pt x="503" y="401"/>
                  </a:lnTo>
                  <a:lnTo>
                    <a:pt x="504" y="378"/>
                  </a:lnTo>
                  <a:lnTo>
                    <a:pt x="505" y="355"/>
                  </a:lnTo>
                  <a:lnTo>
                    <a:pt x="505" y="355"/>
                  </a:lnTo>
                  <a:lnTo>
                    <a:pt x="504" y="331"/>
                  </a:lnTo>
                  <a:lnTo>
                    <a:pt x="502" y="308"/>
                  </a:lnTo>
                  <a:lnTo>
                    <a:pt x="499" y="286"/>
                  </a:lnTo>
                  <a:lnTo>
                    <a:pt x="494" y="265"/>
                  </a:lnTo>
                  <a:lnTo>
                    <a:pt x="488" y="246"/>
                  </a:lnTo>
                  <a:lnTo>
                    <a:pt x="480" y="228"/>
                  </a:lnTo>
                  <a:lnTo>
                    <a:pt x="472" y="211"/>
                  </a:lnTo>
                  <a:lnTo>
                    <a:pt x="461" y="196"/>
                  </a:lnTo>
                  <a:lnTo>
                    <a:pt x="451" y="182"/>
                  </a:lnTo>
                  <a:lnTo>
                    <a:pt x="438" y="171"/>
                  </a:lnTo>
                  <a:lnTo>
                    <a:pt x="424" y="160"/>
                  </a:lnTo>
                  <a:lnTo>
                    <a:pt x="409" y="151"/>
                  </a:lnTo>
                  <a:lnTo>
                    <a:pt x="393" y="145"/>
                  </a:lnTo>
                  <a:lnTo>
                    <a:pt x="376" y="140"/>
                  </a:lnTo>
                  <a:lnTo>
                    <a:pt x="358" y="136"/>
                  </a:lnTo>
                  <a:lnTo>
                    <a:pt x="338" y="136"/>
                  </a:lnTo>
                  <a:lnTo>
                    <a:pt x="338" y="136"/>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3" name="Freeform 8"/>
            <p:cNvSpPr>
              <a:spLocks/>
            </p:cNvSpPr>
            <p:nvPr userDrawn="1"/>
          </p:nvSpPr>
          <p:spPr bwMode="auto">
            <a:xfrm>
              <a:off x="8750934" y="4638293"/>
              <a:ext cx="60342" cy="69325"/>
            </a:xfrm>
            <a:custGeom>
              <a:avLst/>
              <a:gdLst>
                <a:gd name="T0" fmla="*/ 446 w 618"/>
                <a:gd name="T1" fmla="*/ 296 h 709"/>
                <a:gd name="T2" fmla="*/ 445 w 618"/>
                <a:gd name="T3" fmla="*/ 269 h 709"/>
                <a:gd name="T4" fmla="*/ 441 w 618"/>
                <a:gd name="T5" fmla="*/ 231 h 709"/>
                <a:gd name="T6" fmla="*/ 433 w 618"/>
                <a:gd name="T7" fmla="*/ 206 h 709"/>
                <a:gd name="T8" fmla="*/ 422 w 618"/>
                <a:gd name="T9" fmla="*/ 185 h 709"/>
                <a:gd name="T10" fmla="*/ 407 w 618"/>
                <a:gd name="T11" fmla="*/ 167 h 709"/>
                <a:gd name="T12" fmla="*/ 387 w 618"/>
                <a:gd name="T13" fmla="*/ 155 h 709"/>
                <a:gd name="T14" fmla="*/ 360 w 618"/>
                <a:gd name="T15" fmla="*/ 148 h 709"/>
                <a:gd name="T16" fmla="*/ 345 w 618"/>
                <a:gd name="T17" fmla="*/ 147 h 709"/>
                <a:gd name="T18" fmla="*/ 323 w 618"/>
                <a:gd name="T19" fmla="*/ 149 h 709"/>
                <a:gd name="T20" fmla="*/ 300 w 618"/>
                <a:gd name="T21" fmla="*/ 154 h 709"/>
                <a:gd name="T22" fmla="*/ 256 w 618"/>
                <a:gd name="T23" fmla="*/ 169 h 709"/>
                <a:gd name="T24" fmla="*/ 213 w 618"/>
                <a:gd name="T25" fmla="*/ 191 h 709"/>
                <a:gd name="T26" fmla="*/ 172 w 618"/>
                <a:gd name="T27" fmla="*/ 220 h 709"/>
                <a:gd name="T28" fmla="*/ 172 w 618"/>
                <a:gd name="T29" fmla="*/ 581 h 709"/>
                <a:gd name="T30" fmla="*/ 172 w 618"/>
                <a:gd name="T31" fmla="*/ 592 h 709"/>
                <a:gd name="T32" fmla="*/ 168 w 618"/>
                <a:gd name="T33" fmla="*/ 613 h 709"/>
                <a:gd name="T34" fmla="*/ 161 w 618"/>
                <a:gd name="T35" fmla="*/ 631 h 709"/>
                <a:gd name="T36" fmla="*/ 151 w 618"/>
                <a:gd name="T37" fmla="*/ 647 h 709"/>
                <a:gd name="T38" fmla="*/ 139 w 618"/>
                <a:gd name="T39" fmla="*/ 661 h 709"/>
                <a:gd name="T40" fmla="*/ 118 w 618"/>
                <a:gd name="T41" fmla="*/ 677 h 709"/>
                <a:gd name="T42" fmla="*/ 86 w 618"/>
                <a:gd name="T43" fmla="*/ 692 h 709"/>
                <a:gd name="T44" fmla="*/ 55 w 618"/>
                <a:gd name="T45" fmla="*/ 702 h 709"/>
                <a:gd name="T46" fmla="*/ 27 w 618"/>
                <a:gd name="T47" fmla="*/ 707 h 709"/>
                <a:gd name="T48" fmla="*/ 0 w 618"/>
                <a:gd name="T49" fmla="*/ 709 h 709"/>
                <a:gd name="T50" fmla="*/ 146 w 618"/>
                <a:gd name="T51" fmla="*/ 16 h 709"/>
                <a:gd name="T52" fmla="*/ 165 w 618"/>
                <a:gd name="T53" fmla="*/ 88 h 709"/>
                <a:gd name="T54" fmla="*/ 220 w 618"/>
                <a:gd name="T55" fmla="*/ 51 h 709"/>
                <a:gd name="T56" fmla="*/ 263 w 618"/>
                <a:gd name="T57" fmla="*/ 30 h 709"/>
                <a:gd name="T58" fmla="*/ 292 w 618"/>
                <a:gd name="T59" fmla="*/ 18 h 709"/>
                <a:gd name="T60" fmla="*/ 323 w 618"/>
                <a:gd name="T61" fmla="*/ 9 h 709"/>
                <a:gd name="T62" fmla="*/ 354 w 618"/>
                <a:gd name="T63" fmla="*/ 3 h 709"/>
                <a:gd name="T64" fmla="*/ 387 w 618"/>
                <a:gd name="T65" fmla="*/ 0 h 709"/>
                <a:gd name="T66" fmla="*/ 404 w 618"/>
                <a:gd name="T67" fmla="*/ 0 h 709"/>
                <a:gd name="T68" fmla="*/ 443 w 618"/>
                <a:gd name="T69" fmla="*/ 2 h 709"/>
                <a:gd name="T70" fmla="*/ 481 w 618"/>
                <a:gd name="T71" fmla="*/ 11 h 709"/>
                <a:gd name="T72" fmla="*/ 517 w 618"/>
                <a:gd name="T73" fmla="*/ 29 h 709"/>
                <a:gd name="T74" fmla="*/ 550 w 618"/>
                <a:gd name="T75" fmla="*/ 53 h 709"/>
                <a:gd name="T76" fmla="*/ 572 w 618"/>
                <a:gd name="T77" fmla="*/ 77 h 709"/>
                <a:gd name="T78" fmla="*/ 584 w 618"/>
                <a:gd name="T79" fmla="*/ 96 h 709"/>
                <a:gd name="T80" fmla="*/ 594 w 618"/>
                <a:gd name="T81" fmla="*/ 117 h 709"/>
                <a:gd name="T82" fmla="*/ 604 w 618"/>
                <a:gd name="T83" fmla="*/ 141 h 709"/>
                <a:gd name="T84" fmla="*/ 611 w 618"/>
                <a:gd name="T85" fmla="*/ 166 h 709"/>
                <a:gd name="T86" fmla="*/ 616 w 618"/>
                <a:gd name="T87" fmla="*/ 195 h 709"/>
                <a:gd name="T88" fmla="*/ 618 w 618"/>
                <a:gd name="T89" fmla="*/ 227 h 709"/>
                <a:gd name="T90" fmla="*/ 618 w 618"/>
                <a:gd name="T91" fmla="*/ 244 h 709"/>
                <a:gd name="T92" fmla="*/ 618 w 618"/>
                <a:gd name="T93" fmla="*/ 581 h 709"/>
                <a:gd name="T94" fmla="*/ 617 w 618"/>
                <a:gd name="T95" fmla="*/ 604 h 709"/>
                <a:gd name="T96" fmla="*/ 611 w 618"/>
                <a:gd name="T97" fmla="*/ 623 h 709"/>
                <a:gd name="T98" fmla="*/ 602 w 618"/>
                <a:gd name="T99" fmla="*/ 640 h 709"/>
                <a:gd name="T100" fmla="*/ 591 w 618"/>
                <a:gd name="T101" fmla="*/ 655 h 709"/>
                <a:gd name="T102" fmla="*/ 578 w 618"/>
                <a:gd name="T103" fmla="*/ 668 h 709"/>
                <a:gd name="T104" fmla="*/ 548 w 618"/>
                <a:gd name="T105" fmla="*/ 686 h 709"/>
                <a:gd name="T106" fmla="*/ 516 w 618"/>
                <a:gd name="T107" fmla="*/ 699 h 709"/>
                <a:gd name="T108" fmla="*/ 485 w 618"/>
                <a:gd name="T109" fmla="*/ 705 h 709"/>
                <a:gd name="T110" fmla="*/ 453 w 618"/>
                <a:gd name="T111" fmla="*/ 709 h 709"/>
                <a:gd name="T112" fmla="*/ 446 w 618"/>
                <a:gd name="T113"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9">
                  <a:moveTo>
                    <a:pt x="446" y="709"/>
                  </a:moveTo>
                  <a:lnTo>
                    <a:pt x="446" y="296"/>
                  </a:lnTo>
                  <a:lnTo>
                    <a:pt x="446" y="296"/>
                  </a:lnTo>
                  <a:lnTo>
                    <a:pt x="445" y="269"/>
                  </a:lnTo>
                  <a:lnTo>
                    <a:pt x="443" y="242"/>
                  </a:lnTo>
                  <a:lnTo>
                    <a:pt x="441" y="231"/>
                  </a:lnTo>
                  <a:lnTo>
                    <a:pt x="437" y="218"/>
                  </a:lnTo>
                  <a:lnTo>
                    <a:pt x="433" y="206"/>
                  </a:lnTo>
                  <a:lnTo>
                    <a:pt x="429" y="195"/>
                  </a:lnTo>
                  <a:lnTo>
                    <a:pt x="422" y="185"/>
                  </a:lnTo>
                  <a:lnTo>
                    <a:pt x="416" y="176"/>
                  </a:lnTo>
                  <a:lnTo>
                    <a:pt x="407" y="167"/>
                  </a:lnTo>
                  <a:lnTo>
                    <a:pt x="398" y="161"/>
                  </a:lnTo>
                  <a:lnTo>
                    <a:pt x="387" y="155"/>
                  </a:lnTo>
                  <a:lnTo>
                    <a:pt x="374" y="151"/>
                  </a:lnTo>
                  <a:lnTo>
                    <a:pt x="360" y="148"/>
                  </a:lnTo>
                  <a:lnTo>
                    <a:pt x="345" y="147"/>
                  </a:lnTo>
                  <a:lnTo>
                    <a:pt x="345" y="147"/>
                  </a:lnTo>
                  <a:lnTo>
                    <a:pt x="334" y="148"/>
                  </a:lnTo>
                  <a:lnTo>
                    <a:pt x="323" y="149"/>
                  </a:lnTo>
                  <a:lnTo>
                    <a:pt x="311" y="150"/>
                  </a:lnTo>
                  <a:lnTo>
                    <a:pt x="300" y="154"/>
                  </a:lnTo>
                  <a:lnTo>
                    <a:pt x="278" y="160"/>
                  </a:lnTo>
                  <a:lnTo>
                    <a:pt x="256" y="169"/>
                  </a:lnTo>
                  <a:lnTo>
                    <a:pt x="234" y="179"/>
                  </a:lnTo>
                  <a:lnTo>
                    <a:pt x="213" y="191"/>
                  </a:lnTo>
                  <a:lnTo>
                    <a:pt x="192" y="205"/>
                  </a:lnTo>
                  <a:lnTo>
                    <a:pt x="172" y="220"/>
                  </a:lnTo>
                  <a:lnTo>
                    <a:pt x="172" y="220"/>
                  </a:lnTo>
                  <a:lnTo>
                    <a:pt x="172" y="581"/>
                  </a:lnTo>
                  <a:lnTo>
                    <a:pt x="172" y="581"/>
                  </a:lnTo>
                  <a:lnTo>
                    <a:pt x="172" y="592"/>
                  </a:lnTo>
                  <a:lnTo>
                    <a:pt x="170" y="604"/>
                  </a:lnTo>
                  <a:lnTo>
                    <a:pt x="168" y="613"/>
                  </a:lnTo>
                  <a:lnTo>
                    <a:pt x="165" y="623"/>
                  </a:lnTo>
                  <a:lnTo>
                    <a:pt x="161" y="631"/>
                  </a:lnTo>
                  <a:lnTo>
                    <a:pt x="156" y="640"/>
                  </a:lnTo>
                  <a:lnTo>
                    <a:pt x="151" y="647"/>
                  </a:lnTo>
                  <a:lnTo>
                    <a:pt x="145" y="655"/>
                  </a:lnTo>
                  <a:lnTo>
                    <a:pt x="139" y="661"/>
                  </a:lnTo>
                  <a:lnTo>
                    <a:pt x="133" y="667"/>
                  </a:lnTo>
                  <a:lnTo>
                    <a:pt x="118" y="677"/>
                  </a:lnTo>
                  <a:lnTo>
                    <a:pt x="103" y="686"/>
                  </a:lnTo>
                  <a:lnTo>
                    <a:pt x="86" y="692"/>
                  </a:lnTo>
                  <a:lnTo>
                    <a:pt x="69" y="698"/>
                  </a:lnTo>
                  <a:lnTo>
                    <a:pt x="55" y="702"/>
                  </a:lnTo>
                  <a:lnTo>
                    <a:pt x="40" y="705"/>
                  </a:lnTo>
                  <a:lnTo>
                    <a:pt x="27" y="707"/>
                  </a:lnTo>
                  <a:lnTo>
                    <a:pt x="7" y="709"/>
                  </a:lnTo>
                  <a:lnTo>
                    <a:pt x="0" y="709"/>
                  </a:lnTo>
                  <a:lnTo>
                    <a:pt x="0" y="16"/>
                  </a:lnTo>
                  <a:lnTo>
                    <a:pt x="146" y="16"/>
                  </a:lnTo>
                  <a:lnTo>
                    <a:pt x="165" y="88"/>
                  </a:lnTo>
                  <a:lnTo>
                    <a:pt x="165" y="88"/>
                  </a:lnTo>
                  <a:lnTo>
                    <a:pt x="192" y="69"/>
                  </a:lnTo>
                  <a:lnTo>
                    <a:pt x="220" y="51"/>
                  </a:lnTo>
                  <a:lnTo>
                    <a:pt x="249" y="36"/>
                  </a:lnTo>
                  <a:lnTo>
                    <a:pt x="263" y="30"/>
                  </a:lnTo>
                  <a:lnTo>
                    <a:pt x="278" y="23"/>
                  </a:lnTo>
                  <a:lnTo>
                    <a:pt x="292" y="18"/>
                  </a:lnTo>
                  <a:lnTo>
                    <a:pt x="307" y="14"/>
                  </a:lnTo>
                  <a:lnTo>
                    <a:pt x="323" y="9"/>
                  </a:lnTo>
                  <a:lnTo>
                    <a:pt x="338" y="5"/>
                  </a:lnTo>
                  <a:lnTo>
                    <a:pt x="354" y="3"/>
                  </a:lnTo>
                  <a:lnTo>
                    <a:pt x="370" y="1"/>
                  </a:lnTo>
                  <a:lnTo>
                    <a:pt x="387" y="0"/>
                  </a:lnTo>
                  <a:lnTo>
                    <a:pt x="404" y="0"/>
                  </a:lnTo>
                  <a:lnTo>
                    <a:pt x="404" y="0"/>
                  </a:lnTo>
                  <a:lnTo>
                    <a:pt x="423" y="0"/>
                  </a:lnTo>
                  <a:lnTo>
                    <a:pt x="443" y="2"/>
                  </a:lnTo>
                  <a:lnTo>
                    <a:pt x="462" y="6"/>
                  </a:lnTo>
                  <a:lnTo>
                    <a:pt x="481" y="11"/>
                  </a:lnTo>
                  <a:lnTo>
                    <a:pt x="499" y="19"/>
                  </a:lnTo>
                  <a:lnTo>
                    <a:pt x="517" y="29"/>
                  </a:lnTo>
                  <a:lnTo>
                    <a:pt x="535" y="40"/>
                  </a:lnTo>
                  <a:lnTo>
                    <a:pt x="550" y="53"/>
                  </a:lnTo>
                  <a:lnTo>
                    <a:pt x="565" y="68"/>
                  </a:lnTo>
                  <a:lnTo>
                    <a:pt x="572" y="77"/>
                  </a:lnTo>
                  <a:lnTo>
                    <a:pt x="578" y="86"/>
                  </a:lnTo>
                  <a:lnTo>
                    <a:pt x="584" y="96"/>
                  </a:lnTo>
                  <a:lnTo>
                    <a:pt x="589" y="107"/>
                  </a:lnTo>
                  <a:lnTo>
                    <a:pt x="594" y="117"/>
                  </a:lnTo>
                  <a:lnTo>
                    <a:pt x="600" y="129"/>
                  </a:lnTo>
                  <a:lnTo>
                    <a:pt x="604" y="141"/>
                  </a:lnTo>
                  <a:lnTo>
                    <a:pt x="607" y="154"/>
                  </a:lnTo>
                  <a:lnTo>
                    <a:pt x="611" y="166"/>
                  </a:lnTo>
                  <a:lnTo>
                    <a:pt x="614" y="181"/>
                  </a:lnTo>
                  <a:lnTo>
                    <a:pt x="616" y="195"/>
                  </a:lnTo>
                  <a:lnTo>
                    <a:pt x="617" y="211"/>
                  </a:lnTo>
                  <a:lnTo>
                    <a:pt x="618" y="227"/>
                  </a:lnTo>
                  <a:lnTo>
                    <a:pt x="618" y="244"/>
                  </a:lnTo>
                  <a:lnTo>
                    <a:pt x="618" y="244"/>
                  </a:lnTo>
                  <a:lnTo>
                    <a:pt x="618" y="581"/>
                  </a:lnTo>
                  <a:lnTo>
                    <a:pt x="618" y="581"/>
                  </a:lnTo>
                  <a:lnTo>
                    <a:pt x="618" y="593"/>
                  </a:lnTo>
                  <a:lnTo>
                    <a:pt x="617" y="604"/>
                  </a:lnTo>
                  <a:lnTo>
                    <a:pt x="614" y="613"/>
                  </a:lnTo>
                  <a:lnTo>
                    <a:pt x="611" y="623"/>
                  </a:lnTo>
                  <a:lnTo>
                    <a:pt x="607" y="633"/>
                  </a:lnTo>
                  <a:lnTo>
                    <a:pt x="602" y="640"/>
                  </a:lnTo>
                  <a:lnTo>
                    <a:pt x="598" y="647"/>
                  </a:lnTo>
                  <a:lnTo>
                    <a:pt x="591" y="655"/>
                  </a:lnTo>
                  <a:lnTo>
                    <a:pt x="585" y="661"/>
                  </a:lnTo>
                  <a:lnTo>
                    <a:pt x="578" y="668"/>
                  </a:lnTo>
                  <a:lnTo>
                    <a:pt x="563" y="677"/>
                  </a:lnTo>
                  <a:lnTo>
                    <a:pt x="548" y="686"/>
                  </a:lnTo>
                  <a:lnTo>
                    <a:pt x="532" y="693"/>
                  </a:lnTo>
                  <a:lnTo>
                    <a:pt x="516" y="699"/>
                  </a:lnTo>
                  <a:lnTo>
                    <a:pt x="500" y="703"/>
                  </a:lnTo>
                  <a:lnTo>
                    <a:pt x="485" y="705"/>
                  </a:lnTo>
                  <a:lnTo>
                    <a:pt x="473" y="707"/>
                  </a:lnTo>
                  <a:lnTo>
                    <a:pt x="453" y="709"/>
                  </a:lnTo>
                  <a:lnTo>
                    <a:pt x="446" y="709"/>
                  </a:lnTo>
                  <a:lnTo>
                    <a:pt x="446" y="709"/>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4" name="Freeform 9"/>
            <p:cNvSpPr>
              <a:spLocks/>
            </p:cNvSpPr>
            <p:nvPr userDrawn="1"/>
          </p:nvSpPr>
          <p:spPr bwMode="auto">
            <a:xfrm>
              <a:off x="8522261" y="4638488"/>
              <a:ext cx="43743" cy="69129"/>
            </a:xfrm>
            <a:custGeom>
              <a:avLst/>
              <a:gdLst>
                <a:gd name="T0" fmla="*/ 385 w 448"/>
                <a:gd name="T1" fmla="*/ 175 h 707"/>
                <a:gd name="T2" fmla="*/ 363 w 448"/>
                <a:gd name="T3" fmla="*/ 164 h 707"/>
                <a:gd name="T4" fmla="*/ 341 w 448"/>
                <a:gd name="T5" fmla="*/ 158 h 707"/>
                <a:gd name="T6" fmla="*/ 322 w 448"/>
                <a:gd name="T7" fmla="*/ 155 h 707"/>
                <a:gd name="T8" fmla="*/ 304 w 448"/>
                <a:gd name="T9" fmla="*/ 154 h 707"/>
                <a:gd name="T10" fmla="*/ 273 w 448"/>
                <a:gd name="T11" fmla="*/ 157 h 707"/>
                <a:gd name="T12" fmla="*/ 241 w 448"/>
                <a:gd name="T13" fmla="*/ 168 h 707"/>
                <a:gd name="T14" fmla="*/ 208 w 448"/>
                <a:gd name="T15" fmla="*/ 187 h 707"/>
                <a:gd name="T16" fmla="*/ 174 w 448"/>
                <a:gd name="T17" fmla="*/ 214 h 707"/>
                <a:gd name="T18" fmla="*/ 174 w 448"/>
                <a:gd name="T19" fmla="*/ 579 h 707"/>
                <a:gd name="T20" fmla="*/ 172 w 448"/>
                <a:gd name="T21" fmla="*/ 591 h 707"/>
                <a:gd name="T22" fmla="*/ 169 w 448"/>
                <a:gd name="T23" fmla="*/ 611 h 707"/>
                <a:gd name="T24" fmla="*/ 162 w 448"/>
                <a:gd name="T25" fmla="*/ 631 h 707"/>
                <a:gd name="T26" fmla="*/ 152 w 448"/>
                <a:gd name="T27" fmla="*/ 647 h 707"/>
                <a:gd name="T28" fmla="*/ 140 w 448"/>
                <a:gd name="T29" fmla="*/ 659 h 707"/>
                <a:gd name="T30" fmla="*/ 119 w 448"/>
                <a:gd name="T31" fmla="*/ 675 h 707"/>
                <a:gd name="T32" fmla="*/ 87 w 448"/>
                <a:gd name="T33" fmla="*/ 691 h 707"/>
                <a:gd name="T34" fmla="*/ 55 w 448"/>
                <a:gd name="T35" fmla="*/ 700 h 707"/>
                <a:gd name="T36" fmla="*/ 28 w 448"/>
                <a:gd name="T37" fmla="*/ 705 h 707"/>
                <a:gd name="T38" fmla="*/ 0 w 448"/>
                <a:gd name="T39" fmla="*/ 707 h 707"/>
                <a:gd name="T40" fmla="*/ 146 w 448"/>
                <a:gd name="T41" fmla="*/ 15 h 707"/>
                <a:gd name="T42" fmla="*/ 165 w 448"/>
                <a:gd name="T43" fmla="*/ 87 h 707"/>
                <a:gd name="T44" fmla="*/ 215 w 448"/>
                <a:gd name="T45" fmla="*/ 48 h 707"/>
                <a:gd name="T46" fmla="*/ 261 w 448"/>
                <a:gd name="T47" fmla="*/ 20 h 707"/>
                <a:gd name="T48" fmla="*/ 284 w 448"/>
                <a:gd name="T49" fmla="*/ 10 h 707"/>
                <a:gd name="T50" fmla="*/ 306 w 448"/>
                <a:gd name="T51" fmla="*/ 4 h 707"/>
                <a:gd name="T52" fmla="*/ 330 w 448"/>
                <a:gd name="T53" fmla="*/ 1 h 707"/>
                <a:gd name="T54" fmla="*/ 353 w 448"/>
                <a:gd name="T55" fmla="*/ 0 h 707"/>
                <a:gd name="T56" fmla="*/ 379 w 448"/>
                <a:gd name="T57" fmla="*/ 1 h 707"/>
                <a:gd name="T58" fmla="*/ 403 w 448"/>
                <a:gd name="T59" fmla="*/ 7 h 707"/>
                <a:gd name="T60" fmla="*/ 427 w 448"/>
                <a:gd name="T61" fmla="*/ 16 h 707"/>
                <a:gd name="T62" fmla="*/ 448 w 448"/>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707">
                  <a:moveTo>
                    <a:pt x="385" y="175"/>
                  </a:moveTo>
                  <a:lnTo>
                    <a:pt x="385" y="175"/>
                  </a:lnTo>
                  <a:lnTo>
                    <a:pt x="374" y="169"/>
                  </a:lnTo>
                  <a:lnTo>
                    <a:pt x="363" y="164"/>
                  </a:lnTo>
                  <a:lnTo>
                    <a:pt x="352" y="160"/>
                  </a:lnTo>
                  <a:lnTo>
                    <a:pt x="341" y="158"/>
                  </a:lnTo>
                  <a:lnTo>
                    <a:pt x="332" y="156"/>
                  </a:lnTo>
                  <a:lnTo>
                    <a:pt x="322" y="155"/>
                  </a:lnTo>
                  <a:lnTo>
                    <a:pt x="304" y="154"/>
                  </a:lnTo>
                  <a:lnTo>
                    <a:pt x="304" y="154"/>
                  </a:lnTo>
                  <a:lnTo>
                    <a:pt x="289" y="155"/>
                  </a:lnTo>
                  <a:lnTo>
                    <a:pt x="273" y="157"/>
                  </a:lnTo>
                  <a:lnTo>
                    <a:pt x="257" y="161"/>
                  </a:lnTo>
                  <a:lnTo>
                    <a:pt x="241" y="168"/>
                  </a:lnTo>
                  <a:lnTo>
                    <a:pt x="225" y="176"/>
                  </a:lnTo>
                  <a:lnTo>
                    <a:pt x="208" y="187"/>
                  </a:lnTo>
                  <a:lnTo>
                    <a:pt x="191" y="200"/>
                  </a:lnTo>
                  <a:lnTo>
                    <a:pt x="174" y="214"/>
                  </a:lnTo>
                  <a:lnTo>
                    <a:pt x="174" y="214"/>
                  </a:lnTo>
                  <a:lnTo>
                    <a:pt x="174" y="579"/>
                  </a:lnTo>
                  <a:lnTo>
                    <a:pt x="174" y="579"/>
                  </a:lnTo>
                  <a:lnTo>
                    <a:pt x="172" y="591"/>
                  </a:lnTo>
                  <a:lnTo>
                    <a:pt x="171" y="602"/>
                  </a:lnTo>
                  <a:lnTo>
                    <a:pt x="169" y="611"/>
                  </a:lnTo>
                  <a:lnTo>
                    <a:pt x="166" y="621"/>
                  </a:lnTo>
                  <a:lnTo>
                    <a:pt x="162" y="631"/>
                  </a:lnTo>
                  <a:lnTo>
                    <a:pt x="158" y="638"/>
                  </a:lnTo>
                  <a:lnTo>
                    <a:pt x="152" y="647"/>
                  </a:lnTo>
                  <a:lnTo>
                    <a:pt x="147" y="653"/>
                  </a:lnTo>
                  <a:lnTo>
                    <a:pt x="140" y="659"/>
                  </a:lnTo>
                  <a:lnTo>
                    <a:pt x="133" y="666"/>
                  </a:lnTo>
                  <a:lnTo>
                    <a:pt x="119" y="675"/>
                  </a:lnTo>
                  <a:lnTo>
                    <a:pt x="103" y="684"/>
                  </a:lnTo>
                  <a:lnTo>
                    <a:pt x="87" y="691"/>
                  </a:lnTo>
                  <a:lnTo>
                    <a:pt x="71" y="697"/>
                  </a:lnTo>
                  <a:lnTo>
                    <a:pt x="55" y="700"/>
                  </a:lnTo>
                  <a:lnTo>
                    <a:pt x="41" y="703"/>
                  </a:lnTo>
                  <a:lnTo>
                    <a:pt x="28" y="705"/>
                  </a:lnTo>
                  <a:lnTo>
                    <a:pt x="8" y="706"/>
                  </a:lnTo>
                  <a:lnTo>
                    <a:pt x="0" y="707"/>
                  </a:lnTo>
                  <a:lnTo>
                    <a:pt x="0" y="15"/>
                  </a:lnTo>
                  <a:lnTo>
                    <a:pt x="146" y="15"/>
                  </a:lnTo>
                  <a:lnTo>
                    <a:pt x="165" y="87"/>
                  </a:lnTo>
                  <a:lnTo>
                    <a:pt x="165" y="87"/>
                  </a:lnTo>
                  <a:lnTo>
                    <a:pt x="191" y="66"/>
                  </a:lnTo>
                  <a:lnTo>
                    <a:pt x="215" y="48"/>
                  </a:lnTo>
                  <a:lnTo>
                    <a:pt x="238" y="32"/>
                  </a:lnTo>
                  <a:lnTo>
                    <a:pt x="261" y="20"/>
                  </a:lnTo>
                  <a:lnTo>
                    <a:pt x="272" y="15"/>
                  </a:lnTo>
                  <a:lnTo>
                    <a:pt x="284" y="10"/>
                  </a:lnTo>
                  <a:lnTo>
                    <a:pt x="295" y="7"/>
                  </a:lnTo>
                  <a:lnTo>
                    <a:pt x="306" y="4"/>
                  </a:lnTo>
                  <a:lnTo>
                    <a:pt x="318" y="2"/>
                  </a:lnTo>
                  <a:lnTo>
                    <a:pt x="330" y="1"/>
                  </a:lnTo>
                  <a:lnTo>
                    <a:pt x="353" y="0"/>
                  </a:lnTo>
                  <a:lnTo>
                    <a:pt x="353" y="0"/>
                  </a:lnTo>
                  <a:lnTo>
                    <a:pt x="366" y="0"/>
                  </a:lnTo>
                  <a:lnTo>
                    <a:pt x="379" y="1"/>
                  </a:lnTo>
                  <a:lnTo>
                    <a:pt x="391" y="4"/>
                  </a:lnTo>
                  <a:lnTo>
                    <a:pt x="403" y="7"/>
                  </a:lnTo>
                  <a:lnTo>
                    <a:pt x="415" y="10"/>
                  </a:lnTo>
                  <a:lnTo>
                    <a:pt x="427" y="16"/>
                  </a:lnTo>
                  <a:lnTo>
                    <a:pt x="438" y="21"/>
                  </a:lnTo>
                  <a:lnTo>
                    <a:pt x="448" y="29"/>
                  </a:lnTo>
                  <a:lnTo>
                    <a:pt x="385" y="175"/>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5" name="Freeform 10"/>
            <p:cNvSpPr>
              <a:spLocks/>
            </p:cNvSpPr>
            <p:nvPr userDrawn="1"/>
          </p:nvSpPr>
          <p:spPr bwMode="auto">
            <a:xfrm>
              <a:off x="7783125" y="4581466"/>
              <a:ext cx="96468" cy="151147"/>
            </a:xfrm>
            <a:custGeom>
              <a:avLst/>
              <a:gdLst>
                <a:gd name="T0" fmla="*/ 9 w 989"/>
                <a:gd name="T1" fmla="*/ 121 h 1548"/>
                <a:gd name="T2" fmla="*/ 58 w 989"/>
                <a:gd name="T3" fmla="*/ 78 h 1548"/>
                <a:gd name="T4" fmla="*/ 108 w 989"/>
                <a:gd name="T5" fmla="*/ 46 h 1548"/>
                <a:gd name="T6" fmla="*/ 160 w 989"/>
                <a:gd name="T7" fmla="*/ 22 h 1548"/>
                <a:gd name="T8" fmla="*/ 213 w 989"/>
                <a:gd name="T9" fmla="*/ 7 h 1548"/>
                <a:gd name="T10" fmla="*/ 265 w 989"/>
                <a:gd name="T11" fmla="*/ 0 h 1548"/>
                <a:gd name="T12" fmla="*/ 317 w 989"/>
                <a:gd name="T13" fmla="*/ 2 h 1548"/>
                <a:gd name="T14" fmla="*/ 367 w 989"/>
                <a:gd name="T15" fmla="*/ 11 h 1548"/>
                <a:gd name="T16" fmla="*/ 415 w 989"/>
                <a:gd name="T17" fmla="*/ 28 h 1548"/>
                <a:gd name="T18" fmla="*/ 461 w 989"/>
                <a:gd name="T19" fmla="*/ 51 h 1548"/>
                <a:gd name="T20" fmla="*/ 503 w 989"/>
                <a:gd name="T21" fmla="*/ 81 h 1548"/>
                <a:gd name="T22" fmla="*/ 529 w 989"/>
                <a:gd name="T23" fmla="*/ 106 h 1548"/>
                <a:gd name="T24" fmla="*/ 575 w 989"/>
                <a:gd name="T25" fmla="*/ 161 h 1548"/>
                <a:gd name="T26" fmla="*/ 606 w 989"/>
                <a:gd name="T27" fmla="*/ 217 h 1548"/>
                <a:gd name="T28" fmla="*/ 623 w 989"/>
                <a:gd name="T29" fmla="*/ 269 h 1548"/>
                <a:gd name="T30" fmla="*/ 631 w 989"/>
                <a:gd name="T31" fmla="*/ 314 h 1548"/>
                <a:gd name="T32" fmla="*/ 630 w 989"/>
                <a:gd name="T33" fmla="*/ 358 h 1548"/>
                <a:gd name="T34" fmla="*/ 661 w 989"/>
                <a:gd name="T35" fmla="*/ 357 h 1548"/>
                <a:gd name="T36" fmla="*/ 704 w 989"/>
                <a:gd name="T37" fmla="*/ 361 h 1548"/>
                <a:gd name="T38" fmla="*/ 754 w 989"/>
                <a:gd name="T39" fmla="*/ 375 h 1548"/>
                <a:gd name="T40" fmla="*/ 808 w 989"/>
                <a:gd name="T41" fmla="*/ 401 h 1548"/>
                <a:gd name="T42" fmla="*/ 864 w 989"/>
                <a:gd name="T43" fmla="*/ 442 h 1548"/>
                <a:gd name="T44" fmla="*/ 895 w 989"/>
                <a:gd name="T45" fmla="*/ 473 h 1548"/>
                <a:gd name="T46" fmla="*/ 928 w 989"/>
                <a:gd name="T47" fmla="*/ 513 h 1548"/>
                <a:gd name="T48" fmla="*/ 954 w 989"/>
                <a:gd name="T49" fmla="*/ 558 h 1548"/>
                <a:gd name="T50" fmla="*/ 973 w 989"/>
                <a:gd name="T51" fmla="*/ 605 h 1548"/>
                <a:gd name="T52" fmla="*/ 985 w 989"/>
                <a:gd name="T53" fmla="*/ 655 h 1548"/>
                <a:gd name="T54" fmla="*/ 989 w 989"/>
                <a:gd name="T55" fmla="*/ 707 h 1548"/>
                <a:gd name="T56" fmla="*/ 985 w 989"/>
                <a:gd name="T57" fmla="*/ 759 h 1548"/>
                <a:gd name="T58" fmla="*/ 973 w 989"/>
                <a:gd name="T59" fmla="*/ 811 h 1548"/>
                <a:gd name="T60" fmla="*/ 953 w 989"/>
                <a:gd name="T61" fmla="*/ 864 h 1548"/>
                <a:gd name="T62" fmla="*/ 923 w 989"/>
                <a:gd name="T63" fmla="*/ 915 h 1548"/>
                <a:gd name="T64" fmla="*/ 883 w 989"/>
                <a:gd name="T65" fmla="*/ 964 h 1548"/>
                <a:gd name="T66" fmla="*/ 127 w 989"/>
                <a:gd name="T67" fmla="*/ 1378 h 1548"/>
                <a:gd name="T68" fmla="*/ 706 w 989"/>
                <a:gd name="T69" fmla="*/ 799 h 1548"/>
                <a:gd name="T70" fmla="*/ 731 w 989"/>
                <a:gd name="T71" fmla="*/ 760 h 1548"/>
                <a:gd name="T72" fmla="*/ 743 w 989"/>
                <a:gd name="T73" fmla="*/ 721 h 1548"/>
                <a:gd name="T74" fmla="*/ 742 w 989"/>
                <a:gd name="T75" fmla="*/ 684 h 1548"/>
                <a:gd name="T76" fmla="*/ 731 w 989"/>
                <a:gd name="T77" fmla="*/ 650 h 1548"/>
                <a:gd name="T78" fmla="*/ 711 w 989"/>
                <a:gd name="T79" fmla="*/ 622 h 1548"/>
                <a:gd name="T80" fmla="*/ 693 w 989"/>
                <a:gd name="T81" fmla="*/ 607 h 1548"/>
                <a:gd name="T82" fmla="*/ 661 w 989"/>
                <a:gd name="T83" fmla="*/ 593 h 1548"/>
                <a:gd name="T84" fmla="*/ 624 w 989"/>
                <a:gd name="T85" fmla="*/ 589 h 1548"/>
                <a:gd name="T86" fmla="*/ 586 w 989"/>
                <a:gd name="T87" fmla="*/ 597 h 1548"/>
                <a:gd name="T88" fmla="*/ 547 w 989"/>
                <a:gd name="T89" fmla="*/ 617 h 1548"/>
                <a:gd name="T90" fmla="*/ 0 w 989"/>
                <a:gd name="T91" fmla="*/ 1160 h 1548"/>
                <a:gd name="T92" fmla="*/ 350 w 989"/>
                <a:gd name="T93" fmla="*/ 466 h 1548"/>
                <a:gd name="T94" fmla="*/ 380 w 989"/>
                <a:gd name="T95" fmla="*/ 429 h 1548"/>
                <a:gd name="T96" fmla="*/ 396 w 989"/>
                <a:gd name="T97" fmla="*/ 389 h 1548"/>
                <a:gd name="T98" fmla="*/ 399 w 989"/>
                <a:gd name="T99" fmla="*/ 352 h 1548"/>
                <a:gd name="T100" fmla="*/ 390 w 989"/>
                <a:gd name="T101" fmla="*/ 316 h 1548"/>
                <a:gd name="T102" fmla="*/ 373 w 989"/>
                <a:gd name="T103" fmla="*/ 287 h 1548"/>
                <a:gd name="T104" fmla="*/ 357 w 989"/>
                <a:gd name="T105" fmla="*/ 270 h 1548"/>
                <a:gd name="T106" fmla="*/ 327 w 989"/>
                <a:gd name="T107" fmla="*/ 253 h 1548"/>
                <a:gd name="T108" fmla="*/ 292 w 989"/>
                <a:gd name="T109" fmla="*/ 245 h 1548"/>
                <a:gd name="T110" fmla="*/ 255 w 989"/>
                <a:gd name="T111" fmla="*/ 248 h 1548"/>
                <a:gd name="T112" fmla="*/ 215 w 989"/>
                <a:gd name="T113" fmla="*/ 264 h 1548"/>
                <a:gd name="T114" fmla="*/ 178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0" y="129"/>
                  </a:moveTo>
                  <a:lnTo>
                    <a:pt x="9" y="121"/>
                  </a:lnTo>
                  <a:lnTo>
                    <a:pt x="9" y="121"/>
                  </a:lnTo>
                  <a:lnTo>
                    <a:pt x="25" y="106"/>
                  </a:lnTo>
                  <a:lnTo>
                    <a:pt x="41" y="92"/>
                  </a:lnTo>
                  <a:lnTo>
                    <a:pt x="58" y="78"/>
                  </a:lnTo>
                  <a:lnTo>
                    <a:pt x="74" y="66"/>
                  </a:lnTo>
                  <a:lnTo>
                    <a:pt x="91" y="56"/>
                  </a:lnTo>
                  <a:lnTo>
                    <a:pt x="108" y="46"/>
                  </a:lnTo>
                  <a:lnTo>
                    <a:pt x="125" y="37"/>
                  </a:lnTo>
                  <a:lnTo>
                    <a:pt x="143" y="29"/>
                  </a:lnTo>
                  <a:lnTo>
                    <a:pt x="160" y="22"/>
                  </a:lnTo>
                  <a:lnTo>
                    <a:pt x="178" y="16"/>
                  </a:lnTo>
                  <a:lnTo>
                    <a:pt x="196" y="11"/>
                  </a:lnTo>
                  <a:lnTo>
                    <a:pt x="213" y="7"/>
                  </a:lnTo>
                  <a:lnTo>
                    <a:pt x="230" y="4"/>
                  </a:lnTo>
                  <a:lnTo>
                    <a:pt x="248" y="2"/>
                  </a:lnTo>
                  <a:lnTo>
                    <a:pt x="265" y="0"/>
                  </a:lnTo>
                  <a:lnTo>
                    <a:pt x="282" y="0"/>
                  </a:lnTo>
                  <a:lnTo>
                    <a:pt x="299" y="1"/>
                  </a:lnTo>
                  <a:lnTo>
                    <a:pt x="317" y="2"/>
                  </a:lnTo>
                  <a:lnTo>
                    <a:pt x="334" y="4"/>
                  </a:lnTo>
                  <a:lnTo>
                    <a:pt x="351" y="7"/>
                  </a:lnTo>
                  <a:lnTo>
                    <a:pt x="367" y="11"/>
                  </a:lnTo>
                  <a:lnTo>
                    <a:pt x="383" y="16"/>
                  </a:lnTo>
                  <a:lnTo>
                    <a:pt x="399" y="21"/>
                  </a:lnTo>
                  <a:lnTo>
                    <a:pt x="415" y="28"/>
                  </a:lnTo>
                  <a:lnTo>
                    <a:pt x="431" y="35"/>
                  </a:lnTo>
                  <a:lnTo>
                    <a:pt x="446" y="43"/>
                  </a:lnTo>
                  <a:lnTo>
                    <a:pt x="461" y="51"/>
                  </a:lnTo>
                  <a:lnTo>
                    <a:pt x="475" y="61"/>
                  </a:lnTo>
                  <a:lnTo>
                    <a:pt x="490" y="71"/>
                  </a:lnTo>
                  <a:lnTo>
                    <a:pt x="503" y="81"/>
                  </a:lnTo>
                  <a:lnTo>
                    <a:pt x="516" y="93"/>
                  </a:lnTo>
                  <a:lnTo>
                    <a:pt x="529" y="106"/>
                  </a:lnTo>
                  <a:lnTo>
                    <a:pt x="529" y="106"/>
                  </a:lnTo>
                  <a:lnTo>
                    <a:pt x="546" y="124"/>
                  </a:lnTo>
                  <a:lnTo>
                    <a:pt x="562" y="143"/>
                  </a:lnTo>
                  <a:lnTo>
                    <a:pt x="575" y="161"/>
                  </a:lnTo>
                  <a:lnTo>
                    <a:pt x="587" y="181"/>
                  </a:lnTo>
                  <a:lnTo>
                    <a:pt x="598" y="199"/>
                  </a:lnTo>
                  <a:lnTo>
                    <a:pt x="606" y="217"/>
                  </a:lnTo>
                  <a:lnTo>
                    <a:pt x="613" y="235"/>
                  </a:lnTo>
                  <a:lnTo>
                    <a:pt x="619" y="252"/>
                  </a:lnTo>
                  <a:lnTo>
                    <a:pt x="623" y="269"/>
                  </a:lnTo>
                  <a:lnTo>
                    <a:pt x="627" y="284"/>
                  </a:lnTo>
                  <a:lnTo>
                    <a:pt x="629" y="300"/>
                  </a:lnTo>
                  <a:lnTo>
                    <a:pt x="631" y="314"/>
                  </a:lnTo>
                  <a:lnTo>
                    <a:pt x="631" y="327"/>
                  </a:lnTo>
                  <a:lnTo>
                    <a:pt x="631" y="339"/>
                  </a:lnTo>
                  <a:lnTo>
                    <a:pt x="630" y="358"/>
                  </a:lnTo>
                  <a:lnTo>
                    <a:pt x="630" y="358"/>
                  </a:lnTo>
                  <a:lnTo>
                    <a:pt x="649" y="357"/>
                  </a:lnTo>
                  <a:lnTo>
                    <a:pt x="661" y="357"/>
                  </a:lnTo>
                  <a:lnTo>
                    <a:pt x="675" y="358"/>
                  </a:lnTo>
                  <a:lnTo>
                    <a:pt x="689" y="359"/>
                  </a:lnTo>
                  <a:lnTo>
                    <a:pt x="704" y="361"/>
                  </a:lnTo>
                  <a:lnTo>
                    <a:pt x="720" y="366"/>
                  </a:lnTo>
                  <a:lnTo>
                    <a:pt x="736" y="370"/>
                  </a:lnTo>
                  <a:lnTo>
                    <a:pt x="754" y="375"/>
                  </a:lnTo>
                  <a:lnTo>
                    <a:pt x="771" y="383"/>
                  </a:lnTo>
                  <a:lnTo>
                    <a:pt x="789" y="391"/>
                  </a:lnTo>
                  <a:lnTo>
                    <a:pt x="808" y="401"/>
                  </a:lnTo>
                  <a:lnTo>
                    <a:pt x="827" y="413"/>
                  </a:lnTo>
                  <a:lnTo>
                    <a:pt x="846" y="427"/>
                  </a:lnTo>
                  <a:lnTo>
                    <a:pt x="864" y="442"/>
                  </a:lnTo>
                  <a:lnTo>
                    <a:pt x="883" y="460"/>
                  </a:lnTo>
                  <a:lnTo>
                    <a:pt x="883" y="460"/>
                  </a:lnTo>
                  <a:lnTo>
                    <a:pt x="895" y="473"/>
                  </a:lnTo>
                  <a:lnTo>
                    <a:pt x="907" y="485"/>
                  </a:lnTo>
                  <a:lnTo>
                    <a:pt x="917" y="499"/>
                  </a:lnTo>
                  <a:lnTo>
                    <a:pt x="928" y="513"/>
                  </a:lnTo>
                  <a:lnTo>
                    <a:pt x="938" y="528"/>
                  </a:lnTo>
                  <a:lnTo>
                    <a:pt x="946" y="543"/>
                  </a:lnTo>
                  <a:lnTo>
                    <a:pt x="954" y="558"/>
                  </a:lnTo>
                  <a:lnTo>
                    <a:pt x="961" y="574"/>
                  </a:lnTo>
                  <a:lnTo>
                    <a:pt x="968" y="589"/>
                  </a:lnTo>
                  <a:lnTo>
                    <a:pt x="973" y="605"/>
                  </a:lnTo>
                  <a:lnTo>
                    <a:pt x="977" y="622"/>
                  </a:lnTo>
                  <a:lnTo>
                    <a:pt x="982" y="638"/>
                  </a:lnTo>
                  <a:lnTo>
                    <a:pt x="985" y="655"/>
                  </a:lnTo>
                  <a:lnTo>
                    <a:pt x="987" y="672"/>
                  </a:lnTo>
                  <a:lnTo>
                    <a:pt x="988" y="690"/>
                  </a:lnTo>
                  <a:lnTo>
                    <a:pt x="989" y="707"/>
                  </a:lnTo>
                  <a:lnTo>
                    <a:pt x="989" y="724"/>
                  </a:lnTo>
                  <a:lnTo>
                    <a:pt x="987" y="742"/>
                  </a:lnTo>
                  <a:lnTo>
                    <a:pt x="985" y="759"/>
                  </a:lnTo>
                  <a:lnTo>
                    <a:pt x="983" y="776"/>
                  </a:lnTo>
                  <a:lnTo>
                    <a:pt x="978" y="794"/>
                  </a:lnTo>
                  <a:lnTo>
                    <a:pt x="973" y="811"/>
                  </a:lnTo>
                  <a:lnTo>
                    <a:pt x="968" y="829"/>
                  </a:lnTo>
                  <a:lnTo>
                    <a:pt x="960" y="847"/>
                  </a:lnTo>
                  <a:lnTo>
                    <a:pt x="953" y="864"/>
                  </a:lnTo>
                  <a:lnTo>
                    <a:pt x="943" y="881"/>
                  </a:lnTo>
                  <a:lnTo>
                    <a:pt x="933" y="898"/>
                  </a:lnTo>
                  <a:lnTo>
                    <a:pt x="923" y="915"/>
                  </a:lnTo>
                  <a:lnTo>
                    <a:pt x="910" y="931"/>
                  </a:lnTo>
                  <a:lnTo>
                    <a:pt x="897" y="948"/>
                  </a:lnTo>
                  <a:lnTo>
                    <a:pt x="883" y="964"/>
                  </a:lnTo>
                  <a:lnTo>
                    <a:pt x="868" y="980"/>
                  </a:lnTo>
                  <a:lnTo>
                    <a:pt x="298" y="1548"/>
                  </a:lnTo>
                  <a:lnTo>
                    <a:pt x="127" y="1378"/>
                  </a:lnTo>
                  <a:lnTo>
                    <a:pt x="694" y="811"/>
                  </a:lnTo>
                  <a:lnTo>
                    <a:pt x="694" y="811"/>
                  </a:lnTo>
                  <a:lnTo>
                    <a:pt x="706" y="799"/>
                  </a:lnTo>
                  <a:lnTo>
                    <a:pt x="715" y="786"/>
                  </a:lnTo>
                  <a:lnTo>
                    <a:pt x="724" y="773"/>
                  </a:lnTo>
                  <a:lnTo>
                    <a:pt x="731" y="760"/>
                  </a:lnTo>
                  <a:lnTo>
                    <a:pt x="737" y="747"/>
                  </a:lnTo>
                  <a:lnTo>
                    <a:pt x="740" y="733"/>
                  </a:lnTo>
                  <a:lnTo>
                    <a:pt x="743" y="721"/>
                  </a:lnTo>
                  <a:lnTo>
                    <a:pt x="744" y="708"/>
                  </a:lnTo>
                  <a:lnTo>
                    <a:pt x="744" y="696"/>
                  </a:lnTo>
                  <a:lnTo>
                    <a:pt x="742" y="684"/>
                  </a:lnTo>
                  <a:lnTo>
                    <a:pt x="740" y="672"/>
                  </a:lnTo>
                  <a:lnTo>
                    <a:pt x="737" y="661"/>
                  </a:lnTo>
                  <a:lnTo>
                    <a:pt x="731" y="650"/>
                  </a:lnTo>
                  <a:lnTo>
                    <a:pt x="726" y="640"/>
                  </a:lnTo>
                  <a:lnTo>
                    <a:pt x="719" y="631"/>
                  </a:lnTo>
                  <a:lnTo>
                    <a:pt x="711" y="622"/>
                  </a:lnTo>
                  <a:lnTo>
                    <a:pt x="711" y="622"/>
                  </a:lnTo>
                  <a:lnTo>
                    <a:pt x="703" y="615"/>
                  </a:lnTo>
                  <a:lnTo>
                    <a:pt x="693" y="607"/>
                  </a:lnTo>
                  <a:lnTo>
                    <a:pt x="683" y="602"/>
                  </a:lnTo>
                  <a:lnTo>
                    <a:pt x="673" y="597"/>
                  </a:lnTo>
                  <a:lnTo>
                    <a:pt x="661" y="593"/>
                  </a:lnTo>
                  <a:lnTo>
                    <a:pt x="649" y="590"/>
                  </a:lnTo>
                  <a:lnTo>
                    <a:pt x="637" y="589"/>
                  </a:lnTo>
                  <a:lnTo>
                    <a:pt x="624" y="589"/>
                  </a:lnTo>
                  <a:lnTo>
                    <a:pt x="613" y="590"/>
                  </a:lnTo>
                  <a:lnTo>
                    <a:pt x="599" y="592"/>
                  </a:lnTo>
                  <a:lnTo>
                    <a:pt x="586" y="597"/>
                  </a:lnTo>
                  <a:lnTo>
                    <a:pt x="573" y="602"/>
                  </a:lnTo>
                  <a:lnTo>
                    <a:pt x="560" y="608"/>
                  </a:lnTo>
                  <a:lnTo>
                    <a:pt x="547" y="617"/>
                  </a:lnTo>
                  <a:lnTo>
                    <a:pt x="535" y="626"/>
                  </a:lnTo>
                  <a:lnTo>
                    <a:pt x="522" y="638"/>
                  </a:lnTo>
                  <a:lnTo>
                    <a:pt x="0" y="1160"/>
                  </a:lnTo>
                  <a:lnTo>
                    <a:pt x="0" y="817"/>
                  </a:lnTo>
                  <a:lnTo>
                    <a:pt x="350" y="466"/>
                  </a:lnTo>
                  <a:lnTo>
                    <a:pt x="350" y="466"/>
                  </a:lnTo>
                  <a:lnTo>
                    <a:pt x="361" y="454"/>
                  </a:lnTo>
                  <a:lnTo>
                    <a:pt x="371" y="442"/>
                  </a:lnTo>
                  <a:lnTo>
                    <a:pt x="380" y="429"/>
                  </a:lnTo>
                  <a:lnTo>
                    <a:pt x="386" y="415"/>
                  </a:lnTo>
                  <a:lnTo>
                    <a:pt x="391" y="402"/>
                  </a:lnTo>
                  <a:lnTo>
                    <a:pt x="396" y="389"/>
                  </a:lnTo>
                  <a:lnTo>
                    <a:pt x="398" y="376"/>
                  </a:lnTo>
                  <a:lnTo>
                    <a:pt x="399" y="363"/>
                  </a:lnTo>
                  <a:lnTo>
                    <a:pt x="399" y="352"/>
                  </a:lnTo>
                  <a:lnTo>
                    <a:pt x="397" y="340"/>
                  </a:lnTo>
                  <a:lnTo>
                    <a:pt x="395" y="328"/>
                  </a:lnTo>
                  <a:lnTo>
                    <a:pt x="390" y="316"/>
                  </a:lnTo>
                  <a:lnTo>
                    <a:pt x="386" y="306"/>
                  </a:lnTo>
                  <a:lnTo>
                    <a:pt x="380" y="296"/>
                  </a:lnTo>
                  <a:lnTo>
                    <a:pt x="373" y="287"/>
                  </a:lnTo>
                  <a:lnTo>
                    <a:pt x="366" y="278"/>
                  </a:lnTo>
                  <a:lnTo>
                    <a:pt x="366" y="278"/>
                  </a:lnTo>
                  <a:lnTo>
                    <a:pt x="357" y="270"/>
                  </a:lnTo>
                  <a:lnTo>
                    <a:pt x="348" y="264"/>
                  </a:lnTo>
                  <a:lnTo>
                    <a:pt x="337" y="258"/>
                  </a:lnTo>
                  <a:lnTo>
                    <a:pt x="327" y="253"/>
                  </a:lnTo>
                  <a:lnTo>
                    <a:pt x="315" y="249"/>
                  </a:lnTo>
                  <a:lnTo>
                    <a:pt x="304" y="247"/>
                  </a:lnTo>
                  <a:lnTo>
                    <a:pt x="292" y="245"/>
                  </a:lnTo>
                  <a:lnTo>
                    <a:pt x="279" y="245"/>
                  </a:lnTo>
                  <a:lnTo>
                    <a:pt x="267" y="246"/>
                  </a:lnTo>
                  <a:lnTo>
                    <a:pt x="255" y="248"/>
                  </a:lnTo>
                  <a:lnTo>
                    <a:pt x="242" y="252"/>
                  </a:lnTo>
                  <a:lnTo>
                    <a:pt x="228" y="258"/>
                  </a:lnTo>
                  <a:lnTo>
                    <a:pt x="215" y="264"/>
                  </a:lnTo>
                  <a:lnTo>
                    <a:pt x="202" y="273"/>
                  </a:lnTo>
                  <a:lnTo>
                    <a:pt x="189" y="283"/>
                  </a:lnTo>
                  <a:lnTo>
                    <a:pt x="178" y="295"/>
                  </a:lnTo>
                  <a:lnTo>
                    <a:pt x="0" y="471"/>
                  </a:lnTo>
                  <a:lnTo>
                    <a:pt x="0" y="129"/>
                  </a:lnTo>
                  <a:close/>
                </a:path>
              </a:pathLst>
            </a:custGeom>
            <a:solidFill>
              <a:srgbClr val="A2AD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6" name="Freeform 11"/>
            <p:cNvSpPr>
              <a:spLocks/>
            </p:cNvSpPr>
            <p:nvPr userDrawn="1"/>
          </p:nvSpPr>
          <p:spPr bwMode="auto">
            <a:xfrm>
              <a:off x="7686461" y="4581466"/>
              <a:ext cx="96664" cy="151147"/>
            </a:xfrm>
            <a:custGeom>
              <a:avLst/>
              <a:gdLst>
                <a:gd name="T0" fmla="*/ 980 w 989"/>
                <a:gd name="T1" fmla="*/ 121 h 1548"/>
                <a:gd name="T2" fmla="*/ 931 w 989"/>
                <a:gd name="T3" fmla="*/ 78 h 1548"/>
                <a:gd name="T4" fmla="*/ 881 w 989"/>
                <a:gd name="T5" fmla="*/ 46 h 1548"/>
                <a:gd name="T6" fmla="*/ 829 w 989"/>
                <a:gd name="T7" fmla="*/ 22 h 1548"/>
                <a:gd name="T8" fmla="*/ 776 w 989"/>
                <a:gd name="T9" fmla="*/ 7 h 1548"/>
                <a:gd name="T10" fmla="*/ 724 w 989"/>
                <a:gd name="T11" fmla="*/ 0 h 1548"/>
                <a:gd name="T12" fmla="*/ 673 w 989"/>
                <a:gd name="T13" fmla="*/ 2 h 1548"/>
                <a:gd name="T14" fmla="*/ 622 w 989"/>
                <a:gd name="T15" fmla="*/ 11 h 1548"/>
                <a:gd name="T16" fmla="*/ 574 w 989"/>
                <a:gd name="T17" fmla="*/ 28 h 1548"/>
                <a:gd name="T18" fmla="*/ 528 w 989"/>
                <a:gd name="T19" fmla="*/ 51 h 1548"/>
                <a:gd name="T20" fmla="*/ 487 w 989"/>
                <a:gd name="T21" fmla="*/ 81 h 1548"/>
                <a:gd name="T22" fmla="*/ 460 w 989"/>
                <a:gd name="T23" fmla="*/ 106 h 1548"/>
                <a:gd name="T24" fmla="*/ 414 w 989"/>
                <a:gd name="T25" fmla="*/ 161 h 1548"/>
                <a:gd name="T26" fmla="*/ 384 w 989"/>
                <a:gd name="T27" fmla="*/ 217 h 1548"/>
                <a:gd name="T28" fmla="*/ 366 w 989"/>
                <a:gd name="T29" fmla="*/ 269 h 1548"/>
                <a:gd name="T30" fmla="*/ 359 w 989"/>
                <a:gd name="T31" fmla="*/ 314 h 1548"/>
                <a:gd name="T32" fmla="*/ 359 w 989"/>
                <a:gd name="T33" fmla="*/ 358 h 1548"/>
                <a:gd name="T34" fmla="*/ 328 w 989"/>
                <a:gd name="T35" fmla="*/ 357 h 1548"/>
                <a:gd name="T36" fmla="*/ 285 w 989"/>
                <a:gd name="T37" fmla="*/ 361 h 1548"/>
                <a:gd name="T38" fmla="*/ 235 w 989"/>
                <a:gd name="T39" fmla="*/ 375 h 1548"/>
                <a:gd name="T40" fmla="*/ 181 w 989"/>
                <a:gd name="T41" fmla="*/ 401 h 1548"/>
                <a:gd name="T42" fmla="*/ 125 w 989"/>
                <a:gd name="T43" fmla="*/ 442 h 1548"/>
                <a:gd name="T44" fmla="*/ 94 w 989"/>
                <a:gd name="T45" fmla="*/ 473 h 1548"/>
                <a:gd name="T46" fmla="*/ 61 w 989"/>
                <a:gd name="T47" fmla="*/ 513 h 1548"/>
                <a:gd name="T48" fmla="*/ 35 w 989"/>
                <a:gd name="T49" fmla="*/ 558 h 1548"/>
                <a:gd name="T50" fmla="*/ 16 w 989"/>
                <a:gd name="T51" fmla="*/ 605 h 1548"/>
                <a:gd name="T52" fmla="*/ 4 w 989"/>
                <a:gd name="T53" fmla="*/ 655 h 1548"/>
                <a:gd name="T54" fmla="*/ 0 w 989"/>
                <a:gd name="T55" fmla="*/ 707 h 1548"/>
                <a:gd name="T56" fmla="*/ 4 w 989"/>
                <a:gd name="T57" fmla="*/ 759 h 1548"/>
                <a:gd name="T58" fmla="*/ 16 w 989"/>
                <a:gd name="T59" fmla="*/ 811 h 1548"/>
                <a:gd name="T60" fmla="*/ 37 w 989"/>
                <a:gd name="T61" fmla="*/ 864 h 1548"/>
                <a:gd name="T62" fmla="*/ 67 w 989"/>
                <a:gd name="T63" fmla="*/ 915 h 1548"/>
                <a:gd name="T64" fmla="*/ 106 w 989"/>
                <a:gd name="T65" fmla="*/ 964 h 1548"/>
                <a:gd name="T66" fmla="*/ 862 w 989"/>
                <a:gd name="T67" fmla="*/ 1378 h 1548"/>
                <a:gd name="T68" fmla="*/ 283 w 989"/>
                <a:gd name="T69" fmla="*/ 799 h 1548"/>
                <a:gd name="T70" fmla="*/ 259 w 989"/>
                <a:gd name="T71" fmla="*/ 760 h 1548"/>
                <a:gd name="T72" fmla="*/ 246 w 989"/>
                <a:gd name="T73" fmla="*/ 721 h 1548"/>
                <a:gd name="T74" fmla="*/ 247 w 989"/>
                <a:gd name="T75" fmla="*/ 684 h 1548"/>
                <a:gd name="T76" fmla="*/ 258 w 989"/>
                <a:gd name="T77" fmla="*/ 650 h 1548"/>
                <a:gd name="T78" fmla="*/ 278 w 989"/>
                <a:gd name="T79" fmla="*/ 622 h 1548"/>
                <a:gd name="T80" fmla="*/ 296 w 989"/>
                <a:gd name="T81" fmla="*/ 607 h 1548"/>
                <a:gd name="T82" fmla="*/ 328 w 989"/>
                <a:gd name="T83" fmla="*/ 593 h 1548"/>
                <a:gd name="T84" fmla="*/ 365 w 989"/>
                <a:gd name="T85" fmla="*/ 589 h 1548"/>
                <a:gd name="T86" fmla="*/ 403 w 989"/>
                <a:gd name="T87" fmla="*/ 597 h 1548"/>
                <a:gd name="T88" fmla="*/ 442 w 989"/>
                <a:gd name="T89" fmla="*/ 617 h 1548"/>
                <a:gd name="T90" fmla="*/ 989 w 989"/>
                <a:gd name="T91" fmla="*/ 1160 h 1548"/>
                <a:gd name="T92" fmla="*/ 639 w 989"/>
                <a:gd name="T93" fmla="*/ 466 h 1548"/>
                <a:gd name="T94" fmla="*/ 609 w 989"/>
                <a:gd name="T95" fmla="*/ 429 h 1548"/>
                <a:gd name="T96" fmla="*/ 593 w 989"/>
                <a:gd name="T97" fmla="*/ 389 h 1548"/>
                <a:gd name="T98" fmla="*/ 590 w 989"/>
                <a:gd name="T99" fmla="*/ 352 h 1548"/>
                <a:gd name="T100" fmla="*/ 599 w 989"/>
                <a:gd name="T101" fmla="*/ 316 h 1548"/>
                <a:gd name="T102" fmla="*/ 616 w 989"/>
                <a:gd name="T103" fmla="*/ 287 h 1548"/>
                <a:gd name="T104" fmla="*/ 633 w 989"/>
                <a:gd name="T105" fmla="*/ 270 h 1548"/>
                <a:gd name="T106" fmla="*/ 663 w 989"/>
                <a:gd name="T107" fmla="*/ 253 h 1548"/>
                <a:gd name="T108" fmla="*/ 697 w 989"/>
                <a:gd name="T109" fmla="*/ 245 h 1548"/>
                <a:gd name="T110" fmla="*/ 735 w 989"/>
                <a:gd name="T111" fmla="*/ 248 h 1548"/>
                <a:gd name="T112" fmla="*/ 774 w 989"/>
                <a:gd name="T113" fmla="*/ 264 h 1548"/>
                <a:gd name="T114" fmla="*/ 813 w 989"/>
                <a:gd name="T115" fmla="*/ 295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9" h="1548">
                  <a:moveTo>
                    <a:pt x="989" y="129"/>
                  </a:moveTo>
                  <a:lnTo>
                    <a:pt x="980" y="121"/>
                  </a:lnTo>
                  <a:lnTo>
                    <a:pt x="980" y="121"/>
                  </a:lnTo>
                  <a:lnTo>
                    <a:pt x="964" y="106"/>
                  </a:lnTo>
                  <a:lnTo>
                    <a:pt x="948" y="92"/>
                  </a:lnTo>
                  <a:lnTo>
                    <a:pt x="931" y="78"/>
                  </a:lnTo>
                  <a:lnTo>
                    <a:pt x="915" y="66"/>
                  </a:lnTo>
                  <a:lnTo>
                    <a:pt x="898" y="56"/>
                  </a:lnTo>
                  <a:lnTo>
                    <a:pt x="881" y="46"/>
                  </a:lnTo>
                  <a:lnTo>
                    <a:pt x="864" y="37"/>
                  </a:lnTo>
                  <a:lnTo>
                    <a:pt x="847" y="29"/>
                  </a:lnTo>
                  <a:lnTo>
                    <a:pt x="829" y="22"/>
                  </a:lnTo>
                  <a:lnTo>
                    <a:pt x="812" y="16"/>
                  </a:lnTo>
                  <a:lnTo>
                    <a:pt x="794" y="11"/>
                  </a:lnTo>
                  <a:lnTo>
                    <a:pt x="776" y="7"/>
                  </a:lnTo>
                  <a:lnTo>
                    <a:pt x="759" y="4"/>
                  </a:lnTo>
                  <a:lnTo>
                    <a:pt x="742" y="2"/>
                  </a:lnTo>
                  <a:lnTo>
                    <a:pt x="724" y="0"/>
                  </a:lnTo>
                  <a:lnTo>
                    <a:pt x="707" y="0"/>
                  </a:lnTo>
                  <a:lnTo>
                    <a:pt x="690" y="1"/>
                  </a:lnTo>
                  <a:lnTo>
                    <a:pt x="673" y="2"/>
                  </a:lnTo>
                  <a:lnTo>
                    <a:pt x="655" y="4"/>
                  </a:lnTo>
                  <a:lnTo>
                    <a:pt x="639" y="7"/>
                  </a:lnTo>
                  <a:lnTo>
                    <a:pt x="622" y="11"/>
                  </a:lnTo>
                  <a:lnTo>
                    <a:pt x="606" y="16"/>
                  </a:lnTo>
                  <a:lnTo>
                    <a:pt x="590" y="21"/>
                  </a:lnTo>
                  <a:lnTo>
                    <a:pt x="574" y="28"/>
                  </a:lnTo>
                  <a:lnTo>
                    <a:pt x="558" y="35"/>
                  </a:lnTo>
                  <a:lnTo>
                    <a:pt x="543" y="43"/>
                  </a:lnTo>
                  <a:lnTo>
                    <a:pt x="528" y="51"/>
                  </a:lnTo>
                  <a:lnTo>
                    <a:pt x="514" y="61"/>
                  </a:lnTo>
                  <a:lnTo>
                    <a:pt x="500" y="71"/>
                  </a:lnTo>
                  <a:lnTo>
                    <a:pt x="487" y="81"/>
                  </a:lnTo>
                  <a:lnTo>
                    <a:pt x="473" y="93"/>
                  </a:lnTo>
                  <a:lnTo>
                    <a:pt x="460" y="106"/>
                  </a:lnTo>
                  <a:lnTo>
                    <a:pt x="460" y="106"/>
                  </a:lnTo>
                  <a:lnTo>
                    <a:pt x="443" y="124"/>
                  </a:lnTo>
                  <a:lnTo>
                    <a:pt x="428" y="143"/>
                  </a:lnTo>
                  <a:lnTo>
                    <a:pt x="414" y="161"/>
                  </a:lnTo>
                  <a:lnTo>
                    <a:pt x="402" y="181"/>
                  </a:lnTo>
                  <a:lnTo>
                    <a:pt x="391" y="199"/>
                  </a:lnTo>
                  <a:lnTo>
                    <a:pt x="384" y="217"/>
                  </a:lnTo>
                  <a:lnTo>
                    <a:pt x="376" y="235"/>
                  </a:lnTo>
                  <a:lnTo>
                    <a:pt x="371" y="252"/>
                  </a:lnTo>
                  <a:lnTo>
                    <a:pt x="366" y="269"/>
                  </a:lnTo>
                  <a:lnTo>
                    <a:pt x="362" y="284"/>
                  </a:lnTo>
                  <a:lnTo>
                    <a:pt x="360" y="300"/>
                  </a:lnTo>
                  <a:lnTo>
                    <a:pt x="359" y="314"/>
                  </a:lnTo>
                  <a:lnTo>
                    <a:pt x="358" y="327"/>
                  </a:lnTo>
                  <a:lnTo>
                    <a:pt x="358" y="339"/>
                  </a:lnTo>
                  <a:lnTo>
                    <a:pt x="359" y="358"/>
                  </a:lnTo>
                  <a:lnTo>
                    <a:pt x="359" y="358"/>
                  </a:lnTo>
                  <a:lnTo>
                    <a:pt x="340" y="357"/>
                  </a:lnTo>
                  <a:lnTo>
                    <a:pt x="328" y="357"/>
                  </a:lnTo>
                  <a:lnTo>
                    <a:pt x="315" y="358"/>
                  </a:lnTo>
                  <a:lnTo>
                    <a:pt x="300" y="359"/>
                  </a:lnTo>
                  <a:lnTo>
                    <a:pt x="285" y="361"/>
                  </a:lnTo>
                  <a:lnTo>
                    <a:pt x="269" y="366"/>
                  </a:lnTo>
                  <a:lnTo>
                    <a:pt x="253" y="370"/>
                  </a:lnTo>
                  <a:lnTo>
                    <a:pt x="235" y="375"/>
                  </a:lnTo>
                  <a:lnTo>
                    <a:pt x="218" y="383"/>
                  </a:lnTo>
                  <a:lnTo>
                    <a:pt x="200" y="391"/>
                  </a:lnTo>
                  <a:lnTo>
                    <a:pt x="181" y="401"/>
                  </a:lnTo>
                  <a:lnTo>
                    <a:pt x="163" y="413"/>
                  </a:lnTo>
                  <a:lnTo>
                    <a:pt x="143" y="427"/>
                  </a:lnTo>
                  <a:lnTo>
                    <a:pt x="125" y="442"/>
                  </a:lnTo>
                  <a:lnTo>
                    <a:pt x="106" y="460"/>
                  </a:lnTo>
                  <a:lnTo>
                    <a:pt x="106" y="460"/>
                  </a:lnTo>
                  <a:lnTo>
                    <a:pt x="94" y="473"/>
                  </a:lnTo>
                  <a:lnTo>
                    <a:pt x="82" y="485"/>
                  </a:lnTo>
                  <a:lnTo>
                    <a:pt x="72" y="499"/>
                  </a:lnTo>
                  <a:lnTo>
                    <a:pt x="61" y="513"/>
                  </a:lnTo>
                  <a:lnTo>
                    <a:pt x="52" y="528"/>
                  </a:lnTo>
                  <a:lnTo>
                    <a:pt x="44" y="543"/>
                  </a:lnTo>
                  <a:lnTo>
                    <a:pt x="35" y="558"/>
                  </a:lnTo>
                  <a:lnTo>
                    <a:pt x="28" y="574"/>
                  </a:lnTo>
                  <a:lnTo>
                    <a:pt x="21" y="589"/>
                  </a:lnTo>
                  <a:lnTo>
                    <a:pt x="16" y="605"/>
                  </a:lnTo>
                  <a:lnTo>
                    <a:pt x="12" y="622"/>
                  </a:lnTo>
                  <a:lnTo>
                    <a:pt x="7" y="638"/>
                  </a:lnTo>
                  <a:lnTo>
                    <a:pt x="4" y="655"/>
                  </a:lnTo>
                  <a:lnTo>
                    <a:pt x="2" y="672"/>
                  </a:lnTo>
                  <a:lnTo>
                    <a:pt x="1" y="690"/>
                  </a:lnTo>
                  <a:lnTo>
                    <a:pt x="0" y="707"/>
                  </a:lnTo>
                  <a:lnTo>
                    <a:pt x="1" y="724"/>
                  </a:lnTo>
                  <a:lnTo>
                    <a:pt x="2" y="742"/>
                  </a:lnTo>
                  <a:lnTo>
                    <a:pt x="4" y="759"/>
                  </a:lnTo>
                  <a:lnTo>
                    <a:pt x="7" y="776"/>
                  </a:lnTo>
                  <a:lnTo>
                    <a:pt x="11" y="794"/>
                  </a:lnTo>
                  <a:lnTo>
                    <a:pt x="16" y="811"/>
                  </a:lnTo>
                  <a:lnTo>
                    <a:pt x="22" y="829"/>
                  </a:lnTo>
                  <a:lnTo>
                    <a:pt x="29" y="847"/>
                  </a:lnTo>
                  <a:lnTo>
                    <a:pt x="37" y="864"/>
                  </a:lnTo>
                  <a:lnTo>
                    <a:pt x="46" y="881"/>
                  </a:lnTo>
                  <a:lnTo>
                    <a:pt x="56" y="898"/>
                  </a:lnTo>
                  <a:lnTo>
                    <a:pt x="67" y="915"/>
                  </a:lnTo>
                  <a:lnTo>
                    <a:pt x="79" y="931"/>
                  </a:lnTo>
                  <a:lnTo>
                    <a:pt x="92" y="948"/>
                  </a:lnTo>
                  <a:lnTo>
                    <a:pt x="106" y="964"/>
                  </a:lnTo>
                  <a:lnTo>
                    <a:pt x="122" y="980"/>
                  </a:lnTo>
                  <a:lnTo>
                    <a:pt x="691" y="1548"/>
                  </a:lnTo>
                  <a:lnTo>
                    <a:pt x="862" y="1378"/>
                  </a:lnTo>
                  <a:lnTo>
                    <a:pt x="295" y="811"/>
                  </a:lnTo>
                  <a:lnTo>
                    <a:pt x="295" y="811"/>
                  </a:lnTo>
                  <a:lnTo>
                    <a:pt x="283" y="799"/>
                  </a:lnTo>
                  <a:lnTo>
                    <a:pt x="274" y="786"/>
                  </a:lnTo>
                  <a:lnTo>
                    <a:pt x="265" y="773"/>
                  </a:lnTo>
                  <a:lnTo>
                    <a:pt x="259" y="760"/>
                  </a:lnTo>
                  <a:lnTo>
                    <a:pt x="253" y="747"/>
                  </a:lnTo>
                  <a:lnTo>
                    <a:pt x="249" y="733"/>
                  </a:lnTo>
                  <a:lnTo>
                    <a:pt x="246" y="721"/>
                  </a:lnTo>
                  <a:lnTo>
                    <a:pt x="245" y="708"/>
                  </a:lnTo>
                  <a:lnTo>
                    <a:pt x="245" y="696"/>
                  </a:lnTo>
                  <a:lnTo>
                    <a:pt x="247" y="684"/>
                  </a:lnTo>
                  <a:lnTo>
                    <a:pt x="249" y="672"/>
                  </a:lnTo>
                  <a:lnTo>
                    <a:pt x="253" y="661"/>
                  </a:lnTo>
                  <a:lnTo>
                    <a:pt x="258" y="650"/>
                  </a:lnTo>
                  <a:lnTo>
                    <a:pt x="263" y="640"/>
                  </a:lnTo>
                  <a:lnTo>
                    <a:pt x="271" y="631"/>
                  </a:lnTo>
                  <a:lnTo>
                    <a:pt x="278" y="622"/>
                  </a:lnTo>
                  <a:lnTo>
                    <a:pt x="278" y="622"/>
                  </a:lnTo>
                  <a:lnTo>
                    <a:pt x="287" y="615"/>
                  </a:lnTo>
                  <a:lnTo>
                    <a:pt x="296" y="607"/>
                  </a:lnTo>
                  <a:lnTo>
                    <a:pt x="306" y="602"/>
                  </a:lnTo>
                  <a:lnTo>
                    <a:pt x="316" y="597"/>
                  </a:lnTo>
                  <a:lnTo>
                    <a:pt x="328" y="593"/>
                  </a:lnTo>
                  <a:lnTo>
                    <a:pt x="340" y="590"/>
                  </a:lnTo>
                  <a:lnTo>
                    <a:pt x="352" y="589"/>
                  </a:lnTo>
                  <a:lnTo>
                    <a:pt x="365" y="589"/>
                  </a:lnTo>
                  <a:lnTo>
                    <a:pt x="377" y="590"/>
                  </a:lnTo>
                  <a:lnTo>
                    <a:pt x="390" y="592"/>
                  </a:lnTo>
                  <a:lnTo>
                    <a:pt x="403" y="597"/>
                  </a:lnTo>
                  <a:lnTo>
                    <a:pt x="416" y="602"/>
                  </a:lnTo>
                  <a:lnTo>
                    <a:pt x="429" y="608"/>
                  </a:lnTo>
                  <a:lnTo>
                    <a:pt x="442" y="617"/>
                  </a:lnTo>
                  <a:lnTo>
                    <a:pt x="454" y="626"/>
                  </a:lnTo>
                  <a:lnTo>
                    <a:pt x="467" y="638"/>
                  </a:lnTo>
                  <a:lnTo>
                    <a:pt x="989" y="1160"/>
                  </a:lnTo>
                  <a:lnTo>
                    <a:pt x="989" y="817"/>
                  </a:lnTo>
                  <a:lnTo>
                    <a:pt x="639" y="466"/>
                  </a:lnTo>
                  <a:lnTo>
                    <a:pt x="639" y="466"/>
                  </a:lnTo>
                  <a:lnTo>
                    <a:pt x="628" y="454"/>
                  </a:lnTo>
                  <a:lnTo>
                    <a:pt x="618" y="442"/>
                  </a:lnTo>
                  <a:lnTo>
                    <a:pt x="609" y="429"/>
                  </a:lnTo>
                  <a:lnTo>
                    <a:pt x="603" y="415"/>
                  </a:lnTo>
                  <a:lnTo>
                    <a:pt x="598" y="402"/>
                  </a:lnTo>
                  <a:lnTo>
                    <a:pt x="593" y="389"/>
                  </a:lnTo>
                  <a:lnTo>
                    <a:pt x="591" y="376"/>
                  </a:lnTo>
                  <a:lnTo>
                    <a:pt x="590" y="363"/>
                  </a:lnTo>
                  <a:lnTo>
                    <a:pt x="590" y="352"/>
                  </a:lnTo>
                  <a:lnTo>
                    <a:pt x="592" y="340"/>
                  </a:lnTo>
                  <a:lnTo>
                    <a:pt x="594" y="328"/>
                  </a:lnTo>
                  <a:lnTo>
                    <a:pt x="599" y="316"/>
                  </a:lnTo>
                  <a:lnTo>
                    <a:pt x="603" y="306"/>
                  </a:lnTo>
                  <a:lnTo>
                    <a:pt x="609" y="296"/>
                  </a:lnTo>
                  <a:lnTo>
                    <a:pt x="616" y="287"/>
                  </a:lnTo>
                  <a:lnTo>
                    <a:pt x="624" y="278"/>
                  </a:lnTo>
                  <a:lnTo>
                    <a:pt x="624" y="278"/>
                  </a:lnTo>
                  <a:lnTo>
                    <a:pt x="633" y="270"/>
                  </a:lnTo>
                  <a:lnTo>
                    <a:pt x="642" y="264"/>
                  </a:lnTo>
                  <a:lnTo>
                    <a:pt x="652" y="258"/>
                  </a:lnTo>
                  <a:lnTo>
                    <a:pt x="663" y="253"/>
                  </a:lnTo>
                  <a:lnTo>
                    <a:pt x="674" y="249"/>
                  </a:lnTo>
                  <a:lnTo>
                    <a:pt x="685" y="247"/>
                  </a:lnTo>
                  <a:lnTo>
                    <a:pt x="697" y="245"/>
                  </a:lnTo>
                  <a:lnTo>
                    <a:pt x="710" y="245"/>
                  </a:lnTo>
                  <a:lnTo>
                    <a:pt x="723" y="246"/>
                  </a:lnTo>
                  <a:lnTo>
                    <a:pt x="735" y="248"/>
                  </a:lnTo>
                  <a:lnTo>
                    <a:pt x="748" y="252"/>
                  </a:lnTo>
                  <a:lnTo>
                    <a:pt x="761" y="258"/>
                  </a:lnTo>
                  <a:lnTo>
                    <a:pt x="774" y="264"/>
                  </a:lnTo>
                  <a:lnTo>
                    <a:pt x="787" y="273"/>
                  </a:lnTo>
                  <a:lnTo>
                    <a:pt x="800" y="283"/>
                  </a:lnTo>
                  <a:lnTo>
                    <a:pt x="813" y="295"/>
                  </a:lnTo>
                  <a:lnTo>
                    <a:pt x="989" y="471"/>
                  </a:lnTo>
                  <a:lnTo>
                    <a:pt x="989" y="129"/>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8" name="Freeform 12"/>
            <p:cNvSpPr>
              <a:spLocks/>
            </p:cNvSpPr>
            <p:nvPr userDrawn="1"/>
          </p:nvSpPr>
          <p:spPr bwMode="auto">
            <a:xfrm>
              <a:off x="8137949" y="4639855"/>
              <a:ext cx="104280" cy="67762"/>
            </a:xfrm>
            <a:custGeom>
              <a:avLst/>
              <a:gdLst>
                <a:gd name="T0" fmla="*/ 869 w 1070"/>
                <a:gd name="T1" fmla="*/ 567 h 693"/>
                <a:gd name="T2" fmla="*/ 869 w 1070"/>
                <a:gd name="T3" fmla="*/ 567 h 693"/>
                <a:gd name="T4" fmla="*/ 863 w 1070"/>
                <a:gd name="T5" fmla="*/ 581 h 693"/>
                <a:gd name="T6" fmla="*/ 857 w 1070"/>
                <a:gd name="T7" fmla="*/ 594 h 693"/>
                <a:gd name="T8" fmla="*/ 850 w 1070"/>
                <a:gd name="T9" fmla="*/ 606 h 693"/>
                <a:gd name="T10" fmla="*/ 844 w 1070"/>
                <a:gd name="T11" fmla="*/ 617 h 693"/>
                <a:gd name="T12" fmla="*/ 838 w 1070"/>
                <a:gd name="T13" fmla="*/ 626 h 693"/>
                <a:gd name="T14" fmla="*/ 831 w 1070"/>
                <a:gd name="T15" fmla="*/ 636 h 693"/>
                <a:gd name="T16" fmla="*/ 824 w 1070"/>
                <a:gd name="T17" fmla="*/ 644 h 693"/>
                <a:gd name="T18" fmla="*/ 816 w 1070"/>
                <a:gd name="T19" fmla="*/ 652 h 693"/>
                <a:gd name="T20" fmla="*/ 801 w 1070"/>
                <a:gd name="T21" fmla="*/ 664 h 693"/>
                <a:gd name="T22" fmla="*/ 786 w 1070"/>
                <a:gd name="T23" fmla="*/ 674 h 693"/>
                <a:gd name="T24" fmla="*/ 771 w 1070"/>
                <a:gd name="T25" fmla="*/ 682 h 693"/>
                <a:gd name="T26" fmla="*/ 757 w 1070"/>
                <a:gd name="T27" fmla="*/ 687 h 693"/>
                <a:gd name="T28" fmla="*/ 744 w 1070"/>
                <a:gd name="T29" fmla="*/ 690 h 693"/>
                <a:gd name="T30" fmla="*/ 731 w 1070"/>
                <a:gd name="T31" fmla="*/ 692 h 693"/>
                <a:gd name="T32" fmla="*/ 719 w 1070"/>
                <a:gd name="T33" fmla="*/ 693 h 693"/>
                <a:gd name="T34" fmla="*/ 708 w 1070"/>
                <a:gd name="T35" fmla="*/ 693 h 693"/>
                <a:gd name="T36" fmla="*/ 693 w 1070"/>
                <a:gd name="T37" fmla="*/ 692 h 693"/>
                <a:gd name="T38" fmla="*/ 688 w 1070"/>
                <a:gd name="T39" fmla="*/ 691 h 693"/>
                <a:gd name="T40" fmla="*/ 534 w 1070"/>
                <a:gd name="T41" fmla="*/ 221 h 693"/>
                <a:gd name="T42" fmla="*/ 531 w 1070"/>
                <a:gd name="T43" fmla="*/ 221 h 693"/>
                <a:gd name="T44" fmla="*/ 531 w 1070"/>
                <a:gd name="T45" fmla="*/ 221 h 693"/>
                <a:gd name="T46" fmla="*/ 491 w 1070"/>
                <a:gd name="T47" fmla="*/ 347 h 693"/>
                <a:gd name="T48" fmla="*/ 420 w 1070"/>
                <a:gd name="T49" fmla="*/ 567 h 693"/>
                <a:gd name="T50" fmla="*/ 420 w 1070"/>
                <a:gd name="T51" fmla="*/ 567 h 693"/>
                <a:gd name="T52" fmla="*/ 415 w 1070"/>
                <a:gd name="T53" fmla="*/ 580 h 693"/>
                <a:gd name="T54" fmla="*/ 410 w 1070"/>
                <a:gd name="T55" fmla="*/ 593 h 693"/>
                <a:gd name="T56" fmla="*/ 404 w 1070"/>
                <a:gd name="T57" fmla="*/ 605 h 693"/>
                <a:gd name="T58" fmla="*/ 398 w 1070"/>
                <a:gd name="T59" fmla="*/ 615 h 693"/>
                <a:gd name="T60" fmla="*/ 392 w 1070"/>
                <a:gd name="T61" fmla="*/ 626 h 693"/>
                <a:gd name="T62" fmla="*/ 385 w 1070"/>
                <a:gd name="T63" fmla="*/ 635 h 693"/>
                <a:gd name="T64" fmla="*/ 379 w 1070"/>
                <a:gd name="T65" fmla="*/ 643 h 693"/>
                <a:gd name="T66" fmla="*/ 371 w 1070"/>
                <a:gd name="T67" fmla="*/ 651 h 693"/>
                <a:gd name="T68" fmla="*/ 358 w 1070"/>
                <a:gd name="T69" fmla="*/ 664 h 693"/>
                <a:gd name="T70" fmla="*/ 343 w 1070"/>
                <a:gd name="T71" fmla="*/ 673 h 693"/>
                <a:gd name="T72" fmla="*/ 329 w 1070"/>
                <a:gd name="T73" fmla="*/ 681 h 693"/>
                <a:gd name="T74" fmla="*/ 315 w 1070"/>
                <a:gd name="T75" fmla="*/ 686 h 693"/>
                <a:gd name="T76" fmla="*/ 301 w 1070"/>
                <a:gd name="T77" fmla="*/ 690 h 693"/>
                <a:gd name="T78" fmla="*/ 288 w 1070"/>
                <a:gd name="T79" fmla="*/ 692 h 693"/>
                <a:gd name="T80" fmla="*/ 276 w 1070"/>
                <a:gd name="T81" fmla="*/ 693 h 693"/>
                <a:gd name="T82" fmla="*/ 267 w 1070"/>
                <a:gd name="T83" fmla="*/ 693 h 693"/>
                <a:gd name="T84" fmla="*/ 252 w 1070"/>
                <a:gd name="T85" fmla="*/ 692 h 693"/>
                <a:gd name="T86" fmla="*/ 246 w 1070"/>
                <a:gd name="T87" fmla="*/ 691 h 693"/>
                <a:gd name="T88" fmla="*/ 0 w 1070"/>
                <a:gd name="T89" fmla="*/ 0 h 693"/>
                <a:gd name="T90" fmla="*/ 176 w 1070"/>
                <a:gd name="T91" fmla="*/ 0 h 693"/>
                <a:gd name="T92" fmla="*/ 321 w 1070"/>
                <a:gd name="T93" fmla="*/ 471 h 693"/>
                <a:gd name="T94" fmla="*/ 324 w 1070"/>
                <a:gd name="T95" fmla="*/ 471 h 693"/>
                <a:gd name="T96" fmla="*/ 474 w 1070"/>
                <a:gd name="T97" fmla="*/ 0 h 693"/>
                <a:gd name="T98" fmla="*/ 606 w 1070"/>
                <a:gd name="T99" fmla="*/ 0 h 693"/>
                <a:gd name="T100" fmla="*/ 757 w 1070"/>
                <a:gd name="T101" fmla="*/ 472 h 693"/>
                <a:gd name="T102" fmla="*/ 762 w 1070"/>
                <a:gd name="T103" fmla="*/ 472 h 693"/>
                <a:gd name="T104" fmla="*/ 904 w 1070"/>
                <a:gd name="T105" fmla="*/ 0 h 693"/>
                <a:gd name="T106" fmla="*/ 1070 w 1070"/>
                <a:gd name="T107" fmla="*/ 0 h 693"/>
                <a:gd name="T108" fmla="*/ 1070 w 1070"/>
                <a:gd name="T109" fmla="*/ 0 h 693"/>
                <a:gd name="T110" fmla="*/ 985 w 1070"/>
                <a:gd name="T111" fmla="*/ 239 h 693"/>
                <a:gd name="T112" fmla="*/ 918 w 1070"/>
                <a:gd name="T113" fmla="*/ 429 h 693"/>
                <a:gd name="T114" fmla="*/ 869 w 1070"/>
                <a:gd name="T115" fmla="*/ 567 h 693"/>
                <a:gd name="T116" fmla="*/ 869 w 1070"/>
                <a:gd name="T117" fmla="*/ 56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693">
                  <a:moveTo>
                    <a:pt x="869" y="567"/>
                  </a:moveTo>
                  <a:lnTo>
                    <a:pt x="869" y="567"/>
                  </a:lnTo>
                  <a:lnTo>
                    <a:pt x="863" y="581"/>
                  </a:lnTo>
                  <a:lnTo>
                    <a:pt x="857" y="594"/>
                  </a:lnTo>
                  <a:lnTo>
                    <a:pt x="850" y="606"/>
                  </a:lnTo>
                  <a:lnTo>
                    <a:pt x="844" y="617"/>
                  </a:lnTo>
                  <a:lnTo>
                    <a:pt x="838" y="626"/>
                  </a:lnTo>
                  <a:lnTo>
                    <a:pt x="831" y="636"/>
                  </a:lnTo>
                  <a:lnTo>
                    <a:pt x="824" y="644"/>
                  </a:lnTo>
                  <a:lnTo>
                    <a:pt x="816" y="652"/>
                  </a:lnTo>
                  <a:lnTo>
                    <a:pt x="801" y="664"/>
                  </a:lnTo>
                  <a:lnTo>
                    <a:pt x="786" y="674"/>
                  </a:lnTo>
                  <a:lnTo>
                    <a:pt x="771" y="682"/>
                  </a:lnTo>
                  <a:lnTo>
                    <a:pt x="757" y="687"/>
                  </a:lnTo>
                  <a:lnTo>
                    <a:pt x="744" y="690"/>
                  </a:lnTo>
                  <a:lnTo>
                    <a:pt x="731" y="692"/>
                  </a:lnTo>
                  <a:lnTo>
                    <a:pt x="719" y="693"/>
                  </a:lnTo>
                  <a:lnTo>
                    <a:pt x="708" y="693"/>
                  </a:lnTo>
                  <a:lnTo>
                    <a:pt x="693" y="692"/>
                  </a:lnTo>
                  <a:lnTo>
                    <a:pt x="688" y="691"/>
                  </a:lnTo>
                  <a:lnTo>
                    <a:pt x="534" y="221"/>
                  </a:lnTo>
                  <a:lnTo>
                    <a:pt x="531" y="221"/>
                  </a:lnTo>
                  <a:lnTo>
                    <a:pt x="531" y="221"/>
                  </a:lnTo>
                  <a:lnTo>
                    <a:pt x="491" y="347"/>
                  </a:lnTo>
                  <a:lnTo>
                    <a:pt x="420" y="567"/>
                  </a:lnTo>
                  <a:lnTo>
                    <a:pt x="420" y="567"/>
                  </a:lnTo>
                  <a:lnTo>
                    <a:pt x="415" y="580"/>
                  </a:lnTo>
                  <a:lnTo>
                    <a:pt x="410" y="593"/>
                  </a:lnTo>
                  <a:lnTo>
                    <a:pt x="404" y="605"/>
                  </a:lnTo>
                  <a:lnTo>
                    <a:pt x="398" y="615"/>
                  </a:lnTo>
                  <a:lnTo>
                    <a:pt x="392" y="626"/>
                  </a:lnTo>
                  <a:lnTo>
                    <a:pt x="385" y="635"/>
                  </a:lnTo>
                  <a:lnTo>
                    <a:pt x="379" y="643"/>
                  </a:lnTo>
                  <a:lnTo>
                    <a:pt x="371" y="651"/>
                  </a:lnTo>
                  <a:lnTo>
                    <a:pt x="358" y="664"/>
                  </a:lnTo>
                  <a:lnTo>
                    <a:pt x="343" y="673"/>
                  </a:lnTo>
                  <a:lnTo>
                    <a:pt x="329" y="681"/>
                  </a:lnTo>
                  <a:lnTo>
                    <a:pt x="315" y="686"/>
                  </a:lnTo>
                  <a:lnTo>
                    <a:pt x="301" y="690"/>
                  </a:lnTo>
                  <a:lnTo>
                    <a:pt x="288" y="692"/>
                  </a:lnTo>
                  <a:lnTo>
                    <a:pt x="276" y="693"/>
                  </a:lnTo>
                  <a:lnTo>
                    <a:pt x="267" y="693"/>
                  </a:lnTo>
                  <a:lnTo>
                    <a:pt x="252" y="692"/>
                  </a:lnTo>
                  <a:lnTo>
                    <a:pt x="246" y="691"/>
                  </a:lnTo>
                  <a:lnTo>
                    <a:pt x="0" y="0"/>
                  </a:lnTo>
                  <a:lnTo>
                    <a:pt x="176" y="0"/>
                  </a:lnTo>
                  <a:lnTo>
                    <a:pt x="321" y="471"/>
                  </a:lnTo>
                  <a:lnTo>
                    <a:pt x="324" y="471"/>
                  </a:lnTo>
                  <a:lnTo>
                    <a:pt x="474" y="0"/>
                  </a:lnTo>
                  <a:lnTo>
                    <a:pt x="606" y="0"/>
                  </a:lnTo>
                  <a:lnTo>
                    <a:pt x="757" y="472"/>
                  </a:lnTo>
                  <a:lnTo>
                    <a:pt x="762" y="472"/>
                  </a:lnTo>
                  <a:lnTo>
                    <a:pt x="904" y="0"/>
                  </a:lnTo>
                  <a:lnTo>
                    <a:pt x="1070" y="0"/>
                  </a:lnTo>
                  <a:lnTo>
                    <a:pt x="1070" y="0"/>
                  </a:lnTo>
                  <a:lnTo>
                    <a:pt x="985" y="239"/>
                  </a:lnTo>
                  <a:lnTo>
                    <a:pt x="918" y="429"/>
                  </a:lnTo>
                  <a:lnTo>
                    <a:pt x="869" y="567"/>
                  </a:lnTo>
                  <a:lnTo>
                    <a:pt x="869" y="567"/>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9" name="Freeform 13"/>
            <p:cNvSpPr>
              <a:spLocks noEditPoints="1"/>
            </p:cNvSpPr>
            <p:nvPr userDrawn="1"/>
          </p:nvSpPr>
          <p:spPr bwMode="auto">
            <a:xfrm>
              <a:off x="8244768" y="4638488"/>
              <a:ext cx="58194" cy="69325"/>
            </a:xfrm>
            <a:custGeom>
              <a:avLst/>
              <a:gdLst>
                <a:gd name="T0" fmla="*/ 421 w 597"/>
                <a:gd name="T1" fmla="*/ 636 h 711"/>
                <a:gd name="T2" fmla="*/ 362 w 597"/>
                <a:gd name="T3" fmla="*/ 676 h 711"/>
                <a:gd name="T4" fmla="*/ 314 w 597"/>
                <a:gd name="T5" fmla="*/ 697 h 711"/>
                <a:gd name="T6" fmla="*/ 271 w 597"/>
                <a:gd name="T7" fmla="*/ 706 h 711"/>
                <a:gd name="T8" fmla="*/ 223 w 597"/>
                <a:gd name="T9" fmla="*/ 711 h 711"/>
                <a:gd name="T10" fmla="*/ 178 w 597"/>
                <a:gd name="T11" fmla="*/ 706 h 711"/>
                <a:gd name="T12" fmla="*/ 116 w 597"/>
                <a:gd name="T13" fmla="*/ 686 h 711"/>
                <a:gd name="T14" fmla="*/ 64 w 597"/>
                <a:gd name="T15" fmla="*/ 651 h 711"/>
                <a:gd name="T16" fmla="*/ 27 w 597"/>
                <a:gd name="T17" fmla="*/ 602 h 711"/>
                <a:gd name="T18" fmla="*/ 5 w 597"/>
                <a:gd name="T19" fmla="*/ 540 h 711"/>
                <a:gd name="T20" fmla="*/ 0 w 597"/>
                <a:gd name="T21" fmla="*/ 491 h 711"/>
                <a:gd name="T22" fmla="*/ 2 w 597"/>
                <a:gd name="T23" fmla="*/ 454 h 711"/>
                <a:gd name="T24" fmla="*/ 11 w 597"/>
                <a:gd name="T25" fmla="*/ 419 h 711"/>
                <a:gd name="T26" fmla="*/ 25 w 597"/>
                <a:gd name="T27" fmla="*/ 388 h 711"/>
                <a:gd name="T28" fmla="*/ 44 w 597"/>
                <a:gd name="T29" fmla="*/ 361 h 711"/>
                <a:gd name="T30" fmla="*/ 77 w 597"/>
                <a:gd name="T31" fmla="*/ 329 h 711"/>
                <a:gd name="T32" fmla="*/ 141 w 597"/>
                <a:gd name="T33" fmla="*/ 295 h 711"/>
                <a:gd name="T34" fmla="*/ 223 w 597"/>
                <a:gd name="T35" fmla="*/ 274 h 711"/>
                <a:gd name="T36" fmla="*/ 406 w 597"/>
                <a:gd name="T37" fmla="*/ 264 h 711"/>
                <a:gd name="T38" fmla="*/ 406 w 597"/>
                <a:gd name="T39" fmla="*/ 247 h 711"/>
                <a:gd name="T40" fmla="*/ 400 w 597"/>
                <a:gd name="T41" fmla="*/ 206 h 711"/>
                <a:gd name="T42" fmla="*/ 384 w 597"/>
                <a:gd name="T43" fmla="*/ 175 h 711"/>
                <a:gd name="T44" fmla="*/ 358 w 597"/>
                <a:gd name="T45" fmla="*/ 153 h 711"/>
                <a:gd name="T46" fmla="*/ 326 w 597"/>
                <a:gd name="T47" fmla="*/ 139 h 711"/>
                <a:gd name="T48" fmla="*/ 290 w 597"/>
                <a:gd name="T49" fmla="*/ 132 h 711"/>
                <a:gd name="T50" fmla="*/ 249 w 597"/>
                <a:gd name="T51" fmla="*/ 133 h 711"/>
                <a:gd name="T52" fmla="*/ 177 w 597"/>
                <a:gd name="T53" fmla="*/ 147 h 711"/>
                <a:gd name="T54" fmla="*/ 118 w 597"/>
                <a:gd name="T55" fmla="*/ 173 h 711"/>
                <a:gd name="T56" fmla="*/ 44 w 597"/>
                <a:gd name="T57" fmla="*/ 75 h 711"/>
                <a:gd name="T58" fmla="*/ 95 w 597"/>
                <a:gd name="T59" fmla="*/ 45 h 711"/>
                <a:gd name="T60" fmla="*/ 145 w 597"/>
                <a:gd name="T61" fmla="*/ 24 h 711"/>
                <a:gd name="T62" fmla="*/ 194 w 597"/>
                <a:gd name="T63" fmla="*/ 10 h 711"/>
                <a:gd name="T64" fmla="*/ 277 w 597"/>
                <a:gd name="T65" fmla="*/ 0 h 711"/>
                <a:gd name="T66" fmla="*/ 341 w 597"/>
                <a:gd name="T67" fmla="*/ 1 h 711"/>
                <a:gd name="T68" fmla="*/ 424 w 597"/>
                <a:gd name="T69" fmla="*/ 13 h 711"/>
                <a:gd name="T70" fmla="*/ 480 w 597"/>
                <a:gd name="T71" fmla="*/ 36 h 711"/>
                <a:gd name="T72" fmla="*/ 509 w 597"/>
                <a:gd name="T73" fmla="*/ 56 h 711"/>
                <a:gd name="T74" fmla="*/ 533 w 597"/>
                <a:gd name="T75" fmla="*/ 81 h 711"/>
                <a:gd name="T76" fmla="*/ 552 w 597"/>
                <a:gd name="T77" fmla="*/ 111 h 711"/>
                <a:gd name="T78" fmla="*/ 567 w 597"/>
                <a:gd name="T79" fmla="*/ 145 h 711"/>
                <a:gd name="T80" fmla="*/ 577 w 597"/>
                <a:gd name="T81" fmla="*/ 185 h 711"/>
                <a:gd name="T82" fmla="*/ 581 w 597"/>
                <a:gd name="T83" fmla="*/ 247 h 711"/>
                <a:gd name="T84" fmla="*/ 582 w 597"/>
                <a:gd name="T85" fmla="*/ 583 h 711"/>
                <a:gd name="T86" fmla="*/ 587 w 597"/>
                <a:gd name="T87" fmla="*/ 659 h 711"/>
                <a:gd name="T88" fmla="*/ 597 w 597"/>
                <a:gd name="T89" fmla="*/ 708 h 711"/>
                <a:gd name="T90" fmla="*/ 308 w 597"/>
                <a:gd name="T91" fmla="*/ 387 h 711"/>
                <a:gd name="T92" fmla="*/ 275 w 597"/>
                <a:gd name="T93" fmla="*/ 389 h 711"/>
                <a:gd name="T94" fmla="*/ 236 w 597"/>
                <a:gd name="T95" fmla="*/ 397 h 711"/>
                <a:gd name="T96" fmla="*/ 206 w 597"/>
                <a:gd name="T97" fmla="*/ 412 h 711"/>
                <a:gd name="T98" fmla="*/ 185 w 597"/>
                <a:gd name="T99" fmla="*/ 433 h 711"/>
                <a:gd name="T100" fmla="*/ 175 w 597"/>
                <a:gd name="T101" fmla="*/ 458 h 711"/>
                <a:gd name="T102" fmla="*/ 172 w 597"/>
                <a:gd name="T103" fmla="*/ 479 h 711"/>
                <a:gd name="T104" fmla="*/ 177 w 597"/>
                <a:gd name="T105" fmla="*/ 509 h 711"/>
                <a:gd name="T106" fmla="*/ 188 w 597"/>
                <a:gd name="T107" fmla="*/ 533 h 711"/>
                <a:gd name="T108" fmla="*/ 209 w 597"/>
                <a:gd name="T109" fmla="*/ 553 h 711"/>
                <a:gd name="T110" fmla="*/ 236 w 597"/>
                <a:gd name="T111" fmla="*/ 566 h 711"/>
                <a:gd name="T112" fmla="*/ 271 w 597"/>
                <a:gd name="T113" fmla="*/ 573 h 711"/>
                <a:gd name="T114" fmla="*/ 305 w 597"/>
                <a:gd name="T115" fmla="*/ 573 h 711"/>
                <a:gd name="T116" fmla="*/ 358 w 597"/>
                <a:gd name="T117" fmla="*/ 560 h 711"/>
                <a:gd name="T118" fmla="*/ 396 w 597"/>
                <a:gd name="T119" fmla="*/ 5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11">
                  <a:moveTo>
                    <a:pt x="453" y="708"/>
                  </a:moveTo>
                  <a:lnTo>
                    <a:pt x="421" y="636"/>
                  </a:lnTo>
                  <a:lnTo>
                    <a:pt x="421" y="636"/>
                  </a:lnTo>
                  <a:lnTo>
                    <a:pt x="402" y="651"/>
                  </a:lnTo>
                  <a:lnTo>
                    <a:pt x="383" y="665"/>
                  </a:lnTo>
                  <a:lnTo>
                    <a:pt x="362" y="676"/>
                  </a:lnTo>
                  <a:lnTo>
                    <a:pt x="339" y="688"/>
                  </a:lnTo>
                  <a:lnTo>
                    <a:pt x="326" y="692"/>
                  </a:lnTo>
                  <a:lnTo>
                    <a:pt x="314" y="697"/>
                  </a:lnTo>
                  <a:lnTo>
                    <a:pt x="300" y="701"/>
                  </a:lnTo>
                  <a:lnTo>
                    <a:pt x="286" y="704"/>
                  </a:lnTo>
                  <a:lnTo>
                    <a:pt x="271" y="706"/>
                  </a:lnTo>
                  <a:lnTo>
                    <a:pt x="256" y="708"/>
                  </a:lnTo>
                  <a:lnTo>
                    <a:pt x="240" y="710"/>
                  </a:lnTo>
                  <a:lnTo>
                    <a:pt x="223" y="711"/>
                  </a:lnTo>
                  <a:lnTo>
                    <a:pt x="223" y="711"/>
                  </a:lnTo>
                  <a:lnTo>
                    <a:pt x="200" y="710"/>
                  </a:lnTo>
                  <a:lnTo>
                    <a:pt x="178" y="706"/>
                  </a:lnTo>
                  <a:lnTo>
                    <a:pt x="156" y="702"/>
                  </a:lnTo>
                  <a:lnTo>
                    <a:pt x="135" y="695"/>
                  </a:lnTo>
                  <a:lnTo>
                    <a:pt x="116" y="686"/>
                  </a:lnTo>
                  <a:lnTo>
                    <a:pt x="98" y="676"/>
                  </a:lnTo>
                  <a:lnTo>
                    <a:pt x="80" y="665"/>
                  </a:lnTo>
                  <a:lnTo>
                    <a:pt x="64" y="651"/>
                  </a:lnTo>
                  <a:lnTo>
                    <a:pt x="51" y="636"/>
                  </a:lnTo>
                  <a:lnTo>
                    <a:pt x="38" y="620"/>
                  </a:lnTo>
                  <a:lnTo>
                    <a:pt x="27" y="602"/>
                  </a:lnTo>
                  <a:lnTo>
                    <a:pt x="17" y="582"/>
                  </a:lnTo>
                  <a:lnTo>
                    <a:pt x="10" y="561"/>
                  </a:lnTo>
                  <a:lnTo>
                    <a:pt x="5" y="540"/>
                  </a:lnTo>
                  <a:lnTo>
                    <a:pt x="1" y="516"/>
                  </a:lnTo>
                  <a:lnTo>
                    <a:pt x="0" y="491"/>
                  </a:lnTo>
                  <a:lnTo>
                    <a:pt x="0" y="491"/>
                  </a:lnTo>
                  <a:lnTo>
                    <a:pt x="0" y="479"/>
                  </a:lnTo>
                  <a:lnTo>
                    <a:pt x="1" y="466"/>
                  </a:lnTo>
                  <a:lnTo>
                    <a:pt x="2" y="454"/>
                  </a:lnTo>
                  <a:lnTo>
                    <a:pt x="6" y="441"/>
                  </a:lnTo>
                  <a:lnTo>
                    <a:pt x="8" y="431"/>
                  </a:lnTo>
                  <a:lnTo>
                    <a:pt x="11" y="419"/>
                  </a:lnTo>
                  <a:lnTo>
                    <a:pt x="15" y="408"/>
                  </a:lnTo>
                  <a:lnTo>
                    <a:pt x="21" y="398"/>
                  </a:lnTo>
                  <a:lnTo>
                    <a:pt x="25" y="388"/>
                  </a:lnTo>
                  <a:lnTo>
                    <a:pt x="31" y="378"/>
                  </a:lnTo>
                  <a:lnTo>
                    <a:pt x="38" y="370"/>
                  </a:lnTo>
                  <a:lnTo>
                    <a:pt x="44" y="361"/>
                  </a:lnTo>
                  <a:lnTo>
                    <a:pt x="52" y="352"/>
                  </a:lnTo>
                  <a:lnTo>
                    <a:pt x="60" y="344"/>
                  </a:lnTo>
                  <a:lnTo>
                    <a:pt x="77" y="329"/>
                  </a:lnTo>
                  <a:lnTo>
                    <a:pt x="97" y="316"/>
                  </a:lnTo>
                  <a:lnTo>
                    <a:pt x="118" y="304"/>
                  </a:lnTo>
                  <a:lnTo>
                    <a:pt x="141" y="295"/>
                  </a:lnTo>
                  <a:lnTo>
                    <a:pt x="167" y="286"/>
                  </a:lnTo>
                  <a:lnTo>
                    <a:pt x="194" y="279"/>
                  </a:lnTo>
                  <a:lnTo>
                    <a:pt x="223" y="274"/>
                  </a:lnTo>
                  <a:lnTo>
                    <a:pt x="253" y="270"/>
                  </a:lnTo>
                  <a:lnTo>
                    <a:pt x="285" y="268"/>
                  </a:lnTo>
                  <a:lnTo>
                    <a:pt x="406" y="264"/>
                  </a:lnTo>
                  <a:lnTo>
                    <a:pt x="406" y="264"/>
                  </a:lnTo>
                  <a:lnTo>
                    <a:pt x="406" y="247"/>
                  </a:lnTo>
                  <a:lnTo>
                    <a:pt x="406" y="247"/>
                  </a:lnTo>
                  <a:lnTo>
                    <a:pt x="406" y="232"/>
                  </a:lnTo>
                  <a:lnTo>
                    <a:pt x="403" y="219"/>
                  </a:lnTo>
                  <a:lnTo>
                    <a:pt x="400" y="206"/>
                  </a:lnTo>
                  <a:lnTo>
                    <a:pt x="396" y="194"/>
                  </a:lnTo>
                  <a:lnTo>
                    <a:pt x="391" y="184"/>
                  </a:lnTo>
                  <a:lnTo>
                    <a:pt x="384" y="175"/>
                  </a:lnTo>
                  <a:lnTo>
                    <a:pt x="377" y="166"/>
                  </a:lnTo>
                  <a:lnTo>
                    <a:pt x="368" y="159"/>
                  </a:lnTo>
                  <a:lnTo>
                    <a:pt x="358" y="153"/>
                  </a:lnTo>
                  <a:lnTo>
                    <a:pt x="349" y="146"/>
                  </a:lnTo>
                  <a:lnTo>
                    <a:pt x="338" y="142"/>
                  </a:lnTo>
                  <a:lnTo>
                    <a:pt x="326" y="139"/>
                  </a:lnTo>
                  <a:lnTo>
                    <a:pt x="315" y="135"/>
                  </a:lnTo>
                  <a:lnTo>
                    <a:pt x="303" y="133"/>
                  </a:lnTo>
                  <a:lnTo>
                    <a:pt x="290" y="132"/>
                  </a:lnTo>
                  <a:lnTo>
                    <a:pt x="276" y="132"/>
                  </a:lnTo>
                  <a:lnTo>
                    <a:pt x="276" y="132"/>
                  </a:lnTo>
                  <a:lnTo>
                    <a:pt x="249" y="133"/>
                  </a:lnTo>
                  <a:lnTo>
                    <a:pt x="224" y="137"/>
                  </a:lnTo>
                  <a:lnTo>
                    <a:pt x="199" y="141"/>
                  </a:lnTo>
                  <a:lnTo>
                    <a:pt x="177" y="147"/>
                  </a:lnTo>
                  <a:lnTo>
                    <a:pt x="155" y="155"/>
                  </a:lnTo>
                  <a:lnTo>
                    <a:pt x="136" y="163"/>
                  </a:lnTo>
                  <a:lnTo>
                    <a:pt x="118" y="173"/>
                  </a:lnTo>
                  <a:lnTo>
                    <a:pt x="101" y="183"/>
                  </a:lnTo>
                  <a:lnTo>
                    <a:pt x="44" y="75"/>
                  </a:lnTo>
                  <a:lnTo>
                    <a:pt x="44" y="75"/>
                  </a:lnTo>
                  <a:lnTo>
                    <a:pt x="61" y="64"/>
                  </a:lnTo>
                  <a:lnTo>
                    <a:pt x="78" y="54"/>
                  </a:lnTo>
                  <a:lnTo>
                    <a:pt x="95" y="45"/>
                  </a:lnTo>
                  <a:lnTo>
                    <a:pt x="112" y="37"/>
                  </a:lnTo>
                  <a:lnTo>
                    <a:pt x="129" y="31"/>
                  </a:lnTo>
                  <a:lnTo>
                    <a:pt x="145" y="24"/>
                  </a:lnTo>
                  <a:lnTo>
                    <a:pt x="162" y="19"/>
                  </a:lnTo>
                  <a:lnTo>
                    <a:pt x="178" y="15"/>
                  </a:lnTo>
                  <a:lnTo>
                    <a:pt x="194" y="10"/>
                  </a:lnTo>
                  <a:lnTo>
                    <a:pt x="211" y="7"/>
                  </a:lnTo>
                  <a:lnTo>
                    <a:pt x="244" y="3"/>
                  </a:lnTo>
                  <a:lnTo>
                    <a:pt x="277" y="0"/>
                  </a:lnTo>
                  <a:lnTo>
                    <a:pt x="310" y="0"/>
                  </a:lnTo>
                  <a:lnTo>
                    <a:pt x="310" y="0"/>
                  </a:lnTo>
                  <a:lnTo>
                    <a:pt x="341" y="1"/>
                  </a:lnTo>
                  <a:lnTo>
                    <a:pt x="370" y="3"/>
                  </a:lnTo>
                  <a:lnTo>
                    <a:pt x="398" y="7"/>
                  </a:lnTo>
                  <a:lnTo>
                    <a:pt x="424" y="13"/>
                  </a:lnTo>
                  <a:lnTo>
                    <a:pt x="448" y="21"/>
                  </a:lnTo>
                  <a:lnTo>
                    <a:pt x="471" y="31"/>
                  </a:lnTo>
                  <a:lnTo>
                    <a:pt x="480" y="36"/>
                  </a:lnTo>
                  <a:lnTo>
                    <a:pt x="491" y="42"/>
                  </a:lnTo>
                  <a:lnTo>
                    <a:pt x="501" y="49"/>
                  </a:lnTo>
                  <a:lnTo>
                    <a:pt x="509" y="56"/>
                  </a:lnTo>
                  <a:lnTo>
                    <a:pt x="518" y="64"/>
                  </a:lnTo>
                  <a:lnTo>
                    <a:pt x="525" y="72"/>
                  </a:lnTo>
                  <a:lnTo>
                    <a:pt x="533" y="81"/>
                  </a:lnTo>
                  <a:lnTo>
                    <a:pt x="540" y="91"/>
                  </a:lnTo>
                  <a:lnTo>
                    <a:pt x="547" y="100"/>
                  </a:lnTo>
                  <a:lnTo>
                    <a:pt x="552" y="111"/>
                  </a:lnTo>
                  <a:lnTo>
                    <a:pt x="557" y="122"/>
                  </a:lnTo>
                  <a:lnTo>
                    <a:pt x="563" y="133"/>
                  </a:lnTo>
                  <a:lnTo>
                    <a:pt x="567" y="145"/>
                  </a:lnTo>
                  <a:lnTo>
                    <a:pt x="571" y="158"/>
                  </a:lnTo>
                  <a:lnTo>
                    <a:pt x="573" y="171"/>
                  </a:lnTo>
                  <a:lnTo>
                    <a:pt x="577" y="185"/>
                  </a:lnTo>
                  <a:lnTo>
                    <a:pt x="579" y="200"/>
                  </a:lnTo>
                  <a:lnTo>
                    <a:pt x="580" y="215"/>
                  </a:lnTo>
                  <a:lnTo>
                    <a:pt x="581" y="247"/>
                  </a:lnTo>
                  <a:lnTo>
                    <a:pt x="581" y="516"/>
                  </a:lnTo>
                  <a:lnTo>
                    <a:pt x="581" y="516"/>
                  </a:lnTo>
                  <a:lnTo>
                    <a:pt x="582" y="583"/>
                  </a:lnTo>
                  <a:lnTo>
                    <a:pt x="584" y="611"/>
                  </a:lnTo>
                  <a:lnTo>
                    <a:pt x="585" y="637"/>
                  </a:lnTo>
                  <a:lnTo>
                    <a:pt x="587" y="659"/>
                  </a:lnTo>
                  <a:lnTo>
                    <a:pt x="591" y="679"/>
                  </a:lnTo>
                  <a:lnTo>
                    <a:pt x="594" y="695"/>
                  </a:lnTo>
                  <a:lnTo>
                    <a:pt x="597" y="708"/>
                  </a:lnTo>
                  <a:lnTo>
                    <a:pt x="453" y="708"/>
                  </a:lnTo>
                  <a:close/>
                  <a:moveTo>
                    <a:pt x="406" y="384"/>
                  </a:moveTo>
                  <a:lnTo>
                    <a:pt x="308" y="387"/>
                  </a:lnTo>
                  <a:lnTo>
                    <a:pt x="308" y="387"/>
                  </a:lnTo>
                  <a:lnTo>
                    <a:pt x="291" y="388"/>
                  </a:lnTo>
                  <a:lnTo>
                    <a:pt x="275" y="389"/>
                  </a:lnTo>
                  <a:lnTo>
                    <a:pt x="260" y="391"/>
                  </a:lnTo>
                  <a:lnTo>
                    <a:pt x="247" y="394"/>
                  </a:lnTo>
                  <a:lnTo>
                    <a:pt x="236" y="397"/>
                  </a:lnTo>
                  <a:lnTo>
                    <a:pt x="224" y="402"/>
                  </a:lnTo>
                  <a:lnTo>
                    <a:pt x="214" y="407"/>
                  </a:lnTo>
                  <a:lnTo>
                    <a:pt x="206" y="412"/>
                  </a:lnTo>
                  <a:lnTo>
                    <a:pt x="197" y="418"/>
                  </a:lnTo>
                  <a:lnTo>
                    <a:pt x="191" y="425"/>
                  </a:lnTo>
                  <a:lnTo>
                    <a:pt x="185" y="433"/>
                  </a:lnTo>
                  <a:lnTo>
                    <a:pt x="181" y="440"/>
                  </a:lnTo>
                  <a:lnTo>
                    <a:pt x="177" y="449"/>
                  </a:lnTo>
                  <a:lnTo>
                    <a:pt x="175" y="458"/>
                  </a:lnTo>
                  <a:lnTo>
                    <a:pt x="174" y="468"/>
                  </a:lnTo>
                  <a:lnTo>
                    <a:pt x="172" y="479"/>
                  </a:lnTo>
                  <a:lnTo>
                    <a:pt x="172" y="479"/>
                  </a:lnTo>
                  <a:lnTo>
                    <a:pt x="174" y="489"/>
                  </a:lnTo>
                  <a:lnTo>
                    <a:pt x="175" y="499"/>
                  </a:lnTo>
                  <a:lnTo>
                    <a:pt x="177" y="509"/>
                  </a:lnTo>
                  <a:lnTo>
                    <a:pt x="180" y="517"/>
                  </a:lnTo>
                  <a:lnTo>
                    <a:pt x="184" y="526"/>
                  </a:lnTo>
                  <a:lnTo>
                    <a:pt x="188" y="533"/>
                  </a:lnTo>
                  <a:lnTo>
                    <a:pt x="195" y="541"/>
                  </a:lnTo>
                  <a:lnTo>
                    <a:pt x="201" y="547"/>
                  </a:lnTo>
                  <a:lnTo>
                    <a:pt x="209" y="553"/>
                  </a:lnTo>
                  <a:lnTo>
                    <a:pt x="217" y="559"/>
                  </a:lnTo>
                  <a:lnTo>
                    <a:pt x="226" y="563"/>
                  </a:lnTo>
                  <a:lnTo>
                    <a:pt x="236" y="566"/>
                  </a:lnTo>
                  <a:lnTo>
                    <a:pt x="246" y="570"/>
                  </a:lnTo>
                  <a:lnTo>
                    <a:pt x="258" y="572"/>
                  </a:lnTo>
                  <a:lnTo>
                    <a:pt x="271" y="573"/>
                  </a:lnTo>
                  <a:lnTo>
                    <a:pt x="284" y="574"/>
                  </a:lnTo>
                  <a:lnTo>
                    <a:pt x="284" y="574"/>
                  </a:lnTo>
                  <a:lnTo>
                    <a:pt x="305" y="573"/>
                  </a:lnTo>
                  <a:lnTo>
                    <a:pt x="325" y="570"/>
                  </a:lnTo>
                  <a:lnTo>
                    <a:pt x="342" y="565"/>
                  </a:lnTo>
                  <a:lnTo>
                    <a:pt x="358" y="560"/>
                  </a:lnTo>
                  <a:lnTo>
                    <a:pt x="372" y="552"/>
                  </a:lnTo>
                  <a:lnTo>
                    <a:pt x="385" y="546"/>
                  </a:lnTo>
                  <a:lnTo>
                    <a:pt x="396" y="539"/>
                  </a:lnTo>
                  <a:lnTo>
                    <a:pt x="406" y="530"/>
                  </a:lnTo>
                  <a:lnTo>
                    <a:pt x="406" y="384"/>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0" name="Freeform 14"/>
            <p:cNvSpPr>
              <a:spLocks noEditPoints="1"/>
            </p:cNvSpPr>
            <p:nvPr userDrawn="1"/>
          </p:nvSpPr>
          <p:spPr bwMode="auto">
            <a:xfrm>
              <a:off x="8362522" y="4606852"/>
              <a:ext cx="62880" cy="100960"/>
            </a:xfrm>
            <a:custGeom>
              <a:avLst/>
              <a:gdLst>
                <a:gd name="T0" fmla="*/ 351 w 643"/>
                <a:gd name="T1" fmla="*/ 1032 h 1034"/>
                <a:gd name="T2" fmla="*/ 296 w 643"/>
                <a:gd name="T3" fmla="*/ 1027 h 1034"/>
                <a:gd name="T4" fmla="*/ 243 w 643"/>
                <a:gd name="T5" fmla="*/ 1016 h 1034"/>
                <a:gd name="T6" fmla="*/ 195 w 643"/>
                <a:gd name="T7" fmla="*/ 998 h 1034"/>
                <a:gd name="T8" fmla="*/ 149 w 643"/>
                <a:gd name="T9" fmla="*/ 975 h 1034"/>
                <a:gd name="T10" fmla="*/ 109 w 643"/>
                <a:gd name="T11" fmla="*/ 945 h 1034"/>
                <a:gd name="T12" fmla="*/ 74 w 643"/>
                <a:gd name="T13" fmla="*/ 908 h 1034"/>
                <a:gd name="T14" fmla="*/ 45 w 643"/>
                <a:gd name="T15" fmla="*/ 867 h 1034"/>
                <a:gd name="T16" fmla="*/ 23 w 643"/>
                <a:gd name="T17" fmla="*/ 819 h 1034"/>
                <a:gd name="T18" fmla="*/ 8 w 643"/>
                <a:gd name="T19" fmla="*/ 764 h 1034"/>
                <a:gd name="T20" fmla="*/ 0 w 643"/>
                <a:gd name="T21" fmla="*/ 704 h 1034"/>
                <a:gd name="T22" fmla="*/ 0 w 643"/>
                <a:gd name="T23" fmla="*/ 664 h 1034"/>
                <a:gd name="T24" fmla="*/ 8 w 643"/>
                <a:gd name="T25" fmla="*/ 607 h 1034"/>
                <a:gd name="T26" fmla="*/ 22 w 643"/>
                <a:gd name="T27" fmla="*/ 555 h 1034"/>
                <a:gd name="T28" fmla="*/ 43 w 643"/>
                <a:gd name="T29" fmla="*/ 505 h 1034"/>
                <a:gd name="T30" fmla="*/ 72 w 643"/>
                <a:gd name="T31" fmla="*/ 463 h 1034"/>
                <a:gd name="T32" fmla="*/ 106 w 643"/>
                <a:gd name="T33" fmla="*/ 423 h 1034"/>
                <a:gd name="T34" fmla="*/ 147 w 643"/>
                <a:gd name="T35" fmla="*/ 390 h 1034"/>
                <a:gd name="T36" fmla="*/ 193 w 643"/>
                <a:gd name="T37" fmla="*/ 363 h 1034"/>
                <a:gd name="T38" fmla="*/ 243 w 643"/>
                <a:gd name="T39" fmla="*/ 343 h 1034"/>
                <a:gd name="T40" fmla="*/ 298 w 643"/>
                <a:gd name="T41" fmla="*/ 329 h 1034"/>
                <a:gd name="T42" fmla="*/ 356 w 643"/>
                <a:gd name="T43" fmla="*/ 323 h 1034"/>
                <a:gd name="T44" fmla="*/ 402 w 643"/>
                <a:gd name="T45" fmla="*/ 323 h 1034"/>
                <a:gd name="T46" fmla="*/ 463 w 643"/>
                <a:gd name="T47" fmla="*/ 328 h 1034"/>
                <a:gd name="T48" fmla="*/ 637 w 643"/>
                <a:gd name="T49" fmla="*/ 978 h 1034"/>
                <a:gd name="T50" fmla="*/ 584 w 643"/>
                <a:gd name="T51" fmla="*/ 1000 h 1034"/>
                <a:gd name="T52" fmla="*/ 489 w 643"/>
                <a:gd name="T53" fmla="*/ 1025 h 1034"/>
                <a:gd name="T54" fmla="*/ 370 w 643"/>
                <a:gd name="T55" fmla="*/ 1034 h 1034"/>
                <a:gd name="T56" fmla="*/ 463 w 643"/>
                <a:gd name="T57" fmla="*/ 469 h 1034"/>
                <a:gd name="T58" fmla="*/ 408 w 643"/>
                <a:gd name="T59" fmla="*/ 459 h 1034"/>
                <a:gd name="T60" fmla="*/ 361 w 643"/>
                <a:gd name="T61" fmla="*/ 459 h 1034"/>
                <a:gd name="T62" fmla="*/ 299 w 643"/>
                <a:gd name="T63" fmla="*/ 473 h 1034"/>
                <a:gd name="T64" fmla="*/ 247 w 643"/>
                <a:gd name="T65" fmla="*/ 503 h 1034"/>
                <a:gd name="T66" fmla="*/ 207 w 643"/>
                <a:gd name="T67" fmla="*/ 548 h 1034"/>
                <a:gd name="T68" fmla="*/ 182 w 643"/>
                <a:gd name="T69" fmla="*/ 605 h 1034"/>
                <a:gd name="T70" fmla="*/ 173 w 643"/>
                <a:gd name="T71" fmla="*/ 674 h 1034"/>
                <a:gd name="T72" fmla="*/ 177 w 643"/>
                <a:gd name="T73" fmla="*/ 719 h 1034"/>
                <a:gd name="T74" fmla="*/ 196 w 643"/>
                <a:gd name="T75" fmla="*/ 780 h 1034"/>
                <a:gd name="T76" fmla="*/ 230 w 643"/>
                <a:gd name="T77" fmla="*/ 829 h 1034"/>
                <a:gd name="T78" fmla="*/ 278 w 643"/>
                <a:gd name="T79" fmla="*/ 866 h 1034"/>
                <a:gd name="T80" fmla="*/ 338 w 643"/>
                <a:gd name="T81" fmla="*/ 886 h 1034"/>
                <a:gd name="T82" fmla="*/ 386 w 643"/>
                <a:gd name="T83" fmla="*/ 890 h 1034"/>
                <a:gd name="T84" fmla="*/ 447 w 643"/>
                <a:gd name="T85" fmla="*/ 885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3" h="1034">
                  <a:moveTo>
                    <a:pt x="370" y="1034"/>
                  </a:moveTo>
                  <a:lnTo>
                    <a:pt x="370" y="1034"/>
                  </a:lnTo>
                  <a:lnTo>
                    <a:pt x="351" y="1032"/>
                  </a:lnTo>
                  <a:lnTo>
                    <a:pt x="333" y="1031"/>
                  </a:lnTo>
                  <a:lnTo>
                    <a:pt x="314" y="1030"/>
                  </a:lnTo>
                  <a:lnTo>
                    <a:pt x="296" y="1027"/>
                  </a:lnTo>
                  <a:lnTo>
                    <a:pt x="278" y="1024"/>
                  </a:lnTo>
                  <a:lnTo>
                    <a:pt x="260" y="1021"/>
                  </a:lnTo>
                  <a:lnTo>
                    <a:pt x="243" y="1016"/>
                  </a:lnTo>
                  <a:lnTo>
                    <a:pt x="227" y="1011"/>
                  </a:lnTo>
                  <a:lnTo>
                    <a:pt x="210" y="1005"/>
                  </a:lnTo>
                  <a:lnTo>
                    <a:pt x="195" y="998"/>
                  </a:lnTo>
                  <a:lnTo>
                    <a:pt x="179" y="991"/>
                  </a:lnTo>
                  <a:lnTo>
                    <a:pt x="164" y="983"/>
                  </a:lnTo>
                  <a:lnTo>
                    <a:pt x="149" y="975"/>
                  </a:lnTo>
                  <a:lnTo>
                    <a:pt x="135" y="965"/>
                  </a:lnTo>
                  <a:lnTo>
                    <a:pt x="122" y="956"/>
                  </a:lnTo>
                  <a:lnTo>
                    <a:pt x="109" y="945"/>
                  </a:lnTo>
                  <a:lnTo>
                    <a:pt x="97" y="933"/>
                  </a:lnTo>
                  <a:lnTo>
                    <a:pt x="85" y="921"/>
                  </a:lnTo>
                  <a:lnTo>
                    <a:pt x="74" y="908"/>
                  </a:lnTo>
                  <a:lnTo>
                    <a:pt x="63" y="896"/>
                  </a:lnTo>
                  <a:lnTo>
                    <a:pt x="54" y="882"/>
                  </a:lnTo>
                  <a:lnTo>
                    <a:pt x="45" y="867"/>
                  </a:lnTo>
                  <a:lnTo>
                    <a:pt x="37" y="851"/>
                  </a:lnTo>
                  <a:lnTo>
                    <a:pt x="29" y="835"/>
                  </a:lnTo>
                  <a:lnTo>
                    <a:pt x="23" y="819"/>
                  </a:lnTo>
                  <a:lnTo>
                    <a:pt x="18" y="802"/>
                  </a:lnTo>
                  <a:lnTo>
                    <a:pt x="12" y="783"/>
                  </a:lnTo>
                  <a:lnTo>
                    <a:pt x="8" y="764"/>
                  </a:lnTo>
                  <a:lnTo>
                    <a:pt x="5" y="745"/>
                  </a:lnTo>
                  <a:lnTo>
                    <a:pt x="3" y="726"/>
                  </a:lnTo>
                  <a:lnTo>
                    <a:pt x="0" y="704"/>
                  </a:lnTo>
                  <a:lnTo>
                    <a:pt x="0" y="684"/>
                  </a:lnTo>
                  <a:lnTo>
                    <a:pt x="0" y="684"/>
                  </a:lnTo>
                  <a:lnTo>
                    <a:pt x="0" y="664"/>
                  </a:lnTo>
                  <a:lnTo>
                    <a:pt x="3" y="644"/>
                  </a:lnTo>
                  <a:lnTo>
                    <a:pt x="5" y="625"/>
                  </a:lnTo>
                  <a:lnTo>
                    <a:pt x="8" y="607"/>
                  </a:lnTo>
                  <a:lnTo>
                    <a:pt x="11" y="589"/>
                  </a:lnTo>
                  <a:lnTo>
                    <a:pt x="16" y="572"/>
                  </a:lnTo>
                  <a:lnTo>
                    <a:pt x="22" y="555"/>
                  </a:lnTo>
                  <a:lnTo>
                    <a:pt x="28" y="538"/>
                  </a:lnTo>
                  <a:lnTo>
                    <a:pt x="36" y="521"/>
                  </a:lnTo>
                  <a:lnTo>
                    <a:pt x="43" y="505"/>
                  </a:lnTo>
                  <a:lnTo>
                    <a:pt x="52" y="490"/>
                  </a:lnTo>
                  <a:lnTo>
                    <a:pt x="61" y="477"/>
                  </a:lnTo>
                  <a:lnTo>
                    <a:pt x="72" y="463"/>
                  </a:lnTo>
                  <a:lnTo>
                    <a:pt x="83" y="449"/>
                  </a:lnTo>
                  <a:lnTo>
                    <a:pt x="94" y="436"/>
                  </a:lnTo>
                  <a:lnTo>
                    <a:pt x="106" y="423"/>
                  </a:lnTo>
                  <a:lnTo>
                    <a:pt x="119" y="411"/>
                  </a:lnTo>
                  <a:lnTo>
                    <a:pt x="133" y="401"/>
                  </a:lnTo>
                  <a:lnTo>
                    <a:pt x="147" y="390"/>
                  </a:lnTo>
                  <a:lnTo>
                    <a:pt x="162" y="380"/>
                  </a:lnTo>
                  <a:lnTo>
                    <a:pt x="177" y="372"/>
                  </a:lnTo>
                  <a:lnTo>
                    <a:pt x="193" y="363"/>
                  </a:lnTo>
                  <a:lnTo>
                    <a:pt x="209" y="356"/>
                  </a:lnTo>
                  <a:lnTo>
                    <a:pt x="226" y="349"/>
                  </a:lnTo>
                  <a:lnTo>
                    <a:pt x="243" y="343"/>
                  </a:lnTo>
                  <a:lnTo>
                    <a:pt x="261" y="338"/>
                  </a:lnTo>
                  <a:lnTo>
                    <a:pt x="279" y="333"/>
                  </a:lnTo>
                  <a:lnTo>
                    <a:pt x="298" y="329"/>
                  </a:lnTo>
                  <a:lnTo>
                    <a:pt x="317" y="326"/>
                  </a:lnTo>
                  <a:lnTo>
                    <a:pt x="337" y="324"/>
                  </a:lnTo>
                  <a:lnTo>
                    <a:pt x="356" y="323"/>
                  </a:lnTo>
                  <a:lnTo>
                    <a:pt x="378" y="323"/>
                  </a:lnTo>
                  <a:lnTo>
                    <a:pt x="378" y="323"/>
                  </a:lnTo>
                  <a:lnTo>
                    <a:pt x="402" y="323"/>
                  </a:lnTo>
                  <a:lnTo>
                    <a:pt x="424" y="324"/>
                  </a:lnTo>
                  <a:lnTo>
                    <a:pt x="445" y="326"/>
                  </a:lnTo>
                  <a:lnTo>
                    <a:pt x="463" y="328"/>
                  </a:lnTo>
                  <a:lnTo>
                    <a:pt x="471" y="0"/>
                  </a:lnTo>
                  <a:lnTo>
                    <a:pt x="643" y="0"/>
                  </a:lnTo>
                  <a:lnTo>
                    <a:pt x="637" y="978"/>
                  </a:lnTo>
                  <a:lnTo>
                    <a:pt x="637" y="978"/>
                  </a:lnTo>
                  <a:lnTo>
                    <a:pt x="611" y="990"/>
                  </a:lnTo>
                  <a:lnTo>
                    <a:pt x="584" y="1000"/>
                  </a:lnTo>
                  <a:lnTo>
                    <a:pt x="554" y="1010"/>
                  </a:lnTo>
                  <a:lnTo>
                    <a:pt x="522" y="1019"/>
                  </a:lnTo>
                  <a:lnTo>
                    <a:pt x="489" y="1025"/>
                  </a:lnTo>
                  <a:lnTo>
                    <a:pt x="452" y="1029"/>
                  </a:lnTo>
                  <a:lnTo>
                    <a:pt x="412" y="1032"/>
                  </a:lnTo>
                  <a:lnTo>
                    <a:pt x="370" y="1034"/>
                  </a:lnTo>
                  <a:lnTo>
                    <a:pt x="370" y="1034"/>
                  </a:lnTo>
                  <a:close/>
                  <a:moveTo>
                    <a:pt x="463" y="469"/>
                  </a:moveTo>
                  <a:lnTo>
                    <a:pt x="463" y="469"/>
                  </a:lnTo>
                  <a:lnTo>
                    <a:pt x="446" y="465"/>
                  </a:lnTo>
                  <a:lnTo>
                    <a:pt x="429" y="462"/>
                  </a:lnTo>
                  <a:lnTo>
                    <a:pt x="408" y="459"/>
                  </a:lnTo>
                  <a:lnTo>
                    <a:pt x="383" y="459"/>
                  </a:lnTo>
                  <a:lnTo>
                    <a:pt x="383" y="459"/>
                  </a:lnTo>
                  <a:lnTo>
                    <a:pt x="361" y="459"/>
                  </a:lnTo>
                  <a:lnTo>
                    <a:pt x="339" y="463"/>
                  </a:lnTo>
                  <a:lnTo>
                    <a:pt x="318" y="467"/>
                  </a:lnTo>
                  <a:lnTo>
                    <a:pt x="299" y="473"/>
                  </a:lnTo>
                  <a:lnTo>
                    <a:pt x="281" y="482"/>
                  </a:lnTo>
                  <a:lnTo>
                    <a:pt x="263" y="492"/>
                  </a:lnTo>
                  <a:lnTo>
                    <a:pt x="247" y="503"/>
                  </a:lnTo>
                  <a:lnTo>
                    <a:pt x="232" y="517"/>
                  </a:lnTo>
                  <a:lnTo>
                    <a:pt x="219" y="531"/>
                  </a:lnTo>
                  <a:lnTo>
                    <a:pt x="207" y="548"/>
                  </a:lnTo>
                  <a:lnTo>
                    <a:pt x="197" y="565"/>
                  </a:lnTo>
                  <a:lnTo>
                    <a:pt x="189" y="585"/>
                  </a:lnTo>
                  <a:lnTo>
                    <a:pt x="182" y="605"/>
                  </a:lnTo>
                  <a:lnTo>
                    <a:pt x="177" y="627"/>
                  </a:lnTo>
                  <a:lnTo>
                    <a:pt x="174" y="651"/>
                  </a:lnTo>
                  <a:lnTo>
                    <a:pt x="173" y="674"/>
                  </a:lnTo>
                  <a:lnTo>
                    <a:pt x="173" y="674"/>
                  </a:lnTo>
                  <a:lnTo>
                    <a:pt x="174" y="698"/>
                  </a:lnTo>
                  <a:lnTo>
                    <a:pt x="177" y="719"/>
                  </a:lnTo>
                  <a:lnTo>
                    <a:pt x="181" y="741"/>
                  </a:lnTo>
                  <a:lnTo>
                    <a:pt x="188" y="761"/>
                  </a:lnTo>
                  <a:lnTo>
                    <a:pt x="196" y="780"/>
                  </a:lnTo>
                  <a:lnTo>
                    <a:pt x="206" y="797"/>
                  </a:lnTo>
                  <a:lnTo>
                    <a:pt x="216" y="814"/>
                  </a:lnTo>
                  <a:lnTo>
                    <a:pt x="230" y="829"/>
                  </a:lnTo>
                  <a:lnTo>
                    <a:pt x="244" y="843"/>
                  </a:lnTo>
                  <a:lnTo>
                    <a:pt x="260" y="855"/>
                  </a:lnTo>
                  <a:lnTo>
                    <a:pt x="278" y="866"/>
                  </a:lnTo>
                  <a:lnTo>
                    <a:pt x="297" y="874"/>
                  </a:lnTo>
                  <a:lnTo>
                    <a:pt x="317" y="882"/>
                  </a:lnTo>
                  <a:lnTo>
                    <a:pt x="338" y="886"/>
                  </a:lnTo>
                  <a:lnTo>
                    <a:pt x="362" y="889"/>
                  </a:lnTo>
                  <a:lnTo>
                    <a:pt x="386" y="890"/>
                  </a:lnTo>
                  <a:lnTo>
                    <a:pt x="386" y="890"/>
                  </a:lnTo>
                  <a:lnTo>
                    <a:pt x="407" y="890"/>
                  </a:lnTo>
                  <a:lnTo>
                    <a:pt x="427" y="888"/>
                  </a:lnTo>
                  <a:lnTo>
                    <a:pt x="447" y="885"/>
                  </a:lnTo>
                  <a:lnTo>
                    <a:pt x="463" y="881"/>
                  </a:lnTo>
                  <a:lnTo>
                    <a:pt x="463" y="469"/>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1" name="Freeform 15"/>
            <p:cNvSpPr>
              <a:spLocks/>
            </p:cNvSpPr>
            <p:nvPr userDrawn="1"/>
          </p:nvSpPr>
          <p:spPr bwMode="auto">
            <a:xfrm>
              <a:off x="8111977" y="4606852"/>
              <a:ext cx="16794" cy="100765"/>
            </a:xfrm>
            <a:custGeom>
              <a:avLst/>
              <a:gdLst>
                <a:gd name="T0" fmla="*/ 173 w 173"/>
                <a:gd name="T1" fmla="*/ 904 h 1032"/>
                <a:gd name="T2" fmla="*/ 173 w 173"/>
                <a:gd name="T3" fmla="*/ 904 h 1032"/>
                <a:gd name="T4" fmla="*/ 173 w 173"/>
                <a:gd name="T5" fmla="*/ 916 h 1032"/>
                <a:gd name="T6" fmla="*/ 171 w 173"/>
                <a:gd name="T7" fmla="*/ 927 h 1032"/>
                <a:gd name="T8" fmla="*/ 169 w 173"/>
                <a:gd name="T9" fmla="*/ 937 h 1032"/>
                <a:gd name="T10" fmla="*/ 166 w 173"/>
                <a:gd name="T11" fmla="*/ 946 h 1032"/>
                <a:gd name="T12" fmla="*/ 162 w 173"/>
                <a:gd name="T13" fmla="*/ 956 h 1032"/>
                <a:gd name="T14" fmla="*/ 157 w 173"/>
                <a:gd name="T15" fmla="*/ 963 h 1032"/>
                <a:gd name="T16" fmla="*/ 152 w 173"/>
                <a:gd name="T17" fmla="*/ 972 h 1032"/>
                <a:gd name="T18" fmla="*/ 147 w 173"/>
                <a:gd name="T19" fmla="*/ 978 h 1032"/>
                <a:gd name="T20" fmla="*/ 140 w 173"/>
                <a:gd name="T21" fmla="*/ 984 h 1032"/>
                <a:gd name="T22" fmla="*/ 134 w 173"/>
                <a:gd name="T23" fmla="*/ 991 h 1032"/>
                <a:gd name="T24" fmla="*/ 119 w 173"/>
                <a:gd name="T25" fmla="*/ 1000 h 1032"/>
                <a:gd name="T26" fmla="*/ 103 w 173"/>
                <a:gd name="T27" fmla="*/ 1009 h 1032"/>
                <a:gd name="T28" fmla="*/ 87 w 173"/>
                <a:gd name="T29" fmla="*/ 1016 h 1032"/>
                <a:gd name="T30" fmla="*/ 71 w 173"/>
                <a:gd name="T31" fmla="*/ 1022 h 1032"/>
                <a:gd name="T32" fmla="*/ 55 w 173"/>
                <a:gd name="T33" fmla="*/ 1026 h 1032"/>
                <a:gd name="T34" fmla="*/ 41 w 173"/>
                <a:gd name="T35" fmla="*/ 1028 h 1032"/>
                <a:gd name="T36" fmla="*/ 28 w 173"/>
                <a:gd name="T37" fmla="*/ 1030 h 1032"/>
                <a:gd name="T38" fmla="*/ 8 w 173"/>
                <a:gd name="T39" fmla="*/ 1032 h 1032"/>
                <a:gd name="T40" fmla="*/ 0 w 173"/>
                <a:gd name="T41" fmla="*/ 1032 h 1032"/>
                <a:gd name="T42" fmla="*/ 0 w 173"/>
                <a:gd name="T43" fmla="*/ 0 h 1032"/>
                <a:gd name="T44" fmla="*/ 173 w 173"/>
                <a:gd name="T45" fmla="*/ 0 h 1032"/>
                <a:gd name="T46" fmla="*/ 173 w 173"/>
                <a:gd name="T47" fmla="*/ 0 h 1032"/>
                <a:gd name="T48" fmla="*/ 173 w 173"/>
                <a:gd name="T49" fmla="*/ 904 h 1032"/>
                <a:gd name="T50" fmla="*/ 173 w 173"/>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032">
                  <a:moveTo>
                    <a:pt x="173" y="904"/>
                  </a:moveTo>
                  <a:lnTo>
                    <a:pt x="173" y="904"/>
                  </a:lnTo>
                  <a:lnTo>
                    <a:pt x="173" y="916"/>
                  </a:lnTo>
                  <a:lnTo>
                    <a:pt x="171" y="927"/>
                  </a:lnTo>
                  <a:lnTo>
                    <a:pt x="169" y="937"/>
                  </a:lnTo>
                  <a:lnTo>
                    <a:pt x="166" y="946"/>
                  </a:lnTo>
                  <a:lnTo>
                    <a:pt x="162" y="956"/>
                  </a:lnTo>
                  <a:lnTo>
                    <a:pt x="157" y="963"/>
                  </a:lnTo>
                  <a:lnTo>
                    <a:pt x="152" y="972"/>
                  </a:lnTo>
                  <a:lnTo>
                    <a:pt x="147" y="978"/>
                  </a:lnTo>
                  <a:lnTo>
                    <a:pt x="140" y="984"/>
                  </a:lnTo>
                  <a:lnTo>
                    <a:pt x="134" y="991"/>
                  </a:lnTo>
                  <a:lnTo>
                    <a:pt x="119" y="1000"/>
                  </a:lnTo>
                  <a:lnTo>
                    <a:pt x="103" y="1009"/>
                  </a:lnTo>
                  <a:lnTo>
                    <a:pt x="87" y="1016"/>
                  </a:lnTo>
                  <a:lnTo>
                    <a:pt x="71" y="1022"/>
                  </a:lnTo>
                  <a:lnTo>
                    <a:pt x="55" y="1026"/>
                  </a:lnTo>
                  <a:lnTo>
                    <a:pt x="41" y="1028"/>
                  </a:lnTo>
                  <a:lnTo>
                    <a:pt x="28" y="1030"/>
                  </a:lnTo>
                  <a:lnTo>
                    <a:pt x="8" y="1032"/>
                  </a:lnTo>
                  <a:lnTo>
                    <a:pt x="0" y="1032"/>
                  </a:lnTo>
                  <a:lnTo>
                    <a:pt x="0" y="0"/>
                  </a:lnTo>
                  <a:lnTo>
                    <a:pt x="173" y="0"/>
                  </a:lnTo>
                  <a:lnTo>
                    <a:pt x="173" y="0"/>
                  </a:lnTo>
                  <a:lnTo>
                    <a:pt x="173" y="904"/>
                  </a:lnTo>
                  <a:lnTo>
                    <a:pt x="173" y="904"/>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2" name="Freeform 16"/>
            <p:cNvSpPr>
              <a:spLocks/>
            </p:cNvSpPr>
            <p:nvPr userDrawn="1"/>
          </p:nvSpPr>
          <p:spPr bwMode="auto">
            <a:xfrm>
              <a:off x="8078389" y="4606852"/>
              <a:ext cx="16989" cy="100765"/>
            </a:xfrm>
            <a:custGeom>
              <a:avLst/>
              <a:gdLst>
                <a:gd name="T0" fmla="*/ 172 w 172"/>
                <a:gd name="T1" fmla="*/ 904 h 1032"/>
                <a:gd name="T2" fmla="*/ 172 w 172"/>
                <a:gd name="T3" fmla="*/ 904 h 1032"/>
                <a:gd name="T4" fmla="*/ 172 w 172"/>
                <a:gd name="T5" fmla="*/ 916 h 1032"/>
                <a:gd name="T6" fmla="*/ 171 w 172"/>
                <a:gd name="T7" fmla="*/ 927 h 1032"/>
                <a:gd name="T8" fmla="*/ 168 w 172"/>
                <a:gd name="T9" fmla="*/ 936 h 1032"/>
                <a:gd name="T10" fmla="*/ 165 w 172"/>
                <a:gd name="T11" fmla="*/ 946 h 1032"/>
                <a:gd name="T12" fmla="*/ 161 w 172"/>
                <a:gd name="T13" fmla="*/ 956 h 1032"/>
                <a:gd name="T14" fmla="*/ 156 w 172"/>
                <a:gd name="T15" fmla="*/ 963 h 1032"/>
                <a:gd name="T16" fmla="*/ 152 w 172"/>
                <a:gd name="T17" fmla="*/ 970 h 1032"/>
                <a:gd name="T18" fmla="*/ 145 w 172"/>
                <a:gd name="T19" fmla="*/ 978 h 1032"/>
                <a:gd name="T20" fmla="*/ 139 w 172"/>
                <a:gd name="T21" fmla="*/ 984 h 1032"/>
                <a:gd name="T22" fmla="*/ 133 w 172"/>
                <a:gd name="T23" fmla="*/ 991 h 1032"/>
                <a:gd name="T24" fmla="*/ 118 w 172"/>
                <a:gd name="T25" fmla="*/ 1000 h 1032"/>
                <a:gd name="T26" fmla="*/ 103 w 172"/>
                <a:gd name="T27" fmla="*/ 1009 h 1032"/>
                <a:gd name="T28" fmla="*/ 87 w 172"/>
                <a:gd name="T29" fmla="*/ 1016 h 1032"/>
                <a:gd name="T30" fmla="*/ 69 w 172"/>
                <a:gd name="T31" fmla="*/ 1022 h 1032"/>
                <a:gd name="T32" fmla="*/ 55 w 172"/>
                <a:gd name="T33" fmla="*/ 1025 h 1032"/>
                <a:gd name="T34" fmla="*/ 40 w 172"/>
                <a:gd name="T35" fmla="*/ 1028 h 1032"/>
                <a:gd name="T36" fmla="*/ 27 w 172"/>
                <a:gd name="T37" fmla="*/ 1030 h 1032"/>
                <a:gd name="T38" fmla="*/ 7 w 172"/>
                <a:gd name="T39" fmla="*/ 1032 h 1032"/>
                <a:gd name="T40" fmla="*/ 0 w 172"/>
                <a:gd name="T41" fmla="*/ 1032 h 1032"/>
                <a:gd name="T42" fmla="*/ 0 w 172"/>
                <a:gd name="T43" fmla="*/ 0 h 1032"/>
                <a:gd name="T44" fmla="*/ 172 w 172"/>
                <a:gd name="T45" fmla="*/ 0 h 1032"/>
                <a:gd name="T46" fmla="*/ 172 w 172"/>
                <a:gd name="T47" fmla="*/ 0 h 1032"/>
                <a:gd name="T48" fmla="*/ 172 w 172"/>
                <a:gd name="T49" fmla="*/ 904 h 1032"/>
                <a:gd name="T50" fmla="*/ 172 w 172"/>
                <a:gd name="T51" fmla="*/ 90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1032">
                  <a:moveTo>
                    <a:pt x="172" y="904"/>
                  </a:moveTo>
                  <a:lnTo>
                    <a:pt x="172" y="904"/>
                  </a:lnTo>
                  <a:lnTo>
                    <a:pt x="172" y="916"/>
                  </a:lnTo>
                  <a:lnTo>
                    <a:pt x="171" y="927"/>
                  </a:lnTo>
                  <a:lnTo>
                    <a:pt x="168" y="936"/>
                  </a:lnTo>
                  <a:lnTo>
                    <a:pt x="165" y="946"/>
                  </a:lnTo>
                  <a:lnTo>
                    <a:pt x="161" y="956"/>
                  </a:lnTo>
                  <a:lnTo>
                    <a:pt x="156" y="963"/>
                  </a:lnTo>
                  <a:lnTo>
                    <a:pt x="152" y="970"/>
                  </a:lnTo>
                  <a:lnTo>
                    <a:pt x="145" y="978"/>
                  </a:lnTo>
                  <a:lnTo>
                    <a:pt x="139" y="984"/>
                  </a:lnTo>
                  <a:lnTo>
                    <a:pt x="133" y="991"/>
                  </a:lnTo>
                  <a:lnTo>
                    <a:pt x="118" y="1000"/>
                  </a:lnTo>
                  <a:lnTo>
                    <a:pt x="103" y="1009"/>
                  </a:lnTo>
                  <a:lnTo>
                    <a:pt x="87" y="1016"/>
                  </a:lnTo>
                  <a:lnTo>
                    <a:pt x="69" y="1022"/>
                  </a:lnTo>
                  <a:lnTo>
                    <a:pt x="55" y="1025"/>
                  </a:lnTo>
                  <a:lnTo>
                    <a:pt x="40" y="1028"/>
                  </a:lnTo>
                  <a:lnTo>
                    <a:pt x="27" y="1030"/>
                  </a:lnTo>
                  <a:lnTo>
                    <a:pt x="7" y="1032"/>
                  </a:lnTo>
                  <a:lnTo>
                    <a:pt x="0" y="1032"/>
                  </a:lnTo>
                  <a:lnTo>
                    <a:pt x="0" y="0"/>
                  </a:lnTo>
                  <a:lnTo>
                    <a:pt x="172" y="0"/>
                  </a:lnTo>
                  <a:lnTo>
                    <a:pt x="172" y="0"/>
                  </a:lnTo>
                  <a:lnTo>
                    <a:pt x="172" y="904"/>
                  </a:lnTo>
                  <a:lnTo>
                    <a:pt x="172" y="904"/>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3" name="Freeform 17"/>
            <p:cNvSpPr>
              <a:spLocks/>
            </p:cNvSpPr>
            <p:nvPr userDrawn="1"/>
          </p:nvSpPr>
          <p:spPr bwMode="auto">
            <a:xfrm>
              <a:off x="8316826" y="4638488"/>
              <a:ext cx="43743" cy="69129"/>
            </a:xfrm>
            <a:custGeom>
              <a:avLst/>
              <a:gdLst>
                <a:gd name="T0" fmla="*/ 384 w 447"/>
                <a:gd name="T1" fmla="*/ 175 h 707"/>
                <a:gd name="T2" fmla="*/ 363 w 447"/>
                <a:gd name="T3" fmla="*/ 164 h 707"/>
                <a:gd name="T4" fmla="*/ 341 w 447"/>
                <a:gd name="T5" fmla="*/ 158 h 707"/>
                <a:gd name="T6" fmla="*/ 321 w 447"/>
                <a:gd name="T7" fmla="*/ 155 h 707"/>
                <a:gd name="T8" fmla="*/ 304 w 447"/>
                <a:gd name="T9" fmla="*/ 154 h 707"/>
                <a:gd name="T10" fmla="*/ 273 w 447"/>
                <a:gd name="T11" fmla="*/ 157 h 707"/>
                <a:gd name="T12" fmla="*/ 240 w 447"/>
                <a:gd name="T13" fmla="*/ 168 h 707"/>
                <a:gd name="T14" fmla="*/ 206 w 447"/>
                <a:gd name="T15" fmla="*/ 187 h 707"/>
                <a:gd name="T16" fmla="*/ 172 w 447"/>
                <a:gd name="T17" fmla="*/ 214 h 707"/>
                <a:gd name="T18" fmla="*/ 172 w 447"/>
                <a:gd name="T19" fmla="*/ 579 h 707"/>
                <a:gd name="T20" fmla="*/ 172 w 447"/>
                <a:gd name="T21" fmla="*/ 591 h 707"/>
                <a:gd name="T22" fmla="*/ 168 w 447"/>
                <a:gd name="T23" fmla="*/ 612 h 707"/>
                <a:gd name="T24" fmla="*/ 162 w 447"/>
                <a:gd name="T25" fmla="*/ 631 h 707"/>
                <a:gd name="T26" fmla="*/ 151 w 447"/>
                <a:gd name="T27" fmla="*/ 647 h 707"/>
                <a:gd name="T28" fmla="*/ 139 w 447"/>
                <a:gd name="T29" fmla="*/ 660 h 707"/>
                <a:gd name="T30" fmla="*/ 118 w 447"/>
                <a:gd name="T31" fmla="*/ 676 h 707"/>
                <a:gd name="T32" fmla="*/ 86 w 447"/>
                <a:gd name="T33" fmla="*/ 691 h 707"/>
                <a:gd name="T34" fmla="*/ 55 w 447"/>
                <a:gd name="T35" fmla="*/ 701 h 707"/>
                <a:gd name="T36" fmla="*/ 27 w 447"/>
                <a:gd name="T37" fmla="*/ 705 h 707"/>
                <a:gd name="T38" fmla="*/ 0 w 447"/>
                <a:gd name="T39" fmla="*/ 707 h 707"/>
                <a:gd name="T40" fmla="*/ 145 w 447"/>
                <a:gd name="T41" fmla="*/ 16 h 707"/>
                <a:gd name="T42" fmla="*/ 164 w 447"/>
                <a:gd name="T43" fmla="*/ 87 h 707"/>
                <a:gd name="T44" fmla="*/ 214 w 447"/>
                <a:gd name="T45" fmla="*/ 48 h 707"/>
                <a:gd name="T46" fmla="*/ 260 w 447"/>
                <a:gd name="T47" fmla="*/ 20 h 707"/>
                <a:gd name="T48" fmla="*/ 282 w 447"/>
                <a:gd name="T49" fmla="*/ 10 h 707"/>
                <a:gd name="T50" fmla="*/ 305 w 447"/>
                <a:gd name="T51" fmla="*/ 4 h 707"/>
                <a:gd name="T52" fmla="*/ 328 w 447"/>
                <a:gd name="T53" fmla="*/ 1 h 707"/>
                <a:gd name="T54" fmla="*/ 352 w 447"/>
                <a:gd name="T55" fmla="*/ 0 h 707"/>
                <a:gd name="T56" fmla="*/ 378 w 447"/>
                <a:gd name="T57" fmla="*/ 1 h 707"/>
                <a:gd name="T58" fmla="*/ 402 w 447"/>
                <a:gd name="T59" fmla="*/ 7 h 707"/>
                <a:gd name="T60" fmla="*/ 426 w 447"/>
                <a:gd name="T61" fmla="*/ 16 h 707"/>
                <a:gd name="T62" fmla="*/ 447 w 447"/>
                <a:gd name="T63" fmla="*/ 29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707">
                  <a:moveTo>
                    <a:pt x="384" y="175"/>
                  </a:moveTo>
                  <a:lnTo>
                    <a:pt x="384" y="175"/>
                  </a:lnTo>
                  <a:lnTo>
                    <a:pt x="373" y="169"/>
                  </a:lnTo>
                  <a:lnTo>
                    <a:pt x="363" y="164"/>
                  </a:lnTo>
                  <a:lnTo>
                    <a:pt x="352" y="160"/>
                  </a:lnTo>
                  <a:lnTo>
                    <a:pt x="341" y="158"/>
                  </a:lnTo>
                  <a:lnTo>
                    <a:pt x="330" y="156"/>
                  </a:lnTo>
                  <a:lnTo>
                    <a:pt x="321" y="155"/>
                  </a:lnTo>
                  <a:lnTo>
                    <a:pt x="304" y="154"/>
                  </a:lnTo>
                  <a:lnTo>
                    <a:pt x="304" y="154"/>
                  </a:lnTo>
                  <a:lnTo>
                    <a:pt x="288" y="155"/>
                  </a:lnTo>
                  <a:lnTo>
                    <a:pt x="273" y="157"/>
                  </a:lnTo>
                  <a:lnTo>
                    <a:pt x="257" y="161"/>
                  </a:lnTo>
                  <a:lnTo>
                    <a:pt x="240" y="168"/>
                  </a:lnTo>
                  <a:lnTo>
                    <a:pt x="224" y="176"/>
                  </a:lnTo>
                  <a:lnTo>
                    <a:pt x="206" y="187"/>
                  </a:lnTo>
                  <a:lnTo>
                    <a:pt x="189" y="200"/>
                  </a:lnTo>
                  <a:lnTo>
                    <a:pt x="172" y="214"/>
                  </a:lnTo>
                  <a:lnTo>
                    <a:pt x="172" y="214"/>
                  </a:lnTo>
                  <a:lnTo>
                    <a:pt x="172" y="579"/>
                  </a:lnTo>
                  <a:lnTo>
                    <a:pt x="172" y="579"/>
                  </a:lnTo>
                  <a:lnTo>
                    <a:pt x="172" y="591"/>
                  </a:lnTo>
                  <a:lnTo>
                    <a:pt x="170" y="602"/>
                  </a:lnTo>
                  <a:lnTo>
                    <a:pt x="168" y="612"/>
                  </a:lnTo>
                  <a:lnTo>
                    <a:pt x="165" y="622"/>
                  </a:lnTo>
                  <a:lnTo>
                    <a:pt x="162" y="631"/>
                  </a:lnTo>
                  <a:lnTo>
                    <a:pt x="156" y="639"/>
                  </a:lnTo>
                  <a:lnTo>
                    <a:pt x="151" y="647"/>
                  </a:lnTo>
                  <a:lnTo>
                    <a:pt x="145" y="653"/>
                  </a:lnTo>
                  <a:lnTo>
                    <a:pt x="139" y="660"/>
                  </a:lnTo>
                  <a:lnTo>
                    <a:pt x="133" y="666"/>
                  </a:lnTo>
                  <a:lnTo>
                    <a:pt x="118" y="676"/>
                  </a:lnTo>
                  <a:lnTo>
                    <a:pt x="102" y="685"/>
                  </a:lnTo>
                  <a:lnTo>
                    <a:pt x="86" y="691"/>
                  </a:lnTo>
                  <a:lnTo>
                    <a:pt x="70" y="697"/>
                  </a:lnTo>
                  <a:lnTo>
                    <a:pt x="55" y="701"/>
                  </a:lnTo>
                  <a:lnTo>
                    <a:pt x="40" y="703"/>
                  </a:lnTo>
                  <a:lnTo>
                    <a:pt x="27" y="705"/>
                  </a:lnTo>
                  <a:lnTo>
                    <a:pt x="8" y="707"/>
                  </a:lnTo>
                  <a:lnTo>
                    <a:pt x="0" y="707"/>
                  </a:lnTo>
                  <a:lnTo>
                    <a:pt x="0" y="16"/>
                  </a:lnTo>
                  <a:lnTo>
                    <a:pt x="145" y="16"/>
                  </a:lnTo>
                  <a:lnTo>
                    <a:pt x="164" y="87"/>
                  </a:lnTo>
                  <a:lnTo>
                    <a:pt x="164" y="87"/>
                  </a:lnTo>
                  <a:lnTo>
                    <a:pt x="189" y="66"/>
                  </a:lnTo>
                  <a:lnTo>
                    <a:pt x="214" y="48"/>
                  </a:lnTo>
                  <a:lnTo>
                    <a:pt x="237" y="32"/>
                  </a:lnTo>
                  <a:lnTo>
                    <a:pt x="260" y="20"/>
                  </a:lnTo>
                  <a:lnTo>
                    <a:pt x="272" y="15"/>
                  </a:lnTo>
                  <a:lnTo>
                    <a:pt x="282" y="10"/>
                  </a:lnTo>
                  <a:lnTo>
                    <a:pt x="294" y="7"/>
                  </a:lnTo>
                  <a:lnTo>
                    <a:pt x="305" y="4"/>
                  </a:lnTo>
                  <a:lnTo>
                    <a:pt x="317" y="2"/>
                  </a:lnTo>
                  <a:lnTo>
                    <a:pt x="328" y="1"/>
                  </a:lnTo>
                  <a:lnTo>
                    <a:pt x="352" y="0"/>
                  </a:lnTo>
                  <a:lnTo>
                    <a:pt x="352" y="0"/>
                  </a:lnTo>
                  <a:lnTo>
                    <a:pt x="365" y="0"/>
                  </a:lnTo>
                  <a:lnTo>
                    <a:pt x="378" y="1"/>
                  </a:lnTo>
                  <a:lnTo>
                    <a:pt x="390" y="4"/>
                  </a:lnTo>
                  <a:lnTo>
                    <a:pt x="402" y="7"/>
                  </a:lnTo>
                  <a:lnTo>
                    <a:pt x="415" y="10"/>
                  </a:lnTo>
                  <a:lnTo>
                    <a:pt x="426" y="16"/>
                  </a:lnTo>
                  <a:lnTo>
                    <a:pt x="437" y="21"/>
                  </a:lnTo>
                  <a:lnTo>
                    <a:pt x="447" y="29"/>
                  </a:lnTo>
                  <a:lnTo>
                    <a:pt x="384" y="175"/>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4" name="Freeform 18"/>
            <p:cNvSpPr>
              <a:spLocks/>
            </p:cNvSpPr>
            <p:nvPr userDrawn="1"/>
          </p:nvSpPr>
          <p:spPr bwMode="auto">
            <a:xfrm>
              <a:off x="7925289" y="4606852"/>
              <a:ext cx="99202" cy="99593"/>
            </a:xfrm>
            <a:custGeom>
              <a:avLst/>
              <a:gdLst>
                <a:gd name="T0" fmla="*/ 830 w 1015"/>
                <a:gd name="T1" fmla="*/ 1020 h 1020"/>
                <a:gd name="T2" fmla="*/ 830 w 1015"/>
                <a:gd name="T3" fmla="*/ 408 h 1020"/>
                <a:gd name="T4" fmla="*/ 830 w 1015"/>
                <a:gd name="T5" fmla="*/ 408 h 1020"/>
                <a:gd name="T6" fmla="*/ 830 w 1015"/>
                <a:gd name="T7" fmla="*/ 355 h 1020"/>
                <a:gd name="T8" fmla="*/ 831 w 1015"/>
                <a:gd name="T9" fmla="*/ 328 h 1020"/>
                <a:gd name="T10" fmla="*/ 833 w 1015"/>
                <a:gd name="T11" fmla="*/ 300 h 1020"/>
                <a:gd name="T12" fmla="*/ 831 w 1015"/>
                <a:gd name="T13" fmla="*/ 300 h 1020"/>
                <a:gd name="T14" fmla="*/ 831 w 1015"/>
                <a:gd name="T15" fmla="*/ 300 h 1020"/>
                <a:gd name="T16" fmla="*/ 826 w 1015"/>
                <a:gd name="T17" fmla="*/ 312 h 1020"/>
                <a:gd name="T18" fmla="*/ 818 w 1015"/>
                <a:gd name="T19" fmla="*/ 326 h 1020"/>
                <a:gd name="T20" fmla="*/ 802 w 1015"/>
                <a:gd name="T21" fmla="*/ 355 h 1020"/>
                <a:gd name="T22" fmla="*/ 785 w 1015"/>
                <a:gd name="T23" fmla="*/ 381 h 1020"/>
                <a:gd name="T24" fmla="*/ 770 w 1015"/>
                <a:gd name="T25" fmla="*/ 404 h 1020"/>
                <a:gd name="T26" fmla="*/ 564 w 1015"/>
                <a:gd name="T27" fmla="*/ 728 h 1020"/>
                <a:gd name="T28" fmla="*/ 472 w 1015"/>
                <a:gd name="T29" fmla="*/ 728 h 1020"/>
                <a:gd name="T30" fmla="*/ 246 w 1015"/>
                <a:gd name="T31" fmla="*/ 399 h 1020"/>
                <a:gd name="T32" fmla="*/ 246 w 1015"/>
                <a:gd name="T33" fmla="*/ 399 h 1020"/>
                <a:gd name="T34" fmla="*/ 231 w 1015"/>
                <a:gd name="T35" fmla="*/ 378 h 1020"/>
                <a:gd name="T36" fmla="*/ 215 w 1015"/>
                <a:gd name="T37" fmla="*/ 355 h 1020"/>
                <a:gd name="T38" fmla="*/ 200 w 1015"/>
                <a:gd name="T39" fmla="*/ 329 h 1020"/>
                <a:gd name="T40" fmla="*/ 193 w 1015"/>
                <a:gd name="T41" fmla="*/ 315 h 1020"/>
                <a:gd name="T42" fmla="*/ 185 w 1015"/>
                <a:gd name="T43" fmla="*/ 300 h 1020"/>
                <a:gd name="T44" fmla="*/ 182 w 1015"/>
                <a:gd name="T45" fmla="*/ 300 h 1020"/>
                <a:gd name="T46" fmla="*/ 182 w 1015"/>
                <a:gd name="T47" fmla="*/ 300 h 1020"/>
                <a:gd name="T48" fmla="*/ 183 w 1015"/>
                <a:gd name="T49" fmla="*/ 329 h 1020"/>
                <a:gd name="T50" fmla="*/ 184 w 1015"/>
                <a:gd name="T51" fmla="*/ 356 h 1020"/>
                <a:gd name="T52" fmla="*/ 185 w 1015"/>
                <a:gd name="T53" fmla="*/ 404 h 1020"/>
                <a:gd name="T54" fmla="*/ 185 w 1015"/>
                <a:gd name="T55" fmla="*/ 1020 h 1020"/>
                <a:gd name="T56" fmla="*/ 0 w 1015"/>
                <a:gd name="T57" fmla="*/ 1020 h 1020"/>
                <a:gd name="T58" fmla="*/ 0 w 1015"/>
                <a:gd name="T59" fmla="*/ 0 h 1020"/>
                <a:gd name="T60" fmla="*/ 173 w 1015"/>
                <a:gd name="T61" fmla="*/ 0 h 1020"/>
                <a:gd name="T62" fmla="*/ 451 w 1015"/>
                <a:gd name="T63" fmla="*/ 404 h 1020"/>
                <a:gd name="T64" fmla="*/ 451 w 1015"/>
                <a:gd name="T65" fmla="*/ 404 h 1020"/>
                <a:gd name="T66" fmla="*/ 471 w 1015"/>
                <a:gd name="T67" fmla="*/ 433 h 1020"/>
                <a:gd name="T68" fmla="*/ 488 w 1015"/>
                <a:gd name="T69" fmla="*/ 459 h 1020"/>
                <a:gd name="T70" fmla="*/ 504 w 1015"/>
                <a:gd name="T71" fmla="*/ 485 h 1020"/>
                <a:gd name="T72" fmla="*/ 518 w 1015"/>
                <a:gd name="T73" fmla="*/ 511 h 1020"/>
                <a:gd name="T74" fmla="*/ 521 w 1015"/>
                <a:gd name="T75" fmla="*/ 511 h 1020"/>
                <a:gd name="T76" fmla="*/ 521 w 1015"/>
                <a:gd name="T77" fmla="*/ 511 h 1020"/>
                <a:gd name="T78" fmla="*/ 534 w 1015"/>
                <a:gd name="T79" fmla="*/ 485 h 1020"/>
                <a:gd name="T80" fmla="*/ 548 w 1015"/>
                <a:gd name="T81" fmla="*/ 459 h 1020"/>
                <a:gd name="T82" fmla="*/ 565 w 1015"/>
                <a:gd name="T83" fmla="*/ 433 h 1020"/>
                <a:gd name="T84" fmla="*/ 584 w 1015"/>
                <a:gd name="T85" fmla="*/ 404 h 1020"/>
                <a:gd name="T86" fmla="*/ 841 w 1015"/>
                <a:gd name="T87" fmla="*/ 0 h 1020"/>
                <a:gd name="T88" fmla="*/ 1015 w 1015"/>
                <a:gd name="T89" fmla="*/ 0 h 1020"/>
                <a:gd name="T90" fmla="*/ 1015 w 1015"/>
                <a:gd name="T91" fmla="*/ 1020 h 1020"/>
                <a:gd name="T92" fmla="*/ 830 w 1015"/>
                <a:gd name="T9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5" h="1020">
                  <a:moveTo>
                    <a:pt x="830" y="1020"/>
                  </a:moveTo>
                  <a:lnTo>
                    <a:pt x="830" y="408"/>
                  </a:lnTo>
                  <a:lnTo>
                    <a:pt x="830" y="408"/>
                  </a:lnTo>
                  <a:lnTo>
                    <a:pt x="830" y="355"/>
                  </a:lnTo>
                  <a:lnTo>
                    <a:pt x="831" y="328"/>
                  </a:lnTo>
                  <a:lnTo>
                    <a:pt x="833" y="300"/>
                  </a:lnTo>
                  <a:lnTo>
                    <a:pt x="831" y="300"/>
                  </a:lnTo>
                  <a:lnTo>
                    <a:pt x="831" y="300"/>
                  </a:lnTo>
                  <a:lnTo>
                    <a:pt x="826" y="312"/>
                  </a:lnTo>
                  <a:lnTo>
                    <a:pt x="818" y="326"/>
                  </a:lnTo>
                  <a:lnTo>
                    <a:pt x="802" y="355"/>
                  </a:lnTo>
                  <a:lnTo>
                    <a:pt x="785" y="381"/>
                  </a:lnTo>
                  <a:lnTo>
                    <a:pt x="770" y="404"/>
                  </a:lnTo>
                  <a:lnTo>
                    <a:pt x="564" y="728"/>
                  </a:lnTo>
                  <a:lnTo>
                    <a:pt x="472" y="728"/>
                  </a:lnTo>
                  <a:lnTo>
                    <a:pt x="246" y="399"/>
                  </a:lnTo>
                  <a:lnTo>
                    <a:pt x="246" y="399"/>
                  </a:lnTo>
                  <a:lnTo>
                    <a:pt x="231" y="378"/>
                  </a:lnTo>
                  <a:lnTo>
                    <a:pt x="215" y="355"/>
                  </a:lnTo>
                  <a:lnTo>
                    <a:pt x="200" y="329"/>
                  </a:lnTo>
                  <a:lnTo>
                    <a:pt x="193" y="315"/>
                  </a:lnTo>
                  <a:lnTo>
                    <a:pt x="185" y="300"/>
                  </a:lnTo>
                  <a:lnTo>
                    <a:pt x="182" y="300"/>
                  </a:lnTo>
                  <a:lnTo>
                    <a:pt x="182" y="300"/>
                  </a:lnTo>
                  <a:lnTo>
                    <a:pt x="183" y="329"/>
                  </a:lnTo>
                  <a:lnTo>
                    <a:pt x="184" y="356"/>
                  </a:lnTo>
                  <a:lnTo>
                    <a:pt x="185" y="404"/>
                  </a:lnTo>
                  <a:lnTo>
                    <a:pt x="185" y="1020"/>
                  </a:lnTo>
                  <a:lnTo>
                    <a:pt x="0" y="1020"/>
                  </a:lnTo>
                  <a:lnTo>
                    <a:pt x="0" y="0"/>
                  </a:lnTo>
                  <a:lnTo>
                    <a:pt x="173" y="0"/>
                  </a:lnTo>
                  <a:lnTo>
                    <a:pt x="451" y="404"/>
                  </a:lnTo>
                  <a:lnTo>
                    <a:pt x="451" y="404"/>
                  </a:lnTo>
                  <a:lnTo>
                    <a:pt x="471" y="433"/>
                  </a:lnTo>
                  <a:lnTo>
                    <a:pt x="488" y="459"/>
                  </a:lnTo>
                  <a:lnTo>
                    <a:pt x="504" y="485"/>
                  </a:lnTo>
                  <a:lnTo>
                    <a:pt x="518" y="511"/>
                  </a:lnTo>
                  <a:lnTo>
                    <a:pt x="521" y="511"/>
                  </a:lnTo>
                  <a:lnTo>
                    <a:pt x="521" y="511"/>
                  </a:lnTo>
                  <a:lnTo>
                    <a:pt x="534" y="485"/>
                  </a:lnTo>
                  <a:lnTo>
                    <a:pt x="548" y="459"/>
                  </a:lnTo>
                  <a:lnTo>
                    <a:pt x="565" y="433"/>
                  </a:lnTo>
                  <a:lnTo>
                    <a:pt x="584" y="404"/>
                  </a:lnTo>
                  <a:lnTo>
                    <a:pt x="841" y="0"/>
                  </a:lnTo>
                  <a:lnTo>
                    <a:pt x="1015" y="0"/>
                  </a:lnTo>
                  <a:lnTo>
                    <a:pt x="1015" y="1020"/>
                  </a:lnTo>
                  <a:lnTo>
                    <a:pt x="830" y="1020"/>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5" name="Freeform 19"/>
            <p:cNvSpPr>
              <a:spLocks noEditPoints="1"/>
            </p:cNvSpPr>
            <p:nvPr userDrawn="1"/>
          </p:nvSpPr>
          <p:spPr bwMode="auto">
            <a:xfrm>
              <a:off x="8041285" y="4609196"/>
              <a:ext cx="20895" cy="98421"/>
            </a:xfrm>
            <a:custGeom>
              <a:avLst/>
              <a:gdLst>
                <a:gd name="T0" fmla="*/ 106 w 214"/>
                <a:gd name="T1" fmla="*/ 210 h 1008"/>
                <a:gd name="T2" fmla="*/ 85 w 214"/>
                <a:gd name="T3" fmla="*/ 208 h 1008"/>
                <a:gd name="T4" fmla="*/ 65 w 214"/>
                <a:gd name="T5" fmla="*/ 201 h 1008"/>
                <a:gd name="T6" fmla="*/ 46 w 214"/>
                <a:gd name="T7" fmla="*/ 192 h 1008"/>
                <a:gd name="T8" fmla="*/ 31 w 214"/>
                <a:gd name="T9" fmla="*/ 179 h 1008"/>
                <a:gd name="T10" fmla="*/ 19 w 214"/>
                <a:gd name="T11" fmla="*/ 164 h 1008"/>
                <a:gd name="T12" fmla="*/ 8 w 214"/>
                <a:gd name="T13" fmla="*/ 146 h 1008"/>
                <a:gd name="T14" fmla="*/ 2 w 214"/>
                <a:gd name="T15" fmla="*/ 125 h 1008"/>
                <a:gd name="T16" fmla="*/ 0 w 214"/>
                <a:gd name="T17" fmla="*/ 104 h 1008"/>
                <a:gd name="T18" fmla="*/ 0 w 214"/>
                <a:gd name="T19" fmla="*/ 93 h 1008"/>
                <a:gd name="T20" fmla="*/ 5 w 214"/>
                <a:gd name="T21" fmla="*/ 74 h 1008"/>
                <a:gd name="T22" fmla="*/ 13 w 214"/>
                <a:gd name="T23" fmla="*/ 56 h 1008"/>
                <a:gd name="T24" fmla="*/ 24 w 214"/>
                <a:gd name="T25" fmla="*/ 39 h 1008"/>
                <a:gd name="T26" fmla="*/ 39 w 214"/>
                <a:gd name="T27" fmla="*/ 25 h 1008"/>
                <a:gd name="T28" fmla="*/ 56 w 214"/>
                <a:gd name="T29" fmla="*/ 13 h 1008"/>
                <a:gd name="T30" fmla="*/ 75 w 214"/>
                <a:gd name="T31" fmla="*/ 6 h 1008"/>
                <a:gd name="T32" fmla="*/ 96 w 214"/>
                <a:gd name="T33" fmla="*/ 1 h 1008"/>
                <a:gd name="T34" fmla="*/ 106 w 214"/>
                <a:gd name="T35" fmla="*/ 0 h 1008"/>
                <a:gd name="T36" fmla="*/ 129 w 214"/>
                <a:gd name="T37" fmla="*/ 3 h 1008"/>
                <a:gd name="T38" fmla="*/ 149 w 214"/>
                <a:gd name="T39" fmla="*/ 9 h 1008"/>
                <a:gd name="T40" fmla="*/ 167 w 214"/>
                <a:gd name="T41" fmla="*/ 19 h 1008"/>
                <a:gd name="T42" fmla="*/ 183 w 214"/>
                <a:gd name="T43" fmla="*/ 31 h 1008"/>
                <a:gd name="T44" fmla="*/ 196 w 214"/>
                <a:gd name="T45" fmla="*/ 46 h 1008"/>
                <a:gd name="T46" fmla="*/ 206 w 214"/>
                <a:gd name="T47" fmla="*/ 63 h 1008"/>
                <a:gd name="T48" fmla="*/ 212 w 214"/>
                <a:gd name="T49" fmla="*/ 84 h 1008"/>
                <a:gd name="T50" fmla="*/ 214 w 214"/>
                <a:gd name="T51" fmla="*/ 104 h 1008"/>
                <a:gd name="T52" fmla="*/ 214 w 214"/>
                <a:gd name="T53" fmla="*/ 115 h 1008"/>
                <a:gd name="T54" fmla="*/ 210 w 214"/>
                <a:gd name="T55" fmla="*/ 135 h 1008"/>
                <a:gd name="T56" fmla="*/ 201 w 214"/>
                <a:gd name="T57" fmla="*/ 154 h 1008"/>
                <a:gd name="T58" fmla="*/ 190 w 214"/>
                <a:gd name="T59" fmla="*/ 171 h 1008"/>
                <a:gd name="T60" fmla="*/ 176 w 214"/>
                <a:gd name="T61" fmla="*/ 185 h 1008"/>
                <a:gd name="T62" fmla="*/ 159 w 214"/>
                <a:gd name="T63" fmla="*/ 197 h 1008"/>
                <a:gd name="T64" fmla="*/ 138 w 214"/>
                <a:gd name="T65" fmla="*/ 205 h 1008"/>
                <a:gd name="T66" fmla="*/ 118 w 214"/>
                <a:gd name="T67" fmla="*/ 209 h 1008"/>
                <a:gd name="T68" fmla="*/ 106 w 214"/>
                <a:gd name="T69" fmla="*/ 210 h 1008"/>
                <a:gd name="T70" fmla="*/ 20 w 214"/>
                <a:gd name="T71" fmla="*/ 315 h 1008"/>
                <a:gd name="T72" fmla="*/ 193 w 214"/>
                <a:gd name="T73" fmla="*/ 315 h 1008"/>
                <a:gd name="T74" fmla="*/ 193 w 214"/>
                <a:gd name="T75" fmla="*/ 879 h 1008"/>
                <a:gd name="T76" fmla="*/ 191 w 214"/>
                <a:gd name="T77" fmla="*/ 902 h 1008"/>
                <a:gd name="T78" fmla="*/ 185 w 214"/>
                <a:gd name="T79" fmla="*/ 922 h 1008"/>
                <a:gd name="T80" fmla="*/ 177 w 214"/>
                <a:gd name="T81" fmla="*/ 939 h 1008"/>
                <a:gd name="T82" fmla="*/ 166 w 214"/>
                <a:gd name="T83" fmla="*/ 954 h 1008"/>
                <a:gd name="T84" fmla="*/ 152 w 214"/>
                <a:gd name="T85" fmla="*/ 966 h 1008"/>
                <a:gd name="T86" fmla="*/ 122 w 214"/>
                <a:gd name="T87" fmla="*/ 985 h 1008"/>
                <a:gd name="T88" fmla="*/ 90 w 214"/>
                <a:gd name="T89" fmla="*/ 998 h 1008"/>
                <a:gd name="T90" fmla="*/ 60 w 214"/>
                <a:gd name="T91" fmla="*/ 1004 h 1008"/>
                <a:gd name="T92" fmla="*/ 27 w 214"/>
                <a:gd name="T93" fmla="*/ 1008 h 1008"/>
                <a:gd name="T94" fmla="*/ 20 w 214"/>
                <a:gd name="T9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008">
                  <a:moveTo>
                    <a:pt x="106" y="210"/>
                  </a:moveTo>
                  <a:lnTo>
                    <a:pt x="106" y="210"/>
                  </a:lnTo>
                  <a:lnTo>
                    <a:pt x="96" y="209"/>
                  </a:lnTo>
                  <a:lnTo>
                    <a:pt x="85" y="208"/>
                  </a:lnTo>
                  <a:lnTo>
                    <a:pt x="75" y="205"/>
                  </a:lnTo>
                  <a:lnTo>
                    <a:pt x="65" y="201"/>
                  </a:lnTo>
                  <a:lnTo>
                    <a:pt x="56" y="197"/>
                  </a:lnTo>
                  <a:lnTo>
                    <a:pt x="46" y="192"/>
                  </a:lnTo>
                  <a:lnTo>
                    <a:pt x="39" y="185"/>
                  </a:lnTo>
                  <a:lnTo>
                    <a:pt x="31" y="179"/>
                  </a:lnTo>
                  <a:lnTo>
                    <a:pt x="24" y="171"/>
                  </a:lnTo>
                  <a:lnTo>
                    <a:pt x="19" y="164"/>
                  </a:lnTo>
                  <a:lnTo>
                    <a:pt x="13" y="154"/>
                  </a:lnTo>
                  <a:lnTo>
                    <a:pt x="8" y="146"/>
                  </a:lnTo>
                  <a:lnTo>
                    <a:pt x="5" y="136"/>
                  </a:lnTo>
                  <a:lnTo>
                    <a:pt x="2" y="125"/>
                  </a:lnTo>
                  <a:lnTo>
                    <a:pt x="0" y="115"/>
                  </a:lnTo>
                  <a:lnTo>
                    <a:pt x="0" y="104"/>
                  </a:lnTo>
                  <a:lnTo>
                    <a:pt x="0" y="104"/>
                  </a:lnTo>
                  <a:lnTo>
                    <a:pt x="0" y="93"/>
                  </a:lnTo>
                  <a:lnTo>
                    <a:pt x="2" y="84"/>
                  </a:lnTo>
                  <a:lnTo>
                    <a:pt x="5" y="74"/>
                  </a:lnTo>
                  <a:lnTo>
                    <a:pt x="8" y="65"/>
                  </a:lnTo>
                  <a:lnTo>
                    <a:pt x="13" y="56"/>
                  </a:lnTo>
                  <a:lnTo>
                    <a:pt x="19" y="47"/>
                  </a:lnTo>
                  <a:lnTo>
                    <a:pt x="24" y="39"/>
                  </a:lnTo>
                  <a:lnTo>
                    <a:pt x="31" y="31"/>
                  </a:lnTo>
                  <a:lnTo>
                    <a:pt x="39" y="25"/>
                  </a:lnTo>
                  <a:lnTo>
                    <a:pt x="46" y="19"/>
                  </a:lnTo>
                  <a:lnTo>
                    <a:pt x="56" y="13"/>
                  </a:lnTo>
                  <a:lnTo>
                    <a:pt x="65" y="9"/>
                  </a:lnTo>
                  <a:lnTo>
                    <a:pt x="75" y="6"/>
                  </a:lnTo>
                  <a:lnTo>
                    <a:pt x="85" y="3"/>
                  </a:lnTo>
                  <a:lnTo>
                    <a:pt x="96" y="1"/>
                  </a:lnTo>
                  <a:lnTo>
                    <a:pt x="106" y="0"/>
                  </a:lnTo>
                  <a:lnTo>
                    <a:pt x="106" y="0"/>
                  </a:lnTo>
                  <a:lnTo>
                    <a:pt x="118" y="1"/>
                  </a:lnTo>
                  <a:lnTo>
                    <a:pt x="129" y="3"/>
                  </a:lnTo>
                  <a:lnTo>
                    <a:pt x="138" y="6"/>
                  </a:lnTo>
                  <a:lnTo>
                    <a:pt x="149" y="9"/>
                  </a:lnTo>
                  <a:lnTo>
                    <a:pt x="159" y="13"/>
                  </a:lnTo>
                  <a:lnTo>
                    <a:pt x="167" y="19"/>
                  </a:lnTo>
                  <a:lnTo>
                    <a:pt x="176" y="24"/>
                  </a:lnTo>
                  <a:lnTo>
                    <a:pt x="183" y="31"/>
                  </a:lnTo>
                  <a:lnTo>
                    <a:pt x="190" y="38"/>
                  </a:lnTo>
                  <a:lnTo>
                    <a:pt x="196" y="46"/>
                  </a:lnTo>
                  <a:lnTo>
                    <a:pt x="201" y="55"/>
                  </a:lnTo>
                  <a:lnTo>
                    <a:pt x="206" y="63"/>
                  </a:lnTo>
                  <a:lnTo>
                    <a:pt x="210" y="73"/>
                  </a:lnTo>
                  <a:lnTo>
                    <a:pt x="212" y="84"/>
                  </a:lnTo>
                  <a:lnTo>
                    <a:pt x="214" y="93"/>
                  </a:lnTo>
                  <a:lnTo>
                    <a:pt x="214" y="104"/>
                  </a:lnTo>
                  <a:lnTo>
                    <a:pt x="214" y="104"/>
                  </a:lnTo>
                  <a:lnTo>
                    <a:pt x="214" y="115"/>
                  </a:lnTo>
                  <a:lnTo>
                    <a:pt x="212" y="125"/>
                  </a:lnTo>
                  <a:lnTo>
                    <a:pt x="210" y="135"/>
                  </a:lnTo>
                  <a:lnTo>
                    <a:pt x="206" y="145"/>
                  </a:lnTo>
                  <a:lnTo>
                    <a:pt x="201" y="154"/>
                  </a:lnTo>
                  <a:lnTo>
                    <a:pt x="196" y="163"/>
                  </a:lnTo>
                  <a:lnTo>
                    <a:pt x="190" y="171"/>
                  </a:lnTo>
                  <a:lnTo>
                    <a:pt x="183" y="179"/>
                  </a:lnTo>
                  <a:lnTo>
                    <a:pt x="176" y="185"/>
                  </a:lnTo>
                  <a:lnTo>
                    <a:pt x="167" y="192"/>
                  </a:lnTo>
                  <a:lnTo>
                    <a:pt x="159" y="197"/>
                  </a:lnTo>
                  <a:lnTo>
                    <a:pt x="149" y="201"/>
                  </a:lnTo>
                  <a:lnTo>
                    <a:pt x="138" y="205"/>
                  </a:lnTo>
                  <a:lnTo>
                    <a:pt x="129" y="207"/>
                  </a:lnTo>
                  <a:lnTo>
                    <a:pt x="118" y="209"/>
                  </a:lnTo>
                  <a:lnTo>
                    <a:pt x="106" y="210"/>
                  </a:lnTo>
                  <a:lnTo>
                    <a:pt x="106" y="210"/>
                  </a:lnTo>
                  <a:close/>
                  <a:moveTo>
                    <a:pt x="20" y="1008"/>
                  </a:moveTo>
                  <a:lnTo>
                    <a:pt x="20" y="315"/>
                  </a:lnTo>
                  <a:lnTo>
                    <a:pt x="193" y="315"/>
                  </a:lnTo>
                  <a:lnTo>
                    <a:pt x="193" y="315"/>
                  </a:lnTo>
                  <a:lnTo>
                    <a:pt x="193" y="879"/>
                  </a:lnTo>
                  <a:lnTo>
                    <a:pt x="193" y="879"/>
                  </a:lnTo>
                  <a:lnTo>
                    <a:pt x="192" y="891"/>
                  </a:lnTo>
                  <a:lnTo>
                    <a:pt x="191" y="902"/>
                  </a:lnTo>
                  <a:lnTo>
                    <a:pt x="189" y="912"/>
                  </a:lnTo>
                  <a:lnTo>
                    <a:pt x="185" y="922"/>
                  </a:lnTo>
                  <a:lnTo>
                    <a:pt x="181" y="930"/>
                  </a:lnTo>
                  <a:lnTo>
                    <a:pt x="177" y="939"/>
                  </a:lnTo>
                  <a:lnTo>
                    <a:pt x="171" y="946"/>
                  </a:lnTo>
                  <a:lnTo>
                    <a:pt x="166" y="954"/>
                  </a:lnTo>
                  <a:lnTo>
                    <a:pt x="160" y="960"/>
                  </a:lnTo>
                  <a:lnTo>
                    <a:pt x="152" y="966"/>
                  </a:lnTo>
                  <a:lnTo>
                    <a:pt x="138" y="976"/>
                  </a:lnTo>
                  <a:lnTo>
                    <a:pt x="122" y="985"/>
                  </a:lnTo>
                  <a:lnTo>
                    <a:pt x="106" y="992"/>
                  </a:lnTo>
                  <a:lnTo>
                    <a:pt x="90" y="998"/>
                  </a:lnTo>
                  <a:lnTo>
                    <a:pt x="75" y="1001"/>
                  </a:lnTo>
                  <a:lnTo>
                    <a:pt x="60" y="1004"/>
                  </a:lnTo>
                  <a:lnTo>
                    <a:pt x="47" y="1006"/>
                  </a:lnTo>
                  <a:lnTo>
                    <a:pt x="27" y="1008"/>
                  </a:lnTo>
                  <a:lnTo>
                    <a:pt x="20" y="1008"/>
                  </a:lnTo>
                  <a:lnTo>
                    <a:pt x="20" y="1008"/>
                  </a:lnTo>
                  <a:close/>
                </a:path>
              </a:pathLst>
            </a:custGeom>
            <a:solidFill>
              <a:srgbClr val="6A8012"/>
            </a:solidFill>
            <a:ln>
              <a:noFill/>
            </a:ln>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302989374"/>
      </p:ext>
    </p:extLst>
  </p:cSld>
  <p:clrMap bg1="lt1" tx1="dk1" bg2="lt2" tx2="dk2" accent1="accent1" accent2="accent2" accent3="accent3" accent4="accent4" accent5="accent5" accent6="accent6" hlink="hlink" folHlink="folHlink"/>
  <p:sldLayoutIdLst>
    <p:sldLayoutId id="2147484087" r:id="rId1"/>
    <p:sldLayoutId id="2147484088" r:id="rId2"/>
  </p:sldLayoutIdLst>
  <p:timing>
    <p:tnLst>
      <p:par>
        <p:cTn id="1" dur="indefinite" restart="never" nodeType="tmRoot"/>
      </p:par>
    </p:tnLst>
  </p:timing>
  <p:hf hdr="0" dt="0"/>
  <p:txStyles>
    <p:titleStyle>
      <a:lvl1pPr algn="l" defTabSz="914400" rtl="0" eaLnBrk="1" latinLnBrk="0" hangingPunct="1">
        <a:spcBef>
          <a:spcPct val="0"/>
        </a:spcBef>
        <a:buNone/>
        <a:defRPr lang="en-US" sz="2800" i="0" kern="1200" baseline="0" dirty="0">
          <a:solidFill>
            <a:schemeClr val="tx1">
              <a:lumMod val="75000"/>
              <a:lumOff val="25000"/>
            </a:schemeClr>
          </a:solidFill>
          <a:latin typeface="Georgia" pitchFamily="18" charset="0"/>
          <a:ea typeface="+mj-ea"/>
          <a:cs typeface="+mj-cs"/>
        </a:defRPr>
      </a:lvl1pPr>
    </p:titleStyle>
    <p:bodyStyle>
      <a:lvl1pPr marL="228600" indent="-228600" algn="l" defTabSz="914400" rtl="0" eaLnBrk="1" latinLnBrk="0" hangingPunct="1">
        <a:spcBef>
          <a:spcPct val="20000"/>
        </a:spcBef>
        <a:buClr>
          <a:schemeClr val="accent1"/>
        </a:buClr>
        <a:buSzPct val="99000"/>
        <a:buFont typeface="Arial" pitchFamily="34" charset="0"/>
        <a:buChar char="•"/>
        <a:defRPr lang="en-US" sz="20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1pPr>
      <a:lvl2pPr marL="400050" indent="-171450" algn="l" defTabSz="914400" rtl="0" eaLnBrk="1" latinLnBrk="0" hangingPunct="1">
        <a:spcBef>
          <a:spcPct val="20000"/>
        </a:spcBef>
        <a:buClr>
          <a:schemeClr val="accent1"/>
        </a:buClr>
        <a:buSzPct val="99000"/>
        <a:buFont typeface="Arial" pitchFamily="34" charset="0"/>
        <a:buChar char="•"/>
        <a:defRPr lang="en-US" sz="16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2pPr>
      <a:lvl3pPr marL="571500" indent="-171450" algn="l" defTabSz="914400" rtl="0" eaLnBrk="1" latinLnBrk="0" hangingPunct="1">
        <a:spcBef>
          <a:spcPct val="20000"/>
        </a:spcBef>
        <a:buClr>
          <a:schemeClr val="accent1"/>
        </a:buClr>
        <a:buSzPct val="99000"/>
        <a:buFont typeface="Arial" pitchFamily="34" charset="0"/>
        <a:buChar char="•"/>
        <a:defRPr lang="en-US" sz="16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3pPr>
      <a:lvl4pPr marL="742950" indent="-171450" algn="l" defTabSz="914400" rtl="0" eaLnBrk="1" latinLnBrk="0" hangingPunct="1">
        <a:spcBef>
          <a:spcPct val="20000"/>
        </a:spcBef>
        <a:buClr>
          <a:schemeClr val="accent1"/>
        </a:buClr>
        <a:buSzPct val="99000"/>
        <a:buFont typeface="Arial" pitchFamily="34" charset="0"/>
        <a:buChar char="•"/>
        <a:tabLst/>
        <a:defRPr lang="en-US" sz="1600" i="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4pPr>
      <a:lvl5pPr marL="914400" indent="-171450" algn="l" defTabSz="914400" rtl="0" eaLnBrk="1" latinLnBrk="0" hangingPunct="1">
        <a:spcBef>
          <a:spcPct val="20000"/>
        </a:spcBef>
        <a:buClr>
          <a:schemeClr val="accent1"/>
        </a:buClr>
        <a:buSzPct val="99000"/>
        <a:buFont typeface="Arial" pitchFamily="34" charset="0"/>
        <a:buChar char="•"/>
        <a:defRPr lang="en-US" sz="1600" i="0" kern="1200" dirty="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chart" Target="../charts/chart1.xml"/><Relationship Id="rId5" Type="http://schemas.openxmlformats.org/officeDocument/2006/relationships/image" Target="../media/image6.emf"/><Relationship Id="rId4"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chart" Target="../charts/chart2.xml"/><Relationship Id="rId5" Type="http://schemas.openxmlformats.org/officeDocument/2006/relationships/image" Target="../media/image6.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chart" Target="../charts/chart3.xml"/><Relationship Id="rId5" Type="http://schemas.openxmlformats.org/officeDocument/2006/relationships/image" Target="../media/image6.emf"/><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chart" Target="../charts/chart4.xml"/><Relationship Id="rId5" Type="http://schemas.openxmlformats.org/officeDocument/2006/relationships/image" Target="../media/image6.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C" sz="1600" dirty="0" smtClean="0"/>
              <a:t>La rapidez en avances, Claridad en cobros y poder pagar los consumos en pagos diferidos son entre otros los atributos que influyen más en la preferencia de una tarjeta por sobre otras…</a:t>
            </a:r>
            <a:endParaRPr lang="es-EC" sz="1600" dirty="0"/>
          </a:p>
        </p:txBody>
      </p:sp>
      <p:sp>
        <p:nvSpPr>
          <p:cNvPr id="7" name="6 Marcador de texto"/>
          <p:cNvSpPr>
            <a:spLocks noGrp="1"/>
          </p:cNvSpPr>
          <p:nvPr>
            <p:ph type="body" sz="quarter" idx="20"/>
          </p:nvPr>
        </p:nvSpPr>
        <p:spPr/>
        <p:txBody>
          <a:bodyPr/>
          <a:lstStyle/>
          <a:p>
            <a:r>
              <a:rPr lang="es-EC" dirty="0" smtClean="0"/>
              <a:t>Mediante el uso de una regresión logística multivariada, lo que hacemos es identificar si los atributos evaluados pueden explicar la razón por la cual una persona usa cierta tarjeta con más frecuencia….</a:t>
            </a:r>
            <a:endParaRPr lang="es-EC" dirty="0"/>
          </a:p>
        </p:txBody>
      </p:sp>
      <p:sp>
        <p:nvSpPr>
          <p:cNvPr id="8" name="7 Marcador de texto"/>
          <p:cNvSpPr>
            <a:spLocks noGrp="1"/>
          </p:cNvSpPr>
          <p:nvPr>
            <p:ph type="body" sz="quarter" idx="25"/>
          </p:nvPr>
        </p:nvSpPr>
        <p:spPr/>
        <p:txBody>
          <a:bodyPr/>
          <a:lstStyle/>
          <a:p>
            <a:endParaRPr lang="es-EC"/>
          </a:p>
        </p:txBody>
      </p:sp>
      <p:sp>
        <p:nvSpPr>
          <p:cNvPr id="4" name="3 Marcador de número de diapositiva"/>
          <p:cNvSpPr>
            <a:spLocks noGrp="1"/>
          </p:cNvSpPr>
          <p:nvPr>
            <p:ph type="sldNum" sz="quarter" idx="4"/>
          </p:nvPr>
        </p:nvSpPr>
        <p:spPr/>
        <p:txBody>
          <a:bodyPr/>
          <a:lstStyle/>
          <a:p>
            <a:fld id="{19AB4E72-7858-48F1-A40D-12FF09E4BFB8}" type="slidenum">
              <a:rPr lang="en-GB" smtClean="0"/>
              <a:pPr/>
              <a:t>1</a:t>
            </a:fld>
            <a:endParaRPr lang="en-GB"/>
          </a:p>
        </p:txBody>
      </p:sp>
      <p:sp>
        <p:nvSpPr>
          <p:cNvPr id="5" name="4 Marcador de pie de página"/>
          <p:cNvSpPr>
            <a:spLocks noGrp="1"/>
          </p:cNvSpPr>
          <p:nvPr>
            <p:ph type="ftr" sz="quarter" idx="11"/>
          </p:nvPr>
        </p:nvSpPr>
        <p:spPr/>
        <p:txBody>
          <a:bodyPr/>
          <a:lstStyle/>
          <a:p>
            <a:endParaRPr lang="pt-BR"/>
          </a:p>
        </p:txBody>
      </p:sp>
      <p:graphicFrame>
        <p:nvGraphicFramePr>
          <p:cNvPr id="11" name="10 Tabla"/>
          <p:cNvGraphicFramePr>
            <a:graphicFrameLocks noGrp="1"/>
          </p:cNvGraphicFramePr>
          <p:nvPr>
            <p:extLst>
              <p:ext uri="{D42A27DB-BD31-4B8C-83A1-F6EECF244321}">
                <p14:modId xmlns:p14="http://schemas.microsoft.com/office/powerpoint/2010/main" val="3472024593"/>
              </p:ext>
            </p:extLst>
          </p:nvPr>
        </p:nvGraphicFramePr>
        <p:xfrm>
          <a:off x="702641" y="4155972"/>
          <a:ext cx="1536700" cy="381000"/>
        </p:xfrm>
        <a:graphic>
          <a:graphicData uri="http://schemas.openxmlformats.org/drawingml/2006/table">
            <a:tbl>
              <a:tblPr>
                <a:tableStyleId>{5C22544A-7EE6-4342-B048-85BDC9FD1C3A}</a:tableStyleId>
              </a:tblPr>
              <a:tblGrid>
                <a:gridCol w="1536700"/>
              </a:tblGrid>
              <a:tr h="190500">
                <a:tc>
                  <a:txBody>
                    <a:bodyPr/>
                    <a:lstStyle/>
                    <a:p>
                      <a:pPr algn="ctr" fontAlgn="b"/>
                      <a:r>
                        <a:rPr lang="es-EC" sz="900" u="none" strike="noStrike" dirty="0">
                          <a:effectLst/>
                        </a:rPr>
                        <a:t>R cuadrado de </a:t>
                      </a:r>
                      <a:r>
                        <a:rPr lang="es-EC" sz="900" u="none" strike="noStrike" dirty="0" err="1">
                          <a:effectLst/>
                        </a:rPr>
                        <a:t>Nagelkerke</a:t>
                      </a:r>
                      <a:endParaRPr lang="es-EC" sz="900" b="0" i="0" u="none" strike="noStrike" dirty="0">
                        <a:solidFill>
                          <a:srgbClr val="000000"/>
                        </a:solidFill>
                        <a:effectLst/>
                        <a:latin typeface="Arial"/>
                      </a:endParaRPr>
                    </a:p>
                  </a:txBody>
                  <a:tcPr marL="9525" marR="9525" marT="9525" marB="0" anchor="b">
                    <a:noFill/>
                  </a:tcPr>
                </a:tc>
              </a:tr>
              <a:tr h="190500">
                <a:tc>
                  <a:txBody>
                    <a:bodyPr/>
                    <a:lstStyle/>
                    <a:p>
                      <a:pPr algn="ctr" fontAlgn="t"/>
                      <a:r>
                        <a:rPr lang="es-EC" sz="900" u="none" strike="noStrike" dirty="0">
                          <a:effectLst/>
                        </a:rPr>
                        <a:t>,449</a:t>
                      </a:r>
                      <a:endParaRPr lang="es-EC" sz="900" b="0" i="0" u="none" strike="noStrike" dirty="0">
                        <a:solidFill>
                          <a:srgbClr val="000000"/>
                        </a:solidFill>
                        <a:effectLst/>
                        <a:latin typeface="Arial"/>
                      </a:endParaRPr>
                    </a:p>
                  </a:txBody>
                  <a:tcPr marL="9525" marR="9525" marT="9525" marB="0">
                    <a:noFill/>
                  </a:tcPr>
                </a:tc>
              </a:tr>
            </a:tbl>
          </a:graphicData>
        </a:graphic>
      </p:graphicFrame>
      <p:graphicFrame>
        <p:nvGraphicFramePr>
          <p:cNvPr id="13" name="12 Tabla"/>
          <p:cNvGraphicFramePr>
            <a:graphicFrameLocks noGrp="1"/>
          </p:cNvGraphicFramePr>
          <p:nvPr>
            <p:extLst>
              <p:ext uri="{D42A27DB-BD31-4B8C-83A1-F6EECF244321}">
                <p14:modId xmlns:p14="http://schemas.microsoft.com/office/powerpoint/2010/main" val="662203704"/>
              </p:ext>
            </p:extLst>
          </p:nvPr>
        </p:nvGraphicFramePr>
        <p:xfrm>
          <a:off x="588390" y="2248851"/>
          <a:ext cx="2441057" cy="1426845"/>
        </p:xfrm>
        <a:graphic>
          <a:graphicData uri="http://schemas.openxmlformats.org/drawingml/2006/table">
            <a:tbl>
              <a:tblPr>
                <a:tableStyleId>{5C22544A-7EE6-4342-B048-85BDC9FD1C3A}</a:tableStyleId>
              </a:tblPr>
              <a:tblGrid>
                <a:gridCol w="2441057"/>
              </a:tblGrid>
              <a:tr h="190500">
                <a:tc>
                  <a:txBody>
                    <a:bodyPr/>
                    <a:lstStyle/>
                    <a:p>
                      <a:pPr algn="l" fontAlgn="t"/>
                      <a:r>
                        <a:rPr lang="es-EC" sz="900" b="1" i="0" u="none" strike="noStrike" dirty="0" smtClean="0">
                          <a:solidFill>
                            <a:srgbClr val="FF0000"/>
                          </a:solidFill>
                          <a:effectLst/>
                          <a:latin typeface="+mj-lt"/>
                        </a:rPr>
                        <a:t>Atributos</a:t>
                      </a:r>
                      <a:r>
                        <a:rPr lang="es-EC" sz="900" b="1" i="0" u="none" strike="noStrike" baseline="0" dirty="0" smtClean="0">
                          <a:solidFill>
                            <a:srgbClr val="FF0000"/>
                          </a:solidFill>
                          <a:effectLst/>
                          <a:latin typeface="+mj-lt"/>
                        </a:rPr>
                        <a:t> que se eliminaron del análisis.</a:t>
                      </a:r>
                      <a:endParaRPr lang="es-EC" sz="900" b="1" i="0" u="none" strike="noStrike" dirty="0">
                        <a:solidFill>
                          <a:srgbClr val="FF0000"/>
                        </a:solidFill>
                        <a:effectLst/>
                        <a:latin typeface="+mj-lt"/>
                      </a:endParaRPr>
                    </a:p>
                  </a:txBody>
                  <a:tcPr marL="9525" marR="9525" marT="9525" marB="0">
                    <a:noFill/>
                  </a:tcPr>
                </a:tc>
              </a:tr>
              <a:tr h="190500">
                <a:tc>
                  <a:txBody>
                    <a:bodyPr/>
                    <a:lstStyle/>
                    <a:p>
                      <a:pPr algn="l" fontAlgn="t"/>
                      <a:r>
                        <a:rPr lang="es-EC" sz="900" u="none" strike="noStrike" dirty="0">
                          <a:effectLst/>
                          <a:latin typeface="+mj-lt"/>
                        </a:rPr>
                        <a:t>F2. Es aceptada en todo lado</a:t>
                      </a:r>
                      <a:endParaRPr lang="es-EC" sz="900" b="0" i="0" u="none" strike="noStrike" dirty="0">
                        <a:solidFill>
                          <a:srgbClr val="000000"/>
                        </a:solidFill>
                        <a:effectLst/>
                        <a:latin typeface="+mj-lt"/>
                      </a:endParaRPr>
                    </a:p>
                  </a:txBody>
                  <a:tcPr marL="9525" marR="9525" marT="9525" marB="0">
                    <a:noFill/>
                  </a:tcPr>
                </a:tc>
              </a:tr>
              <a:tr h="190500">
                <a:tc>
                  <a:txBody>
                    <a:bodyPr/>
                    <a:lstStyle/>
                    <a:p>
                      <a:pPr algn="l" fontAlgn="t"/>
                      <a:r>
                        <a:rPr lang="es-EC" sz="900" u="none" strike="noStrike">
                          <a:effectLst/>
                          <a:latin typeface="+mj-lt"/>
                        </a:rPr>
                        <a:t>F8. Devuelve hasta el 1% de los consumos</a:t>
                      </a:r>
                      <a:endParaRPr lang="es-EC" sz="900" b="0" i="0" u="none" strike="noStrike">
                        <a:solidFill>
                          <a:srgbClr val="000000"/>
                        </a:solidFill>
                        <a:effectLst/>
                        <a:latin typeface="+mj-lt"/>
                      </a:endParaRPr>
                    </a:p>
                  </a:txBody>
                  <a:tcPr marL="9525" marR="9525" marT="9525" marB="0">
                    <a:noFill/>
                  </a:tcPr>
                </a:tc>
              </a:tr>
              <a:tr h="190500">
                <a:tc>
                  <a:txBody>
                    <a:bodyPr/>
                    <a:lstStyle/>
                    <a:p>
                      <a:pPr algn="l" fontAlgn="t"/>
                      <a:r>
                        <a:rPr lang="es-EC" sz="900" u="none" strike="noStrike">
                          <a:effectLst/>
                          <a:latin typeface="+mj-lt"/>
                        </a:rPr>
                        <a:t>F10. Ofrece las mejores ofertas y descuentos</a:t>
                      </a:r>
                      <a:endParaRPr lang="es-EC" sz="900" b="0" i="0" u="none" strike="noStrike">
                        <a:solidFill>
                          <a:srgbClr val="000000"/>
                        </a:solidFill>
                        <a:effectLst/>
                        <a:latin typeface="+mj-lt"/>
                      </a:endParaRPr>
                    </a:p>
                  </a:txBody>
                  <a:tcPr marL="9525" marR="9525" marT="9525" marB="0">
                    <a:noFill/>
                  </a:tcPr>
                </a:tc>
              </a:tr>
              <a:tr h="190500">
                <a:tc>
                  <a:txBody>
                    <a:bodyPr/>
                    <a:lstStyle/>
                    <a:p>
                      <a:pPr algn="l" fontAlgn="t"/>
                      <a:r>
                        <a:rPr lang="es-EC" sz="900" u="none" strike="noStrike">
                          <a:effectLst/>
                          <a:latin typeface="+mj-lt"/>
                        </a:rPr>
                        <a:t>F11. Es prestigiosa</a:t>
                      </a:r>
                      <a:endParaRPr lang="es-EC" sz="900" b="0" i="0" u="none" strike="noStrike">
                        <a:solidFill>
                          <a:srgbClr val="000000"/>
                        </a:solidFill>
                        <a:effectLst/>
                        <a:latin typeface="+mj-lt"/>
                      </a:endParaRPr>
                    </a:p>
                  </a:txBody>
                  <a:tcPr marL="9525" marR="9525" marT="9525" marB="0">
                    <a:noFill/>
                  </a:tcPr>
                </a:tc>
              </a:tr>
              <a:tr h="190500">
                <a:tc>
                  <a:txBody>
                    <a:bodyPr/>
                    <a:lstStyle/>
                    <a:p>
                      <a:pPr algn="l" fontAlgn="t"/>
                      <a:r>
                        <a:rPr lang="es-EC" sz="900" u="none" strike="noStrike">
                          <a:effectLst/>
                          <a:latin typeface="+mj-lt"/>
                        </a:rPr>
                        <a:t>F12. Ayuda a salir adelante, a progresar</a:t>
                      </a:r>
                      <a:endParaRPr lang="es-EC" sz="900" b="0" i="0" u="none" strike="noStrike">
                        <a:solidFill>
                          <a:srgbClr val="000000"/>
                        </a:solidFill>
                        <a:effectLst/>
                        <a:latin typeface="+mj-lt"/>
                      </a:endParaRPr>
                    </a:p>
                  </a:txBody>
                  <a:tcPr marL="9525" marR="9525" marT="9525" marB="0">
                    <a:noFill/>
                  </a:tcPr>
                </a:tc>
              </a:tr>
              <a:tr h="190500">
                <a:tc>
                  <a:txBody>
                    <a:bodyPr/>
                    <a:lstStyle/>
                    <a:p>
                      <a:pPr algn="l" fontAlgn="t"/>
                      <a:r>
                        <a:rPr lang="es-EC" sz="900" u="none" strike="noStrike" dirty="0">
                          <a:effectLst/>
                          <a:latin typeface="+mj-lt"/>
                        </a:rPr>
                        <a:t>F13. Tiene el mejor programa de millas / recompensas</a:t>
                      </a:r>
                      <a:endParaRPr lang="es-EC" sz="900" b="0" i="0" u="none" strike="noStrike" dirty="0">
                        <a:solidFill>
                          <a:srgbClr val="000000"/>
                        </a:solidFill>
                        <a:effectLst/>
                        <a:latin typeface="+mj-lt"/>
                      </a:endParaRPr>
                    </a:p>
                  </a:txBody>
                  <a:tcPr marL="9525" marR="9525" marT="9525" marB="0">
                    <a:noFill/>
                  </a:tcPr>
                </a:tc>
              </a:tr>
            </a:tbl>
          </a:graphicData>
        </a:graphic>
      </p:graphicFrame>
      <p:graphicFrame>
        <p:nvGraphicFramePr>
          <p:cNvPr id="14" name="13 Tabla"/>
          <p:cNvGraphicFramePr>
            <a:graphicFrameLocks noGrp="1"/>
          </p:cNvGraphicFramePr>
          <p:nvPr>
            <p:extLst>
              <p:ext uri="{D42A27DB-BD31-4B8C-83A1-F6EECF244321}">
                <p14:modId xmlns:p14="http://schemas.microsoft.com/office/powerpoint/2010/main" val="4060363516"/>
              </p:ext>
            </p:extLst>
          </p:nvPr>
        </p:nvGraphicFramePr>
        <p:xfrm>
          <a:off x="3823826" y="1708232"/>
          <a:ext cx="4930567" cy="2942734"/>
        </p:xfrm>
        <a:graphic>
          <a:graphicData uri="http://schemas.openxmlformats.org/drawingml/2006/table">
            <a:tbl>
              <a:tblPr>
                <a:tableStyleId>{22838BEF-8BB2-4498-84A7-C5851F593DF1}</a:tableStyleId>
              </a:tblPr>
              <a:tblGrid>
                <a:gridCol w="3189233"/>
                <a:gridCol w="940803"/>
                <a:gridCol w="800531"/>
              </a:tblGrid>
              <a:tr h="238241">
                <a:tc>
                  <a:txBody>
                    <a:bodyPr/>
                    <a:lstStyle/>
                    <a:p>
                      <a:pPr algn="l" fontAlgn="t"/>
                      <a:r>
                        <a:rPr lang="es-EC" sz="900" b="1" u="none" strike="noStrike" dirty="0" smtClean="0">
                          <a:solidFill>
                            <a:schemeClr val="bg1"/>
                          </a:solidFill>
                          <a:effectLst/>
                        </a:rPr>
                        <a:t>   Variable</a:t>
                      </a:r>
                      <a:r>
                        <a:rPr lang="es-EC" sz="900" b="1" u="none" strike="noStrike" baseline="0" dirty="0" smtClean="0">
                          <a:solidFill>
                            <a:schemeClr val="bg1"/>
                          </a:solidFill>
                          <a:effectLst/>
                        </a:rPr>
                        <a:t>s que se tomaron en cuenta para la regresión</a:t>
                      </a:r>
                      <a:endParaRPr lang="es-EC" sz="900" b="1" i="0" u="none" strike="noStrike" dirty="0">
                        <a:solidFill>
                          <a:schemeClr val="bg1"/>
                        </a:solidFill>
                        <a:effectLst/>
                        <a:latin typeface="+mj-lt"/>
                      </a:endParaRPr>
                    </a:p>
                  </a:txBody>
                  <a:tcPr marL="9405" marR="9405" marT="94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75000"/>
                      </a:schemeClr>
                    </a:solidFill>
                  </a:tcPr>
                </a:tc>
                <a:tc>
                  <a:txBody>
                    <a:bodyPr/>
                    <a:lstStyle/>
                    <a:p>
                      <a:pPr algn="ctr" fontAlgn="t"/>
                      <a:r>
                        <a:rPr lang="es-EC" sz="900" b="1" u="none" strike="noStrike" dirty="0" smtClean="0">
                          <a:solidFill>
                            <a:schemeClr val="bg1"/>
                          </a:solidFill>
                          <a:effectLst/>
                        </a:rPr>
                        <a:t>Beta</a:t>
                      </a:r>
                      <a:endParaRPr lang="es-EC" sz="900" b="1" i="0" u="none" strike="noStrike" dirty="0">
                        <a:solidFill>
                          <a:schemeClr val="bg1"/>
                        </a:solidFill>
                        <a:effectLst/>
                        <a:latin typeface="+mj-lt"/>
                      </a:endParaRPr>
                    </a:p>
                  </a:txBody>
                  <a:tcPr marL="9405" marR="9405" marT="94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75000"/>
                      </a:schemeClr>
                    </a:solidFill>
                  </a:tcPr>
                </a:tc>
                <a:tc>
                  <a:txBody>
                    <a:bodyPr/>
                    <a:lstStyle/>
                    <a:p>
                      <a:pPr algn="ctr" fontAlgn="t"/>
                      <a:r>
                        <a:rPr lang="es-EC" sz="900" b="1" u="none" strike="noStrike" dirty="0" smtClean="0">
                          <a:solidFill>
                            <a:schemeClr val="bg1"/>
                          </a:solidFill>
                          <a:effectLst/>
                        </a:rPr>
                        <a:t>Sig.</a:t>
                      </a:r>
                      <a:endParaRPr lang="es-EC" sz="900" b="1" i="0" u="none" strike="noStrike" dirty="0">
                        <a:solidFill>
                          <a:schemeClr val="bg1"/>
                        </a:solidFill>
                        <a:effectLst/>
                        <a:latin typeface="+mj-lt"/>
                      </a:endParaRPr>
                    </a:p>
                  </a:txBody>
                  <a:tcPr marL="9405" marR="9405" marT="94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75000"/>
                      </a:schemeClr>
                    </a:solidFill>
                  </a:tcPr>
                </a:tc>
              </a:tr>
              <a:tr h="238241">
                <a:tc>
                  <a:txBody>
                    <a:bodyPr/>
                    <a:lstStyle/>
                    <a:p>
                      <a:pPr algn="l" fontAlgn="t"/>
                      <a:r>
                        <a:rPr lang="es-EC" sz="900" b="0" i="0" u="none" strike="noStrike" dirty="0" smtClean="0">
                          <a:solidFill>
                            <a:srgbClr val="000000"/>
                          </a:solidFill>
                          <a:effectLst/>
                          <a:latin typeface="Arial"/>
                        </a:rPr>
                        <a:t> Permite </a:t>
                      </a:r>
                      <a:r>
                        <a:rPr lang="es-EC" sz="900" b="0" i="0" u="none" strike="noStrike" dirty="0">
                          <a:solidFill>
                            <a:srgbClr val="000000"/>
                          </a:solidFill>
                          <a:effectLst/>
                          <a:latin typeface="Arial"/>
                        </a:rPr>
                        <a:t>pagar la totalidad de mis consumos a fin de </a:t>
                      </a:r>
                      <a:r>
                        <a:rPr lang="es-EC" sz="900" b="0" i="0" u="none" strike="noStrike" dirty="0" smtClean="0">
                          <a:solidFill>
                            <a:srgbClr val="000000"/>
                          </a:solidFill>
                          <a:effectLst/>
                          <a:latin typeface="Arial"/>
                        </a:rPr>
                        <a:t>mes </a:t>
                      </a:r>
                      <a:r>
                        <a:rPr lang="es-EC" sz="900" b="1" i="0" u="none" strike="noStrike" dirty="0" smtClean="0">
                          <a:solidFill>
                            <a:schemeClr val="accent5"/>
                          </a:solidFill>
                          <a:effectLst/>
                          <a:latin typeface="Arial"/>
                        </a:rPr>
                        <a:t>(variable de control)</a:t>
                      </a:r>
                      <a:endParaRPr lang="es-EC" sz="900" b="1" i="0" u="none" strike="noStrike" dirty="0">
                        <a:solidFill>
                          <a:schemeClr val="accent5"/>
                        </a:solidFill>
                        <a:effectLst/>
                        <a:latin typeface="Arial"/>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s-EC" sz="900" b="0" i="0" u="none" strike="noStrike" dirty="0">
                          <a:solidFill>
                            <a:srgbClr val="000000"/>
                          </a:solidFill>
                          <a:effectLst/>
                          <a:latin typeface="Arial"/>
                        </a:rPr>
                        <a:t>0,75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s-EC" sz="900" b="0" i="0" u="none" strike="noStrike" dirty="0" smtClean="0">
                          <a:solidFill>
                            <a:srgbClr val="000000"/>
                          </a:solidFill>
                          <a:effectLst/>
                          <a:latin typeface="Arial"/>
                        </a:rPr>
                        <a:t>0,00</a:t>
                      </a:r>
                      <a:endParaRPr lang="es-EC" sz="900" b="0" i="0" u="none" strike="noStrike" dirty="0">
                        <a:solidFill>
                          <a:srgbClr val="000000"/>
                        </a:solidFill>
                        <a:effectLst/>
                        <a:latin typeface="Arial"/>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5228">
                <a:tc>
                  <a:txBody>
                    <a:bodyPr/>
                    <a:lstStyle/>
                    <a:p>
                      <a:pPr algn="l" fontAlgn="t"/>
                      <a:r>
                        <a:rPr lang="es-EC" sz="900" b="0" i="0" u="none" strike="noStrike" dirty="0" smtClean="0">
                          <a:solidFill>
                            <a:srgbClr val="000000"/>
                          </a:solidFill>
                          <a:effectLst/>
                          <a:latin typeface="Arial"/>
                        </a:rPr>
                        <a:t> Es </a:t>
                      </a:r>
                      <a:r>
                        <a:rPr lang="es-EC" sz="900" b="0" i="0" u="none" strike="noStrike" dirty="0">
                          <a:solidFill>
                            <a:srgbClr val="000000"/>
                          </a:solidFill>
                          <a:effectLst/>
                          <a:latin typeface="Arial"/>
                        </a:rPr>
                        <a:t>confiabl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s-EC" sz="900" b="0" i="0" u="none" strike="noStrike">
                          <a:solidFill>
                            <a:srgbClr val="000000"/>
                          </a:solidFill>
                          <a:effectLst/>
                          <a:latin typeface="Arial"/>
                        </a:rPr>
                        <a:t>0,68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s-EC" sz="900" b="0" i="0" u="none" strike="noStrike" dirty="0" smtClean="0">
                          <a:solidFill>
                            <a:srgbClr val="000000"/>
                          </a:solidFill>
                          <a:effectLst/>
                          <a:latin typeface="Arial"/>
                        </a:rPr>
                        <a:t>0,00</a:t>
                      </a:r>
                      <a:endParaRPr lang="es-EC" sz="900" b="0" i="0" u="none" strike="noStrike" dirty="0">
                        <a:solidFill>
                          <a:srgbClr val="000000"/>
                        </a:solidFill>
                        <a:effectLst/>
                        <a:latin typeface="Arial"/>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5228">
                <a:tc>
                  <a:txBody>
                    <a:bodyPr/>
                    <a:lstStyle/>
                    <a:p>
                      <a:pPr algn="l" fontAlgn="t"/>
                      <a:r>
                        <a:rPr lang="es-EC" sz="900" b="0" i="0" u="none" strike="noStrike" dirty="0" smtClean="0">
                          <a:solidFill>
                            <a:srgbClr val="000000"/>
                          </a:solidFill>
                          <a:effectLst/>
                          <a:latin typeface="Arial"/>
                        </a:rPr>
                        <a:t> </a:t>
                      </a:r>
                      <a:r>
                        <a:rPr lang="es-EC" sz="900" b="1" i="0" u="none" strike="noStrike" dirty="0" smtClean="0">
                          <a:solidFill>
                            <a:schemeClr val="accent2"/>
                          </a:solidFill>
                          <a:effectLst/>
                          <a:latin typeface="Arial"/>
                        </a:rPr>
                        <a:t>Rapidez </a:t>
                      </a:r>
                      <a:r>
                        <a:rPr lang="es-EC" sz="900" b="1" i="0" u="none" strike="noStrike" dirty="0">
                          <a:solidFill>
                            <a:schemeClr val="accent2"/>
                          </a:solidFill>
                          <a:effectLst/>
                          <a:latin typeface="Arial"/>
                        </a:rPr>
                        <a:t>para obtener efectivo</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s-EC" sz="900" b="0" i="0" u="none" strike="noStrike">
                          <a:solidFill>
                            <a:srgbClr val="000000"/>
                          </a:solidFill>
                          <a:effectLst/>
                          <a:latin typeface="Arial"/>
                        </a:rPr>
                        <a:t>0,65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s-EC" sz="900" b="0" i="0" u="none" strike="noStrike" dirty="0" smtClean="0">
                          <a:solidFill>
                            <a:srgbClr val="000000"/>
                          </a:solidFill>
                          <a:effectLst/>
                          <a:latin typeface="Arial"/>
                        </a:rPr>
                        <a:t>0,00</a:t>
                      </a:r>
                      <a:endParaRPr lang="es-EC" sz="900" b="0" i="0" u="none" strike="noStrike" dirty="0">
                        <a:solidFill>
                          <a:srgbClr val="000000"/>
                        </a:solidFill>
                        <a:effectLst/>
                        <a:latin typeface="Arial"/>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5228">
                <a:tc>
                  <a:txBody>
                    <a:bodyPr/>
                    <a:lstStyle/>
                    <a:p>
                      <a:pPr algn="l" fontAlgn="t"/>
                      <a:r>
                        <a:rPr lang="es-EC" sz="900" b="1" i="0" u="none" strike="noStrike" dirty="0" smtClean="0">
                          <a:solidFill>
                            <a:srgbClr val="000000"/>
                          </a:solidFill>
                          <a:effectLst/>
                          <a:latin typeface="Arial"/>
                        </a:rPr>
                        <a:t> </a:t>
                      </a:r>
                      <a:r>
                        <a:rPr lang="es-EC" sz="900" b="1" i="0" u="none" strike="noStrike" dirty="0" smtClean="0">
                          <a:solidFill>
                            <a:schemeClr val="accent2"/>
                          </a:solidFill>
                          <a:effectLst/>
                          <a:latin typeface="Arial"/>
                        </a:rPr>
                        <a:t>Claridad </a:t>
                      </a:r>
                      <a:r>
                        <a:rPr lang="es-EC" sz="900" b="1" i="0" u="none" strike="noStrike" dirty="0">
                          <a:solidFill>
                            <a:schemeClr val="accent2"/>
                          </a:solidFill>
                          <a:effectLst/>
                          <a:latin typeface="Arial"/>
                        </a:rPr>
                        <a:t>y transparencia en lo que me ofrece y cobra</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s-EC" sz="900" b="0" i="0" u="none" strike="noStrike" dirty="0" smtClean="0">
                          <a:solidFill>
                            <a:srgbClr val="000000"/>
                          </a:solidFill>
                          <a:effectLst/>
                          <a:latin typeface="Arial"/>
                        </a:rPr>
                        <a:t>0,590</a:t>
                      </a:r>
                      <a:endParaRPr lang="es-EC" sz="900" b="0" i="0" u="none" strike="noStrike" dirty="0">
                        <a:solidFill>
                          <a:srgbClr val="000000"/>
                        </a:solidFill>
                        <a:effectLst/>
                        <a:latin typeface="Arial"/>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s-EC" sz="900" b="0" i="0" u="none" strike="noStrike" dirty="0" smtClean="0">
                          <a:solidFill>
                            <a:srgbClr val="000000"/>
                          </a:solidFill>
                          <a:effectLst/>
                          <a:latin typeface="Arial"/>
                        </a:rPr>
                        <a:t>0,00</a:t>
                      </a:r>
                      <a:endParaRPr lang="es-EC" sz="900" b="0" i="0" u="none" strike="noStrike" dirty="0">
                        <a:solidFill>
                          <a:srgbClr val="000000"/>
                        </a:solidFill>
                        <a:effectLst/>
                        <a:latin typeface="Arial"/>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38241">
                <a:tc>
                  <a:txBody>
                    <a:bodyPr/>
                    <a:lstStyle/>
                    <a:p>
                      <a:pPr algn="l" fontAlgn="t"/>
                      <a:r>
                        <a:rPr lang="es-EC" sz="900" b="0" i="0" u="none" strike="noStrike" dirty="0" smtClean="0">
                          <a:solidFill>
                            <a:srgbClr val="000000"/>
                          </a:solidFill>
                          <a:effectLst/>
                          <a:latin typeface="Arial"/>
                        </a:rPr>
                        <a:t> Cobra </a:t>
                      </a:r>
                      <a:r>
                        <a:rPr lang="es-EC" sz="900" b="0" i="0" u="none" strike="noStrike" dirty="0">
                          <a:solidFill>
                            <a:srgbClr val="000000"/>
                          </a:solidFill>
                          <a:effectLst/>
                          <a:latin typeface="Arial"/>
                        </a:rPr>
                        <a:t>bajas tasas de interé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s-EC" sz="900" b="0" i="0" u="none" strike="noStrike" dirty="0">
                          <a:solidFill>
                            <a:srgbClr val="000000"/>
                          </a:solidFill>
                          <a:effectLst/>
                          <a:latin typeface="Arial"/>
                        </a:rPr>
                        <a:t>0,58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s-EC" sz="900" b="0" i="0" u="none" strike="noStrike" dirty="0" smtClean="0">
                          <a:solidFill>
                            <a:srgbClr val="000000"/>
                          </a:solidFill>
                          <a:effectLst/>
                          <a:latin typeface="Arial"/>
                        </a:rPr>
                        <a:t>0,00</a:t>
                      </a:r>
                      <a:endParaRPr lang="es-EC" sz="900" b="0" i="0" u="none" strike="noStrike" dirty="0">
                        <a:solidFill>
                          <a:srgbClr val="000000"/>
                        </a:solidFill>
                        <a:effectLst/>
                        <a:latin typeface="Arial"/>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38241">
                <a:tc>
                  <a:txBody>
                    <a:bodyPr/>
                    <a:lstStyle/>
                    <a:p>
                      <a:pPr algn="l" fontAlgn="t"/>
                      <a:r>
                        <a:rPr lang="es-EC" sz="900" b="0" i="0" u="none" strike="noStrike" dirty="0" smtClean="0">
                          <a:solidFill>
                            <a:srgbClr val="000000"/>
                          </a:solidFill>
                          <a:effectLst/>
                          <a:latin typeface="Arial"/>
                        </a:rPr>
                        <a:t> Permite </a:t>
                      </a:r>
                      <a:r>
                        <a:rPr lang="es-EC" sz="900" b="0" i="0" u="none" strike="noStrike" dirty="0">
                          <a:solidFill>
                            <a:srgbClr val="000000"/>
                          </a:solidFill>
                          <a:effectLst/>
                          <a:latin typeface="Arial"/>
                        </a:rPr>
                        <a:t>pagar servicios con débitos automático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s-EC" sz="900" b="0" i="0" u="none" strike="noStrike" dirty="0">
                          <a:solidFill>
                            <a:srgbClr val="000000"/>
                          </a:solidFill>
                          <a:effectLst/>
                          <a:latin typeface="Arial"/>
                        </a:rPr>
                        <a:t>0,46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s-EC" sz="900" b="0" i="0" u="none" strike="noStrike" dirty="0" smtClean="0">
                          <a:solidFill>
                            <a:srgbClr val="000000"/>
                          </a:solidFill>
                          <a:effectLst/>
                          <a:latin typeface="Arial"/>
                        </a:rPr>
                        <a:t>0,00</a:t>
                      </a:r>
                      <a:endParaRPr lang="es-EC" sz="900" b="0" i="0" u="none" strike="noStrike" dirty="0">
                        <a:solidFill>
                          <a:srgbClr val="000000"/>
                        </a:solidFill>
                        <a:effectLst/>
                        <a:latin typeface="Arial"/>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38241">
                <a:tc>
                  <a:txBody>
                    <a:bodyPr/>
                    <a:lstStyle/>
                    <a:p>
                      <a:pPr algn="l" fontAlgn="t"/>
                      <a:r>
                        <a:rPr lang="es-EC" sz="900" b="0" i="0" u="none" strike="noStrike" dirty="0" smtClean="0">
                          <a:solidFill>
                            <a:schemeClr val="accent2"/>
                          </a:solidFill>
                          <a:effectLst/>
                          <a:latin typeface="Arial"/>
                        </a:rPr>
                        <a:t> </a:t>
                      </a:r>
                      <a:r>
                        <a:rPr lang="es-EC" sz="900" b="1" i="0" u="none" strike="noStrike" dirty="0" smtClean="0">
                          <a:solidFill>
                            <a:schemeClr val="accent2"/>
                          </a:solidFill>
                          <a:effectLst/>
                          <a:latin typeface="Arial"/>
                        </a:rPr>
                        <a:t>Ofrece </a:t>
                      </a:r>
                      <a:r>
                        <a:rPr lang="es-EC" sz="900" b="1" i="0" u="none" strike="noStrike" dirty="0">
                          <a:solidFill>
                            <a:schemeClr val="accent2"/>
                          </a:solidFill>
                          <a:effectLst/>
                          <a:latin typeface="Arial"/>
                        </a:rPr>
                        <a:t>varias opciones de diferido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s-EC" sz="900" b="0" i="0" u="none" strike="noStrike" dirty="0">
                          <a:solidFill>
                            <a:srgbClr val="000000"/>
                          </a:solidFill>
                          <a:effectLst/>
                          <a:latin typeface="Arial"/>
                        </a:rPr>
                        <a:t>0,45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s-EC" sz="900" b="0" i="0" u="none" strike="noStrike" dirty="0" smtClean="0">
                          <a:solidFill>
                            <a:srgbClr val="000000"/>
                          </a:solidFill>
                          <a:effectLst/>
                          <a:latin typeface="Arial"/>
                        </a:rPr>
                        <a:t>0,00</a:t>
                      </a:r>
                      <a:endParaRPr lang="es-EC" sz="900" b="0" i="0" u="none" strike="noStrike" dirty="0">
                        <a:solidFill>
                          <a:srgbClr val="000000"/>
                        </a:solidFill>
                        <a:effectLst/>
                        <a:latin typeface="Arial"/>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38241">
                <a:tc>
                  <a:txBody>
                    <a:bodyPr/>
                    <a:lstStyle/>
                    <a:p>
                      <a:pPr algn="l" fontAlgn="t"/>
                      <a:r>
                        <a:rPr lang="es-EC" sz="900" b="0" i="0" u="none" strike="noStrike" dirty="0" smtClean="0">
                          <a:solidFill>
                            <a:srgbClr val="000000"/>
                          </a:solidFill>
                          <a:effectLst/>
                          <a:latin typeface="Arial"/>
                        </a:rPr>
                        <a:t> Ayuda </a:t>
                      </a:r>
                      <a:r>
                        <a:rPr lang="es-EC" sz="900" b="0" i="0" u="none" strike="noStrike" dirty="0">
                          <a:solidFill>
                            <a:srgbClr val="000000"/>
                          </a:solidFill>
                          <a:effectLst/>
                          <a:latin typeface="Arial"/>
                        </a:rPr>
                        <a:t>en casos de emergencia</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s-EC" sz="900" b="0" i="0" u="none" strike="noStrike" dirty="0">
                          <a:solidFill>
                            <a:srgbClr val="000000"/>
                          </a:solidFill>
                          <a:effectLst/>
                          <a:latin typeface="Arial"/>
                        </a:rPr>
                        <a:t>0,39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s-EC" sz="900" b="0" i="0" u="none" strike="noStrike" dirty="0" smtClean="0">
                          <a:solidFill>
                            <a:srgbClr val="000000"/>
                          </a:solidFill>
                          <a:effectLst/>
                          <a:latin typeface="Arial"/>
                        </a:rPr>
                        <a:t>0,00</a:t>
                      </a:r>
                      <a:endParaRPr lang="es-EC" sz="900" b="0" i="0" u="none" strike="noStrike" dirty="0">
                        <a:solidFill>
                          <a:srgbClr val="000000"/>
                        </a:solidFill>
                        <a:effectLst/>
                        <a:latin typeface="Arial"/>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34927">
                <a:tc>
                  <a:txBody>
                    <a:bodyPr/>
                    <a:lstStyle/>
                    <a:p>
                      <a:pPr algn="l" fontAlgn="t"/>
                      <a:r>
                        <a:rPr lang="es-EC" sz="900" b="0" i="0" u="none" strike="noStrike" dirty="0" smtClean="0">
                          <a:solidFill>
                            <a:srgbClr val="000000"/>
                          </a:solidFill>
                          <a:effectLst/>
                          <a:latin typeface="Arial"/>
                        </a:rPr>
                        <a:t> Tiene </a:t>
                      </a:r>
                      <a:r>
                        <a:rPr lang="es-EC" sz="900" b="0" i="0" u="none" strike="noStrike" dirty="0">
                          <a:solidFill>
                            <a:srgbClr val="000000"/>
                          </a:solidFill>
                          <a:effectLst/>
                          <a:latin typeface="Arial"/>
                        </a:rPr>
                        <a:t>el mejor servicio al client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s-EC" sz="900" b="0" i="0" u="none" strike="noStrike" dirty="0" smtClean="0">
                          <a:solidFill>
                            <a:srgbClr val="000000"/>
                          </a:solidFill>
                          <a:effectLst/>
                          <a:latin typeface="Arial"/>
                        </a:rPr>
                        <a:t>0,330</a:t>
                      </a:r>
                      <a:endParaRPr lang="es-EC" sz="900" b="0" i="0" u="none" strike="noStrike" dirty="0">
                        <a:solidFill>
                          <a:srgbClr val="000000"/>
                        </a:solidFill>
                        <a:effectLst/>
                        <a:latin typeface="Arial"/>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s-EC" sz="900" b="0" i="0" u="none" strike="noStrike" dirty="0">
                          <a:solidFill>
                            <a:srgbClr val="000000"/>
                          </a:solidFill>
                          <a:effectLst/>
                          <a:latin typeface="Arial"/>
                        </a:rPr>
                        <a:t>0,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21512">
                <a:tc>
                  <a:txBody>
                    <a:bodyPr/>
                    <a:lstStyle/>
                    <a:p>
                      <a:pPr algn="l" fontAlgn="t"/>
                      <a:r>
                        <a:rPr lang="es-EC" sz="900" b="0" i="0" u="none" strike="noStrike" dirty="0" smtClean="0">
                          <a:solidFill>
                            <a:srgbClr val="000000"/>
                          </a:solidFill>
                          <a:effectLst/>
                          <a:latin typeface="Arial"/>
                        </a:rPr>
                        <a:t> Le </a:t>
                      </a:r>
                      <a:r>
                        <a:rPr lang="es-EC" sz="900" b="0" i="0" u="none" strike="noStrike" dirty="0">
                          <a:solidFill>
                            <a:srgbClr val="000000"/>
                          </a:solidFill>
                          <a:effectLst/>
                          <a:latin typeface="Arial"/>
                        </a:rPr>
                        <a:t>tengo miedo / recelo</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s-EC" sz="900" b="0" i="0" u="none" strike="noStrike" dirty="0">
                          <a:solidFill>
                            <a:srgbClr val="000000"/>
                          </a:solidFill>
                          <a:effectLst/>
                          <a:latin typeface="Arial"/>
                        </a:rPr>
                        <a:t>0,27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s-EC" sz="900" b="0" i="0" u="none" strike="noStrike" dirty="0">
                          <a:solidFill>
                            <a:srgbClr val="000000"/>
                          </a:solidFill>
                          <a:effectLst/>
                          <a:latin typeface="Arial"/>
                        </a:rPr>
                        <a:t>0,0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85561">
                <a:tc>
                  <a:txBody>
                    <a:bodyPr/>
                    <a:lstStyle/>
                    <a:p>
                      <a:pPr algn="l" fontAlgn="t"/>
                      <a:r>
                        <a:rPr lang="es-EC" sz="900" b="0" i="0" u="none" strike="noStrike" dirty="0" smtClean="0">
                          <a:solidFill>
                            <a:srgbClr val="000000"/>
                          </a:solidFill>
                          <a:effectLst/>
                          <a:latin typeface="Arial"/>
                        </a:rPr>
                        <a:t> Es </a:t>
                      </a:r>
                      <a:r>
                        <a:rPr lang="es-EC" sz="900" b="0" i="0" u="none" strike="noStrike" dirty="0">
                          <a:solidFill>
                            <a:srgbClr val="000000"/>
                          </a:solidFill>
                          <a:effectLst/>
                          <a:latin typeface="Arial"/>
                        </a:rPr>
                        <a:t>aceptada internacionalment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s-EC" sz="900" b="0" i="0" u="none" strike="noStrike" dirty="0" smtClean="0">
                          <a:solidFill>
                            <a:srgbClr val="000000"/>
                          </a:solidFill>
                          <a:effectLst/>
                          <a:latin typeface="Arial"/>
                        </a:rPr>
                        <a:t>0,230</a:t>
                      </a:r>
                      <a:endParaRPr lang="es-EC" sz="900" b="0" i="0" u="none" strike="noStrike" dirty="0">
                        <a:solidFill>
                          <a:srgbClr val="000000"/>
                        </a:solidFill>
                        <a:effectLst/>
                        <a:latin typeface="Arial"/>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s-EC" sz="900" b="0" i="0" u="none" strike="noStrike" dirty="0">
                          <a:solidFill>
                            <a:srgbClr val="000000"/>
                          </a:solidFill>
                          <a:effectLst/>
                          <a:latin typeface="Arial"/>
                        </a:rPr>
                        <a:t>0,0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15" name="14 CuadroTexto"/>
          <p:cNvSpPr txBox="1"/>
          <p:nvPr/>
        </p:nvSpPr>
        <p:spPr>
          <a:xfrm>
            <a:off x="3724402" y="1337864"/>
            <a:ext cx="5154012" cy="300608"/>
          </a:xfrm>
          <a:prstGeom prst="rect">
            <a:avLst/>
          </a:prstGeom>
          <a:noFill/>
        </p:spPr>
        <p:txBody>
          <a:bodyPr wrap="square" rtlCol="0">
            <a:spAutoFit/>
          </a:bodyPr>
          <a:lstStyle/>
          <a:p>
            <a:r>
              <a:rPr lang="es-EC" sz="1000" b="1" dirty="0" smtClean="0">
                <a:solidFill>
                  <a:schemeClr val="tx1">
                    <a:lumMod val="75000"/>
                    <a:lumOff val="25000"/>
                  </a:schemeClr>
                </a:solidFill>
                <a:latin typeface="Arial" panose="020B0604020202020204" pitchFamily="34" charset="0"/>
                <a:cs typeface="Arial" panose="020B0604020202020204" pitchFamily="34" charset="0"/>
              </a:rPr>
              <a:t>Variables que explican de mejor manera el uso prioritario de una tarjeta de crédito</a:t>
            </a:r>
          </a:p>
        </p:txBody>
      </p:sp>
    </p:spTree>
    <p:extLst>
      <p:ext uri="{BB962C8B-B14F-4D97-AF65-F5344CB8AC3E}">
        <p14:creationId xmlns:p14="http://schemas.microsoft.com/office/powerpoint/2010/main" val="23320287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14 Objeto" hidden="1"/>
          <p:cNvGraphicFramePr>
            <a:graphicFrameLocks noChangeAspect="1"/>
          </p:cNvGraphicFramePr>
          <p:nvPr>
            <p:custDataLst>
              <p:tags r:id="rId2"/>
            </p:custDataLst>
            <p:extLst>
              <p:ext uri="{D42A27DB-BD31-4B8C-83A1-F6EECF244321}">
                <p14:modId xmlns:p14="http://schemas.microsoft.com/office/powerpoint/2010/main" val="9995413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45" name="Diapositiva de think-cell" r:id="rId4" imgW="336" imgH="336" progId="TCLayout.ActiveDocument.1">
                  <p:embed/>
                </p:oleObj>
              </mc:Choice>
              <mc:Fallback>
                <p:oleObj name="Diapositiva de think-cell" r:id="rId4" imgW="336" imgH="33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1 Título"/>
          <p:cNvSpPr>
            <a:spLocks noGrp="1"/>
          </p:cNvSpPr>
          <p:nvPr>
            <p:ph type="title"/>
          </p:nvPr>
        </p:nvSpPr>
        <p:spPr/>
        <p:txBody>
          <a:bodyPr/>
          <a:lstStyle/>
          <a:p>
            <a:r>
              <a:rPr lang="es-EC" dirty="0" err="1" smtClean="0"/>
              <a:t>Alia</a:t>
            </a:r>
            <a:endParaRPr lang="es-EC" dirty="0"/>
          </a:p>
        </p:txBody>
      </p:sp>
      <p:sp>
        <p:nvSpPr>
          <p:cNvPr id="3" name="2 Marcador de texto"/>
          <p:cNvSpPr>
            <a:spLocks noGrp="1"/>
          </p:cNvSpPr>
          <p:nvPr>
            <p:ph type="body" sz="quarter" idx="20"/>
          </p:nvPr>
        </p:nvSpPr>
        <p:spPr/>
        <p:txBody>
          <a:bodyPr/>
          <a:lstStyle/>
          <a:p>
            <a:endParaRPr lang="es-EC"/>
          </a:p>
        </p:txBody>
      </p:sp>
      <p:sp>
        <p:nvSpPr>
          <p:cNvPr id="5" name="4 Marcador de texto"/>
          <p:cNvSpPr>
            <a:spLocks noGrp="1"/>
          </p:cNvSpPr>
          <p:nvPr>
            <p:ph type="body" sz="quarter" idx="25"/>
          </p:nvPr>
        </p:nvSpPr>
        <p:spPr/>
        <p:txBody>
          <a:bodyPr/>
          <a:lstStyle/>
          <a:p>
            <a:endParaRPr lang="es-EC"/>
          </a:p>
        </p:txBody>
      </p:sp>
      <p:sp>
        <p:nvSpPr>
          <p:cNvPr id="6" name="5 Marcador de número de diapositiva"/>
          <p:cNvSpPr>
            <a:spLocks noGrp="1"/>
          </p:cNvSpPr>
          <p:nvPr>
            <p:ph type="sldNum" sz="quarter" idx="4"/>
          </p:nvPr>
        </p:nvSpPr>
        <p:spPr/>
        <p:txBody>
          <a:bodyPr/>
          <a:lstStyle/>
          <a:p>
            <a:fld id="{19AB4E72-7858-48F1-A40D-12FF09E4BFB8}" type="slidenum">
              <a:rPr lang="en-GB" smtClean="0"/>
              <a:pPr/>
              <a:t>2</a:t>
            </a:fld>
            <a:endParaRPr lang="en-GB"/>
          </a:p>
        </p:txBody>
      </p:sp>
      <p:sp>
        <p:nvSpPr>
          <p:cNvPr id="7" name="6 Marcador de pie de página"/>
          <p:cNvSpPr>
            <a:spLocks noGrp="1"/>
          </p:cNvSpPr>
          <p:nvPr>
            <p:ph type="ftr" sz="quarter" idx="11"/>
          </p:nvPr>
        </p:nvSpPr>
        <p:spPr/>
        <p:txBody>
          <a:bodyPr/>
          <a:lstStyle/>
          <a:p>
            <a:endParaRPr lang="pt-BR"/>
          </a:p>
        </p:txBody>
      </p:sp>
      <p:graphicFrame>
        <p:nvGraphicFramePr>
          <p:cNvPr id="16" name="2 Gráfico"/>
          <p:cNvGraphicFramePr>
            <a:graphicFrameLocks/>
          </p:cNvGraphicFramePr>
          <p:nvPr>
            <p:extLst>
              <p:ext uri="{D42A27DB-BD31-4B8C-83A1-F6EECF244321}">
                <p14:modId xmlns:p14="http://schemas.microsoft.com/office/powerpoint/2010/main" val="3421016975"/>
              </p:ext>
            </p:extLst>
          </p:nvPr>
        </p:nvGraphicFramePr>
        <p:xfrm>
          <a:off x="1065475" y="1417604"/>
          <a:ext cx="6522454" cy="3066918"/>
        </p:xfrm>
        <a:graphic>
          <a:graphicData uri="http://schemas.openxmlformats.org/drawingml/2006/chart">
            <c:chart xmlns:c="http://schemas.openxmlformats.org/drawingml/2006/chart" xmlns:r="http://schemas.openxmlformats.org/officeDocument/2006/relationships" r:id="rId6"/>
          </a:graphicData>
        </a:graphic>
      </p:graphicFrame>
      <p:cxnSp>
        <p:nvCxnSpPr>
          <p:cNvPr id="12" name="11 Conector recto"/>
          <p:cNvCxnSpPr/>
          <p:nvPr/>
        </p:nvCxnSpPr>
        <p:spPr>
          <a:xfrm>
            <a:off x="1065475" y="2783782"/>
            <a:ext cx="6599582" cy="0"/>
          </a:xfrm>
          <a:prstGeom prst="line">
            <a:avLst/>
          </a:prstGeom>
          <a:ln w="6350">
            <a:solidFill>
              <a:schemeClr val="tx1">
                <a:lumMod val="50000"/>
                <a:lumOff val="50000"/>
              </a:schemeClr>
            </a:solidFill>
            <a:prstDash val="solid"/>
            <a:miter lim="800000"/>
          </a:ln>
        </p:spPr>
        <p:style>
          <a:lnRef idx="1">
            <a:schemeClr val="accent1"/>
          </a:lnRef>
          <a:fillRef idx="0">
            <a:schemeClr val="accent1"/>
          </a:fillRef>
          <a:effectRef idx="0">
            <a:schemeClr val="accent1"/>
          </a:effectRef>
          <a:fontRef idx="minor">
            <a:schemeClr val="tx1"/>
          </a:fontRef>
        </p:style>
      </p:cxnSp>
      <p:sp>
        <p:nvSpPr>
          <p:cNvPr id="13" name="12 Rectángulo"/>
          <p:cNvSpPr/>
          <p:nvPr/>
        </p:nvSpPr>
        <p:spPr>
          <a:xfrm>
            <a:off x="7929822" y="2620671"/>
            <a:ext cx="705546" cy="288632"/>
          </a:xfrm>
          <a:prstGeom prst="rect">
            <a:avLst/>
          </a:prstGeom>
          <a:solidFill>
            <a:schemeClr val="tx1">
              <a:lumMod val="50000"/>
              <a:lumOff val="50000"/>
            </a:schemeClr>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r>
              <a:rPr lang="es-EC" sz="800" dirty="0" smtClean="0">
                <a:solidFill>
                  <a:schemeClr val="bg1"/>
                </a:solidFill>
                <a:latin typeface="+mj-lt"/>
              </a:rPr>
              <a:t>Media 0,49</a:t>
            </a:r>
          </a:p>
        </p:txBody>
      </p:sp>
      <p:sp>
        <p:nvSpPr>
          <p:cNvPr id="20" name="19 Rectángulo"/>
          <p:cNvSpPr/>
          <p:nvPr/>
        </p:nvSpPr>
        <p:spPr>
          <a:xfrm>
            <a:off x="4110806" y="4538406"/>
            <a:ext cx="2006856" cy="210294"/>
          </a:xfrm>
          <a:prstGeom prst="rect">
            <a:avLst/>
          </a:prstGeom>
          <a:solidFill>
            <a:schemeClr val="tx1">
              <a:lumMod val="50000"/>
              <a:lumOff val="50000"/>
            </a:schemeClr>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r>
              <a:rPr lang="es-EC" sz="1000" dirty="0" err="1" smtClean="0">
                <a:solidFill>
                  <a:schemeClr val="bg1"/>
                </a:solidFill>
                <a:latin typeface="+mj-lt"/>
              </a:rPr>
              <a:t>BIPs</a:t>
            </a:r>
            <a:endParaRPr lang="es-EC" sz="1000" dirty="0" smtClean="0">
              <a:solidFill>
                <a:schemeClr val="bg1"/>
              </a:solidFill>
              <a:latin typeface="+mj-lt"/>
            </a:endParaRPr>
          </a:p>
        </p:txBody>
      </p:sp>
      <p:sp>
        <p:nvSpPr>
          <p:cNvPr id="21" name="20 Rectángulo"/>
          <p:cNvSpPr/>
          <p:nvPr/>
        </p:nvSpPr>
        <p:spPr>
          <a:xfrm rot="16200000">
            <a:off x="-107559" y="2602565"/>
            <a:ext cx="1824415" cy="372548"/>
          </a:xfrm>
          <a:prstGeom prst="rect">
            <a:avLst/>
          </a:prstGeom>
          <a:solidFill>
            <a:schemeClr val="tx1">
              <a:lumMod val="50000"/>
              <a:lumOff val="50000"/>
            </a:schemeClr>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r>
              <a:rPr lang="es-EC" sz="1000" b="1" dirty="0" smtClean="0">
                <a:solidFill>
                  <a:schemeClr val="bg1"/>
                </a:solidFill>
                <a:latin typeface="+mj-lt"/>
              </a:rPr>
              <a:t>Importancia de Atributos</a:t>
            </a:r>
          </a:p>
        </p:txBody>
      </p:sp>
    </p:spTree>
    <p:extLst>
      <p:ext uri="{BB962C8B-B14F-4D97-AF65-F5344CB8AC3E}">
        <p14:creationId xmlns:p14="http://schemas.microsoft.com/office/powerpoint/2010/main" val="40076385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14 Objeto" hidden="1"/>
          <p:cNvGraphicFramePr>
            <a:graphicFrameLocks noChangeAspect="1"/>
          </p:cNvGraphicFramePr>
          <p:nvPr>
            <p:custDataLst>
              <p:tags r:id="rId2"/>
            </p:custDataLst>
            <p:extLst>
              <p:ext uri="{D42A27DB-BD31-4B8C-83A1-F6EECF244321}">
                <p14:modId xmlns:p14="http://schemas.microsoft.com/office/powerpoint/2010/main" val="37364406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9" name="Diapositiva de think-cell" r:id="rId4" imgW="336" imgH="336" progId="TCLayout.ActiveDocument.1">
                  <p:embed/>
                </p:oleObj>
              </mc:Choice>
              <mc:Fallback>
                <p:oleObj name="Diapositiva de think-cell" r:id="rId4" imgW="336" imgH="33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1 Título"/>
          <p:cNvSpPr>
            <a:spLocks noGrp="1"/>
          </p:cNvSpPr>
          <p:nvPr>
            <p:ph type="title"/>
          </p:nvPr>
        </p:nvSpPr>
        <p:spPr/>
        <p:txBody>
          <a:bodyPr/>
          <a:lstStyle/>
          <a:p>
            <a:r>
              <a:rPr lang="es-EC" dirty="0" err="1" smtClean="0"/>
              <a:t>Diners</a:t>
            </a:r>
            <a:r>
              <a:rPr lang="es-EC" dirty="0" smtClean="0"/>
              <a:t> Club</a:t>
            </a:r>
            <a:endParaRPr lang="es-EC" dirty="0"/>
          </a:p>
        </p:txBody>
      </p:sp>
      <p:sp>
        <p:nvSpPr>
          <p:cNvPr id="3" name="2 Marcador de texto"/>
          <p:cNvSpPr>
            <a:spLocks noGrp="1"/>
          </p:cNvSpPr>
          <p:nvPr>
            <p:ph type="body" sz="quarter" idx="20"/>
          </p:nvPr>
        </p:nvSpPr>
        <p:spPr/>
        <p:txBody>
          <a:bodyPr/>
          <a:lstStyle/>
          <a:p>
            <a:endParaRPr lang="es-EC" dirty="0"/>
          </a:p>
        </p:txBody>
      </p:sp>
      <p:sp>
        <p:nvSpPr>
          <p:cNvPr id="5" name="4 Marcador de texto"/>
          <p:cNvSpPr>
            <a:spLocks noGrp="1"/>
          </p:cNvSpPr>
          <p:nvPr>
            <p:ph type="body" sz="quarter" idx="25"/>
          </p:nvPr>
        </p:nvSpPr>
        <p:spPr/>
        <p:txBody>
          <a:bodyPr/>
          <a:lstStyle/>
          <a:p>
            <a:endParaRPr lang="es-EC"/>
          </a:p>
        </p:txBody>
      </p:sp>
      <p:sp>
        <p:nvSpPr>
          <p:cNvPr id="6" name="5 Marcador de número de diapositiva"/>
          <p:cNvSpPr>
            <a:spLocks noGrp="1"/>
          </p:cNvSpPr>
          <p:nvPr>
            <p:ph type="sldNum" sz="quarter" idx="4"/>
          </p:nvPr>
        </p:nvSpPr>
        <p:spPr/>
        <p:txBody>
          <a:bodyPr/>
          <a:lstStyle/>
          <a:p>
            <a:fld id="{19AB4E72-7858-48F1-A40D-12FF09E4BFB8}" type="slidenum">
              <a:rPr lang="en-GB" smtClean="0"/>
              <a:pPr/>
              <a:t>3</a:t>
            </a:fld>
            <a:endParaRPr lang="en-GB"/>
          </a:p>
        </p:txBody>
      </p:sp>
      <p:sp>
        <p:nvSpPr>
          <p:cNvPr id="7" name="6 Marcador de pie de página"/>
          <p:cNvSpPr>
            <a:spLocks noGrp="1"/>
          </p:cNvSpPr>
          <p:nvPr>
            <p:ph type="ftr" sz="quarter" idx="11"/>
          </p:nvPr>
        </p:nvSpPr>
        <p:spPr/>
        <p:txBody>
          <a:bodyPr/>
          <a:lstStyle/>
          <a:p>
            <a:endParaRPr lang="pt-BR"/>
          </a:p>
        </p:txBody>
      </p:sp>
      <p:cxnSp>
        <p:nvCxnSpPr>
          <p:cNvPr id="12" name="11 Conector recto"/>
          <p:cNvCxnSpPr/>
          <p:nvPr/>
        </p:nvCxnSpPr>
        <p:spPr>
          <a:xfrm>
            <a:off x="1065475" y="2720174"/>
            <a:ext cx="6599582" cy="0"/>
          </a:xfrm>
          <a:prstGeom prst="line">
            <a:avLst/>
          </a:prstGeom>
          <a:ln w="6350">
            <a:solidFill>
              <a:schemeClr val="tx1">
                <a:lumMod val="50000"/>
                <a:lumOff val="50000"/>
              </a:schemeClr>
            </a:solidFill>
            <a:prstDash val="solid"/>
            <a:miter lim="800000"/>
          </a:ln>
        </p:spPr>
        <p:style>
          <a:lnRef idx="1">
            <a:schemeClr val="accent1"/>
          </a:lnRef>
          <a:fillRef idx="0">
            <a:schemeClr val="accent1"/>
          </a:fillRef>
          <a:effectRef idx="0">
            <a:schemeClr val="accent1"/>
          </a:effectRef>
          <a:fontRef idx="minor">
            <a:schemeClr val="tx1"/>
          </a:fontRef>
        </p:style>
      </p:cxnSp>
      <p:sp>
        <p:nvSpPr>
          <p:cNvPr id="13" name="12 Rectángulo"/>
          <p:cNvSpPr/>
          <p:nvPr/>
        </p:nvSpPr>
        <p:spPr>
          <a:xfrm>
            <a:off x="7929822" y="2572965"/>
            <a:ext cx="705546" cy="288632"/>
          </a:xfrm>
          <a:prstGeom prst="rect">
            <a:avLst/>
          </a:prstGeom>
          <a:solidFill>
            <a:schemeClr val="tx1">
              <a:lumMod val="50000"/>
              <a:lumOff val="50000"/>
            </a:schemeClr>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r>
              <a:rPr lang="es-EC" sz="800" dirty="0" smtClean="0">
                <a:solidFill>
                  <a:schemeClr val="bg1"/>
                </a:solidFill>
                <a:latin typeface="+mj-lt"/>
              </a:rPr>
              <a:t>Media 0,49</a:t>
            </a:r>
          </a:p>
        </p:txBody>
      </p:sp>
      <p:sp>
        <p:nvSpPr>
          <p:cNvPr id="20" name="19 Rectángulo"/>
          <p:cNvSpPr/>
          <p:nvPr/>
        </p:nvSpPr>
        <p:spPr>
          <a:xfrm>
            <a:off x="4110806" y="4538406"/>
            <a:ext cx="2006856" cy="210294"/>
          </a:xfrm>
          <a:prstGeom prst="rect">
            <a:avLst/>
          </a:prstGeom>
          <a:solidFill>
            <a:schemeClr val="tx1">
              <a:lumMod val="50000"/>
              <a:lumOff val="50000"/>
            </a:schemeClr>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r>
              <a:rPr lang="es-EC" sz="1000" dirty="0" err="1" smtClean="0">
                <a:solidFill>
                  <a:schemeClr val="bg1"/>
                </a:solidFill>
                <a:latin typeface="+mj-lt"/>
              </a:rPr>
              <a:t>BIPs</a:t>
            </a:r>
            <a:endParaRPr lang="es-EC" sz="1000" dirty="0" smtClean="0">
              <a:solidFill>
                <a:schemeClr val="bg1"/>
              </a:solidFill>
              <a:latin typeface="+mj-lt"/>
            </a:endParaRPr>
          </a:p>
        </p:txBody>
      </p:sp>
      <p:sp>
        <p:nvSpPr>
          <p:cNvPr id="21" name="20 Rectángulo"/>
          <p:cNvSpPr/>
          <p:nvPr/>
        </p:nvSpPr>
        <p:spPr>
          <a:xfrm rot="16200000">
            <a:off x="-107559" y="2602565"/>
            <a:ext cx="1824415" cy="372548"/>
          </a:xfrm>
          <a:prstGeom prst="rect">
            <a:avLst/>
          </a:prstGeom>
          <a:solidFill>
            <a:schemeClr val="tx1">
              <a:lumMod val="50000"/>
              <a:lumOff val="50000"/>
            </a:schemeClr>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r>
              <a:rPr lang="es-EC" sz="1000" b="1" dirty="0" smtClean="0">
                <a:solidFill>
                  <a:schemeClr val="bg1"/>
                </a:solidFill>
                <a:latin typeface="+mj-lt"/>
              </a:rPr>
              <a:t>Importancia de Atributos</a:t>
            </a:r>
          </a:p>
        </p:txBody>
      </p:sp>
      <p:graphicFrame>
        <p:nvGraphicFramePr>
          <p:cNvPr id="14" name="3 Gráfico"/>
          <p:cNvGraphicFramePr>
            <a:graphicFrameLocks/>
          </p:cNvGraphicFramePr>
          <p:nvPr>
            <p:extLst>
              <p:ext uri="{D42A27DB-BD31-4B8C-83A1-F6EECF244321}">
                <p14:modId xmlns:p14="http://schemas.microsoft.com/office/powerpoint/2010/main" val="327306168"/>
              </p:ext>
            </p:extLst>
          </p:nvPr>
        </p:nvGraphicFramePr>
        <p:xfrm>
          <a:off x="1065475" y="1431235"/>
          <a:ext cx="6599582" cy="321458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0702925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14 Objeto" hidden="1"/>
          <p:cNvGraphicFramePr>
            <a:graphicFrameLocks noChangeAspect="1"/>
          </p:cNvGraphicFramePr>
          <p:nvPr>
            <p:custDataLst>
              <p:tags r:id="rId2"/>
            </p:custDataLst>
            <p:extLst>
              <p:ext uri="{D42A27DB-BD31-4B8C-83A1-F6EECF244321}">
                <p14:modId xmlns:p14="http://schemas.microsoft.com/office/powerpoint/2010/main" val="22453253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93" name="Diapositiva de think-cell" r:id="rId4" imgW="336" imgH="336" progId="TCLayout.ActiveDocument.1">
                  <p:embed/>
                </p:oleObj>
              </mc:Choice>
              <mc:Fallback>
                <p:oleObj name="Diapositiva de think-cell" r:id="rId4" imgW="336" imgH="33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1 Título"/>
          <p:cNvSpPr>
            <a:spLocks noGrp="1"/>
          </p:cNvSpPr>
          <p:nvPr>
            <p:ph type="title"/>
          </p:nvPr>
        </p:nvSpPr>
        <p:spPr/>
        <p:txBody>
          <a:bodyPr/>
          <a:lstStyle/>
          <a:p>
            <a:r>
              <a:rPr lang="es-EC" dirty="0" err="1" smtClean="0"/>
              <a:t>Discover</a:t>
            </a:r>
            <a:endParaRPr lang="es-EC" dirty="0"/>
          </a:p>
        </p:txBody>
      </p:sp>
      <p:sp>
        <p:nvSpPr>
          <p:cNvPr id="3" name="2 Marcador de texto"/>
          <p:cNvSpPr>
            <a:spLocks noGrp="1"/>
          </p:cNvSpPr>
          <p:nvPr>
            <p:ph type="body" sz="quarter" idx="20"/>
          </p:nvPr>
        </p:nvSpPr>
        <p:spPr/>
        <p:txBody>
          <a:bodyPr/>
          <a:lstStyle/>
          <a:p>
            <a:endParaRPr lang="es-EC" dirty="0"/>
          </a:p>
        </p:txBody>
      </p:sp>
      <p:sp>
        <p:nvSpPr>
          <p:cNvPr id="5" name="4 Marcador de texto"/>
          <p:cNvSpPr>
            <a:spLocks noGrp="1"/>
          </p:cNvSpPr>
          <p:nvPr>
            <p:ph type="body" sz="quarter" idx="25"/>
          </p:nvPr>
        </p:nvSpPr>
        <p:spPr/>
        <p:txBody>
          <a:bodyPr/>
          <a:lstStyle/>
          <a:p>
            <a:endParaRPr lang="es-EC"/>
          </a:p>
        </p:txBody>
      </p:sp>
      <p:sp>
        <p:nvSpPr>
          <p:cNvPr id="6" name="5 Marcador de número de diapositiva"/>
          <p:cNvSpPr>
            <a:spLocks noGrp="1"/>
          </p:cNvSpPr>
          <p:nvPr>
            <p:ph type="sldNum" sz="quarter" idx="4"/>
          </p:nvPr>
        </p:nvSpPr>
        <p:spPr/>
        <p:txBody>
          <a:bodyPr/>
          <a:lstStyle/>
          <a:p>
            <a:fld id="{19AB4E72-7858-48F1-A40D-12FF09E4BFB8}" type="slidenum">
              <a:rPr lang="en-GB" smtClean="0"/>
              <a:pPr/>
              <a:t>4</a:t>
            </a:fld>
            <a:endParaRPr lang="en-GB"/>
          </a:p>
        </p:txBody>
      </p:sp>
      <p:sp>
        <p:nvSpPr>
          <p:cNvPr id="7" name="6 Marcador de pie de página"/>
          <p:cNvSpPr>
            <a:spLocks noGrp="1"/>
          </p:cNvSpPr>
          <p:nvPr>
            <p:ph type="ftr" sz="quarter" idx="11"/>
          </p:nvPr>
        </p:nvSpPr>
        <p:spPr/>
        <p:txBody>
          <a:bodyPr/>
          <a:lstStyle/>
          <a:p>
            <a:endParaRPr lang="pt-BR"/>
          </a:p>
        </p:txBody>
      </p:sp>
      <p:cxnSp>
        <p:nvCxnSpPr>
          <p:cNvPr id="12" name="11 Conector recto"/>
          <p:cNvCxnSpPr/>
          <p:nvPr/>
        </p:nvCxnSpPr>
        <p:spPr>
          <a:xfrm>
            <a:off x="1349554" y="2640664"/>
            <a:ext cx="6220088" cy="0"/>
          </a:xfrm>
          <a:prstGeom prst="line">
            <a:avLst/>
          </a:prstGeom>
          <a:ln w="6350">
            <a:solidFill>
              <a:schemeClr val="tx1">
                <a:lumMod val="50000"/>
                <a:lumOff val="50000"/>
              </a:schemeClr>
            </a:solidFill>
            <a:prstDash val="solid"/>
            <a:miter lim="800000"/>
          </a:ln>
        </p:spPr>
        <p:style>
          <a:lnRef idx="1">
            <a:schemeClr val="accent1"/>
          </a:lnRef>
          <a:fillRef idx="0">
            <a:schemeClr val="accent1"/>
          </a:fillRef>
          <a:effectRef idx="0">
            <a:schemeClr val="accent1"/>
          </a:effectRef>
          <a:fontRef idx="minor">
            <a:schemeClr val="tx1"/>
          </a:fontRef>
        </p:style>
      </p:cxnSp>
      <p:sp>
        <p:nvSpPr>
          <p:cNvPr id="13" name="12 Rectángulo"/>
          <p:cNvSpPr/>
          <p:nvPr/>
        </p:nvSpPr>
        <p:spPr>
          <a:xfrm>
            <a:off x="7929822" y="2477553"/>
            <a:ext cx="705546" cy="288632"/>
          </a:xfrm>
          <a:prstGeom prst="rect">
            <a:avLst/>
          </a:prstGeom>
          <a:solidFill>
            <a:schemeClr val="tx1">
              <a:lumMod val="50000"/>
              <a:lumOff val="50000"/>
            </a:schemeClr>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r>
              <a:rPr lang="es-EC" sz="800" dirty="0" smtClean="0">
                <a:solidFill>
                  <a:schemeClr val="bg1"/>
                </a:solidFill>
                <a:latin typeface="+mj-lt"/>
              </a:rPr>
              <a:t>Media 0,49</a:t>
            </a:r>
          </a:p>
        </p:txBody>
      </p:sp>
      <p:sp>
        <p:nvSpPr>
          <p:cNvPr id="20" name="19 Rectángulo"/>
          <p:cNvSpPr/>
          <p:nvPr/>
        </p:nvSpPr>
        <p:spPr>
          <a:xfrm>
            <a:off x="4110806" y="4538406"/>
            <a:ext cx="2006856" cy="210294"/>
          </a:xfrm>
          <a:prstGeom prst="rect">
            <a:avLst/>
          </a:prstGeom>
          <a:solidFill>
            <a:schemeClr val="tx1">
              <a:lumMod val="50000"/>
              <a:lumOff val="50000"/>
            </a:schemeClr>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r>
              <a:rPr lang="es-EC" sz="1000" dirty="0" err="1" smtClean="0">
                <a:solidFill>
                  <a:schemeClr val="bg1"/>
                </a:solidFill>
                <a:latin typeface="+mj-lt"/>
              </a:rPr>
              <a:t>BIPs</a:t>
            </a:r>
            <a:endParaRPr lang="es-EC" sz="1000" dirty="0" smtClean="0">
              <a:solidFill>
                <a:schemeClr val="bg1"/>
              </a:solidFill>
              <a:latin typeface="+mj-lt"/>
            </a:endParaRPr>
          </a:p>
        </p:txBody>
      </p:sp>
      <p:sp>
        <p:nvSpPr>
          <p:cNvPr id="21" name="20 Rectángulo"/>
          <p:cNvSpPr/>
          <p:nvPr/>
        </p:nvSpPr>
        <p:spPr>
          <a:xfrm rot="16200000">
            <a:off x="-107559" y="2602565"/>
            <a:ext cx="1824415" cy="372548"/>
          </a:xfrm>
          <a:prstGeom prst="rect">
            <a:avLst/>
          </a:prstGeom>
          <a:solidFill>
            <a:schemeClr val="tx1">
              <a:lumMod val="50000"/>
              <a:lumOff val="50000"/>
            </a:schemeClr>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r>
              <a:rPr lang="es-EC" sz="1000" b="1" dirty="0" smtClean="0">
                <a:solidFill>
                  <a:schemeClr val="bg1"/>
                </a:solidFill>
                <a:latin typeface="+mj-lt"/>
              </a:rPr>
              <a:t>Importancia de Atributos</a:t>
            </a:r>
          </a:p>
        </p:txBody>
      </p:sp>
      <p:graphicFrame>
        <p:nvGraphicFramePr>
          <p:cNvPr id="17" name="4 Gráfico"/>
          <p:cNvGraphicFramePr>
            <a:graphicFrameLocks/>
          </p:cNvGraphicFramePr>
          <p:nvPr>
            <p:extLst>
              <p:ext uri="{D42A27DB-BD31-4B8C-83A1-F6EECF244321}">
                <p14:modId xmlns:p14="http://schemas.microsoft.com/office/powerpoint/2010/main" val="761638129"/>
              </p:ext>
            </p:extLst>
          </p:nvPr>
        </p:nvGraphicFramePr>
        <p:xfrm>
          <a:off x="1349553" y="1455089"/>
          <a:ext cx="6220089" cy="2941982"/>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8760940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14 Objeto" hidden="1"/>
          <p:cNvGraphicFramePr>
            <a:graphicFrameLocks noChangeAspect="1"/>
          </p:cNvGraphicFramePr>
          <p:nvPr>
            <p:custDataLst>
              <p:tags r:id="rId2"/>
            </p:custDataLst>
            <p:extLst>
              <p:ext uri="{D42A27DB-BD31-4B8C-83A1-F6EECF244321}">
                <p14:modId xmlns:p14="http://schemas.microsoft.com/office/powerpoint/2010/main" val="13786948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7" name="Diapositiva de think-cell" r:id="rId4" imgW="336" imgH="336" progId="TCLayout.ActiveDocument.1">
                  <p:embed/>
                </p:oleObj>
              </mc:Choice>
              <mc:Fallback>
                <p:oleObj name="Diapositiva de think-cell" r:id="rId4" imgW="336" imgH="33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1 Título"/>
          <p:cNvSpPr>
            <a:spLocks noGrp="1"/>
          </p:cNvSpPr>
          <p:nvPr>
            <p:ph type="title"/>
          </p:nvPr>
        </p:nvSpPr>
        <p:spPr/>
        <p:txBody>
          <a:bodyPr/>
          <a:lstStyle/>
          <a:p>
            <a:r>
              <a:rPr lang="es-EC" dirty="0"/>
              <a:t>Banco de Guayaquil</a:t>
            </a:r>
          </a:p>
        </p:txBody>
      </p:sp>
      <p:sp>
        <p:nvSpPr>
          <p:cNvPr id="3" name="2 Marcador de texto"/>
          <p:cNvSpPr>
            <a:spLocks noGrp="1"/>
          </p:cNvSpPr>
          <p:nvPr>
            <p:ph type="body" sz="quarter" idx="20"/>
          </p:nvPr>
        </p:nvSpPr>
        <p:spPr/>
        <p:txBody>
          <a:bodyPr/>
          <a:lstStyle/>
          <a:p>
            <a:endParaRPr lang="es-EC" dirty="0"/>
          </a:p>
        </p:txBody>
      </p:sp>
      <p:sp>
        <p:nvSpPr>
          <p:cNvPr id="5" name="4 Marcador de texto"/>
          <p:cNvSpPr>
            <a:spLocks noGrp="1"/>
          </p:cNvSpPr>
          <p:nvPr>
            <p:ph type="body" sz="quarter" idx="25"/>
          </p:nvPr>
        </p:nvSpPr>
        <p:spPr/>
        <p:txBody>
          <a:bodyPr/>
          <a:lstStyle/>
          <a:p>
            <a:endParaRPr lang="es-EC"/>
          </a:p>
        </p:txBody>
      </p:sp>
      <p:sp>
        <p:nvSpPr>
          <p:cNvPr id="6" name="5 Marcador de número de diapositiva"/>
          <p:cNvSpPr>
            <a:spLocks noGrp="1"/>
          </p:cNvSpPr>
          <p:nvPr>
            <p:ph type="sldNum" sz="quarter" idx="4"/>
          </p:nvPr>
        </p:nvSpPr>
        <p:spPr/>
        <p:txBody>
          <a:bodyPr/>
          <a:lstStyle/>
          <a:p>
            <a:fld id="{19AB4E72-7858-48F1-A40D-12FF09E4BFB8}" type="slidenum">
              <a:rPr lang="en-GB" smtClean="0"/>
              <a:pPr/>
              <a:t>5</a:t>
            </a:fld>
            <a:endParaRPr lang="en-GB"/>
          </a:p>
        </p:txBody>
      </p:sp>
      <p:sp>
        <p:nvSpPr>
          <p:cNvPr id="7" name="6 Marcador de pie de página"/>
          <p:cNvSpPr>
            <a:spLocks noGrp="1"/>
          </p:cNvSpPr>
          <p:nvPr>
            <p:ph type="ftr" sz="quarter" idx="11"/>
          </p:nvPr>
        </p:nvSpPr>
        <p:spPr/>
        <p:txBody>
          <a:bodyPr/>
          <a:lstStyle/>
          <a:p>
            <a:endParaRPr lang="pt-BR"/>
          </a:p>
        </p:txBody>
      </p:sp>
      <p:cxnSp>
        <p:nvCxnSpPr>
          <p:cNvPr id="12" name="11 Conector recto"/>
          <p:cNvCxnSpPr/>
          <p:nvPr/>
        </p:nvCxnSpPr>
        <p:spPr>
          <a:xfrm>
            <a:off x="1349554" y="2592958"/>
            <a:ext cx="6220088" cy="0"/>
          </a:xfrm>
          <a:prstGeom prst="line">
            <a:avLst/>
          </a:prstGeom>
          <a:ln w="6350">
            <a:solidFill>
              <a:schemeClr val="tx1">
                <a:lumMod val="50000"/>
                <a:lumOff val="50000"/>
              </a:schemeClr>
            </a:solidFill>
            <a:prstDash val="solid"/>
            <a:miter lim="800000"/>
          </a:ln>
        </p:spPr>
        <p:style>
          <a:lnRef idx="1">
            <a:schemeClr val="accent1"/>
          </a:lnRef>
          <a:fillRef idx="0">
            <a:schemeClr val="accent1"/>
          </a:fillRef>
          <a:effectRef idx="0">
            <a:schemeClr val="accent1"/>
          </a:effectRef>
          <a:fontRef idx="minor">
            <a:schemeClr val="tx1"/>
          </a:fontRef>
        </p:style>
      </p:cxnSp>
      <p:sp>
        <p:nvSpPr>
          <p:cNvPr id="13" name="12 Rectángulo"/>
          <p:cNvSpPr/>
          <p:nvPr/>
        </p:nvSpPr>
        <p:spPr>
          <a:xfrm>
            <a:off x="7929822" y="2429847"/>
            <a:ext cx="705546" cy="288632"/>
          </a:xfrm>
          <a:prstGeom prst="rect">
            <a:avLst/>
          </a:prstGeom>
          <a:solidFill>
            <a:schemeClr val="tx1">
              <a:lumMod val="50000"/>
              <a:lumOff val="50000"/>
            </a:schemeClr>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r>
              <a:rPr lang="es-EC" sz="800" dirty="0" smtClean="0">
                <a:solidFill>
                  <a:schemeClr val="bg1"/>
                </a:solidFill>
                <a:latin typeface="+mj-lt"/>
              </a:rPr>
              <a:t>Media 0,49</a:t>
            </a:r>
          </a:p>
        </p:txBody>
      </p:sp>
      <p:sp>
        <p:nvSpPr>
          <p:cNvPr id="20" name="19 Rectángulo"/>
          <p:cNvSpPr/>
          <p:nvPr/>
        </p:nvSpPr>
        <p:spPr>
          <a:xfrm>
            <a:off x="4110806" y="4538406"/>
            <a:ext cx="2006856" cy="210294"/>
          </a:xfrm>
          <a:prstGeom prst="rect">
            <a:avLst/>
          </a:prstGeom>
          <a:solidFill>
            <a:schemeClr val="tx1">
              <a:lumMod val="50000"/>
              <a:lumOff val="50000"/>
            </a:schemeClr>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r>
              <a:rPr lang="es-EC" sz="1000" dirty="0" err="1" smtClean="0">
                <a:solidFill>
                  <a:schemeClr val="bg1"/>
                </a:solidFill>
                <a:latin typeface="+mj-lt"/>
              </a:rPr>
              <a:t>BIPs</a:t>
            </a:r>
            <a:endParaRPr lang="es-EC" sz="1000" dirty="0" smtClean="0">
              <a:solidFill>
                <a:schemeClr val="bg1"/>
              </a:solidFill>
              <a:latin typeface="+mj-lt"/>
            </a:endParaRPr>
          </a:p>
        </p:txBody>
      </p:sp>
      <p:sp>
        <p:nvSpPr>
          <p:cNvPr id="21" name="20 Rectángulo"/>
          <p:cNvSpPr/>
          <p:nvPr/>
        </p:nvSpPr>
        <p:spPr>
          <a:xfrm rot="16200000">
            <a:off x="-107559" y="2602565"/>
            <a:ext cx="1824415" cy="372548"/>
          </a:xfrm>
          <a:prstGeom prst="rect">
            <a:avLst/>
          </a:prstGeom>
          <a:solidFill>
            <a:schemeClr val="tx1">
              <a:lumMod val="50000"/>
              <a:lumOff val="50000"/>
            </a:schemeClr>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r>
              <a:rPr lang="es-EC" sz="1000" b="1" dirty="0" smtClean="0">
                <a:solidFill>
                  <a:schemeClr val="bg1"/>
                </a:solidFill>
                <a:latin typeface="+mj-lt"/>
              </a:rPr>
              <a:t>Importancia de Atributos</a:t>
            </a:r>
          </a:p>
        </p:txBody>
      </p:sp>
      <p:graphicFrame>
        <p:nvGraphicFramePr>
          <p:cNvPr id="14" name="6 Gráfico"/>
          <p:cNvGraphicFramePr>
            <a:graphicFrameLocks/>
          </p:cNvGraphicFramePr>
          <p:nvPr>
            <p:extLst>
              <p:ext uri="{D42A27DB-BD31-4B8C-83A1-F6EECF244321}">
                <p14:modId xmlns:p14="http://schemas.microsoft.com/office/powerpoint/2010/main" val="3027552589"/>
              </p:ext>
            </p:extLst>
          </p:nvPr>
        </p:nvGraphicFramePr>
        <p:xfrm>
          <a:off x="1295400" y="1423282"/>
          <a:ext cx="6553200" cy="299492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1457693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C" dirty="0" smtClean="0"/>
              <a:t>Banco del Austro</a:t>
            </a:r>
            <a:endParaRPr lang="es-EC" dirty="0"/>
          </a:p>
        </p:txBody>
      </p:sp>
      <p:sp>
        <p:nvSpPr>
          <p:cNvPr id="3" name="2 Marcador de texto"/>
          <p:cNvSpPr>
            <a:spLocks noGrp="1"/>
          </p:cNvSpPr>
          <p:nvPr>
            <p:ph type="body" sz="quarter" idx="20"/>
          </p:nvPr>
        </p:nvSpPr>
        <p:spPr/>
        <p:txBody>
          <a:bodyPr/>
          <a:lstStyle/>
          <a:p>
            <a:endParaRPr lang="es-EC"/>
          </a:p>
        </p:txBody>
      </p:sp>
      <p:sp>
        <p:nvSpPr>
          <p:cNvPr id="5" name="4 Marcador de texto"/>
          <p:cNvSpPr>
            <a:spLocks noGrp="1"/>
          </p:cNvSpPr>
          <p:nvPr>
            <p:ph type="body" sz="quarter" idx="25"/>
          </p:nvPr>
        </p:nvSpPr>
        <p:spPr/>
        <p:txBody>
          <a:bodyPr/>
          <a:lstStyle/>
          <a:p>
            <a:endParaRPr lang="es-EC"/>
          </a:p>
        </p:txBody>
      </p:sp>
      <p:sp>
        <p:nvSpPr>
          <p:cNvPr id="6" name="5 Marcador de número de diapositiva"/>
          <p:cNvSpPr>
            <a:spLocks noGrp="1"/>
          </p:cNvSpPr>
          <p:nvPr>
            <p:ph type="sldNum" sz="quarter" idx="4"/>
          </p:nvPr>
        </p:nvSpPr>
        <p:spPr/>
        <p:txBody>
          <a:bodyPr/>
          <a:lstStyle/>
          <a:p>
            <a:fld id="{19AB4E72-7858-48F1-A40D-12FF09E4BFB8}" type="slidenum">
              <a:rPr lang="en-GB" smtClean="0"/>
              <a:pPr/>
              <a:t>6</a:t>
            </a:fld>
            <a:endParaRPr lang="en-GB"/>
          </a:p>
        </p:txBody>
      </p:sp>
      <p:sp>
        <p:nvSpPr>
          <p:cNvPr id="7" name="6 Marcador de pie de página"/>
          <p:cNvSpPr>
            <a:spLocks noGrp="1"/>
          </p:cNvSpPr>
          <p:nvPr>
            <p:ph type="ftr" sz="quarter" idx="11"/>
          </p:nvPr>
        </p:nvSpPr>
        <p:spPr/>
        <p:txBody>
          <a:bodyPr/>
          <a:lstStyle/>
          <a:p>
            <a:endParaRPr lang="pt-BR"/>
          </a:p>
        </p:txBody>
      </p:sp>
      <p:graphicFrame>
        <p:nvGraphicFramePr>
          <p:cNvPr id="8" name="4 Gráfico"/>
          <p:cNvGraphicFramePr>
            <a:graphicFrameLocks/>
          </p:cNvGraphicFramePr>
          <p:nvPr>
            <p:extLst>
              <p:ext uri="{D42A27DB-BD31-4B8C-83A1-F6EECF244321}">
                <p14:modId xmlns:p14="http://schemas.microsoft.com/office/powerpoint/2010/main" val="1684299709"/>
              </p:ext>
            </p:extLst>
          </p:nvPr>
        </p:nvGraphicFramePr>
        <p:xfrm>
          <a:off x="1033007" y="1390546"/>
          <a:ext cx="6553200" cy="3162300"/>
        </p:xfrm>
        <a:graphic>
          <a:graphicData uri="http://schemas.openxmlformats.org/drawingml/2006/chart">
            <c:chart xmlns:c="http://schemas.openxmlformats.org/drawingml/2006/chart" xmlns:r="http://schemas.openxmlformats.org/officeDocument/2006/relationships" r:id="rId2"/>
          </a:graphicData>
        </a:graphic>
      </p:graphicFrame>
      <p:cxnSp>
        <p:nvCxnSpPr>
          <p:cNvPr id="11" name="10 Conector recto"/>
          <p:cNvCxnSpPr/>
          <p:nvPr/>
        </p:nvCxnSpPr>
        <p:spPr>
          <a:xfrm>
            <a:off x="1357505" y="2648615"/>
            <a:ext cx="6220088" cy="0"/>
          </a:xfrm>
          <a:prstGeom prst="line">
            <a:avLst/>
          </a:prstGeom>
          <a:ln w="6350">
            <a:solidFill>
              <a:schemeClr val="tx1">
                <a:lumMod val="50000"/>
                <a:lumOff val="50000"/>
              </a:schemeClr>
            </a:solidFill>
            <a:prstDash val="solid"/>
            <a:miter lim="800000"/>
          </a:ln>
        </p:spPr>
        <p:style>
          <a:lnRef idx="1">
            <a:schemeClr val="accent1"/>
          </a:lnRef>
          <a:fillRef idx="0">
            <a:schemeClr val="accent1"/>
          </a:fillRef>
          <a:effectRef idx="0">
            <a:schemeClr val="accent1"/>
          </a:effectRef>
          <a:fontRef idx="minor">
            <a:schemeClr val="tx1"/>
          </a:fontRef>
        </p:style>
      </p:cxnSp>
      <p:sp>
        <p:nvSpPr>
          <p:cNvPr id="12" name="11 Rectángulo"/>
          <p:cNvSpPr/>
          <p:nvPr/>
        </p:nvSpPr>
        <p:spPr>
          <a:xfrm>
            <a:off x="7929822" y="2429847"/>
            <a:ext cx="705546" cy="288632"/>
          </a:xfrm>
          <a:prstGeom prst="rect">
            <a:avLst/>
          </a:prstGeom>
          <a:solidFill>
            <a:schemeClr val="tx1">
              <a:lumMod val="50000"/>
              <a:lumOff val="50000"/>
            </a:schemeClr>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r>
              <a:rPr lang="es-EC" sz="800" dirty="0" smtClean="0">
                <a:solidFill>
                  <a:schemeClr val="bg1"/>
                </a:solidFill>
                <a:latin typeface="+mj-lt"/>
              </a:rPr>
              <a:t>Media 0,49</a:t>
            </a:r>
          </a:p>
        </p:txBody>
      </p:sp>
      <p:sp>
        <p:nvSpPr>
          <p:cNvPr id="13" name="12 Rectángulo"/>
          <p:cNvSpPr/>
          <p:nvPr/>
        </p:nvSpPr>
        <p:spPr>
          <a:xfrm>
            <a:off x="3371363" y="4538406"/>
            <a:ext cx="2006856" cy="210294"/>
          </a:xfrm>
          <a:prstGeom prst="rect">
            <a:avLst/>
          </a:prstGeom>
          <a:solidFill>
            <a:schemeClr val="tx1">
              <a:lumMod val="50000"/>
              <a:lumOff val="50000"/>
            </a:schemeClr>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r>
              <a:rPr lang="es-EC" sz="1000" dirty="0" err="1" smtClean="0">
                <a:solidFill>
                  <a:schemeClr val="bg1"/>
                </a:solidFill>
                <a:latin typeface="+mj-lt"/>
              </a:rPr>
              <a:t>BIPs</a:t>
            </a:r>
            <a:endParaRPr lang="es-EC" sz="1000" dirty="0" smtClean="0">
              <a:solidFill>
                <a:schemeClr val="bg1"/>
              </a:solidFill>
              <a:latin typeface="+mj-lt"/>
            </a:endParaRPr>
          </a:p>
        </p:txBody>
      </p:sp>
      <p:sp>
        <p:nvSpPr>
          <p:cNvPr id="14" name="13 Rectángulo"/>
          <p:cNvSpPr/>
          <p:nvPr/>
        </p:nvSpPr>
        <p:spPr>
          <a:xfrm rot="16200000">
            <a:off x="-210922" y="2602565"/>
            <a:ext cx="1824415" cy="372548"/>
          </a:xfrm>
          <a:prstGeom prst="rect">
            <a:avLst/>
          </a:prstGeom>
          <a:solidFill>
            <a:schemeClr val="tx1">
              <a:lumMod val="50000"/>
              <a:lumOff val="50000"/>
            </a:schemeClr>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r>
              <a:rPr lang="es-EC" sz="1000" b="1" dirty="0" smtClean="0">
                <a:solidFill>
                  <a:schemeClr val="bg1"/>
                </a:solidFill>
                <a:latin typeface="+mj-lt"/>
              </a:rPr>
              <a:t>Importancia de Atributos</a:t>
            </a:r>
          </a:p>
        </p:txBody>
      </p:sp>
    </p:spTree>
    <p:extLst>
      <p:ext uri="{BB962C8B-B14F-4D97-AF65-F5344CB8AC3E}">
        <p14:creationId xmlns:p14="http://schemas.microsoft.com/office/powerpoint/2010/main" val="35844856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C" dirty="0" smtClean="0"/>
              <a:t>Banco del pacífico</a:t>
            </a:r>
            <a:endParaRPr lang="es-EC" dirty="0"/>
          </a:p>
        </p:txBody>
      </p:sp>
      <p:sp>
        <p:nvSpPr>
          <p:cNvPr id="3" name="2 Marcador de texto"/>
          <p:cNvSpPr>
            <a:spLocks noGrp="1"/>
          </p:cNvSpPr>
          <p:nvPr>
            <p:ph type="body" sz="quarter" idx="20"/>
          </p:nvPr>
        </p:nvSpPr>
        <p:spPr/>
        <p:txBody>
          <a:bodyPr/>
          <a:lstStyle/>
          <a:p>
            <a:endParaRPr lang="es-EC"/>
          </a:p>
        </p:txBody>
      </p:sp>
      <p:sp>
        <p:nvSpPr>
          <p:cNvPr id="5" name="4 Marcador de texto"/>
          <p:cNvSpPr>
            <a:spLocks noGrp="1"/>
          </p:cNvSpPr>
          <p:nvPr>
            <p:ph type="body" sz="quarter" idx="25"/>
          </p:nvPr>
        </p:nvSpPr>
        <p:spPr/>
        <p:txBody>
          <a:bodyPr/>
          <a:lstStyle/>
          <a:p>
            <a:endParaRPr lang="es-EC"/>
          </a:p>
        </p:txBody>
      </p:sp>
      <p:sp>
        <p:nvSpPr>
          <p:cNvPr id="6" name="5 Marcador de número de diapositiva"/>
          <p:cNvSpPr>
            <a:spLocks noGrp="1"/>
          </p:cNvSpPr>
          <p:nvPr>
            <p:ph type="sldNum" sz="quarter" idx="4"/>
          </p:nvPr>
        </p:nvSpPr>
        <p:spPr/>
        <p:txBody>
          <a:bodyPr/>
          <a:lstStyle/>
          <a:p>
            <a:fld id="{19AB4E72-7858-48F1-A40D-12FF09E4BFB8}" type="slidenum">
              <a:rPr lang="en-GB" smtClean="0"/>
              <a:pPr/>
              <a:t>7</a:t>
            </a:fld>
            <a:endParaRPr lang="en-GB"/>
          </a:p>
        </p:txBody>
      </p:sp>
      <p:sp>
        <p:nvSpPr>
          <p:cNvPr id="7" name="6 Marcador de pie de página"/>
          <p:cNvSpPr>
            <a:spLocks noGrp="1"/>
          </p:cNvSpPr>
          <p:nvPr>
            <p:ph type="ftr" sz="quarter" idx="11"/>
          </p:nvPr>
        </p:nvSpPr>
        <p:spPr/>
        <p:txBody>
          <a:bodyPr/>
          <a:lstStyle/>
          <a:p>
            <a:endParaRPr lang="pt-BR"/>
          </a:p>
        </p:txBody>
      </p:sp>
      <p:cxnSp>
        <p:nvCxnSpPr>
          <p:cNvPr id="11" name="10 Conector recto"/>
          <p:cNvCxnSpPr/>
          <p:nvPr/>
        </p:nvCxnSpPr>
        <p:spPr>
          <a:xfrm>
            <a:off x="1532427" y="2720174"/>
            <a:ext cx="6220088" cy="0"/>
          </a:xfrm>
          <a:prstGeom prst="line">
            <a:avLst/>
          </a:prstGeom>
          <a:ln w="6350">
            <a:solidFill>
              <a:schemeClr val="tx1">
                <a:lumMod val="50000"/>
                <a:lumOff val="50000"/>
              </a:schemeClr>
            </a:solidFill>
            <a:prstDash val="solid"/>
            <a:miter lim="800000"/>
          </a:ln>
        </p:spPr>
        <p:style>
          <a:lnRef idx="1">
            <a:schemeClr val="accent1"/>
          </a:lnRef>
          <a:fillRef idx="0">
            <a:schemeClr val="accent1"/>
          </a:fillRef>
          <a:effectRef idx="0">
            <a:schemeClr val="accent1"/>
          </a:effectRef>
          <a:fontRef idx="minor">
            <a:schemeClr val="tx1"/>
          </a:fontRef>
        </p:style>
      </p:cxnSp>
      <p:sp>
        <p:nvSpPr>
          <p:cNvPr id="12" name="11 Rectángulo"/>
          <p:cNvSpPr/>
          <p:nvPr/>
        </p:nvSpPr>
        <p:spPr>
          <a:xfrm>
            <a:off x="7913920" y="2557063"/>
            <a:ext cx="705546" cy="288632"/>
          </a:xfrm>
          <a:prstGeom prst="rect">
            <a:avLst/>
          </a:prstGeom>
          <a:solidFill>
            <a:schemeClr val="tx1">
              <a:lumMod val="50000"/>
              <a:lumOff val="50000"/>
            </a:schemeClr>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r>
              <a:rPr lang="es-EC" sz="800" dirty="0" smtClean="0">
                <a:solidFill>
                  <a:schemeClr val="bg1"/>
                </a:solidFill>
                <a:latin typeface="+mj-lt"/>
              </a:rPr>
              <a:t>Media 0,49</a:t>
            </a:r>
          </a:p>
        </p:txBody>
      </p:sp>
      <p:sp>
        <p:nvSpPr>
          <p:cNvPr id="13" name="12 Rectángulo"/>
          <p:cNvSpPr/>
          <p:nvPr/>
        </p:nvSpPr>
        <p:spPr>
          <a:xfrm>
            <a:off x="3371363" y="4538406"/>
            <a:ext cx="2006856" cy="210294"/>
          </a:xfrm>
          <a:prstGeom prst="rect">
            <a:avLst/>
          </a:prstGeom>
          <a:solidFill>
            <a:schemeClr val="tx1">
              <a:lumMod val="50000"/>
              <a:lumOff val="50000"/>
            </a:schemeClr>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r>
              <a:rPr lang="es-EC" sz="1000" dirty="0" err="1" smtClean="0">
                <a:solidFill>
                  <a:schemeClr val="bg1"/>
                </a:solidFill>
                <a:latin typeface="+mj-lt"/>
              </a:rPr>
              <a:t>BIPs</a:t>
            </a:r>
            <a:endParaRPr lang="es-EC" sz="1000" dirty="0" smtClean="0">
              <a:solidFill>
                <a:schemeClr val="bg1"/>
              </a:solidFill>
              <a:latin typeface="+mj-lt"/>
            </a:endParaRPr>
          </a:p>
        </p:txBody>
      </p:sp>
      <p:sp>
        <p:nvSpPr>
          <p:cNvPr id="14" name="13 Rectángulo"/>
          <p:cNvSpPr/>
          <p:nvPr/>
        </p:nvSpPr>
        <p:spPr>
          <a:xfrm rot="16200000">
            <a:off x="-210922" y="2602565"/>
            <a:ext cx="1824415" cy="372548"/>
          </a:xfrm>
          <a:prstGeom prst="rect">
            <a:avLst/>
          </a:prstGeom>
          <a:solidFill>
            <a:schemeClr val="tx1">
              <a:lumMod val="50000"/>
              <a:lumOff val="50000"/>
            </a:schemeClr>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r>
              <a:rPr lang="es-EC" sz="1000" b="1" dirty="0" smtClean="0">
                <a:solidFill>
                  <a:schemeClr val="bg1"/>
                </a:solidFill>
                <a:latin typeface="+mj-lt"/>
              </a:rPr>
              <a:t>Importancia de Atributos</a:t>
            </a:r>
          </a:p>
        </p:txBody>
      </p:sp>
      <p:graphicFrame>
        <p:nvGraphicFramePr>
          <p:cNvPr id="15" name="5 Gráfico"/>
          <p:cNvGraphicFramePr>
            <a:graphicFrameLocks/>
          </p:cNvGraphicFramePr>
          <p:nvPr>
            <p:extLst>
              <p:ext uri="{D42A27DB-BD31-4B8C-83A1-F6EECF244321}">
                <p14:modId xmlns:p14="http://schemas.microsoft.com/office/powerpoint/2010/main" val="42301377"/>
              </p:ext>
            </p:extLst>
          </p:nvPr>
        </p:nvGraphicFramePr>
        <p:xfrm>
          <a:off x="1295400" y="1454139"/>
          <a:ext cx="6553200" cy="31623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4569771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ntent Slides">
  <a:themeElements>
    <a:clrScheme name="MB 2015">
      <a:dk1>
        <a:srgbClr val="000000"/>
      </a:dk1>
      <a:lt1>
        <a:sysClr val="window" lastClr="FFFFFF"/>
      </a:lt1>
      <a:dk2>
        <a:srgbClr val="A2AD00"/>
      </a:dk2>
      <a:lt2>
        <a:srgbClr val="6A8012"/>
      </a:lt2>
      <a:accent1>
        <a:srgbClr val="2E7DE1"/>
      </a:accent1>
      <a:accent2>
        <a:srgbClr val="17248B"/>
      </a:accent2>
      <a:accent3>
        <a:srgbClr val="F3AE00"/>
      </a:accent3>
      <a:accent4>
        <a:srgbClr val="FF661B"/>
      </a:accent4>
      <a:accent5>
        <a:srgbClr val="AB0032"/>
      </a:accent5>
      <a:accent6>
        <a:srgbClr val="C3C5C8"/>
      </a:accent6>
      <a:hlink>
        <a:srgbClr val="8A8A8D"/>
      </a:hlink>
      <a:folHlink>
        <a:srgbClr val="4B4E53"/>
      </a:folHlink>
    </a:clrScheme>
    <a:fontScheme name="Millward Brown 2015">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lumMod val="85000"/>
            <a:lumOff val="15000"/>
          </a:schemeClr>
        </a:solidFill>
        <a:ln w="9525">
          <a:noFill/>
          <a:miter lim="800000"/>
        </a:ln>
        <a:effectLst/>
      </a:spPr>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defPPr algn="ctr">
          <a:defRPr sz="1000" dirty="0" smtClean="0">
            <a:solidFill>
              <a:schemeClr val="bg1"/>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rgbClr val="D8D1C9"/>
          </a:solidFill>
          <a:prstDash val="dash"/>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000" b="1" dirty="0" smtClean="0">
            <a:solidFill>
              <a:schemeClr val="tx1">
                <a:lumMod val="75000"/>
                <a:lumOff val="25000"/>
              </a:schemeClr>
            </a:solidFill>
            <a:latin typeface="Arial" panose="020B0604020202020204" pitchFamily="34" charset="0"/>
            <a:cs typeface="Arial" panose="020B0604020202020204" pitchFamily="34" charset="0"/>
          </a:defRPr>
        </a:defPPr>
      </a:lstStyle>
    </a:txDef>
  </a:objectDefaults>
  <a:extraClrSchemeLst/>
</a:theme>
</file>

<file path=ppt/theme/theme10.xml><?xml version="1.0" encoding="utf-8"?>
<a:theme xmlns:a="http://schemas.openxmlformats.org/drawingml/2006/main" name="D_MB">
  <a:themeElements>
    <a:clrScheme name="MB 2015">
      <a:dk1>
        <a:srgbClr val="000000"/>
      </a:dk1>
      <a:lt1>
        <a:sysClr val="window" lastClr="FFFFFF"/>
      </a:lt1>
      <a:dk2>
        <a:srgbClr val="A2AD00"/>
      </a:dk2>
      <a:lt2>
        <a:srgbClr val="6A8012"/>
      </a:lt2>
      <a:accent1>
        <a:srgbClr val="2E7DE1"/>
      </a:accent1>
      <a:accent2>
        <a:srgbClr val="17248B"/>
      </a:accent2>
      <a:accent3>
        <a:srgbClr val="F3AE00"/>
      </a:accent3>
      <a:accent4>
        <a:srgbClr val="FF661B"/>
      </a:accent4>
      <a:accent5>
        <a:srgbClr val="AB0032"/>
      </a:accent5>
      <a:accent6>
        <a:srgbClr val="C3C5C8"/>
      </a:accent6>
      <a:hlink>
        <a:srgbClr val="8A8A8D"/>
      </a:hlink>
      <a:folHlink>
        <a:srgbClr val="4B4E53"/>
      </a:folHlink>
    </a:clrScheme>
    <a:fontScheme name="Millward Brown 2015">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lumMod val="85000"/>
            <a:lumOff val="15000"/>
          </a:schemeClr>
        </a:solidFill>
        <a:ln w="9525">
          <a:noFill/>
          <a:miter lim="800000"/>
        </a:ln>
        <a:effectLst/>
      </a:spPr>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defPPr>
          <a:defRPr sz="600" dirty="0" smtClean="0">
            <a:solidFill>
              <a:schemeClr val="bg1"/>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rgbClr val="D8D1C9"/>
          </a:solidFill>
          <a:prstDash val="dash"/>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000" b="1" dirty="0" smtClean="0">
            <a:solidFill>
              <a:schemeClr val="tx1">
                <a:lumMod val="75000"/>
                <a:lumOff val="25000"/>
              </a:schemeClr>
            </a:solidFill>
            <a:latin typeface="Arial" panose="020B0604020202020204" pitchFamily="34" charset="0"/>
            <a:cs typeface="Arial" panose="020B0604020202020204" pitchFamily="34" charset="0"/>
          </a:defRPr>
        </a:defPPr>
      </a:lstStyle>
    </a:txDef>
  </a:objectDefaults>
  <a:extraClrSchemeLst/>
</a:theme>
</file>

<file path=ppt/theme/theme11.xml><?xml version="1.0" encoding="utf-8"?>
<a:theme xmlns:a="http://schemas.openxmlformats.org/drawingml/2006/main" name="D_V_MB">
  <a:themeElements>
    <a:clrScheme name="MB 2015">
      <a:dk1>
        <a:srgbClr val="000000"/>
      </a:dk1>
      <a:lt1>
        <a:sysClr val="window" lastClr="FFFFFF"/>
      </a:lt1>
      <a:dk2>
        <a:srgbClr val="A2AD00"/>
      </a:dk2>
      <a:lt2>
        <a:srgbClr val="6A8012"/>
      </a:lt2>
      <a:accent1>
        <a:srgbClr val="2E7DE1"/>
      </a:accent1>
      <a:accent2>
        <a:srgbClr val="17248B"/>
      </a:accent2>
      <a:accent3>
        <a:srgbClr val="F3AE00"/>
      </a:accent3>
      <a:accent4>
        <a:srgbClr val="FF661B"/>
      </a:accent4>
      <a:accent5>
        <a:srgbClr val="AB0032"/>
      </a:accent5>
      <a:accent6>
        <a:srgbClr val="C3C5C8"/>
      </a:accent6>
      <a:hlink>
        <a:srgbClr val="8A8A8D"/>
      </a:hlink>
      <a:folHlink>
        <a:srgbClr val="4B4E53"/>
      </a:folHlink>
    </a:clrScheme>
    <a:fontScheme name="Millward Brown 2015">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lumMod val="85000"/>
            <a:lumOff val="15000"/>
          </a:schemeClr>
        </a:solidFill>
        <a:ln w="9525">
          <a:noFill/>
          <a:miter lim="800000"/>
        </a:ln>
        <a:effectLst/>
      </a:spPr>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defPPr>
          <a:defRPr sz="600" dirty="0" smtClean="0">
            <a:solidFill>
              <a:schemeClr val="bg1"/>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rgbClr val="D8D1C9"/>
          </a:solidFill>
          <a:prstDash val="dash"/>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000" b="1" dirty="0" smtClean="0">
            <a:solidFill>
              <a:schemeClr val="tx1">
                <a:lumMod val="75000"/>
                <a:lumOff val="25000"/>
              </a:schemeClr>
            </a:solidFill>
            <a:latin typeface="Arial" panose="020B0604020202020204" pitchFamily="34" charset="0"/>
            <a:cs typeface="Arial" panose="020B0604020202020204" pitchFamily="34" charset="0"/>
          </a:defRPr>
        </a:defPPr>
      </a:lstStyle>
    </a:txDef>
  </a:objectDefaults>
  <a:extraClrSchemeLst/>
</a:theme>
</file>

<file path=ppt/theme/theme12.xml><?xml version="1.0" encoding="utf-8"?>
<a:theme xmlns:a="http://schemas.openxmlformats.org/drawingml/2006/main" name="D_A_MB">
  <a:themeElements>
    <a:clrScheme name="MB 2015">
      <a:dk1>
        <a:srgbClr val="000000"/>
      </a:dk1>
      <a:lt1>
        <a:sysClr val="window" lastClr="FFFFFF"/>
      </a:lt1>
      <a:dk2>
        <a:srgbClr val="A2AD00"/>
      </a:dk2>
      <a:lt2>
        <a:srgbClr val="6A8012"/>
      </a:lt2>
      <a:accent1>
        <a:srgbClr val="2E7DE1"/>
      </a:accent1>
      <a:accent2>
        <a:srgbClr val="17248B"/>
      </a:accent2>
      <a:accent3>
        <a:srgbClr val="F3AE00"/>
      </a:accent3>
      <a:accent4>
        <a:srgbClr val="FF661B"/>
      </a:accent4>
      <a:accent5>
        <a:srgbClr val="AB0032"/>
      </a:accent5>
      <a:accent6>
        <a:srgbClr val="C3C5C8"/>
      </a:accent6>
      <a:hlink>
        <a:srgbClr val="8A8A8D"/>
      </a:hlink>
      <a:folHlink>
        <a:srgbClr val="4B4E53"/>
      </a:folHlink>
    </a:clrScheme>
    <a:fontScheme name="Millward Brown 2015">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lumMod val="85000"/>
            <a:lumOff val="15000"/>
          </a:schemeClr>
        </a:solidFill>
        <a:ln w="9525">
          <a:noFill/>
          <a:miter lim="800000"/>
        </a:ln>
        <a:effectLst/>
      </a:spPr>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defPPr>
          <a:defRPr sz="600" dirty="0" smtClean="0">
            <a:solidFill>
              <a:schemeClr val="bg1"/>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rgbClr val="D8D1C9"/>
          </a:solidFill>
          <a:prstDash val="dash"/>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000" b="1" dirty="0" smtClean="0">
            <a:solidFill>
              <a:schemeClr val="tx1">
                <a:lumMod val="75000"/>
                <a:lumOff val="25000"/>
              </a:schemeClr>
            </a:solidFill>
            <a:latin typeface="Arial" panose="020B0604020202020204" pitchFamily="34" charset="0"/>
            <a:cs typeface="Arial" panose="020B0604020202020204" pitchFamily="34" charset="0"/>
          </a:defRPr>
        </a:defPPr>
      </a:lstStyle>
    </a:txDef>
  </a:objectDefaults>
  <a:extraClrSchemeLst/>
</a:theme>
</file>

<file path=ppt/theme/theme13.xml><?xml version="1.0" encoding="utf-8"?>
<a:theme xmlns:a="http://schemas.openxmlformats.org/drawingml/2006/main" name="A_MB">
  <a:themeElements>
    <a:clrScheme name="MB 2015">
      <a:dk1>
        <a:srgbClr val="000000"/>
      </a:dk1>
      <a:lt1>
        <a:sysClr val="window" lastClr="FFFFFF"/>
      </a:lt1>
      <a:dk2>
        <a:srgbClr val="A2AD00"/>
      </a:dk2>
      <a:lt2>
        <a:srgbClr val="6A8012"/>
      </a:lt2>
      <a:accent1>
        <a:srgbClr val="2E7DE1"/>
      </a:accent1>
      <a:accent2>
        <a:srgbClr val="17248B"/>
      </a:accent2>
      <a:accent3>
        <a:srgbClr val="F3AE00"/>
      </a:accent3>
      <a:accent4>
        <a:srgbClr val="FF661B"/>
      </a:accent4>
      <a:accent5>
        <a:srgbClr val="AB0032"/>
      </a:accent5>
      <a:accent6>
        <a:srgbClr val="C3C5C8"/>
      </a:accent6>
      <a:hlink>
        <a:srgbClr val="8A8A8D"/>
      </a:hlink>
      <a:folHlink>
        <a:srgbClr val="4B4E53"/>
      </a:folHlink>
    </a:clrScheme>
    <a:fontScheme name="Millward Brown 2015">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lumMod val="85000"/>
            <a:lumOff val="15000"/>
          </a:schemeClr>
        </a:solidFill>
        <a:ln w="9525">
          <a:noFill/>
          <a:miter lim="800000"/>
        </a:ln>
        <a:effectLst/>
      </a:spPr>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defPPr>
          <a:defRPr sz="600" dirty="0" smtClean="0">
            <a:solidFill>
              <a:schemeClr val="bg1"/>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rgbClr val="D8D1C9"/>
          </a:solidFill>
          <a:prstDash val="dash"/>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000" b="1" dirty="0" smtClean="0">
            <a:solidFill>
              <a:schemeClr val="tx1">
                <a:lumMod val="75000"/>
                <a:lumOff val="25000"/>
              </a:schemeClr>
            </a:solidFill>
            <a:latin typeface="Arial" panose="020B0604020202020204" pitchFamily="34" charset="0"/>
            <a:cs typeface="Arial" panose="020B0604020202020204" pitchFamily="34" charset="0"/>
          </a:defRPr>
        </a:defPPr>
      </a:lstStyle>
    </a:txDef>
  </a:objectDefaults>
  <a:extraClrSchemeLst/>
</a:theme>
</file>

<file path=ppt/theme/theme14.xml><?xml version="1.0" encoding="utf-8"?>
<a:theme xmlns:a="http://schemas.openxmlformats.org/drawingml/2006/main" name="A_V_MB">
  <a:themeElements>
    <a:clrScheme name="MB 2015">
      <a:dk1>
        <a:srgbClr val="000000"/>
      </a:dk1>
      <a:lt1>
        <a:sysClr val="window" lastClr="FFFFFF"/>
      </a:lt1>
      <a:dk2>
        <a:srgbClr val="A2AD00"/>
      </a:dk2>
      <a:lt2>
        <a:srgbClr val="6A8012"/>
      </a:lt2>
      <a:accent1>
        <a:srgbClr val="2E7DE1"/>
      </a:accent1>
      <a:accent2>
        <a:srgbClr val="17248B"/>
      </a:accent2>
      <a:accent3>
        <a:srgbClr val="F3AE00"/>
      </a:accent3>
      <a:accent4>
        <a:srgbClr val="FF661B"/>
      </a:accent4>
      <a:accent5>
        <a:srgbClr val="AB0032"/>
      </a:accent5>
      <a:accent6>
        <a:srgbClr val="C3C5C8"/>
      </a:accent6>
      <a:hlink>
        <a:srgbClr val="8A8A8D"/>
      </a:hlink>
      <a:folHlink>
        <a:srgbClr val="4B4E53"/>
      </a:folHlink>
    </a:clrScheme>
    <a:fontScheme name="Millward Brown 2015">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lumMod val="85000"/>
            <a:lumOff val="15000"/>
          </a:schemeClr>
        </a:solidFill>
        <a:ln w="9525">
          <a:noFill/>
          <a:miter lim="800000"/>
        </a:ln>
        <a:effectLst/>
      </a:spPr>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defPPr>
          <a:defRPr sz="600" dirty="0" smtClean="0">
            <a:solidFill>
              <a:schemeClr val="bg1"/>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rgbClr val="D8D1C9"/>
          </a:solidFill>
          <a:prstDash val="dash"/>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000" b="1" dirty="0" smtClean="0">
            <a:solidFill>
              <a:schemeClr val="tx1">
                <a:lumMod val="75000"/>
                <a:lumOff val="25000"/>
              </a:schemeClr>
            </a:solidFill>
            <a:latin typeface="Arial" panose="020B0604020202020204" pitchFamily="34" charset="0"/>
            <a:cs typeface="Arial" panose="020B0604020202020204" pitchFamily="34" charset="0"/>
          </a:defRPr>
        </a:defPPr>
      </a:lstStyle>
    </a:txDef>
  </a:objectDefaults>
  <a:extraClrSchemeLst/>
</a:theme>
</file>

<file path=ppt/theme/theme15.xml><?xml version="1.0" encoding="utf-8"?>
<a:theme xmlns:a="http://schemas.openxmlformats.org/drawingml/2006/main" name="A_FF_MB">
  <a:themeElements>
    <a:clrScheme name="MB 2015">
      <a:dk1>
        <a:srgbClr val="000000"/>
      </a:dk1>
      <a:lt1>
        <a:sysClr val="window" lastClr="FFFFFF"/>
      </a:lt1>
      <a:dk2>
        <a:srgbClr val="A2AD00"/>
      </a:dk2>
      <a:lt2>
        <a:srgbClr val="6A8012"/>
      </a:lt2>
      <a:accent1>
        <a:srgbClr val="2E7DE1"/>
      </a:accent1>
      <a:accent2>
        <a:srgbClr val="17248B"/>
      </a:accent2>
      <a:accent3>
        <a:srgbClr val="F3AE00"/>
      </a:accent3>
      <a:accent4>
        <a:srgbClr val="FF661B"/>
      </a:accent4>
      <a:accent5>
        <a:srgbClr val="AB0032"/>
      </a:accent5>
      <a:accent6>
        <a:srgbClr val="C3C5C8"/>
      </a:accent6>
      <a:hlink>
        <a:srgbClr val="8A8A8D"/>
      </a:hlink>
      <a:folHlink>
        <a:srgbClr val="4B4E53"/>
      </a:folHlink>
    </a:clrScheme>
    <a:fontScheme name="Millward Brown 2015">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lumMod val="85000"/>
            <a:lumOff val="15000"/>
          </a:schemeClr>
        </a:solidFill>
        <a:ln w="9525">
          <a:noFill/>
          <a:miter lim="800000"/>
        </a:ln>
        <a:effectLst/>
      </a:spPr>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defPPr>
          <a:defRPr sz="600" dirty="0" smtClean="0">
            <a:solidFill>
              <a:schemeClr val="bg1"/>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rgbClr val="D8D1C9"/>
          </a:solidFill>
          <a:prstDash val="dash"/>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000" b="1" dirty="0" smtClean="0">
            <a:solidFill>
              <a:schemeClr val="tx1">
                <a:lumMod val="75000"/>
                <a:lumOff val="25000"/>
              </a:schemeClr>
            </a:solidFill>
            <a:latin typeface="Arial" panose="020B0604020202020204" pitchFamily="34" charset="0"/>
            <a:cs typeface="Arial" panose="020B0604020202020204" pitchFamily="34" charset="0"/>
          </a:defRPr>
        </a:defPPr>
      </a:lstStyle>
    </a:txDef>
  </a:objectDefaults>
  <a:extraClrSchemeLst/>
</a:theme>
</file>

<file path=ppt/theme/theme16.xml><?xml version="1.0" encoding="utf-8"?>
<a:theme xmlns:a="http://schemas.openxmlformats.org/drawingml/2006/main" name="A_D_MB">
  <a:themeElements>
    <a:clrScheme name="MB 2015">
      <a:dk1>
        <a:srgbClr val="000000"/>
      </a:dk1>
      <a:lt1>
        <a:sysClr val="window" lastClr="FFFFFF"/>
      </a:lt1>
      <a:dk2>
        <a:srgbClr val="A2AD00"/>
      </a:dk2>
      <a:lt2>
        <a:srgbClr val="6A8012"/>
      </a:lt2>
      <a:accent1>
        <a:srgbClr val="2E7DE1"/>
      </a:accent1>
      <a:accent2>
        <a:srgbClr val="17248B"/>
      </a:accent2>
      <a:accent3>
        <a:srgbClr val="F3AE00"/>
      </a:accent3>
      <a:accent4>
        <a:srgbClr val="FF661B"/>
      </a:accent4>
      <a:accent5>
        <a:srgbClr val="AB0032"/>
      </a:accent5>
      <a:accent6>
        <a:srgbClr val="C3C5C8"/>
      </a:accent6>
      <a:hlink>
        <a:srgbClr val="8A8A8D"/>
      </a:hlink>
      <a:folHlink>
        <a:srgbClr val="4B4E53"/>
      </a:folHlink>
    </a:clrScheme>
    <a:fontScheme name="Millward Brown 2015">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lumMod val="85000"/>
            <a:lumOff val="15000"/>
          </a:schemeClr>
        </a:solidFill>
        <a:ln w="9525">
          <a:noFill/>
          <a:miter lim="800000"/>
        </a:ln>
        <a:effectLst/>
      </a:spPr>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defPPr>
          <a:defRPr sz="600" dirty="0" smtClean="0">
            <a:solidFill>
              <a:schemeClr val="bg1"/>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rgbClr val="D8D1C9"/>
          </a:solidFill>
          <a:prstDash val="dash"/>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000" b="1" dirty="0" smtClean="0">
            <a:solidFill>
              <a:schemeClr val="tx1">
                <a:lumMod val="75000"/>
                <a:lumOff val="25000"/>
              </a:schemeClr>
            </a:solidFill>
            <a:latin typeface="Arial" panose="020B0604020202020204" pitchFamily="34" charset="0"/>
            <a:cs typeface="Arial" panose="020B0604020202020204" pitchFamily="34" charset="0"/>
          </a:defRPr>
        </a:defPPr>
      </a:lstStyle>
    </a:txDef>
  </a:objectDefaults>
  <a:extraClrSchemeLst/>
</a:theme>
</file>

<file path=ppt/theme/theme17.xml><?xml version="1.0" encoding="utf-8"?>
<a:theme xmlns:a="http://schemas.openxmlformats.org/drawingml/2006/main" name="Office Theme">
  <a:themeElements>
    <a:clrScheme name="MB NEW">
      <a:dk1>
        <a:sysClr val="windowText" lastClr="000000"/>
      </a:dk1>
      <a:lt1>
        <a:sysClr val="window" lastClr="FFFFFF"/>
      </a:lt1>
      <a:dk2>
        <a:srgbClr val="B2BB1E"/>
      </a:dk2>
      <a:lt2>
        <a:srgbClr val="6D8D24"/>
      </a:lt2>
      <a:accent1>
        <a:srgbClr val="5091CD"/>
      </a:accent1>
      <a:accent2>
        <a:srgbClr val="19398A"/>
      </a:accent2>
      <a:accent3>
        <a:srgbClr val="FDB924"/>
      </a:accent3>
      <a:accent4>
        <a:srgbClr val="EC881D"/>
      </a:accent4>
      <a:accent5>
        <a:srgbClr val="DBD8BD"/>
      </a:accent5>
      <a:accent6>
        <a:srgbClr val="C2D1D4"/>
      </a:accent6>
      <a:hlink>
        <a:srgbClr val="AF0838"/>
      </a:hlink>
      <a:folHlink>
        <a:srgbClr val="578AD6"/>
      </a:folHlink>
    </a:clrScheme>
    <a:fontScheme name="Millward Brown">
      <a:majorFont>
        <a:latin typeface="Georgia"/>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Office Theme">
  <a:themeElements>
    <a:clrScheme name="MB NEW">
      <a:dk1>
        <a:sysClr val="windowText" lastClr="000000"/>
      </a:dk1>
      <a:lt1>
        <a:sysClr val="window" lastClr="FFFFFF"/>
      </a:lt1>
      <a:dk2>
        <a:srgbClr val="B2BB1E"/>
      </a:dk2>
      <a:lt2>
        <a:srgbClr val="6D8D24"/>
      </a:lt2>
      <a:accent1>
        <a:srgbClr val="5091CD"/>
      </a:accent1>
      <a:accent2>
        <a:srgbClr val="19398A"/>
      </a:accent2>
      <a:accent3>
        <a:srgbClr val="FDB924"/>
      </a:accent3>
      <a:accent4>
        <a:srgbClr val="EC881D"/>
      </a:accent4>
      <a:accent5>
        <a:srgbClr val="DBD8BD"/>
      </a:accent5>
      <a:accent6>
        <a:srgbClr val="C2D1D4"/>
      </a:accent6>
      <a:hlink>
        <a:srgbClr val="AF0838"/>
      </a:hlink>
      <a:folHlink>
        <a:srgbClr val="578AD6"/>
      </a:folHlink>
    </a:clrScheme>
    <a:fontScheme name="Millward Brown">
      <a:majorFont>
        <a:latin typeface="Georgia"/>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V_MB">
  <a:themeElements>
    <a:clrScheme name="MB 2015">
      <a:dk1>
        <a:srgbClr val="000000"/>
      </a:dk1>
      <a:lt1>
        <a:sysClr val="window" lastClr="FFFFFF"/>
      </a:lt1>
      <a:dk2>
        <a:srgbClr val="A2AD00"/>
      </a:dk2>
      <a:lt2>
        <a:srgbClr val="6A8012"/>
      </a:lt2>
      <a:accent1>
        <a:srgbClr val="2E7DE1"/>
      </a:accent1>
      <a:accent2>
        <a:srgbClr val="17248B"/>
      </a:accent2>
      <a:accent3>
        <a:srgbClr val="F3AE00"/>
      </a:accent3>
      <a:accent4>
        <a:srgbClr val="FF661B"/>
      </a:accent4>
      <a:accent5>
        <a:srgbClr val="AB0032"/>
      </a:accent5>
      <a:accent6>
        <a:srgbClr val="C3C5C8"/>
      </a:accent6>
      <a:hlink>
        <a:srgbClr val="8A8A8D"/>
      </a:hlink>
      <a:folHlink>
        <a:srgbClr val="4B4E53"/>
      </a:folHlink>
    </a:clrScheme>
    <a:fontScheme name="Millward Brown 2015">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lumMod val="85000"/>
            <a:lumOff val="15000"/>
          </a:schemeClr>
        </a:solidFill>
        <a:ln w="9525">
          <a:noFill/>
          <a:miter lim="800000"/>
        </a:ln>
        <a:effectLst/>
      </a:spPr>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defPPr>
          <a:defRPr sz="600" dirty="0" smtClean="0">
            <a:solidFill>
              <a:schemeClr val="bg1"/>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rgbClr val="D8D1C9"/>
          </a:solidFill>
          <a:prstDash val="dash"/>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000" b="1" dirty="0" smtClean="0">
            <a:solidFill>
              <a:schemeClr val="tx1">
                <a:lumMod val="75000"/>
                <a:lumOff val="25000"/>
              </a:schemeClr>
            </a:solidFill>
            <a:latin typeface="Arial" panose="020B0604020202020204" pitchFamily="34" charset="0"/>
            <a:cs typeface="Arial" panose="020B0604020202020204" pitchFamily="34" charset="0"/>
          </a:defRPr>
        </a:defPPr>
      </a:lstStyle>
    </a:txDef>
  </a:objectDefaults>
  <a:extraClrSchemeLst/>
</a:theme>
</file>

<file path=ppt/theme/theme3.xml><?xml version="1.0" encoding="utf-8"?>
<a:theme xmlns:a="http://schemas.openxmlformats.org/drawingml/2006/main" name="V_FF_MB">
  <a:themeElements>
    <a:clrScheme name="MB 2015">
      <a:dk1>
        <a:srgbClr val="000000"/>
      </a:dk1>
      <a:lt1>
        <a:sysClr val="window" lastClr="FFFFFF"/>
      </a:lt1>
      <a:dk2>
        <a:srgbClr val="A2AD00"/>
      </a:dk2>
      <a:lt2>
        <a:srgbClr val="6A8012"/>
      </a:lt2>
      <a:accent1>
        <a:srgbClr val="2E7DE1"/>
      </a:accent1>
      <a:accent2>
        <a:srgbClr val="17248B"/>
      </a:accent2>
      <a:accent3>
        <a:srgbClr val="F3AE00"/>
      </a:accent3>
      <a:accent4>
        <a:srgbClr val="FF661B"/>
      </a:accent4>
      <a:accent5>
        <a:srgbClr val="AB0032"/>
      </a:accent5>
      <a:accent6>
        <a:srgbClr val="C3C5C8"/>
      </a:accent6>
      <a:hlink>
        <a:srgbClr val="8A8A8D"/>
      </a:hlink>
      <a:folHlink>
        <a:srgbClr val="4B4E53"/>
      </a:folHlink>
    </a:clrScheme>
    <a:fontScheme name="Millward Brown 2015">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lumMod val="85000"/>
            <a:lumOff val="15000"/>
          </a:schemeClr>
        </a:solidFill>
        <a:ln w="9525">
          <a:noFill/>
          <a:miter lim="800000"/>
        </a:ln>
        <a:effectLst/>
      </a:spPr>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defPPr>
          <a:defRPr sz="600" dirty="0" smtClean="0">
            <a:solidFill>
              <a:schemeClr val="bg1"/>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rgbClr val="D8D1C9"/>
          </a:solidFill>
          <a:prstDash val="dash"/>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000" b="1" dirty="0" smtClean="0">
            <a:solidFill>
              <a:schemeClr val="tx1">
                <a:lumMod val="75000"/>
                <a:lumOff val="25000"/>
              </a:schemeClr>
            </a:solidFill>
            <a:latin typeface="Arial" panose="020B0604020202020204" pitchFamily="34" charset="0"/>
            <a:cs typeface="Arial" panose="020B0604020202020204" pitchFamily="34" charset="0"/>
          </a:defRPr>
        </a:defPPr>
      </a:lstStyle>
    </a:txDef>
  </a:objectDefaults>
  <a:extraClrSchemeLst/>
</a:theme>
</file>

<file path=ppt/theme/theme4.xml><?xml version="1.0" encoding="utf-8"?>
<a:theme xmlns:a="http://schemas.openxmlformats.org/drawingml/2006/main" name="V_D_MB">
  <a:themeElements>
    <a:clrScheme name="MB 2015">
      <a:dk1>
        <a:srgbClr val="000000"/>
      </a:dk1>
      <a:lt1>
        <a:sysClr val="window" lastClr="FFFFFF"/>
      </a:lt1>
      <a:dk2>
        <a:srgbClr val="A2AD00"/>
      </a:dk2>
      <a:lt2>
        <a:srgbClr val="6A8012"/>
      </a:lt2>
      <a:accent1>
        <a:srgbClr val="2E7DE1"/>
      </a:accent1>
      <a:accent2>
        <a:srgbClr val="17248B"/>
      </a:accent2>
      <a:accent3>
        <a:srgbClr val="F3AE00"/>
      </a:accent3>
      <a:accent4>
        <a:srgbClr val="FF661B"/>
      </a:accent4>
      <a:accent5>
        <a:srgbClr val="AB0032"/>
      </a:accent5>
      <a:accent6>
        <a:srgbClr val="C3C5C8"/>
      </a:accent6>
      <a:hlink>
        <a:srgbClr val="8A8A8D"/>
      </a:hlink>
      <a:folHlink>
        <a:srgbClr val="4B4E53"/>
      </a:folHlink>
    </a:clrScheme>
    <a:fontScheme name="Millward Brown 2015">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lumMod val="85000"/>
            <a:lumOff val="15000"/>
          </a:schemeClr>
        </a:solidFill>
        <a:ln w="9525">
          <a:noFill/>
          <a:miter lim="800000"/>
        </a:ln>
        <a:effectLst/>
      </a:spPr>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defPPr>
          <a:defRPr sz="600" dirty="0" smtClean="0">
            <a:solidFill>
              <a:schemeClr val="bg1"/>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rgbClr val="D8D1C9"/>
          </a:solidFill>
          <a:prstDash val="dash"/>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000" b="1" dirty="0" smtClean="0">
            <a:solidFill>
              <a:schemeClr val="tx1">
                <a:lumMod val="75000"/>
                <a:lumOff val="25000"/>
              </a:schemeClr>
            </a:solidFill>
            <a:latin typeface="Arial" panose="020B0604020202020204" pitchFamily="34" charset="0"/>
            <a:cs typeface="Arial" panose="020B0604020202020204" pitchFamily="34" charset="0"/>
          </a:defRPr>
        </a:defPPr>
      </a:lstStyle>
    </a:txDef>
  </a:objectDefaults>
  <a:extraClrSchemeLst/>
</a:theme>
</file>

<file path=ppt/theme/theme5.xml><?xml version="1.0" encoding="utf-8"?>
<a:theme xmlns:a="http://schemas.openxmlformats.org/drawingml/2006/main" name="V_A_MB">
  <a:themeElements>
    <a:clrScheme name="MB 2015">
      <a:dk1>
        <a:srgbClr val="000000"/>
      </a:dk1>
      <a:lt1>
        <a:sysClr val="window" lastClr="FFFFFF"/>
      </a:lt1>
      <a:dk2>
        <a:srgbClr val="A2AD00"/>
      </a:dk2>
      <a:lt2>
        <a:srgbClr val="6A8012"/>
      </a:lt2>
      <a:accent1>
        <a:srgbClr val="2E7DE1"/>
      </a:accent1>
      <a:accent2>
        <a:srgbClr val="17248B"/>
      </a:accent2>
      <a:accent3>
        <a:srgbClr val="F3AE00"/>
      </a:accent3>
      <a:accent4>
        <a:srgbClr val="FF661B"/>
      </a:accent4>
      <a:accent5>
        <a:srgbClr val="AB0032"/>
      </a:accent5>
      <a:accent6>
        <a:srgbClr val="C3C5C8"/>
      </a:accent6>
      <a:hlink>
        <a:srgbClr val="8A8A8D"/>
      </a:hlink>
      <a:folHlink>
        <a:srgbClr val="4B4E53"/>
      </a:folHlink>
    </a:clrScheme>
    <a:fontScheme name="Millward Brown 2015">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lumMod val="85000"/>
            <a:lumOff val="15000"/>
          </a:schemeClr>
        </a:solidFill>
        <a:ln w="9525">
          <a:noFill/>
          <a:miter lim="800000"/>
        </a:ln>
        <a:effectLst/>
      </a:spPr>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defPPr>
          <a:defRPr sz="600" dirty="0" smtClean="0">
            <a:solidFill>
              <a:schemeClr val="bg1"/>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rgbClr val="D8D1C9"/>
          </a:solidFill>
          <a:prstDash val="dash"/>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000" b="1" dirty="0" smtClean="0">
            <a:solidFill>
              <a:schemeClr val="tx1">
                <a:lumMod val="75000"/>
                <a:lumOff val="25000"/>
              </a:schemeClr>
            </a:solidFill>
            <a:latin typeface="Arial" panose="020B0604020202020204" pitchFamily="34" charset="0"/>
            <a:cs typeface="Arial" panose="020B0604020202020204" pitchFamily="34" charset="0"/>
          </a:defRPr>
        </a:defPPr>
      </a:lstStyle>
    </a:txDef>
  </a:objectDefaults>
  <a:extraClrSchemeLst/>
</a:theme>
</file>

<file path=ppt/theme/theme6.xml><?xml version="1.0" encoding="utf-8"?>
<a:theme xmlns:a="http://schemas.openxmlformats.org/drawingml/2006/main" name="FF_MB">
  <a:themeElements>
    <a:clrScheme name="MB 2015">
      <a:dk1>
        <a:srgbClr val="000000"/>
      </a:dk1>
      <a:lt1>
        <a:sysClr val="window" lastClr="FFFFFF"/>
      </a:lt1>
      <a:dk2>
        <a:srgbClr val="A2AD00"/>
      </a:dk2>
      <a:lt2>
        <a:srgbClr val="6A8012"/>
      </a:lt2>
      <a:accent1>
        <a:srgbClr val="2E7DE1"/>
      </a:accent1>
      <a:accent2>
        <a:srgbClr val="17248B"/>
      </a:accent2>
      <a:accent3>
        <a:srgbClr val="F3AE00"/>
      </a:accent3>
      <a:accent4>
        <a:srgbClr val="FF661B"/>
      </a:accent4>
      <a:accent5>
        <a:srgbClr val="AB0032"/>
      </a:accent5>
      <a:accent6>
        <a:srgbClr val="C3C5C8"/>
      </a:accent6>
      <a:hlink>
        <a:srgbClr val="8A8A8D"/>
      </a:hlink>
      <a:folHlink>
        <a:srgbClr val="4B4E53"/>
      </a:folHlink>
    </a:clrScheme>
    <a:fontScheme name="Millward Brown 2015">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lumMod val="85000"/>
            <a:lumOff val="15000"/>
          </a:schemeClr>
        </a:solidFill>
        <a:ln w="9525">
          <a:noFill/>
          <a:miter lim="800000"/>
        </a:ln>
        <a:effectLst/>
      </a:spPr>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defPPr>
          <a:defRPr sz="600" dirty="0" smtClean="0">
            <a:solidFill>
              <a:schemeClr val="bg1"/>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rgbClr val="D8D1C9"/>
          </a:solidFill>
          <a:prstDash val="dash"/>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000" b="1" dirty="0" smtClean="0">
            <a:solidFill>
              <a:schemeClr val="tx1">
                <a:lumMod val="75000"/>
                <a:lumOff val="25000"/>
              </a:schemeClr>
            </a:solidFill>
            <a:latin typeface="Arial" panose="020B0604020202020204" pitchFamily="34" charset="0"/>
            <a:cs typeface="Arial" panose="020B0604020202020204" pitchFamily="34" charset="0"/>
          </a:defRPr>
        </a:defPPr>
      </a:lstStyle>
    </a:txDef>
  </a:objectDefaults>
  <a:extraClrSchemeLst/>
</a:theme>
</file>

<file path=ppt/theme/theme7.xml><?xml version="1.0" encoding="utf-8"?>
<a:theme xmlns:a="http://schemas.openxmlformats.org/drawingml/2006/main" name="FF_V_MB">
  <a:themeElements>
    <a:clrScheme name="MB 2015">
      <a:dk1>
        <a:srgbClr val="000000"/>
      </a:dk1>
      <a:lt1>
        <a:sysClr val="window" lastClr="FFFFFF"/>
      </a:lt1>
      <a:dk2>
        <a:srgbClr val="A2AD00"/>
      </a:dk2>
      <a:lt2>
        <a:srgbClr val="6A8012"/>
      </a:lt2>
      <a:accent1>
        <a:srgbClr val="2E7DE1"/>
      </a:accent1>
      <a:accent2>
        <a:srgbClr val="17248B"/>
      </a:accent2>
      <a:accent3>
        <a:srgbClr val="F3AE00"/>
      </a:accent3>
      <a:accent4>
        <a:srgbClr val="FF661B"/>
      </a:accent4>
      <a:accent5>
        <a:srgbClr val="AB0032"/>
      </a:accent5>
      <a:accent6>
        <a:srgbClr val="C3C5C8"/>
      </a:accent6>
      <a:hlink>
        <a:srgbClr val="8A8A8D"/>
      </a:hlink>
      <a:folHlink>
        <a:srgbClr val="4B4E53"/>
      </a:folHlink>
    </a:clrScheme>
    <a:fontScheme name="Millward Brown 2015">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lumMod val="85000"/>
            <a:lumOff val="15000"/>
          </a:schemeClr>
        </a:solidFill>
        <a:ln w="9525">
          <a:noFill/>
          <a:miter lim="800000"/>
        </a:ln>
        <a:effectLst/>
      </a:spPr>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defPPr>
          <a:defRPr sz="600" dirty="0" smtClean="0">
            <a:solidFill>
              <a:schemeClr val="bg1"/>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rgbClr val="D8D1C9"/>
          </a:solidFill>
          <a:prstDash val="dash"/>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000" b="1" dirty="0" smtClean="0">
            <a:solidFill>
              <a:schemeClr val="tx1">
                <a:lumMod val="75000"/>
                <a:lumOff val="25000"/>
              </a:schemeClr>
            </a:solidFill>
            <a:latin typeface="Arial" panose="020B0604020202020204" pitchFamily="34" charset="0"/>
            <a:cs typeface="Arial" panose="020B0604020202020204" pitchFamily="34" charset="0"/>
          </a:defRPr>
        </a:defPPr>
      </a:lstStyle>
    </a:txDef>
  </a:objectDefaults>
  <a:extraClrSchemeLst/>
</a:theme>
</file>

<file path=ppt/theme/theme8.xml><?xml version="1.0" encoding="utf-8"?>
<a:theme xmlns:a="http://schemas.openxmlformats.org/drawingml/2006/main" name="FF_D_MB">
  <a:themeElements>
    <a:clrScheme name="MB 2015">
      <a:dk1>
        <a:srgbClr val="000000"/>
      </a:dk1>
      <a:lt1>
        <a:sysClr val="window" lastClr="FFFFFF"/>
      </a:lt1>
      <a:dk2>
        <a:srgbClr val="A2AD00"/>
      </a:dk2>
      <a:lt2>
        <a:srgbClr val="6A8012"/>
      </a:lt2>
      <a:accent1>
        <a:srgbClr val="2E7DE1"/>
      </a:accent1>
      <a:accent2>
        <a:srgbClr val="17248B"/>
      </a:accent2>
      <a:accent3>
        <a:srgbClr val="F3AE00"/>
      </a:accent3>
      <a:accent4>
        <a:srgbClr val="FF661B"/>
      </a:accent4>
      <a:accent5>
        <a:srgbClr val="AB0032"/>
      </a:accent5>
      <a:accent6>
        <a:srgbClr val="C3C5C8"/>
      </a:accent6>
      <a:hlink>
        <a:srgbClr val="8A8A8D"/>
      </a:hlink>
      <a:folHlink>
        <a:srgbClr val="4B4E53"/>
      </a:folHlink>
    </a:clrScheme>
    <a:fontScheme name="Millward Brown 2015">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lumMod val="85000"/>
            <a:lumOff val="15000"/>
          </a:schemeClr>
        </a:solidFill>
        <a:ln w="9525">
          <a:noFill/>
          <a:miter lim="800000"/>
        </a:ln>
        <a:effectLst/>
      </a:spPr>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defPPr>
          <a:defRPr sz="600" dirty="0" smtClean="0">
            <a:solidFill>
              <a:schemeClr val="bg1"/>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rgbClr val="D8D1C9"/>
          </a:solidFill>
          <a:prstDash val="dash"/>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000" b="1" dirty="0" smtClean="0">
            <a:solidFill>
              <a:schemeClr val="tx1">
                <a:lumMod val="75000"/>
                <a:lumOff val="25000"/>
              </a:schemeClr>
            </a:solidFill>
            <a:latin typeface="Arial" panose="020B0604020202020204" pitchFamily="34" charset="0"/>
            <a:cs typeface="Arial" panose="020B0604020202020204" pitchFamily="34" charset="0"/>
          </a:defRPr>
        </a:defPPr>
      </a:lstStyle>
    </a:txDef>
  </a:objectDefaults>
  <a:extraClrSchemeLst/>
</a:theme>
</file>

<file path=ppt/theme/theme9.xml><?xml version="1.0" encoding="utf-8"?>
<a:theme xmlns:a="http://schemas.openxmlformats.org/drawingml/2006/main" name="FF_A_MB">
  <a:themeElements>
    <a:clrScheme name="MB 2015">
      <a:dk1>
        <a:srgbClr val="000000"/>
      </a:dk1>
      <a:lt1>
        <a:sysClr val="window" lastClr="FFFFFF"/>
      </a:lt1>
      <a:dk2>
        <a:srgbClr val="A2AD00"/>
      </a:dk2>
      <a:lt2>
        <a:srgbClr val="6A8012"/>
      </a:lt2>
      <a:accent1>
        <a:srgbClr val="2E7DE1"/>
      </a:accent1>
      <a:accent2>
        <a:srgbClr val="17248B"/>
      </a:accent2>
      <a:accent3>
        <a:srgbClr val="F3AE00"/>
      </a:accent3>
      <a:accent4>
        <a:srgbClr val="FF661B"/>
      </a:accent4>
      <a:accent5>
        <a:srgbClr val="AB0032"/>
      </a:accent5>
      <a:accent6>
        <a:srgbClr val="C3C5C8"/>
      </a:accent6>
      <a:hlink>
        <a:srgbClr val="8A8A8D"/>
      </a:hlink>
      <a:folHlink>
        <a:srgbClr val="4B4E53"/>
      </a:folHlink>
    </a:clrScheme>
    <a:fontScheme name="Millward Brown 2015">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lumMod val="85000"/>
            <a:lumOff val="15000"/>
          </a:schemeClr>
        </a:solidFill>
        <a:ln w="9525">
          <a:noFill/>
          <a:miter lim="800000"/>
        </a:ln>
        <a:effectLst/>
      </a:spPr>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defPPr>
          <a:defRPr sz="600" dirty="0" smtClean="0">
            <a:solidFill>
              <a:schemeClr val="bg1"/>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rgbClr val="D8D1C9"/>
          </a:solidFill>
          <a:prstDash val="dash"/>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000" b="1" dirty="0" smtClean="0">
            <a:solidFill>
              <a:schemeClr val="tx1">
                <a:lumMod val="75000"/>
                <a:lumOff val="25000"/>
              </a:schemeClr>
            </a:solidFill>
            <a:latin typeface="Arial" panose="020B0604020202020204" pitchFamily="34" charset="0"/>
            <a:cs typeface="Arial" panose="020B0604020202020204" pitchFamily="34" charset="0"/>
          </a:defRPr>
        </a:defPPr>
      </a:lstStyle>
    </a:txDef>
  </a:objectDefaults>
  <a:extraClrSchemeLst/>
</a:theme>
</file>

<file path=docProps/app.xml><?xml version="1.0" encoding="utf-8"?>
<Properties xmlns="http://schemas.openxmlformats.org/officeDocument/2006/extended-properties" xmlns:vt="http://schemas.openxmlformats.org/officeDocument/2006/docPropsVTypes">
  <Template>MB Master Presentation template high resolution 2012.potx</Template>
  <TotalTime>17439</TotalTime>
  <Words>370</Words>
  <Application>Microsoft Office PowerPoint</Application>
  <PresentationFormat>Personalizado</PresentationFormat>
  <Paragraphs>137</Paragraphs>
  <Slides>7</Slides>
  <Notes>0</Notes>
  <HiddenSlides>0</HiddenSlides>
  <MMClips>0</MMClips>
  <ScaleCrop>false</ScaleCrop>
  <HeadingPairs>
    <vt:vector size="8" baseType="variant">
      <vt:variant>
        <vt:lpstr>Fuentes usadas</vt:lpstr>
      </vt:variant>
      <vt:variant>
        <vt:i4>3</vt:i4>
      </vt:variant>
      <vt:variant>
        <vt:lpstr>Tema</vt:lpstr>
      </vt:variant>
      <vt:variant>
        <vt:i4>16</vt:i4>
      </vt:variant>
      <vt:variant>
        <vt:lpstr>Servidores OLE incrustados</vt:lpstr>
      </vt:variant>
      <vt:variant>
        <vt:i4>1</vt:i4>
      </vt:variant>
      <vt:variant>
        <vt:lpstr>Títulos de diapositiva</vt:lpstr>
      </vt:variant>
      <vt:variant>
        <vt:i4>7</vt:i4>
      </vt:variant>
    </vt:vector>
  </HeadingPairs>
  <TitlesOfParts>
    <vt:vector size="27" baseType="lpstr">
      <vt:lpstr>Arial</vt:lpstr>
      <vt:lpstr>Arial Narrow</vt:lpstr>
      <vt:lpstr>Georgia</vt:lpstr>
      <vt:lpstr>Content Slides</vt:lpstr>
      <vt:lpstr>V_MB</vt:lpstr>
      <vt:lpstr>V_FF_MB</vt:lpstr>
      <vt:lpstr>V_D_MB</vt:lpstr>
      <vt:lpstr>V_A_MB</vt:lpstr>
      <vt:lpstr>FF_MB</vt:lpstr>
      <vt:lpstr>FF_V_MB</vt:lpstr>
      <vt:lpstr>FF_D_MB</vt:lpstr>
      <vt:lpstr>FF_A_MB</vt:lpstr>
      <vt:lpstr>D_MB</vt:lpstr>
      <vt:lpstr>D_V_MB</vt:lpstr>
      <vt:lpstr>D_A_MB</vt:lpstr>
      <vt:lpstr>A_MB</vt:lpstr>
      <vt:lpstr>A_V_MB</vt:lpstr>
      <vt:lpstr>A_FF_MB</vt:lpstr>
      <vt:lpstr>A_D_MB</vt:lpstr>
      <vt:lpstr>Diapositiva de think-cell</vt:lpstr>
      <vt:lpstr>La rapidez en avances, Claridad en cobros y poder pagar los consumos en pagos diferidos son entre otros los atributos que influyen más en la preferencia de una tarjeta por sobre otras…</vt:lpstr>
      <vt:lpstr>Alia</vt:lpstr>
      <vt:lpstr>Diners Club</vt:lpstr>
      <vt:lpstr>Discover</vt:lpstr>
      <vt:lpstr>Banco de Guayaquil</vt:lpstr>
      <vt:lpstr>Banco del Austro</vt:lpstr>
      <vt:lpstr>Banco del pacífico</vt:lpstr>
    </vt:vector>
  </TitlesOfParts>
  <Company>Millward Brow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Adam.Webb@millwardbrown.com;Stuart.Smith@millwardbrown.com;MB Productions</dc:creator>
  <cp:lastModifiedBy>ALBAN CERDA PABLO DAVID</cp:lastModifiedBy>
  <cp:revision>1137</cp:revision>
  <cp:lastPrinted>2011-08-03T00:59:35Z</cp:lastPrinted>
  <dcterms:created xsi:type="dcterms:W3CDTF">2011-11-01T12:07:51Z</dcterms:created>
  <dcterms:modified xsi:type="dcterms:W3CDTF">2016-09-12T23:43: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Jive_VersionGuid">
    <vt:lpwstr>e485ad96-4e52-4275-abe3-5d97fdfaeac6</vt:lpwstr>
  </property>
  <property fmtid="{D5CDD505-2E9C-101B-9397-08002B2CF9AE}" pid="3" name="Offisync_ProviderInitializationData">
    <vt:lpwstr>https://www.mbgreenhouse.com</vt:lpwstr>
  </property>
  <property fmtid="{D5CDD505-2E9C-101B-9397-08002B2CF9AE}" pid="4" name="Jive_LatestUserAccountName">
    <vt:lpwstr>CornejoaN</vt:lpwstr>
  </property>
  <property fmtid="{D5CDD505-2E9C-101B-9397-08002B2CF9AE}" pid="5" name="Offisync_ServerID">
    <vt:lpwstr>326e730b-c374-4f8b-afe0-bdaa1d145397</vt:lpwstr>
  </property>
  <property fmtid="{D5CDD505-2E9C-101B-9397-08002B2CF9AE}" pid="6" name="Offisync_UniqueId">
    <vt:lpwstr>83179</vt:lpwstr>
  </property>
  <property fmtid="{D5CDD505-2E9C-101B-9397-08002B2CF9AE}" pid="7" name="Offisync_UpdateToken">
    <vt:lpwstr>5</vt:lpwstr>
  </property>
</Properties>
</file>